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6.xml" ContentType="application/vnd.openxmlformats-officedocument.presentationml.tags+xml"/>
  <Override PartName="/ppt/notesSlides/notesSlide1.xml" ContentType="application/vnd.openxmlformats-officedocument.presentationml.notesSlide+xml"/>
  <Override PartName="/ppt/tags/tag27.xml" ContentType="application/vnd.openxmlformats-officedocument.presentationml.tags+xml"/>
  <Override PartName="/ppt/notesSlides/notesSlide2.xml" ContentType="application/vnd.openxmlformats-officedocument.presentationml.notesSlide+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notesSlides/notesSlide4.xml" ContentType="application/vnd.openxmlformats-officedocument.presentationml.notesSlide+xml"/>
  <Override PartName="/ppt/tags/tag30.xml" ContentType="application/vnd.openxmlformats-officedocument.presentationml.tags+xml"/>
  <Override PartName="/ppt/notesSlides/notesSlide5.xml" ContentType="application/vnd.openxmlformats-officedocument.presentationml.notesSlide+xml"/>
  <Override PartName="/ppt/tags/tag31.xml" ContentType="application/vnd.openxmlformats-officedocument.presentationml.tags+xml"/>
  <Override PartName="/ppt/notesSlides/notesSlide6.xml" ContentType="application/vnd.openxmlformats-officedocument.presentationml.notesSlide+xml"/>
  <Override PartName="/ppt/tags/tag32.xml" ContentType="application/vnd.openxmlformats-officedocument.presentationml.tags+xml"/>
  <Override PartName="/ppt/notesSlides/notesSlide7.xml" ContentType="application/vnd.openxmlformats-officedocument.presentationml.notesSlide+xml"/>
  <Override PartName="/ppt/tags/tag33.xml" ContentType="application/vnd.openxmlformats-officedocument.presentationml.tags+xml"/>
  <Override PartName="/ppt/notesSlides/notesSlide8.xml" ContentType="application/vnd.openxmlformats-officedocument.presentationml.notesSlide+xml"/>
  <Override PartName="/ppt/tags/tag34.xml" ContentType="application/vnd.openxmlformats-officedocument.presentationml.tags+xml"/>
  <Override PartName="/ppt/notesSlides/notesSlide9.xml" ContentType="application/vnd.openxmlformats-officedocument.presentationml.notesSlide+xml"/>
  <Override PartName="/ppt/tags/tag35.xml" ContentType="application/vnd.openxmlformats-officedocument.presentationml.tags+xml"/>
  <Override PartName="/ppt/notesSlides/notesSlide10.xml" ContentType="application/vnd.openxmlformats-officedocument.presentationml.notesSlide+xml"/>
  <Override PartName="/ppt/tags/tag36.xml" ContentType="application/vnd.openxmlformats-officedocument.presentationml.tags+xml"/>
  <Override PartName="/ppt/notesSlides/notesSlide11.xml" ContentType="application/vnd.openxmlformats-officedocument.presentationml.notesSlide+xml"/>
  <Override PartName="/ppt/tags/tag37.xml" ContentType="application/vnd.openxmlformats-officedocument.presentationml.tags+xml"/>
  <Override PartName="/ppt/notesSlides/notesSlide12.xml" ContentType="application/vnd.openxmlformats-officedocument.presentationml.notesSlide+xml"/>
  <Override PartName="/ppt/tags/tag38.xml" ContentType="application/vnd.openxmlformats-officedocument.presentationml.tags+xml"/>
  <Override PartName="/ppt/notesSlides/notesSlide13.xml" ContentType="application/vnd.openxmlformats-officedocument.presentationml.notesSlide+xml"/>
  <Override PartName="/ppt/tags/tag39.xml" ContentType="application/vnd.openxmlformats-officedocument.presentationml.tags+xml"/>
  <Override PartName="/ppt/notesSlides/notesSlide14.xml" ContentType="application/vnd.openxmlformats-officedocument.presentationml.notesSlide+xml"/>
  <Override PartName="/ppt/tags/tag40.xml" ContentType="application/vnd.openxmlformats-officedocument.presentationml.tags+xml"/>
  <Override PartName="/ppt/notesSlides/notesSlide15.xml" ContentType="application/vnd.openxmlformats-officedocument.presentationml.notesSlide+xml"/>
  <Override PartName="/ppt/tags/tag41.xml" ContentType="application/vnd.openxmlformats-officedocument.presentationml.tags+xml"/>
  <Override PartName="/ppt/notesSlides/notesSlide16.xml" ContentType="application/vnd.openxmlformats-officedocument.presentationml.notesSlide+xml"/>
  <Override PartName="/ppt/tags/tag42.xml" ContentType="application/vnd.openxmlformats-officedocument.presentationml.tags+xml"/>
  <Override PartName="/ppt/notesSlides/notesSlide17.xml" ContentType="application/vnd.openxmlformats-officedocument.presentationml.notesSlide+xml"/>
  <Override PartName="/ppt/tags/tag43.xml" ContentType="application/vnd.openxmlformats-officedocument.presentationml.tags+xml"/>
  <Override PartName="/ppt/notesSlides/notesSlide18.xml" ContentType="application/vnd.openxmlformats-officedocument.presentationml.notesSlide+xml"/>
  <Override PartName="/ppt/tags/tag44.xml" ContentType="application/vnd.openxmlformats-officedocument.presentationml.tags+xml"/>
  <Override PartName="/ppt/notesSlides/notesSlide19.xml" ContentType="application/vnd.openxmlformats-officedocument.presentationml.notesSlide+xml"/>
  <Override PartName="/ppt/tags/tag45.xml" ContentType="application/vnd.openxmlformats-officedocument.presentationml.tags+xml"/>
  <Override PartName="/ppt/notesSlides/notesSlide20.xml" ContentType="application/vnd.openxmlformats-officedocument.presentationml.notesSlide+xml"/>
  <Override PartName="/ppt/tags/tag46.xml" ContentType="application/vnd.openxmlformats-officedocument.presentationml.tags+xml"/>
  <Override PartName="/ppt/notesSlides/notesSlide21.xml" ContentType="application/vnd.openxmlformats-officedocument.presentationml.notesSlide+xml"/>
  <Override PartName="/ppt/tags/tag47.xml" ContentType="application/vnd.openxmlformats-officedocument.presentationml.tags+xml"/>
  <Override PartName="/ppt/notesSlides/notesSlide22.xml" ContentType="application/vnd.openxmlformats-officedocument.presentationml.notesSlide+xml"/>
  <Override PartName="/ppt/tags/tag48.xml" ContentType="application/vnd.openxmlformats-officedocument.presentationml.tags+xml"/>
  <Override PartName="/ppt/notesSlides/notesSlide23.xml" ContentType="application/vnd.openxmlformats-officedocument.presentationml.notesSlide+xml"/>
  <Override PartName="/ppt/tags/tag49.xml" ContentType="application/vnd.openxmlformats-officedocument.presentationml.tags+xml"/>
  <Override PartName="/ppt/notesSlides/notesSlide24.xml" ContentType="application/vnd.openxmlformats-officedocument.presentationml.notesSlide+xml"/>
  <Override PartName="/ppt/tags/tag50.xml" ContentType="application/vnd.openxmlformats-officedocument.presentationml.tags+xml"/>
  <Override PartName="/ppt/notesSlides/notesSlide25.xml" ContentType="application/vnd.openxmlformats-officedocument.presentationml.notesSlide+xml"/>
  <Override PartName="/ppt/tags/tag51.xml" ContentType="application/vnd.openxmlformats-officedocument.presentationml.tags+xml"/>
  <Override PartName="/ppt/notesSlides/notesSlide26.xml" ContentType="application/vnd.openxmlformats-officedocument.presentationml.notesSlide+xml"/>
  <Override PartName="/ppt/tags/tag52.xml" ContentType="application/vnd.openxmlformats-officedocument.presentationml.tags+xml"/>
  <Override PartName="/ppt/notesSlides/notesSlide27.xml" ContentType="application/vnd.openxmlformats-officedocument.presentationml.notesSlide+xml"/>
  <Override PartName="/ppt/tags/tag53.xml" ContentType="application/vnd.openxmlformats-officedocument.presentationml.tags+xml"/>
  <Override PartName="/ppt/notesSlides/notesSlide28.xml" ContentType="application/vnd.openxmlformats-officedocument.presentationml.notesSlide+xml"/>
  <Override PartName="/ppt/tags/tag54.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55.xml" ContentType="application/vnd.openxmlformats-officedocument.presentationml.tags+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82" r:id="rId6"/>
  </p:sldMasterIdLst>
  <p:notesMasterIdLst>
    <p:notesMasterId r:id="rId38"/>
  </p:notesMasterIdLst>
  <p:handoutMasterIdLst>
    <p:handoutMasterId r:id="rId39"/>
  </p:handoutMasterIdLst>
  <p:sldIdLst>
    <p:sldId id="355" r:id="rId7"/>
    <p:sldId id="493" r:id="rId8"/>
    <p:sldId id="417" r:id="rId9"/>
    <p:sldId id="474" r:id="rId10"/>
    <p:sldId id="500" r:id="rId11"/>
    <p:sldId id="361" r:id="rId12"/>
    <p:sldId id="538" r:id="rId13"/>
    <p:sldId id="537" r:id="rId14"/>
    <p:sldId id="435" r:id="rId15"/>
    <p:sldId id="477" r:id="rId16"/>
    <p:sldId id="372" r:id="rId17"/>
    <p:sldId id="411" r:id="rId18"/>
    <p:sldId id="539" r:id="rId19"/>
    <p:sldId id="450" r:id="rId20"/>
    <p:sldId id="421" r:id="rId21"/>
    <p:sldId id="513" r:id="rId22"/>
    <p:sldId id="452" r:id="rId23"/>
    <p:sldId id="423" r:id="rId24"/>
    <p:sldId id="522" r:id="rId25"/>
    <p:sldId id="515" r:id="rId26"/>
    <p:sldId id="541" r:id="rId27"/>
    <p:sldId id="505" r:id="rId28"/>
    <p:sldId id="517" r:id="rId29"/>
    <p:sldId id="518" r:id="rId30"/>
    <p:sldId id="543" r:id="rId31"/>
    <p:sldId id="536" r:id="rId32"/>
    <p:sldId id="442" r:id="rId33"/>
    <p:sldId id="443" r:id="rId34"/>
    <p:sldId id="444" r:id="rId35"/>
    <p:sldId id="499" r:id="rId36"/>
    <p:sldId id="447" r:id="rId37"/>
  </p:sldIdLst>
  <p:sldSz cx="12436475" cy="6994525"/>
  <p:notesSz cx="7102475" cy="9388475"/>
  <p:custDataLst>
    <p:tags r:id="rId40"/>
  </p:custData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187">
          <p15:clr>
            <a:srgbClr val="A4A3A4"/>
          </p15:clr>
        </p15:guide>
        <p15:guide id="24" orient="horz" pos="4075" userDrawn="1">
          <p15:clr>
            <a:srgbClr val="A4A3A4"/>
          </p15:clr>
        </p15:guide>
        <p15:guide id="25" orient="horz" pos="883" userDrawn="1">
          <p15:clr>
            <a:srgbClr val="A4A3A4"/>
          </p15:clr>
        </p15:guide>
        <p15:guide id="26" pos="7469" userDrawn="1">
          <p15:clr>
            <a:srgbClr val="A4A3A4"/>
          </p15:clr>
        </p15:guide>
        <p15:guide id="28" orient="horz" pos="775">
          <p15:clr>
            <a:srgbClr val="A4A3A4"/>
          </p15:clr>
        </p15:guide>
        <p15:guide id="29" pos="365" userDrawn="1">
          <p15:clr>
            <a:srgbClr val="A4A3A4"/>
          </p15:clr>
        </p15:guide>
      </p15:sldGuideLst>
    </p:ext>
    <p:ext uri="{2D200454-40CA-4A62-9FC3-DE9A4176ACB9}">
      <p15:notesGuideLst xmlns:p15="http://schemas.microsoft.com/office/powerpoint/2012/main">
        <p15:guide id="1" orient="horz" pos="2957" userDrawn="1">
          <p15:clr>
            <a:srgbClr val="A4A3A4"/>
          </p15:clr>
        </p15:guide>
        <p15:guide id="2"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Terri Sharp" initials="TS" lastIdx="3" clrIdx="2"/>
  <p:cmAuthor id="3" name="Rik Wright" initials="RW" lastIdx="331" clrIdx="3">
    <p:extLst/>
  </p:cmAuthor>
  <p:cmAuthor id="4" name="Steve Heuring (Audienz LLC)" initials="SH" lastIdx="46" clrIdx="4"/>
  <p:cmAuthor id="5" name="Janinne Brunyee (Vega Consulting LLC)" initials="JB(CL" lastIdx="8" clrIdx="5">
    <p:extLst/>
  </p:cmAuthor>
  <p:cmAuthor id="6" name="Author" initials="A" lastIdx="166" clrIdx="6"/>
  <p:cmAuthor id="7" name="amber campbell" initials="ac" lastIdx="5" clrIdx="7">
    <p:extLst/>
  </p:cmAuthor>
  <p:cmAuthor id="8" name="Badamon Diengdoh [Chillibreeze]" initials="BD[" lastIdx="1" clrIdx="8">
    <p:extLst/>
  </p:cmAuthor>
  <p:cmAuthor id="9" name="Cynthia Goldsworthy" initials="CG" lastIdx="49" clrIdx="9"/>
  <p:cmAuthor id="10" name="Cindy Lavoie" initials="CL" lastIdx="1" clrIdx="10"/>
  <p:cmAuthor id="11" name="Marc" initials="M" lastIdx="5" clrIdx="11"/>
  <p:cmAuthor id="12" name="Joel Sloss" initials="JS" lastIdx="20" clrIdx="12">
    <p:extLst>
      <p:ext uri="{19B8F6BF-5375-455C-9EA6-DF929625EA0E}">
        <p15:presenceInfo xmlns:p15="http://schemas.microsoft.com/office/powerpoint/2012/main" userId="Joel Sloss" providerId="None"/>
      </p:ext>
    </p:extLst>
  </p:cmAuthor>
  <p:cmAuthor id="13" name="Alison Howard (LCA)" initials="AH(" lastIdx="14" clrIdx="13">
    <p:extLst>
      <p:ext uri="{19B8F6BF-5375-455C-9EA6-DF929625EA0E}">
        <p15:presenceInfo xmlns:p15="http://schemas.microsoft.com/office/powerpoint/2012/main" userId="S-1-5-21-2127521184-1604012920-1887927527-2468931" providerId="AD"/>
      </p:ext>
    </p:extLst>
  </p:cmAuthor>
  <p:cmAuthor id="14" name="David Burt" initials="DB" lastIdx="13" clrIdx="14">
    <p:extLst>
      <p:ext uri="{19B8F6BF-5375-455C-9EA6-DF929625EA0E}">
        <p15:presenceInfo xmlns:p15="http://schemas.microsoft.com/office/powerpoint/2012/main" userId="S-1-5-21-2127521184-1604012920-1887927527-2685917" providerId="AD"/>
      </p:ext>
    </p:extLst>
  </p:cmAuthor>
  <p:cmAuthor id="15" name="Steve Heuring" initials="SH" lastIdx="158" clrIdx="1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005695"/>
    <a:srgbClr val="E4E4E4"/>
    <a:srgbClr val="85B4DB"/>
    <a:srgbClr val="002050"/>
    <a:srgbClr val="00B294"/>
    <a:srgbClr val="00BCF2"/>
    <a:srgbClr val="DC3C00"/>
    <a:srgbClr val="4668B3"/>
    <a:srgbClr val="0072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0441" autoAdjust="0"/>
    <p:restoredTop sz="44551" autoAdjust="0"/>
  </p:normalViewPr>
  <p:slideViewPr>
    <p:cSldViewPr snapToGrid="0">
      <p:cViewPr varScale="1">
        <p:scale>
          <a:sx n="51" d="100"/>
          <a:sy n="51" d="100"/>
        </p:scale>
        <p:origin x="2070" y="60"/>
      </p:cViewPr>
      <p:guideLst>
        <p:guide orient="horz" pos="187"/>
        <p:guide orient="horz" pos="4075"/>
        <p:guide orient="horz" pos="883"/>
        <p:guide pos="7469"/>
        <p:guide orient="horz" pos="775"/>
        <p:guide pos="365"/>
      </p:guideLst>
    </p:cSldViewPr>
  </p:slideViewPr>
  <p:outlineViewPr>
    <p:cViewPr>
      <p:scale>
        <a:sx n="33" d="100"/>
        <a:sy n="33" d="100"/>
      </p:scale>
      <p:origin x="0" y="-71226"/>
    </p:cViewPr>
  </p:outlineViewPr>
  <p:notesTextViewPr>
    <p:cViewPr>
      <p:scale>
        <a:sx n="125" d="100"/>
        <a:sy n="125" d="100"/>
      </p:scale>
      <p:origin x="0" y="0"/>
    </p:cViewPr>
  </p:notesTextViewPr>
  <p:sorterViewPr>
    <p:cViewPr varScale="1">
      <p:scale>
        <a:sx n="1" d="1"/>
        <a:sy n="1" d="1"/>
      </p:scale>
      <p:origin x="0" y="0"/>
    </p:cViewPr>
  </p:sorterViewPr>
  <p:notesViewPr>
    <p:cSldViewPr snapToGrid="0" showGuides="1">
      <p:cViewPr>
        <p:scale>
          <a:sx n="268" d="100"/>
          <a:sy n="268" d="100"/>
        </p:scale>
        <p:origin x="-2832" y="-5892"/>
      </p:cViewPr>
      <p:guideLst>
        <p:guide orient="horz" pos="2957"/>
        <p:guide pos="223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77739" cy="469424"/>
          </a:xfrm>
          <a:prstGeom prst="rect">
            <a:avLst/>
          </a:prstGeom>
        </p:spPr>
        <p:txBody>
          <a:bodyPr vert="horz" lIns="94229" tIns="47114" rIns="94229" bIns="47114"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4023092" y="0"/>
            <a:ext cx="3077739" cy="469424"/>
          </a:xfrm>
          <a:prstGeom prst="rect">
            <a:avLst/>
          </a:prstGeom>
        </p:spPr>
        <p:txBody>
          <a:bodyPr vert="horz" lIns="94229" tIns="47114" rIns="94229" bIns="47114" rtlCol="0"/>
          <a:lstStyle>
            <a:lvl1pPr algn="r">
              <a:defRPr sz="1200"/>
            </a:lvl1pPr>
          </a:lstStyle>
          <a:p>
            <a:fld id="{F7528E99-BCC1-4839-A933-011DCDE2CF1A}" type="datetime1">
              <a:rPr lang="en-US" smtClean="0">
                <a:latin typeface="Segoe UI" pitchFamily="34" charset="0"/>
              </a:rPr>
              <a:t>7/8/2015</a:t>
            </a:fld>
            <a:endParaRPr lang="en-US" dirty="0">
              <a:latin typeface="Segoe UI" pitchFamily="34" charset="0"/>
            </a:endParaRPr>
          </a:p>
        </p:txBody>
      </p:sp>
      <p:sp>
        <p:nvSpPr>
          <p:cNvPr id="8" name="Footer Placeholder 7"/>
          <p:cNvSpPr>
            <a:spLocks noGrp="1"/>
          </p:cNvSpPr>
          <p:nvPr>
            <p:ph type="ftr" sz="quarter" idx="2"/>
          </p:nvPr>
        </p:nvSpPr>
        <p:spPr>
          <a:xfrm>
            <a:off x="0" y="8917422"/>
            <a:ext cx="6001591" cy="341322"/>
          </a:xfrm>
          <a:prstGeom prst="rect">
            <a:avLst/>
          </a:prstGeom>
        </p:spPr>
        <p:txBody>
          <a:bodyPr vert="horz" lIns="94229" tIns="47114" rIns="94229" bIns="47114" rtlCol="0" anchor="b"/>
          <a:lstStyle>
            <a:lvl1pPr algn="l">
              <a:defRPr sz="1200"/>
            </a:lvl1pPr>
          </a:lstStyle>
          <a:p>
            <a:pPr marL="410616" defTabSz="94197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410616" defTabSz="94197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89753" y="8917422"/>
            <a:ext cx="1111078" cy="469424"/>
          </a:xfrm>
          <a:prstGeom prst="rect">
            <a:avLst/>
          </a:prstGeom>
        </p:spPr>
        <p:txBody>
          <a:bodyPr vert="horz" lIns="94229" tIns="47114" rIns="94229" bIns="47114"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77739" cy="469424"/>
          </a:xfrm>
          <a:prstGeom prst="rect">
            <a:avLst/>
          </a:prstGeom>
        </p:spPr>
        <p:txBody>
          <a:bodyPr vert="horz" lIns="94229" tIns="47114" rIns="94229" bIns="47114"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22275" y="704850"/>
            <a:ext cx="6257925" cy="3519488"/>
          </a:xfrm>
          <a:prstGeom prst="rect">
            <a:avLst/>
          </a:prstGeom>
          <a:noFill/>
          <a:ln w="12700">
            <a:solidFill>
              <a:prstClr val="black"/>
            </a:solidFill>
          </a:ln>
        </p:spPr>
        <p:txBody>
          <a:bodyPr vert="horz" lIns="94229" tIns="47114" rIns="94229" bIns="47114" rtlCol="0" anchor="ctr"/>
          <a:lstStyle/>
          <a:p>
            <a:endParaRPr lang="en-US" dirty="0"/>
          </a:p>
        </p:txBody>
      </p:sp>
      <p:sp>
        <p:nvSpPr>
          <p:cNvPr id="10" name="Footer Placeholder 9"/>
          <p:cNvSpPr>
            <a:spLocks noGrp="1"/>
          </p:cNvSpPr>
          <p:nvPr>
            <p:ph type="ftr" sz="quarter" idx="4"/>
          </p:nvPr>
        </p:nvSpPr>
        <p:spPr>
          <a:xfrm>
            <a:off x="0" y="8919051"/>
            <a:ext cx="6131803" cy="365481"/>
          </a:xfrm>
          <a:prstGeom prst="rect">
            <a:avLst/>
          </a:prstGeom>
        </p:spPr>
        <p:txBody>
          <a:bodyPr vert="horz" lIns="94229" tIns="47114" rIns="94229" bIns="47114" rtlCol="0" anchor="b"/>
          <a:lstStyle>
            <a:lvl1pPr marL="588931" indent="0" algn="l">
              <a:defRPr sz="1200"/>
            </a:lvl1p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4023092" y="0"/>
            <a:ext cx="3077739" cy="469424"/>
          </a:xfrm>
          <a:prstGeom prst="rect">
            <a:avLst/>
          </a:prstGeom>
        </p:spPr>
        <p:txBody>
          <a:bodyPr vert="horz" lIns="94229" tIns="47114" rIns="94229" bIns="47114" rtlCol="0"/>
          <a:lstStyle>
            <a:lvl1pPr algn="r">
              <a:defRPr sz="1200">
                <a:latin typeface="Segoe UI" pitchFamily="34" charset="0"/>
              </a:defRPr>
            </a:lvl1pPr>
          </a:lstStyle>
          <a:p>
            <a:fld id="{C79BAED7-DAEE-4D8E-9E13-02B552A7FA7D}" type="datetime1">
              <a:rPr lang="en-US" smtClean="0"/>
              <a:t>7/8/2015</a:t>
            </a:fld>
            <a:endParaRPr lang="en-US" dirty="0"/>
          </a:p>
        </p:txBody>
      </p:sp>
      <p:sp>
        <p:nvSpPr>
          <p:cNvPr id="12" name="Notes Placeholder 11"/>
          <p:cNvSpPr>
            <a:spLocks noGrp="1"/>
          </p:cNvSpPr>
          <p:nvPr>
            <p:ph type="body" sz="quarter" idx="3"/>
          </p:nvPr>
        </p:nvSpPr>
        <p:spPr>
          <a:xfrm>
            <a:off x="710248" y="4459526"/>
            <a:ext cx="5681980" cy="4224814"/>
          </a:xfrm>
          <a:prstGeom prst="rect">
            <a:avLst/>
          </a:prstGeom>
        </p:spPr>
        <p:txBody>
          <a:bodyPr vert="horz" lIns="94229" tIns="47114" rIns="94229" bIns="47114"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119966" y="8917422"/>
            <a:ext cx="980865" cy="469424"/>
          </a:xfrm>
          <a:prstGeom prst="rect">
            <a:avLst/>
          </a:prstGeom>
        </p:spPr>
        <p:txBody>
          <a:bodyPr vert="horz" lIns="94229" tIns="47114" rIns="94229" bIns="47114"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breachlevelindex.com/pdf/Breach-Level-Index-Annual-Report-2014.pdf"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www.mckinsey.com/insights/business_technology/risk_and_responsibility_in_a_hyperconnected_world_implications_for_enterprises"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5A2A76D-D995-49E9-8E95-33B70754A264}" type="datetime1">
              <a:rPr lang="en-US" smtClean="0"/>
              <a:t>7/8/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7055939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r>
              <a:rPr lang="en-US" sz="900" b="1" dirty="0" smtClean="0">
                <a:latin typeface="Segoe UI" panose="020B0502040204020203" pitchFamily="34" charset="0"/>
                <a:ea typeface="Segoe UI" panose="020B0502040204020203" pitchFamily="34" charset="0"/>
                <a:cs typeface="Segoe UI" panose="020B0502040204020203" pitchFamily="34" charset="0"/>
              </a:rPr>
              <a:t>Slide title: </a:t>
            </a:r>
            <a:r>
              <a:rPr lang="en-US" sz="900" dirty="0" smtClean="0">
                <a:latin typeface="Segoe UI" panose="020B0502040204020203" pitchFamily="34" charset="0"/>
                <a:ea typeface="Segoe UI" panose="020B0502040204020203" pitchFamily="34" charset="0"/>
                <a:cs typeface="Segoe UI" panose="020B0502040204020203" pitchFamily="34" charset="0"/>
              </a:rPr>
              <a:t>Infrastructure protection</a:t>
            </a:r>
          </a:p>
          <a:p>
            <a:pPr>
              <a:lnSpc>
                <a:spcPct val="115000"/>
              </a:lnSpc>
              <a:spcAft>
                <a:spcPts val="1057"/>
              </a:spcAft>
            </a:pPr>
            <a:r>
              <a:rPr lang="en-US" sz="900" b="1" dirty="0" smtClean="0">
                <a:latin typeface="Segoe UI" panose="020B0502040204020203" pitchFamily="34" charset="0"/>
                <a:ea typeface="Segoe UI" panose="020B0502040204020203" pitchFamily="34" charset="0"/>
                <a:cs typeface="Segoe UI" panose="020B0502040204020203" pitchFamily="34" charset="0"/>
              </a:rPr>
              <a:t>Slide objectives: </a:t>
            </a:r>
            <a:r>
              <a:rPr lang="en-US" sz="900" dirty="0" smtClean="0">
                <a:latin typeface="Segoe UI" panose="020B0502040204020203" pitchFamily="34" charset="0"/>
                <a:ea typeface="Segoe UI" panose="020B0502040204020203" pitchFamily="34" charset="0"/>
                <a:cs typeface="Segoe UI" panose="020B0502040204020203" pitchFamily="34" charset="0"/>
              </a:rPr>
              <a:t>Provide an overview of infrastructure protection for Azure.</a:t>
            </a:r>
          </a:p>
          <a:p>
            <a:pPr defTabSz="966612">
              <a:lnSpc>
                <a:spcPct val="115000"/>
              </a:lnSpc>
              <a:spcAft>
                <a:spcPts val="1057"/>
              </a:spcAft>
              <a:defRPr/>
            </a:pPr>
            <a:endParaRPr lang="en-US" sz="900" b="1" dirty="0" smtClean="0">
              <a:latin typeface="Segoe UI" panose="020B0502040204020203" pitchFamily="34" charset="0"/>
              <a:ea typeface="Segoe UI" panose="020B0502040204020203" pitchFamily="34" charset="0"/>
              <a:cs typeface="Segoe UI" panose="020B0502040204020203" pitchFamily="34" charset="0"/>
            </a:endParaRPr>
          </a:p>
          <a:p>
            <a:pPr defTabSz="966612">
              <a:lnSpc>
                <a:spcPct val="115000"/>
              </a:lnSpc>
              <a:spcAft>
                <a:spcPts val="1057"/>
              </a:spcAft>
              <a:defRPr/>
            </a:pPr>
            <a:r>
              <a:rPr lang="en-US" sz="900" b="1" dirty="0" smtClean="0">
                <a:latin typeface="Segoe UI" panose="020B0502040204020203" pitchFamily="34" charset="0"/>
                <a:ea typeface="Segoe UI" panose="020B0502040204020203" pitchFamily="34" charset="0"/>
                <a:cs typeface="Segoe UI" panose="020B0502040204020203" pitchFamily="34" charset="0"/>
              </a:rPr>
              <a:t>Slide script: </a:t>
            </a:r>
            <a:endParaRPr lang="en-US" sz="900" dirty="0" smtClean="0">
              <a:latin typeface="Segoe UI" panose="020B0502040204020203" pitchFamily="34" charset="0"/>
              <a:ea typeface="Segoe UI" panose="020B0502040204020203" pitchFamily="34" charset="0"/>
              <a:cs typeface="Segoe UI" panose="020B0502040204020203" pitchFamily="34" charset="0"/>
            </a:endParaRPr>
          </a:p>
          <a:p>
            <a:r>
              <a:rPr lang="en-US" sz="900" dirty="0" smtClean="0"/>
              <a:t>Azure infrastructure includes hardware, software, administrative and operations staff, and physical data centers. Windows Azure addresses security risks across its infrastructure with continuous </a:t>
            </a:r>
            <a:r>
              <a:rPr lang="en-US" sz="900" b="1" dirty="0" smtClean="0"/>
              <a:t>intrusion detection and prevention systems</a:t>
            </a:r>
            <a:r>
              <a:rPr lang="en-US" sz="900" dirty="0" smtClean="0"/>
              <a:t>, </a:t>
            </a:r>
            <a:r>
              <a:rPr lang="en-US" sz="900" b="1" dirty="0" smtClean="0"/>
              <a:t>denial of service attack prevention</a:t>
            </a:r>
            <a:r>
              <a:rPr lang="en-US" sz="900" dirty="0" smtClean="0"/>
              <a:t>, regular </a:t>
            </a:r>
            <a:r>
              <a:rPr lang="en-US" sz="900" b="1" dirty="0" smtClean="0"/>
              <a:t>penetration testing</a:t>
            </a:r>
            <a:r>
              <a:rPr lang="en-US" sz="900" dirty="0" smtClean="0"/>
              <a:t>, and forensic tools that help identify and mitigate threats. With this level of protection, Azure, customers can reduce the need to invest in these capabilities on their own and benefit from economies of scale in Microsoft datacenter infrastructure. </a:t>
            </a:r>
          </a:p>
          <a:p>
            <a:pPr marL="285750" indent="-285750">
              <a:buFont typeface="Arial" panose="020B0604020202020204" pitchFamily="34" charset="0"/>
              <a:buChar char="•"/>
            </a:pPr>
            <a:r>
              <a:rPr lang="en-US" sz="900" b="1" dirty="0" smtClean="0"/>
              <a:t>24-hour monitored physical security. </a:t>
            </a:r>
            <a:r>
              <a:rPr lang="en-US" sz="900" dirty="0" smtClean="0"/>
              <a:t>Microsoft datacenters are physically constructed, managed, and monitored 24 hours a day to shelter data and services from unauthorized access as well as environmental threats. </a:t>
            </a:r>
          </a:p>
          <a:p>
            <a:pPr marL="285750" indent="-285750">
              <a:buFont typeface="Arial" panose="020B0604020202020204" pitchFamily="34" charset="0"/>
              <a:buChar char="•"/>
            </a:pPr>
            <a:r>
              <a:rPr lang="en-US" sz="900" b="1" dirty="0" smtClean="0"/>
              <a:t>Monitoring and logging. </a:t>
            </a:r>
            <a:r>
              <a:rPr lang="en-US" sz="900" dirty="0" smtClean="0"/>
              <a:t>Centralized monitoring, correlation, and analysis systems manage the large amount of information generated by devices within the Azure environment, providing continuous visibility and timely alerts to the teams that manage the service.</a:t>
            </a:r>
            <a:r>
              <a:rPr lang="en-US" sz="900" b="1" dirty="0" smtClean="0"/>
              <a:t> </a:t>
            </a:r>
            <a:r>
              <a:rPr lang="en-US" sz="900" dirty="0" smtClean="0"/>
              <a:t>Additional monitoring, logging, and reporting capabilities provide visibility to customers.</a:t>
            </a:r>
          </a:p>
          <a:p>
            <a:pPr marL="285750" indent="-285750">
              <a:buFont typeface="Arial" panose="020B0604020202020204" pitchFamily="34" charset="0"/>
              <a:buChar char="•"/>
            </a:pPr>
            <a:r>
              <a:rPr lang="en-US" sz="900" b="1" dirty="0" smtClean="0"/>
              <a:t>Software update management. </a:t>
            </a:r>
            <a:r>
              <a:rPr lang="en-US" sz="900" dirty="0" smtClean="0"/>
              <a:t>Security patches help protect systems from known vulnerabilities. Integrated deployment systems manage the distribution and installation of security updates for Microsoft software. Customers can apply similar update management processes for virtual machines (VMs) deployed on Azure. </a:t>
            </a:r>
          </a:p>
          <a:p>
            <a:pPr marL="285750" indent="-285750">
              <a:buFont typeface="Arial" panose="020B0604020202020204" pitchFamily="34" charset="0"/>
              <a:buChar char="•"/>
            </a:pPr>
            <a:r>
              <a:rPr lang="en-US" sz="900" b="1" dirty="0" smtClean="0"/>
              <a:t>Anti-Virus/Anti-Malware protection. </a:t>
            </a:r>
            <a:r>
              <a:rPr lang="en-US" sz="800" kern="1200" dirty="0" smtClean="0">
                <a:solidFill>
                  <a:schemeClr val="tx1"/>
                </a:solidFill>
                <a:effectLst/>
                <a:latin typeface="Segoe UI Light" pitchFamily="34" charset="0"/>
                <a:ea typeface="+mn-ea"/>
                <a:cs typeface="+mn-cs"/>
              </a:rPr>
              <a:t>Azure software components must go through a virus scan prior to deployment. Code is not moved to production without a clean and successful virus scan. Microsoft recommends that customers run some form of anti-malware or anti-virus on all virtual machines (VMs). Customers can install Microsoft Endpoint Protection or another antivirus solution on VMs, and VMs can be routinely reimaged to clean out intrusions that may have gone undetected.</a:t>
            </a:r>
          </a:p>
          <a:p>
            <a:pPr marL="285750" indent="-285750">
              <a:buFont typeface="Arial" panose="020B0604020202020204" pitchFamily="34" charset="0"/>
              <a:buChar char="•"/>
            </a:pPr>
            <a:r>
              <a:rPr lang="en-US" sz="900" b="1" dirty="0" smtClean="0"/>
              <a:t>Intrusion /DDoS Defense. </a:t>
            </a:r>
            <a:r>
              <a:rPr lang="en-US" sz="800" kern="1200" dirty="0" smtClean="0">
                <a:solidFill>
                  <a:schemeClr val="tx1"/>
                </a:solidFill>
                <a:effectLst/>
                <a:latin typeface="Segoe UI Light" pitchFamily="34" charset="0"/>
                <a:ea typeface="+mn-ea"/>
                <a:cs typeface="+mn-cs"/>
              </a:rPr>
              <a:t>Azure has a defense system against Distributed Denial-of-Service (DDoS) attacks on Azure platform services. It uses standard detection and mitigation techniques. Azure’s DDoS defense system is designed to withstand attacks generated from outside and inside the platform.</a:t>
            </a:r>
          </a:p>
          <a:p>
            <a:pPr marL="285750" indent="-285750">
              <a:buFont typeface="Arial" panose="020B0604020202020204" pitchFamily="34" charset="0"/>
              <a:buChar char="•"/>
            </a:pPr>
            <a:r>
              <a:rPr lang="en-US" sz="900" b="1" dirty="0" smtClean="0"/>
              <a:t>Penetration testing. </a:t>
            </a:r>
            <a:r>
              <a:rPr lang="en-US" sz="900" dirty="0" smtClean="0"/>
              <a:t>Microsoft conducts regular penetration testing to improve Windows Azure security controls and processes. Customers can carry out authorized penetration testing on their applications hosted in Windows Azure.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BDC9C2F-4010-49E9-97CA-E216FB02C3EE}" type="datetime1">
              <a:rPr lang="en-US" smtClean="0"/>
              <a:t>7/8/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659368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r>
              <a:rPr lang="en-US" sz="900" b="1" dirty="0" smtClean="0">
                <a:latin typeface="Segoe UI" panose="020B0502040204020203" pitchFamily="34" charset="0"/>
                <a:ea typeface="Segoe UI" panose="020B0502040204020203" pitchFamily="34" charset="0"/>
                <a:cs typeface="Segoe UI" panose="020B0502040204020203" pitchFamily="34" charset="0"/>
              </a:rPr>
              <a:t>Slide title: </a:t>
            </a:r>
            <a:r>
              <a:rPr lang="en-US" sz="900" dirty="0" smtClean="0">
                <a:latin typeface="Segoe UI" panose="020B0502040204020203" pitchFamily="34" charset="0"/>
                <a:ea typeface="Segoe UI" panose="020B0502040204020203" pitchFamily="34" charset="0"/>
                <a:cs typeface="Segoe UI" panose="020B0502040204020203" pitchFamily="34" charset="0"/>
              </a:rPr>
              <a:t>Network protection</a:t>
            </a:r>
          </a:p>
          <a:p>
            <a:pPr>
              <a:lnSpc>
                <a:spcPct val="115000"/>
              </a:lnSpc>
              <a:spcAft>
                <a:spcPts val="1057"/>
              </a:spcAft>
            </a:pPr>
            <a:r>
              <a:rPr lang="en-US" sz="900" b="1" dirty="0" smtClean="0">
                <a:latin typeface="Segoe UI" panose="020B0502040204020203" pitchFamily="34" charset="0"/>
                <a:ea typeface="Segoe UI" panose="020B0502040204020203" pitchFamily="34" charset="0"/>
                <a:cs typeface="Segoe UI" panose="020B0502040204020203" pitchFamily="34" charset="0"/>
              </a:rPr>
              <a:t>Slide objectives: </a:t>
            </a:r>
            <a:r>
              <a:rPr lang="en-US" sz="900" dirty="0" smtClean="0">
                <a:latin typeface="Segoe UI" panose="020B0502040204020203" pitchFamily="34" charset="0"/>
                <a:ea typeface="Segoe UI" panose="020B0502040204020203" pitchFamily="34" charset="0"/>
                <a:cs typeface="Segoe UI" panose="020B0502040204020203" pitchFamily="34" charset="0"/>
              </a:rPr>
              <a:t>Provide an overview of Azure network protection.</a:t>
            </a:r>
          </a:p>
          <a:p>
            <a:pPr defTabSz="966612">
              <a:lnSpc>
                <a:spcPct val="115000"/>
              </a:lnSpc>
              <a:spcAft>
                <a:spcPts val="1057"/>
              </a:spcAft>
              <a:defRPr/>
            </a:pPr>
            <a:endParaRPr lang="en-US" sz="900" b="1" dirty="0" smtClean="0">
              <a:latin typeface="Segoe UI" panose="020B0502040204020203" pitchFamily="34" charset="0"/>
              <a:ea typeface="Segoe UI" panose="020B0502040204020203" pitchFamily="34" charset="0"/>
              <a:cs typeface="Segoe UI" panose="020B0502040204020203" pitchFamily="34" charset="0"/>
            </a:endParaRPr>
          </a:p>
          <a:p>
            <a:pPr defTabSz="966612">
              <a:lnSpc>
                <a:spcPct val="115000"/>
              </a:lnSpc>
              <a:spcAft>
                <a:spcPts val="1057"/>
              </a:spcAft>
              <a:defRPr/>
            </a:pPr>
            <a:r>
              <a:rPr lang="en-US" sz="900" b="1" dirty="0" smtClean="0">
                <a:latin typeface="Segoe UI" panose="020B0502040204020203" pitchFamily="34" charset="0"/>
                <a:ea typeface="Segoe UI" panose="020B0502040204020203" pitchFamily="34" charset="0"/>
                <a:cs typeface="Segoe UI" panose="020B0502040204020203" pitchFamily="34" charset="0"/>
              </a:rPr>
              <a:t>Slide script: </a:t>
            </a:r>
            <a:endParaRPr lang="en-US" sz="900" dirty="0" smtClean="0">
              <a:latin typeface="Segoe UI" panose="020B0502040204020203" pitchFamily="34" charset="0"/>
              <a:ea typeface="Segoe UI" panose="020B0502040204020203" pitchFamily="34" charset="0"/>
              <a:cs typeface="Segoe UI" panose="020B0502040204020203" pitchFamily="34" charset="0"/>
            </a:endParaRPr>
          </a:p>
          <a:p>
            <a:r>
              <a:rPr lang="en-US" sz="900" dirty="0" smtClean="0"/>
              <a:t>Azure networking provides the infrastructure necessary to securely connect VMs to one another and to connect on-premises data centers with Azure VMs. Azure blocks unauthorized traffic to and within Microsoft data centers using a variety of technologies such as firewalls, NATs, partitioned Local Area Networks and physical separation of back-end servers from public-facing interfaces. </a:t>
            </a:r>
          </a:p>
          <a:p>
            <a:pPr marL="181240" indent="-181240">
              <a:buFont typeface="Arial" panose="020B0604020202020204" pitchFamily="34" charset="0"/>
              <a:buChar char="•"/>
            </a:pPr>
            <a:r>
              <a:rPr lang="en-US" sz="900" b="1" dirty="0" smtClean="0"/>
              <a:t>Network isolation. </a:t>
            </a:r>
            <a:r>
              <a:rPr lang="en-US" sz="800" kern="1200" dirty="0" smtClean="0">
                <a:solidFill>
                  <a:schemeClr val="tx1"/>
                </a:solidFill>
                <a:effectLst/>
                <a:latin typeface="Segoe UI Light" pitchFamily="34" charset="0"/>
                <a:ea typeface="+mn-ea"/>
                <a:cs typeface="+mn-cs"/>
              </a:rPr>
              <a:t>In Azure, a customer subscription can include multiple deployments, and each deployment can contain multiple tenants, or virtual machines (VMs). Network isolation prevents unwanted tenant-to-tenant communications, and access controls block unauthorized users from the network. Virtual machines do not receive inbound traffic from the Internet unless customers configure them specifically to do so. The overarching principle within Azure is to allow only connections and communications that are necessary for cloud services to operate, blocking all other ports and connections by default. </a:t>
            </a:r>
          </a:p>
          <a:p>
            <a:pPr marL="181240" indent="-181240">
              <a:buFont typeface="Arial" panose="020B0604020202020204" pitchFamily="34" charset="0"/>
              <a:buChar char="•"/>
            </a:pPr>
            <a:r>
              <a:rPr lang="en-US" sz="900" b="1" dirty="0" smtClean="0"/>
              <a:t>Virtual Networks.</a:t>
            </a:r>
            <a:r>
              <a:rPr lang="en-US" sz="900" dirty="0" smtClean="0"/>
              <a:t> A customer can choose to assign multiple deployments within a subscription to a virtual network and allow those deployments to communicate with each other through private IP addresses. Each virtual network is isolated from other virtual networks. </a:t>
            </a:r>
          </a:p>
          <a:p>
            <a:pPr marL="181240" marR="0" indent="-1812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dirty="0" smtClean="0"/>
              <a:t>VPN and ExpressRoute.</a:t>
            </a:r>
            <a:r>
              <a:rPr lang="en-US" sz="900" dirty="0" smtClean="0"/>
              <a:t> </a:t>
            </a:r>
            <a:r>
              <a:rPr lang="en-US" sz="800" kern="1200" dirty="0" smtClean="0">
                <a:solidFill>
                  <a:schemeClr val="tx1"/>
                </a:solidFill>
                <a:effectLst/>
                <a:latin typeface="Segoe UI Light" pitchFamily="34" charset="0"/>
                <a:ea typeface="+mn-ea"/>
                <a:cs typeface="+mn-cs"/>
              </a:rPr>
              <a:t>Microsoft enables connection from customer sites and remote workers to Azure Virtual Networks using Site-to-Site and Point-to-Site VPNs.</a:t>
            </a:r>
            <a:r>
              <a:rPr lang="en-US" sz="800" b="1" kern="1200" dirty="0" smtClean="0">
                <a:solidFill>
                  <a:schemeClr val="tx1"/>
                </a:solidFill>
                <a:effectLst/>
                <a:latin typeface="Segoe UI Light" pitchFamily="34" charset="0"/>
                <a:ea typeface="+mn-ea"/>
                <a:cs typeface="+mn-cs"/>
              </a:rPr>
              <a:t> </a:t>
            </a:r>
            <a:r>
              <a:rPr lang="en-US" sz="800" kern="1200" dirty="0" smtClean="0">
                <a:solidFill>
                  <a:schemeClr val="tx1"/>
                </a:solidFill>
                <a:effectLst/>
                <a:latin typeface="Segoe UI Light" pitchFamily="34" charset="0"/>
                <a:ea typeface="+mn-ea"/>
                <a:cs typeface="+mn-cs"/>
              </a:rPr>
              <a:t>For even better performance, customers can use an optional Express Route, a private fiber link into Azure data centers that keeps their traffic off the Internet. </a:t>
            </a:r>
          </a:p>
          <a:p>
            <a:pPr marL="181240" marR="0" indent="-1812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dirty="0" smtClean="0"/>
              <a:t>Encrypting communications. </a:t>
            </a:r>
            <a:r>
              <a:rPr lang="en-US" sz="900" dirty="0" smtClean="0"/>
              <a:t>Built-in cryptographic technology enables customers to </a:t>
            </a:r>
            <a:r>
              <a:rPr lang="en-US" sz="900" b="1" dirty="0" smtClean="0"/>
              <a:t>encrypt communications within and between deployments</a:t>
            </a:r>
            <a:r>
              <a:rPr lang="en-US" sz="900" dirty="0" smtClean="0"/>
              <a:t>, between Azure regions, and from Azure to on-premises data centers. Encryption can be configured to protect administrator access to virtual machines through remote desktop sessions and remote Windows PowerShell. </a:t>
            </a:r>
            <a:r>
              <a:rPr lang="en-US" sz="900" b="1" dirty="0" smtClean="0"/>
              <a:t>Access to the Azure Management Portal is encrypted by default using HTTPS</a:t>
            </a:r>
            <a:r>
              <a:rPr lang="en-US" sz="900" dirty="0" smtClean="0"/>
              <a:t>.</a:t>
            </a:r>
          </a:p>
          <a:p>
            <a:r>
              <a:rPr lang="en-US" dirty="0" smtClean="0"/>
              <a:t>Perfect Forward Secrecy (PFS). PFS uses a different encryption key for every connection, making it more difficult for attackers to decrypt connections. The TLS cipher suite enhancements and Perfect Forward Secrecy are available to customers by default.</a:t>
            </a:r>
          </a:p>
          <a:p>
            <a:pPr marL="181240" marR="0" indent="-1812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B12B393-02FE-4F24-9FA9-76906503356D}" type="datetime1">
              <a:rPr lang="en-US" smtClean="0"/>
              <a:t>7/8/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12696973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r>
              <a:rPr lang="en-US" sz="1000" b="1" dirty="0" smtClean="0">
                <a:latin typeface="Segoe UI" panose="020B0502040204020203" pitchFamily="34" charset="0"/>
                <a:ea typeface="Segoe UI" panose="020B0502040204020203" pitchFamily="34" charset="0"/>
                <a:cs typeface="Segoe UI" panose="020B0502040204020203" pitchFamily="34" charset="0"/>
              </a:rPr>
              <a:t>Slide title: </a:t>
            </a:r>
            <a:r>
              <a:rPr lang="en-US" sz="1000" dirty="0" smtClean="0">
                <a:latin typeface="Segoe UI" panose="020B0502040204020203" pitchFamily="34" charset="0"/>
                <a:ea typeface="Segoe UI" panose="020B0502040204020203" pitchFamily="34" charset="0"/>
                <a:cs typeface="Segoe UI" panose="020B0502040204020203" pitchFamily="34" charset="0"/>
              </a:rPr>
              <a:t>Identity &amp; access</a:t>
            </a:r>
          </a:p>
          <a:p>
            <a:pPr>
              <a:lnSpc>
                <a:spcPct val="115000"/>
              </a:lnSpc>
              <a:spcAft>
                <a:spcPts val="1057"/>
              </a:spcAft>
            </a:pPr>
            <a:r>
              <a:rPr lang="en-US" sz="1000" b="1" dirty="0" smtClean="0">
                <a:latin typeface="Segoe UI" panose="020B0502040204020203" pitchFamily="34" charset="0"/>
                <a:ea typeface="Segoe UI" panose="020B0502040204020203" pitchFamily="34" charset="0"/>
                <a:cs typeface="Segoe UI" panose="020B0502040204020203" pitchFamily="34" charset="0"/>
              </a:rPr>
              <a:t>Slide objectives: </a:t>
            </a:r>
            <a:r>
              <a:rPr lang="en-US" sz="1000" dirty="0" smtClean="0">
                <a:latin typeface="Segoe UI" panose="020B0502040204020203" pitchFamily="34" charset="0"/>
                <a:ea typeface="Segoe UI" panose="020B0502040204020203" pitchFamily="34" charset="0"/>
                <a:cs typeface="Segoe UI" panose="020B0502040204020203" pitchFamily="34" charset="0"/>
              </a:rPr>
              <a:t>Provide an overview of Azure identity &amp; access control.</a:t>
            </a:r>
          </a:p>
          <a:p>
            <a:pPr defTabSz="966612">
              <a:lnSpc>
                <a:spcPct val="115000"/>
              </a:lnSpc>
              <a:spcAft>
                <a:spcPts val="1057"/>
              </a:spcAft>
              <a:defRPr/>
            </a:pPr>
            <a:endParaRPr lang="en-US" sz="1000" b="1" dirty="0" smtClean="0">
              <a:latin typeface="Segoe UI" panose="020B0502040204020203" pitchFamily="34" charset="0"/>
              <a:ea typeface="Segoe UI" panose="020B0502040204020203" pitchFamily="34" charset="0"/>
              <a:cs typeface="Segoe UI" panose="020B0502040204020203" pitchFamily="34" charset="0"/>
            </a:endParaRPr>
          </a:p>
          <a:p>
            <a:pPr defTabSz="966612">
              <a:lnSpc>
                <a:spcPct val="115000"/>
              </a:lnSpc>
              <a:spcAft>
                <a:spcPts val="1057"/>
              </a:spcAft>
              <a:defRPr/>
            </a:pPr>
            <a:r>
              <a:rPr lang="en-US" sz="1000" b="1" dirty="0" smtClean="0">
                <a:latin typeface="Segoe UI" panose="020B0502040204020203" pitchFamily="34" charset="0"/>
                <a:ea typeface="Segoe UI" panose="020B0502040204020203" pitchFamily="34" charset="0"/>
                <a:cs typeface="Segoe UI" panose="020B0502040204020203" pitchFamily="34" charset="0"/>
              </a:rPr>
              <a:t>Slide script: </a:t>
            </a:r>
            <a:endParaRPr lang="en-US" sz="1000" dirty="0" smtClean="0">
              <a:latin typeface="Segoe UI" panose="020B0502040204020203" pitchFamily="34" charset="0"/>
              <a:ea typeface="Segoe UI" panose="020B0502040204020203" pitchFamily="34" charset="0"/>
              <a:cs typeface="Segoe UI" panose="020B0502040204020203" pitchFamily="34" charset="0"/>
            </a:endParaRPr>
          </a:p>
          <a:p>
            <a:r>
              <a:rPr lang="en-US" dirty="0" smtClean="0">
                <a:effectLst/>
              </a:rPr>
              <a:t>Azure enables customers to control access to their environments, data and applications. Microsoft offers comprehensive and federated identity and access management solutions for customers to use across Azure and other services such as Office 365, helping them simplify the management of multiple environments and control user access across applications. </a:t>
            </a:r>
          </a:p>
          <a:p>
            <a:pPr marL="285750" indent="-285750">
              <a:buFont typeface="Arial" panose="020B0604020202020204" pitchFamily="34" charset="0"/>
              <a:buChar char="•"/>
            </a:pPr>
            <a:r>
              <a:rPr lang="en-US" sz="1000" b="1" dirty="0" smtClean="0"/>
              <a:t>Enterprise cloud directory.</a:t>
            </a:r>
            <a:r>
              <a:rPr lang="en-US" sz="1000" dirty="0" smtClean="0"/>
              <a:t> </a:t>
            </a:r>
            <a:r>
              <a:rPr lang="en-US" sz="900" kern="1200" dirty="0" smtClean="0">
                <a:solidFill>
                  <a:schemeClr val="tx1"/>
                </a:solidFill>
                <a:effectLst/>
                <a:latin typeface="Segoe UI Light" pitchFamily="34" charset="0"/>
                <a:ea typeface="+mn-ea"/>
                <a:cs typeface="+mn-cs"/>
              </a:rPr>
              <a:t>Azure Active Directory (AD) is a comprehensive </a:t>
            </a:r>
            <a:r>
              <a:rPr lang="en-US" sz="900" b="1" kern="1200" dirty="0" smtClean="0">
                <a:solidFill>
                  <a:schemeClr val="tx1"/>
                </a:solidFill>
                <a:effectLst/>
                <a:latin typeface="Segoe UI Light" pitchFamily="34" charset="0"/>
                <a:ea typeface="+mn-ea"/>
                <a:cs typeface="+mn-cs"/>
              </a:rPr>
              <a:t>identity and access management solution </a:t>
            </a:r>
            <a:r>
              <a:rPr lang="en-US" sz="900" kern="1200" dirty="0" smtClean="0">
                <a:solidFill>
                  <a:schemeClr val="tx1"/>
                </a:solidFill>
                <a:effectLst/>
                <a:latin typeface="Segoe UI Light" pitchFamily="34" charset="0"/>
                <a:ea typeface="+mn-ea"/>
                <a:cs typeface="+mn-cs"/>
              </a:rPr>
              <a:t>in the cloud. It combines core directory services, advanced identity governance, security, and application access management. Azure Active Directory makes it easy for developers to build policy-based identity management into their applications. Azure Active Directory Premium includes additional features to meet the advanced identity and access needs of enterprise organizations. Azure Active Directory enables a single identity management capability across on-premises, cloud, and mobile solution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kern="1200" dirty="0" smtClean="0">
                <a:solidFill>
                  <a:schemeClr val="tx1"/>
                </a:solidFill>
                <a:effectLst/>
                <a:latin typeface="Segoe UI Light" pitchFamily="34" charset="0"/>
                <a:ea typeface="+mn-ea"/>
                <a:cs typeface="+mn-cs"/>
              </a:rPr>
              <a:t>Multi-Factor Authentication. </a:t>
            </a:r>
            <a:r>
              <a:rPr lang="en-US" sz="900" kern="1200" dirty="0" smtClean="0">
                <a:solidFill>
                  <a:schemeClr val="tx1"/>
                </a:solidFill>
                <a:effectLst/>
                <a:latin typeface="Segoe UI Light" pitchFamily="34" charset="0"/>
                <a:ea typeface="+mn-ea"/>
                <a:cs typeface="+mn-cs"/>
              </a:rPr>
              <a:t>Microsoft Azure provides Multi-Factor Authentication (MFA). This helps safeguard access to data and applications and enables regulatory compliance while meeting user demand for a simple sign-in process for both on-premises and cloud applications. It delivers strong authentication via a range of easy verification </a:t>
            </a:r>
            <a:r>
              <a:rPr lang="en-US" sz="900" b="1" kern="1200" dirty="0" smtClean="0">
                <a:solidFill>
                  <a:schemeClr val="tx1"/>
                </a:solidFill>
                <a:effectLst/>
                <a:latin typeface="Segoe UI Light" pitchFamily="34" charset="0"/>
                <a:ea typeface="+mn-ea"/>
                <a:cs typeface="+mn-cs"/>
              </a:rPr>
              <a:t>options—phone call, text message, or mobile app notification</a:t>
            </a:r>
            <a:r>
              <a:rPr lang="en-US" sz="900" kern="1200" dirty="0" smtClean="0">
                <a:solidFill>
                  <a:schemeClr val="tx1"/>
                </a:solidFill>
                <a:effectLst/>
                <a:latin typeface="Segoe UI Light" pitchFamily="34" charset="0"/>
                <a:ea typeface="+mn-ea"/>
                <a:cs typeface="+mn-cs"/>
              </a:rPr>
              <a:t>—allowing users to choose the method they prefer.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smtClean="0"/>
              <a:t>Access monitoring and logging.</a:t>
            </a:r>
            <a:r>
              <a:rPr lang="en-US" sz="1000" dirty="0" smtClean="0"/>
              <a:t> </a:t>
            </a:r>
            <a:r>
              <a:rPr lang="en-US" sz="900" kern="1200" dirty="0" smtClean="0">
                <a:solidFill>
                  <a:schemeClr val="tx1"/>
                </a:solidFill>
                <a:effectLst/>
                <a:latin typeface="Segoe UI Light" pitchFamily="34" charset="0"/>
                <a:ea typeface="+mn-ea"/>
                <a:cs typeface="+mn-cs"/>
              </a:rPr>
              <a:t>Security reports are used to monitor access patterns and to proactively identify and mitigate potential threats. Microsoft administrative operations, including system access, are logged to provide an audit trail if unauthorized or accidental changes are made. Customers can turn on additional access monitoring functionality in Azure and use third-party monitoring tools to detect additional threats. Customers can request reports from Microsoft that provide information about user access to their environment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kern="1200" dirty="0" smtClean="0">
                <a:solidFill>
                  <a:schemeClr val="tx1"/>
                </a:solidFill>
                <a:effectLst/>
                <a:latin typeface="Segoe UI Light" pitchFamily="34" charset="0"/>
                <a:ea typeface="+mn-ea"/>
                <a:cs typeface="+mn-cs"/>
              </a:rPr>
              <a:t>Single sign-on. </a:t>
            </a:r>
            <a:r>
              <a:rPr lang="en-US" sz="900" kern="1200" dirty="0" smtClean="0">
                <a:solidFill>
                  <a:schemeClr val="tx1"/>
                </a:solidFill>
                <a:effectLst/>
                <a:latin typeface="Segoe UI Light" pitchFamily="34" charset="0"/>
                <a:ea typeface="+mn-ea"/>
                <a:cs typeface="+mn-cs"/>
              </a:rPr>
              <a:t>End users want a </a:t>
            </a:r>
            <a:r>
              <a:rPr lang="en-US" sz="900" b="1" kern="1200" dirty="0" smtClean="0">
                <a:solidFill>
                  <a:schemeClr val="tx1"/>
                </a:solidFill>
                <a:effectLst/>
                <a:latin typeface="Segoe UI Light" pitchFamily="34" charset="0"/>
                <a:ea typeface="+mn-ea"/>
                <a:cs typeface="+mn-cs"/>
              </a:rPr>
              <a:t>secure and convenient way to access</a:t>
            </a:r>
            <a:r>
              <a:rPr lang="en-US" sz="900" kern="1200" dirty="0" smtClean="0">
                <a:solidFill>
                  <a:schemeClr val="tx1"/>
                </a:solidFill>
                <a:effectLst/>
                <a:latin typeface="Segoe UI Light" pitchFamily="34" charset="0"/>
                <a:ea typeface="+mn-ea"/>
                <a:cs typeface="+mn-cs"/>
              </a:rPr>
              <a:t> their data and applications. Azure AD, along with a variety of supported third-party apps, streamlines the authentication process for users with corporate credentials by providing a single sign-on option across multiple applications and services.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kern="1200" dirty="0" smtClean="0">
                <a:solidFill>
                  <a:schemeClr val="tx1"/>
                </a:solidFill>
                <a:effectLst/>
                <a:latin typeface="Segoe UI Light" pitchFamily="34" charset="0"/>
                <a:ea typeface="+mn-ea"/>
                <a:cs typeface="+mn-cs"/>
              </a:rPr>
              <a:t>Integration with customer applications. </a:t>
            </a:r>
            <a:r>
              <a:rPr lang="en-US" sz="900" kern="1200" dirty="0" smtClean="0">
                <a:solidFill>
                  <a:schemeClr val="tx1"/>
                </a:solidFill>
                <a:effectLst/>
                <a:latin typeface="Segoe UI Light" pitchFamily="34" charset="0"/>
                <a:ea typeface="+mn-ea"/>
                <a:cs typeface="+mn-cs"/>
              </a:rPr>
              <a:t>Application developers can integrate their applications with Azure AD to provide single sign-on functionality for their users. This enables enterprise applications to be hosted in the cloud and to easily authenticate users with corporate credentials. It also enables Software-as-a-Service (SaaS) providers to make authentication easier for users in Azure AD organizations when authenticating to their services.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368E734-1C08-4290-9D24-2217C20CB040}" type="datetime1">
              <a:rPr lang="en-US" smtClean="0"/>
              <a:t>7/8/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321342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r>
              <a:rPr lang="en-US" sz="1300" b="1" dirty="0">
                <a:latin typeface="Segoe UI" panose="020B0502040204020203" pitchFamily="34" charset="0"/>
                <a:ea typeface="Segoe UI" panose="020B0502040204020203" pitchFamily="34" charset="0"/>
                <a:cs typeface="Segoe UI" panose="020B0502040204020203" pitchFamily="34" charset="0"/>
              </a:rPr>
              <a:t>Slide title: </a:t>
            </a:r>
            <a:r>
              <a:rPr lang="en-US" sz="1300" dirty="0">
                <a:latin typeface="Segoe UI" panose="020B0502040204020203" pitchFamily="34" charset="0"/>
                <a:ea typeface="Segoe UI" panose="020B0502040204020203" pitchFamily="34" charset="0"/>
                <a:cs typeface="Segoe UI" panose="020B0502040204020203" pitchFamily="34" charset="0"/>
              </a:rPr>
              <a:t>Privacy</a:t>
            </a:r>
          </a:p>
          <a:p>
            <a:pPr defTabSz="966612">
              <a:lnSpc>
                <a:spcPct val="115000"/>
              </a:lnSpc>
              <a:spcAft>
                <a:spcPts val="1057"/>
              </a:spcAft>
              <a:defRPr/>
            </a:pPr>
            <a:r>
              <a:rPr lang="en-US" sz="1300" b="1" dirty="0">
                <a:latin typeface="Segoe UI" panose="020B0502040204020203" pitchFamily="34" charset="0"/>
                <a:ea typeface="Segoe UI" panose="020B0502040204020203" pitchFamily="34" charset="0"/>
                <a:cs typeface="Segoe UI" panose="020B0502040204020203" pitchFamily="34" charset="0"/>
              </a:rPr>
              <a:t>Slide objectives: </a:t>
            </a:r>
            <a:r>
              <a:rPr lang="en-US" sz="1300" dirty="0">
                <a:latin typeface="Segoe UI" panose="020B0502040204020203" pitchFamily="34" charset="0"/>
                <a:ea typeface="Segoe UI" panose="020B0502040204020203" pitchFamily="34" charset="0"/>
                <a:cs typeface="Segoe UI" panose="020B0502040204020203" pitchFamily="34" charset="0"/>
              </a:rPr>
              <a:t>Introduce the following section on privacy.</a:t>
            </a:r>
          </a:p>
          <a:p>
            <a:pPr defTabSz="966612">
              <a:lnSpc>
                <a:spcPct val="115000"/>
              </a:lnSpc>
              <a:spcAft>
                <a:spcPts val="1057"/>
              </a:spcAft>
              <a:defRPr/>
            </a:pPr>
            <a:endParaRPr lang="en-US" sz="1300" b="1" dirty="0" smtClean="0">
              <a:latin typeface="Segoe UI" panose="020B0502040204020203" pitchFamily="34" charset="0"/>
              <a:ea typeface="Segoe UI" panose="020B0502040204020203" pitchFamily="34" charset="0"/>
              <a:cs typeface="Segoe UI" panose="020B0502040204020203" pitchFamily="34" charset="0"/>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1400" dirty="0" smtClean="0"/>
              <a:t>Microsoft is unique among major cloud service providers in providing cloud-service-specific privacy statements and making strong contractual commitments to safeguard customer data and protect privacy. </a:t>
            </a:r>
            <a:r>
              <a:rPr lang="en-US" sz="1400" dirty="0" smtClean="0">
                <a:effectLst/>
              </a:rPr>
              <a:t>We recognize how critical data privacy is to enabling our customers to move to the cloud, and we’ve been a </a:t>
            </a:r>
            <a:r>
              <a:rPr lang="en-US" sz="1400" b="1" dirty="0" smtClean="0">
                <a:effectLst/>
              </a:rPr>
              <a:t>pioneer in offering privacy protections for our enterprise cloud services</a:t>
            </a:r>
            <a:r>
              <a:rPr lang="en-US" sz="1400" dirty="0" smtClean="0">
                <a:effectLst/>
              </a:rPr>
              <a:t>. </a:t>
            </a:r>
            <a:r>
              <a:rPr lang="en-US" sz="1400" dirty="0" smtClean="0"/>
              <a:t>Microsoft makes the standard contractual clauses created by the European Union (known as the “</a:t>
            </a:r>
            <a:r>
              <a:rPr lang="en-US" sz="1400" b="1" dirty="0" smtClean="0"/>
              <a:t>EU Model Clauses</a:t>
            </a:r>
            <a:r>
              <a:rPr lang="en-US" sz="1400" dirty="0" smtClean="0"/>
              <a:t>”) available to enterprise customers to provide additional contractual guarantees concerning transfers of personal data. </a:t>
            </a:r>
            <a:r>
              <a:rPr lang="en-US" sz="1400" dirty="0" smtClean="0">
                <a:effectLst/>
              </a:rPr>
              <a:t>We were the first to offer contractual commitments for customers subject to the E.U. Data Protection Directive and U.S. HIPAA laws, which call for safeguarding personal data, and have continued to strengthen data privacy through technical, operational and legal protections.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1400" b="1" dirty="0" smtClean="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3</a:t>
            </a:fld>
            <a:endParaRPr lang="en-US" dirty="0">
              <a:solidFill>
                <a:prstClr val="black"/>
              </a:solidFill>
            </a:endParaRPr>
          </a:p>
        </p:txBody>
      </p:sp>
      <p:sp>
        <p:nvSpPr>
          <p:cNvPr id="5" name="Date Placeholder 4"/>
          <p:cNvSpPr>
            <a:spLocks noGrp="1"/>
          </p:cNvSpPr>
          <p:nvPr>
            <p:ph type="dt" idx="11"/>
          </p:nvPr>
        </p:nvSpPr>
        <p:spPr/>
        <p:txBody>
          <a:bodyPr/>
          <a:lstStyle/>
          <a:p>
            <a:fld id="{8991C963-B575-412E-9E40-E1FB54FD5496}" type="datetime1">
              <a:rPr lang="en-US" smtClean="0">
                <a:solidFill>
                  <a:prstClr val="black"/>
                </a:solidFill>
              </a:rPr>
              <a:t>7/8/2015</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Sarah Fender 100-level Azure Security deck</a:t>
            </a:r>
            <a:endParaRPr lang="en-US" dirty="0">
              <a:solidFill>
                <a:prstClr val="black"/>
              </a:solidFill>
            </a:endParaRPr>
          </a:p>
        </p:txBody>
      </p:sp>
    </p:spTree>
    <p:extLst>
      <p:ext uri="{BB962C8B-B14F-4D97-AF65-F5344CB8AC3E}">
        <p14:creationId xmlns:p14="http://schemas.microsoft.com/office/powerpoint/2010/main" val="28887739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6612" rtl="0" eaLnBrk="1" fontAlgn="auto" latinLnBrk="0" hangingPunct="1">
              <a:lnSpc>
                <a:spcPct val="115000"/>
              </a:lnSpc>
              <a:spcBef>
                <a:spcPts val="0"/>
              </a:spcBef>
              <a:spcAft>
                <a:spcPts val="1057"/>
              </a:spcAft>
              <a:buClrTx/>
              <a:buSzTx/>
              <a:buFontTx/>
              <a:buNone/>
              <a:tabLst/>
              <a:defRPr/>
            </a:pPr>
            <a:r>
              <a:rPr lang="en-US" dirty="0" smtClean="0"/>
              <a:t>Microsoft values customer trust and cares deeply about the privacy and security of their data. We make strong privacy commitments in support of our cloud services and help our customers comply with their own requirements, by addressing robust privacy and security requirements. </a:t>
            </a:r>
          </a:p>
          <a:p>
            <a:pPr marL="0" marR="0" indent="0" algn="l" defTabSz="966612" rtl="0" eaLnBrk="1" fontAlgn="auto" latinLnBrk="0" hangingPunct="1">
              <a:lnSpc>
                <a:spcPct val="115000"/>
              </a:lnSpc>
              <a:spcBef>
                <a:spcPts val="0"/>
              </a:spcBef>
              <a:spcAft>
                <a:spcPts val="1057"/>
              </a:spcAft>
              <a:buClrTx/>
              <a:buSzTx/>
              <a:buFontTx/>
              <a:buNone/>
              <a:tabLst/>
              <a:defRPr/>
            </a:pPr>
            <a:endParaRPr lang="en-US" sz="900" b="1" kern="1200" dirty="0" smtClean="0">
              <a:solidFill>
                <a:schemeClr val="tx1"/>
              </a:solidFill>
              <a:effectLst/>
              <a:latin typeface="Segoe UI Light" pitchFamily="34" charset="0"/>
              <a:ea typeface="+mn-ea"/>
              <a:cs typeface="+mn-cs"/>
            </a:endParaRPr>
          </a:p>
          <a:p>
            <a:pPr marL="0" marR="0" indent="0" algn="l" defTabSz="966612" rtl="0" eaLnBrk="1" fontAlgn="auto" latinLnBrk="0" hangingPunct="1">
              <a:lnSpc>
                <a:spcPct val="115000"/>
              </a:lnSpc>
              <a:spcBef>
                <a:spcPts val="0"/>
              </a:spcBef>
              <a:spcAft>
                <a:spcPts val="1057"/>
              </a:spcAft>
              <a:buClrTx/>
              <a:buSzTx/>
              <a:buFontTx/>
              <a:buNone/>
              <a:tabLst/>
              <a:defRPr/>
            </a:pPr>
            <a:r>
              <a:rPr lang="en-US" sz="900" b="1" kern="1200" dirty="0" smtClean="0">
                <a:solidFill>
                  <a:schemeClr val="tx1"/>
                </a:solidFill>
                <a:effectLst/>
                <a:latin typeface="Segoe UI Light" pitchFamily="34" charset="0"/>
                <a:ea typeface="+mn-ea"/>
                <a:cs typeface="+mn-cs"/>
              </a:rPr>
              <a:t>Privacy by Design</a:t>
            </a:r>
          </a:p>
          <a:p>
            <a:pPr marL="0" marR="0" indent="0" algn="l" defTabSz="966612" rtl="0" eaLnBrk="1" fontAlgn="auto" latinLnBrk="0" hangingPunct="1">
              <a:lnSpc>
                <a:spcPct val="115000"/>
              </a:lnSpc>
              <a:spcBef>
                <a:spcPts val="0"/>
              </a:spcBef>
              <a:spcAft>
                <a:spcPts val="1057"/>
              </a:spcAft>
              <a:buClrTx/>
              <a:buSzTx/>
              <a:buFontTx/>
              <a:buNone/>
              <a:tabLst/>
              <a:defRPr/>
            </a:pPr>
            <a:r>
              <a:rPr lang="en-US" dirty="0" smtClean="0"/>
              <a:t>We have invested heavily over many years to build what we believe is one of the strongest privacy programs in our industry. Our privacy program is founded in Privacy by Design, a principles-based approach to building privacy protections into an organization's practices from the ground up. "Privacy by Design" has become a popular term in the privacy community, but it means different things to different people. At Microsoft, Privacy by Design </a:t>
            </a:r>
            <a:r>
              <a:rPr lang="en-US" b="1" dirty="0" smtClean="0"/>
              <a:t>describes not only how we build products but also how we operate our services </a:t>
            </a:r>
            <a:r>
              <a:rPr lang="en-US" dirty="0" smtClean="0"/>
              <a:t>and organize ourselves as an accountable technology leader.</a:t>
            </a:r>
          </a:p>
          <a:p>
            <a:pPr marL="0" marR="0" indent="0" algn="l" defTabSz="966612" rtl="0" eaLnBrk="1" fontAlgn="auto" latinLnBrk="0" hangingPunct="1">
              <a:lnSpc>
                <a:spcPct val="115000"/>
              </a:lnSpc>
              <a:spcBef>
                <a:spcPts val="0"/>
              </a:spcBef>
              <a:spcAft>
                <a:spcPts val="1057"/>
              </a:spcAft>
              <a:buClrTx/>
              <a:buSzTx/>
              <a:buFontTx/>
              <a:buNone/>
              <a:tabLst/>
              <a:defRPr/>
            </a:pPr>
            <a:endParaRPr lang="en-US" sz="1300" b="1" dirty="0" smtClean="0">
              <a:latin typeface="Segoe UI" panose="020B0502040204020203" pitchFamily="34" charset="0"/>
              <a:ea typeface="Segoe UI" panose="020B0502040204020203" pitchFamily="34" charset="0"/>
              <a:cs typeface="Segoe UI" panose="020B0502040204020203" pitchFamily="34" charset="0"/>
            </a:endParaRPr>
          </a:p>
          <a:p>
            <a:pPr defTabSz="966612">
              <a:lnSpc>
                <a:spcPct val="115000"/>
              </a:lnSpc>
              <a:spcAft>
                <a:spcPts val="1057"/>
              </a:spcAft>
              <a:defRPr/>
            </a:pPr>
            <a:r>
              <a:rPr lang="en-IN" sz="1400" b="1" dirty="0" smtClean="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Microsoft Privacy Standard</a:t>
            </a:r>
          </a:p>
          <a:p>
            <a:pPr marL="0" marR="0" indent="0" algn="l" defTabSz="966612" rtl="0" eaLnBrk="1" fontAlgn="auto" latinLnBrk="0" hangingPunct="1">
              <a:lnSpc>
                <a:spcPct val="115000"/>
              </a:lnSpc>
              <a:spcBef>
                <a:spcPts val="0"/>
              </a:spcBef>
              <a:spcAft>
                <a:spcPts val="1057"/>
              </a:spcAft>
              <a:buClrTx/>
              <a:buSzTx/>
              <a:buFontTx/>
              <a:buNone/>
              <a:tabLst/>
              <a:defRPr/>
            </a:pPr>
            <a:r>
              <a:rPr lang="en-US" sz="1400" dirty="0" smtClean="0"/>
              <a:t>The Microsoft Privacy Standard (MPS) governs privacy aspects of the development and deployment of Microsoft consumer and enterprise products and services. It </a:t>
            </a:r>
            <a:r>
              <a:rPr lang="en-US" sz="1400" b="1" dirty="0" smtClean="0"/>
              <a:t>informs Microsoft employees and vendors about how to develop products and services</a:t>
            </a:r>
            <a:r>
              <a:rPr lang="en-US" sz="1400" dirty="0" smtClean="0"/>
              <a:t> with users' privacy in mind so that users are able to better understand and control the collection, storage, retention/destruction, and use of their data.</a:t>
            </a:r>
          </a:p>
          <a:p>
            <a:pPr marL="0" marR="0" indent="0" algn="l" defTabSz="966612" rtl="0" eaLnBrk="1" fontAlgn="auto" latinLnBrk="0" hangingPunct="1">
              <a:lnSpc>
                <a:spcPct val="115000"/>
              </a:lnSpc>
              <a:spcBef>
                <a:spcPts val="0"/>
              </a:spcBef>
              <a:spcAft>
                <a:spcPts val="1057"/>
              </a:spcAft>
              <a:buClrTx/>
              <a:buSzTx/>
              <a:buFontTx/>
              <a:buNone/>
              <a:tabLst/>
              <a:defRPr/>
            </a:pPr>
            <a:endParaRPr lang="en-IN" sz="1400" b="1" dirty="0" smtClean="0">
              <a:solidFill>
                <a:schemeClr val="bg1"/>
              </a:solidFill>
              <a:latin typeface="Segoe UI Semibold" panose="020B0702040204020203" pitchFamily="34" charset="0"/>
              <a:ea typeface="Segoe UI" panose="020B0502040204020203" pitchFamily="34" charset="0"/>
              <a:cs typeface="Segoe UI Semibold" panose="020B0702040204020203" pitchFamily="34" charset="0"/>
            </a:endParaRPr>
          </a:p>
          <a:p>
            <a:pPr defTabSz="966612">
              <a:lnSpc>
                <a:spcPct val="115000"/>
              </a:lnSpc>
              <a:spcAft>
                <a:spcPts val="1057"/>
              </a:spcAft>
              <a:defRPr/>
            </a:pPr>
            <a:r>
              <a:rPr lang="en-IN" sz="1400" b="1" dirty="0" smtClean="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Data Segregation</a:t>
            </a:r>
          </a:p>
          <a:p>
            <a:pPr marL="0" marR="0" indent="0" algn="l" defTabSz="966612" rtl="0" eaLnBrk="1" fontAlgn="auto" latinLnBrk="0" hangingPunct="1">
              <a:lnSpc>
                <a:spcPct val="115000"/>
              </a:lnSpc>
              <a:spcBef>
                <a:spcPts val="0"/>
              </a:spcBef>
              <a:spcAft>
                <a:spcPts val="1057"/>
              </a:spcAft>
              <a:buClrTx/>
              <a:buSzTx/>
              <a:buFontTx/>
              <a:buNone/>
              <a:tabLst/>
              <a:defRPr/>
            </a:pPr>
            <a:r>
              <a:rPr lang="en-US" sz="900" kern="1200" dirty="0" smtClean="0">
                <a:solidFill>
                  <a:schemeClr val="tx1"/>
                </a:solidFill>
                <a:effectLst/>
                <a:latin typeface="Segoe UI Light" pitchFamily="34" charset="0"/>
                <a:ea typeface="+mn-ea"/>
                <a:cs typeface="+mn-cs"/>
              </a:rPr>
              <a:t>Azure is a multi-tenant service, meaning that multiple customers’ deployments and virtual machines are stored on the same physical hardware. </a:t>
            </a:r>
            <a:r>
              <a:rPr lang="en-US" sz="900" b="1" kern="1200" dirty="0" smtClean="0">
                <a:solidFill>
                  <a:schemeClr val="tx1"/>
                </a:solidFill>
                <a:effectLst/>
                <a:latin typeface="Segoe UI Light" pitchFamily="34" charset="0"/>
                <a:ea typeface="+mn-ea"/>
                <a:cs typeface="+mn-cs"/>
              </a:rPr>
              <a:t>Azure uses logical isolation to segregate each customer’s data from that of others.</a:t>
            </a:r>
            <a:r>
              <a:rPr lang="en-US" sz="900" kern="1200" dirty="0" smtClean="0">
                <a:solidFill>
                  <a:schemeClr val="tx1"/>
                </a:solidFill>
                <a:effectLst/>
                <a:latin typeface="Segoe UI Light" pitchFamily="34" charset="0"/>
                <a:ea typeface="+mn-ea"/>
                <a:cs typeface="+mn-cs"/>
              </a:rPr>
              <a:t> This provides the scale and economic benefits of multitenant services while rigorously preventing customers from accessing one another’s data.</a:t>
            </a:r>
          </a:p>
          <a:p>
            <a:pPr defTabSz="966612">
              <a:lnSpc>
                <a:spcPct val="115000"/>
              </a:lnSpc>
              <a:spcAft>
                <a:spcPts val="1057"/>
              </a:spcAft>
              <a:defRPr/>
            </a:pPr>
            <a:endParaRPr lang="en-IN" sz="1400" b="1" dirty="0" smtClean="0">
              <a:solidFill>
                <a:schemeClr val="bg1"/>
              </a:solidFill>
              <a:latin typeface="Segoe UI Semibold" panose="020B0702040204020203" pitchFamily="34" charset="0"/>
              <a:ea typeface="Segoe UI" panose="020B0502040204020203" pitchFamily="34" charset="0"/>
              <a:cs typeface="Segoe UI Semibold" panose="020B0702040204020203" pitchFamily="34" charset="0"/>
            </a:endParaRPr>
          </a:p>
          <a:p>
            <a:pPr defTabSz="966612">
              <a:lnSpc>
                <a:spcPct val="115000"/>
              </a:lnSpc>
              <a:spcAft>
                <a:spcPts val="1057"/>
              </a:spcAft>
              <a:defRPr/>
            </a:pPr>
            <a:endParaRPr lang="en-US" sz="1300" b="1" dirty="0">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4</a:t>
            </a:fld>
            <a:endParaRPr lang="en-US" dirty="0">
              <a:solidFill>
                <a:prstClr val="black"/>
              </a:solidFill>
            </a:endParaRPr>
          </a:p>
        </p:txBody>
      </p:sp>
      <p:sp>
        <p:nvSpPr>
          <p:cNvPr id="5" name="Date Placeholder 4"/>
          <p:cNvSpPr>
            <a:spLocks noGrp="1"/>
          </p:cNvSpPr>
          <p:nvPr>
            <p:ph type="dt" idx="11"/>
          </p:nvPr>
        </p:nvSpPr>
        <p:spPr/>
        <p:txBody>
          <a:bodyPr/>
          <a:lstStyle/>
          <a:p>
            <a:fld id="{27AC33DC-E79A-4409-83A6-4031B50C5344}" type="datetime1">
              <a:rPr lang="en-US" smtClean="0">
                <a:solidFill>
                  <a:prstClr val="black"/>
                </a:solidFill>
              </a:rPr>
              <a:t>7/8/2015</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Sarah Fender 100-level Azure Security deck</a:t>
            </a:r>
            <a:endParaRPr lang="en-US" dirty="0">
              <a:solidFill>
                <a:prstClr val="black"/>
              </a:solidFill>
            </a:endParaRPr>
          </a:p>
        </p:txBody>
      </p:sp>
    </p:spTree>
    <p:extLst>
      <p:ext uri="{BB962C8B-B14F-4D97-AF65-F5344CB8AC3E}">
        <p14:creationId xmlns:p14="http://schemas.microsoft.com/office/powerpoint/2010/main" val="39693200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r>
              <a:rPr lang="en-US" sz="1300" b="1" dirty="0">
                <a:latin typeface="Segoe UI" panose="020B0502040204020203" pitchFamily="34" charset="0"/>
                <a:ea typeface="Segoe UI" panose="020B0502040204020203" pitchFamily="34" charset="0"/>
                <a:cs typeface="Segoe UI" panose="020B0502040204020203" pitchFamily="34" charset="0"/>
              </a:rPr>
              <a:t>Slide title: </a:t>
            </a:r>
            <a:r>
              <a:rPr lang="en-US" sz="1300" dirty="0" smtClean="0">
                <a:latin typeface="Segoe UI" panose="020B0502040204020203" pitchFamily="34" charset="0"/>
                <a:ea typeface="Segoe UI" panose="020B0502040204020203" pitchFamily="34" charset="0"/>
                <a:cs typeface="Segoe UI" panose="020B0502040204020203" pitchFamily="34" charset="0"/>
              </a:rPr>
              <a:t>Privacy</a:t>
            </a:r>
            <a:endParaRPr lang="en-US" sz="1300" dirty="0">
              <a:latin typeface="Segoe UI" panose="020B0502040204020203" pitchFamily="34" charset="0"/>
              <a:ea typeface="Segoe UI" panose="020B0502040204020203" pitchFamily="34" charset="0"/>
              <a:cs typeface="Segoe UI" panose="020B0502040204020203" pitchFamily="34" charset="0"/>
            </a:endParaRPr>
          </a:p>
          <a:p>
            <a:pPr defTabSz="966612">
              <a:lnSpc>
                <a:spcPct val="115000"/>
              </a:lnSpc>
              <a:spcAft>
                <a:spcPts val="1057"/>
              </a:spcAft>
              <a:defRPr/>
            </a:pPr>
            <a:r>
              <a:rPr lang="en-US" sz="1300" b="1" dirty="0">
                <a:latin typeface="Segoe UI" panose="020B0502040204020203" pitchFamily="34" charset="0"/>
                <a:ea typeface="Segoe UI" panose="020B0502040204020203" pitchFamily="34" charset="0"/>
                <a:cs typeface="Segoe UI" panose="020B0502040204020203" pitchFamily="34" charset="0"/>
              </a:rPr>
              <a:t>Slide objectives: </a:t>
            </a:r>
            <a:r>
              <a:rPr lang="en-US" sz="1300" dirty="0">
                <a:latin typeface="Segoe UI" panose="020B0502040204020203" pitchFamily="34" charset="0"/>
                <a:ea typeface="Segoe UI" panose="020B0502040204020203" pitchFamily="34" charset="0"/>
                <a:cs typeface="Segoe UI" panose="020B0502040204020203" pitchFamily="34" charset="0"/>
              </a:rPr>
              <a:t>Provide an overview of privacy </a:t>
            </a:r>
            <a:r>
              <a:rPr lang="en-US" sz="1300" dirty="0" smtClean="0">
                <a:latin typeface="Segoe UI" panose="020B0502040204020203" pitchFamily="34" charset="0"/>
                <a:ea typeface="Segoe UI" panose="020B0502040204020203" pitchFamily="34" charset="0"/>
                <a:cs typeface="Segoe UI" panose="020B0502040204020203" pitchFamily="34" charset="0"/>
              </a:rPr>
              <a:t>features of Microsoft</a:t>
            </a:r>
            <a:r>
              <a:rPr lang="en-US" sz="1300" baseline="0" dirty="0" smtClean="0">
                <a:latin typeface="Segoe UI" panose="020B0502040204020203" pitchFamily="34" charset="0"/>
                <a:ea typeface="Segoe UI" panose="020B0502040204020203" pitchFamily="34" charset="0"/>
                <a:cs typeface="Segoe UI" panose="020B0502040204020203" pitchFamily="34" charset="0"/>
              </a:rPr>
              <a:t> </a:t>
            </a:r>
            <a:r>
              <a:rPr lang="en-US" sz="1300" dirty="0" smtClean="0">
                <a:latin typeface="Segoe UI" panose="020B0502040204020203" pitchFamily="34" charset="0"/>
                <a:ea typeface="Segoe UI" panose="020B0502040204020203" pitchFamily="34" charset="0"/>
                <a:cs typeface="Segoe UI" panose="020B0502040204020203" pitchFamily="34" charset="0"/>
              </a:rPr>
              <a:t>Azure</a:t>
            </a:r>
            <a:r>
              <a:rPr lang="en-US" sz="1300" dirty="0">
                <a:latin typeface="Segoe UI" panose="020B0502040204020203" pitchFamily="34" charset="0"/>
                <a:ea typeface="Segoe UI" panose="020B0502040204020203" pitchFamily="34" charset="0"/>
                <a:cs typeface="Segoe UI" panose="020B0502040204020203" pitchFamily="34" charset="0"/>
              </a:rPr>
              <a:t>.</a:t>
            </a:r>
          </a:p>
          <a:p>
            <a:pPr defTabSz="966612">
              <a:lnSpc>
                <a:spcPct val="115000"/>
              </a:lnSpc>
              <a:spcAft>
                <a:spcPts val="1057"/>
              </a:spcAft>
              <a:defRPr/>
            </a:pPr>
            <a:endParaRPr lang="en-US" sz="1300" b="1" dirty="0">
              <a:latin typeface="Segoe UI" panose="020B0502040204020203" pitchFamily="34" charset="0"/>
              <a:ea typeface="Segoe UI" panose="020B0502040204020203" pitchFamily="34" charset="0"/>
              <a:cs typeface="Segoe UI" panose="020B0502040204020203" pitchFamily="34" charset="0"/>
            </a:endParaRPr>
          </a:p>
          <a:p>
            <a:pPr defTabSz="966612">
              <a:lnSpc>
                <a:spcPct val="115000"/>
              </a:lnSpc>
              <a:spcAft>
                <a:spcPts val="1057"/>
              </a:spcAft>
              <a:defRPr/>
            </a:pPr>
            <a:r>
              <a:rPr lang="en-US" sz="1300" b="1" dirty="0">
                <a:latin typeface="Segoe UI" panose="020B0502040204020203" pitchFamily="34" charset="0"/>
                <a:ea typeface="Segoe UI" panose="020B0502040204020203" pitchFamily="34" charset="0"/>
                <a:cs typeface="Segoe UI" panose="020B0502040204020203" pitchFamily="34" charset="0"/>
              </a:rPr>
              <a:t>Slide script: </a:t>
            </a:r>
            <a:endParaRPr lang="en-US" dirty="0" smtClean="0">
              <a:effectLst/>
              <a:latin typeface="Segoe UI" panose="020B0502040204020203" pitchFamily="34" charset="0"/>
              <a:ea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sz="1300" b="1" dirty="0" smtClean="0"/>
              <a:t>ISO/IEC 27018 certification</a:t>
            </a:r>
            <a:r>
              <a:rPr lang="en-US" sz="1300" dirty="0" smtClean="0"/>
              <a:t>. </a:t>
            </a:r>
            <a:r>
              <a:rPr lang="en-US" sz="1200" kern="1200" dirty="0" smtClean="0">
                <a:solidFill>
                  <a:schemeClr val="tx1"/>
                </a:solidFill>
                <a:effectLst/>
                <a:latin typeface="Segoe UI" panose="020B0502040204020203" pitchFamily="34" charset="0"/>
                <a:ea typeface="+mn-ea"/>
                <a:cs typeface="+mn-cs"/>
              </a:rPr>
              <a:t>Microsoft Azure services have incorporated the controls that embody ISO/IEC 27018, including a </a:t>
            </a:r>
            <a:r>
              <a:rPr lang="en-US" sz="1200" b="1" kern="1200" dirty="0" smtClean="0">
                <a:solidFill>
                  <a:schemeClr val="tx1"/>
                </a:solidFill>
                <a:effectLst/>
                <a:latin typeface="Segoe UI" panose="020B0502040204020203" pitchFamily="34" charset="0"/>
                <a:ea typeface="+mn-ea"/>
                <a:cs typeface="+mn-cs"/>
              </a:rPr>
              <a:t>prohibition on the use of customer data for advertising and marketing purposes </a:t>
            </a:r>
            <a:r>
              <a:rPr lang="en-US" sz="1200" kern="1200" dirty="0" smtClean="0">
                <a:solidFill>
                  <a:schemeClr val="tx1"/>
                </a:solidFill>
                <a:effectLst/>
                <a:latin typeface="Segoe UI" panose="020B0502040204020203" pitchFamily="34" charset="0"/>
                <a:ea typeface="+mn-ea"/>
                <a:cs typeface="+mn-cs"/>
              </a:rPr>
              <a:t>without the customer’s express consent. Microsoft will not use customer data for purposes unrelated to providing the cloud service</a:t>
            </a:r>
            <a:r>
              <a:rPr lang="en-US" sz="1200" kern="1200" dirty="0" smtClean="0">
                <a:solidFill>
                  <a:schemeClr val="tx1"/>
                </a:solidFill>
                <a:effectLst/>
                <a:latin typeface="Segoe UI" panose="020B0502040204020203" pitchFamily="34" charset="0"/>
                <a:ea typeface="+mn-ea"/>
                <a:cs typeface="+mn-cs"/>
              </a:rPr>
              <a:t>.</a:t>
            </a:r>
            <a:endParaRPr lang="en-US" sz="1300" dirty="0">
              <a:latin typeface="Segoe UI" panose="020B0502040204020203" pitchFamily="34" charset="0"/>
            </a:endParaRPr>
          </a:p>
          <a:p>
            <a:endParaRPr lang="en-US" sz="1300"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5</a:t>
            </a:fld>
            <a:endParaRPr lang="en-US" dirty="0">
              <a:solidFill>
                <a:prstClr val="black"/>
              </a:solidFill>
            </a:endParaRPr>
          </a:p>
        </p:txBody>
      </p:sp>
      <p:sp>
        <p:nvSpPr>
          <p:cNvPr id="5" name="Date Placeholder 4"/>
          <p:cNvSpPr>
            <a:spLocks noGrp="1"/>
          </p:cNvSpPr>
          <p:nvPr>
            <p:ph type="dt" idx="11"/>
          </p:nvPr>
        </p:nvSpPr>
        <p:spPr/>
        <p:txBody>
          <a:bodyPr/>
          <a:lstStyle/>
          <a:p>
            <a:fld id="{94290A37-CB5C-4964-AE53-C09BDF3C116F}" type="datetime1">
              <a:rPr lang="en-US" smtClean="0">
                <a:solidFill>
                  <a:prstClr val="black"/>
                </a:solidFill>
              </a:rPr>
              <a:t>7/8/2015</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Sarah Fender 100-level Azure Security deck</a:t>
            </a:r>
            <a:endParaRPr lang="en-US" dirty="0">
              <a:solidFill>
                <a:prstClr val="black"/>
              </a:solidFill>
            </a:endParaRPr>
          </a:p>
        </p:txBody>
      </p:sp>
    </p:spTree>
    <p:extLst>
      <p:ext uri="{BB962C8B-B14F-4D97-AF65-F5344CB8AC3E}">
        <p14:creationId xmlns:p14="http://schemas.microsoft.com/office/powerpoint/2010/main" val="32087327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r>
              <a:rPr lang="en-US" sz="1300" b="1" dirty="0">
                <a:latin typeface="Segoe UI" panose="020B0502040204020203" pitchFamily="34" charset="0"/>
                <a:ea typeface="Segoe UI" panose="020B0502040204020203" pitchFamily="34" charset="0"/>
                <a:cs typeface="Segoe UI" panose="020B0502040204020203" pitchFamily="34" charset="0"/>
              </a:rPr>
              <a:t>Slide title: </a:t>
            </a:r>
            <a:r>
              <a:rPr lang="en-US" sz="1300" dirty="0" smtClean="0">
                <a:latin typeface="Segoe UI" panose="020B0502040204020203" pitchFamily="34" charset="0"/>
                <a:ea typeface="Segoe UI" panose="020B0502040204020203" pitchFamily="34" charset="0"/>
                <a:cs typeface="Segoe UI" panose="020B0502040204020203" pitchFamily="34" charset="0"/>
              </a:rPr>
              <a:t>Privacy</a:t>
            </a:r>
            <a:endParaRPr lang="en-US" sz="1300" dirty="0">
              <a:latin typeface="Segoe UI" panose="020B0502040204020203" pitchFamily="34" charset="0"/>
              <a:ea typeface="Segoe UI" panose="020B0502040204020203" pitchFamily="34" charset="0"/>
              <a:cs typeface="Segoe UI" panose="020B0502040204020203" pitchFamily="34" charset="0"/>
            </a:endParaRPr>
          </a:p>
          <a:p>
            <a:pPr defTabSz="966612">
              <a:lnSpc>
                <a:spcPct val="115000"/>
              </a:lnSpc>
              <a:spcAft>
                <a:spcPts val="1057"/>
              </a:spcAft>
              <a:defRPr/>
            </a:pPr>
            <a:r>
              <a:rPr lang="en-US" sz="1300" b="1" dirty="0">
                <a:latin typeface="Segoe UI" panose="020B0502040204020203" pitchFamily="34" charset="0"/>
                <a:ea typeface="Segoe UI" panose="020B0502040204020203" pitchFamily="34" charset="0"/>
                <a:cs typeface="Segoe UI" panose="020B0502040204020203" pitchFamily="34" charset="0"/>
              </a:rPr>
              <a:t>Slide objectives: </a:t>
            </a:r>
            <a:r>
              <a:rPr lang="en-US" sz="1300" dirty="0">
                <a:latin typeface="Segoe UI" panose="020B0502040204020203" pitchFamily="34" charset="0"/>
                <a:ea typeface="Segoe UI" panose="020B0502040204020203" pitchFamily="34" charset="0"/>
                <a:cs typeface="Segoe UI" panose="020B0502040204020203" pitchFamily="34" charset="0"/>
              </a:rPr>
              <a:t>Provide an overview of privacy </a:t>
            </a:r>
            <a:r>
              <a:rPr lang="en-US" sz="1300" dirty="0" smtClean="0">
                <a:latin typeface="Segoe UI" panose="020B0502040204020203" pitchFamily="34" charset="0"/>
                <a:ea typeface="Segoe UI" panose="020B0502040204020203" pitchFamily="34" charset="0"/>
                <a:cs typeface="Segoe UI" panose="020B0502040204020203" pitchFamily="34" charset="0"/>
              </a:rPr>
              <a:t>features of Microsoft</a:t>
            </a:r>
            <a:r>
              <a:rPr lang="en-US" sz="1300" baseline="0" dirty="0" smtClean="0">
                <a:latin typeface="Segoe UI" panose="020B0502040204020203" pitchFamily="34" charset="0"/>
                <a:ea typeface="Segoe UI" panose="020B0502040204020203" pitchFamily="34" charset="0"/>
                <a:cs typeface="Segoe UI" panose="020B0502040204020203" pitchFamily="34" charset="0"/>
              </a:rPr>
              <a:t> </a:t>
            </a:r>
            <a:r>
              <a:rPr lang="en-US" sz="1300" dirty="0" smtClean="0">
                <a:latin typeface="Segoe UI" panose="020B0502040204020203" pitchFamily="34" charset="0"/>
                <a:ea typeface="Segoe UI" panose="020B0502040204020203" pitchFamily="34" charset="0"/>
                <a:cs typeface="Segoe UI" panose="020B0502040204020203" pitchFamily="34" charset="0"/>
              </a:rPr>
              <a:t>Azure</a:t>
            </a:r>
            <a:r>
              <a:rPr lang="en-US" sz="1300" dirty="0">
                <a:latin typeface="Segoe UI" panose="020B0502040204020203" pitchFamily="34" charset="0"/>
                <a:ea typeface="Segoe UI" panose="020B0502040204020203" pitchFamily="34" charset="0"/>
                <a:cs typeface="Segoe UI" panose="020B0502040204020203" pitchFamily="34" charset="0"/>
              </a:rPr>
              <a:t>.</a:t>
            </a:r>
          </a:p>
          <a:p>
            <a:pPr defTabSz="966612">
              <a:lnSpc>
                <a:spcPct val="115000"/>
              </a:lnSpc>
              <a:spcAft>
                <a:spcPts val="1057"/>
              </a:spcAft>
              <a:defRPr/>
            </a:pPr>
            <a:endParaRPr lang="en-US" sz="1300" b="1" dirty="0">
              <a:latin typeface="Segoe UI" panose="020B0502040204020203" pitchFamily="34" charset="0"/>
              <a:ea typeface="Segoe UI" panose="020B0502040204020203" pitchFamily="34" charset="0"/>
              <a:cs typeface="Segoe UI" panose="020B0502040204020203" pitchFamily="34" charset="0"/>
            </a:endParaRPr>
          </a:p>
          <a:p>
            <a:pPr defTabSz="966612">
              <a:lnSpc>
                <a:spcPct val="115000"/>
              </a:lnSpc>
              <a:spcAft>
                <a:spcPts val="1057"/>
              </a:spcAft>
              <a:defRPr/>
            </a:pPr>
            <a:r>
              <a:rPr lang="en-US" sz="1300" b="1" dirty="0">
                <a:latin typeface="Segoe UI" panose="020B0502040204020203" pitchFamily="34" charset="0"/>
                <a:ea typeface="Segoe UI" panose="020B0502040204020203" pitchFamily="34" charset="0"/>
                <a:cs typeface="Segoe UI" panose="020B0502040204020203" pitchFamily="34" charset="0"/>
              </a:rPr>
              <a:t>Slide script: </a:t>
            </a:r>
            <a:endParaRPr lang="en-US" sz="1300" b="1" dirty="0" smtClean="0">
              <a:latin typeface="Segoe UI" panose="020B0502040204020203" pitchFamily="34" charset="0"/>
              <a:ea typeface="Segoe UI" panose="020B0502040204020203" pitchFamily="34" charset="0"/>
              <a:cs typeface="Segoe UI" panose="020B0502040204020203" pitchFamily="34" charset="0"/>
            </a:endParaRPr>
          </a:p>
          <a:p>
            <a:r>
              <a:rPr lang="en-US" sz="900" kern="1200" dirty="0" smtClean="0">
                <a:solidFill>
                  <a:schemeClr val="tx1"/>
                </a:solidFill>
                <a:effectLst/>
                <a:latin typeface="Segoe UI Light" pitchFamily="34" charset="0"/>
                <a:ea typeface="+mn-ea"/>
                <a:cs typeface="+mn-cs"/>
              </a:rPr>
              <a:t>We back our protections with strong contractual commitments to safeguard customer data by abiding by the EU Model Clauses (which governs the processing of personal information), and other international standards. Microsoft uses customer data stored in Azure only to improve service. Azure does not share data with its advertising-supported services or mine customer data for advertising. </a:t>
            </a:r>
          </a:p>
          <a:p>
            <a:pPr defTabSz="966612">
              <a:lnSpc>
                <a:spcPct val="115000"/>
              </a:lnSpc>
              <a:spcAft>
                <a:spcPts val="1057"/>
              </a:spcAft>
              <a:defRPr/>
            </a:pPr>
            <a:endParaRPr lang="en-US" dirty="0" smtClean="0">
              <a:effectLst/>
              <a:latin typeface="Segoe UI" panose="020B0502040204020203" pitchFamily="34" charset="0"/>
              <a:ea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sz="1300" b="1" dirty="0"/>
              <a:t>Contractual commitments.</a:t>
            </a:r>
            <a:r>
              <a:rPr lang="en-US" sz="1300" dirty="0"/>
              <a:t> Microsoft is unique among major cloud service providers in providing cloud-service-specific privacy statements and making </a:t>
            </a:r>
            <a:r>
              <a:rPr lang="en-US" sz="1300" b="1" dirty="0"/>
              <a:t>strong contractual commitments to safeguard customer data and protect privacy</a:t>
            </a:r>
            <a:r>
              <a:rPr lang="en-US" sz="1300" dirty="0"/>
              <a:t>. Microsoft makes the standard contractual clauses created by the European Union (known as the “EU Model Clauses”) available to enterprise customers to provide additional contractual guarantees concerning transfers of personal data. </a:t>
            </a:r>
            <a:endParaRPr lang="en-US" sz="1300" dirty="0" smtClean="0"/>
          </a:p>
          <a:p>
            <a:pPr marL="285750" indent="-285750">
              <a:buFont typeface="Arial" panose="020B0604020202020204" pitchFamily="34" charset="0"/>
              <a:buChar char="•"/>
            </a:pPr>
            <a:endParaRPr lang="en-US" sz="1300" dirty="0" smtClean="0"/>
          </a:p>
          <a:p>
            <a:pPr marL="285750" indent="-285750">
              <a:buFont typeface="Arial" panose="020B0604020202020204" pitchFamily="34" charset="0"/>
              <a:buChar char="•"/>
            </a:pPr>
            <a:endParaRPr lang="en-US" sz="1300" dirty="0" smtClean="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6</a:t>
            </a:fld>
            <a:endParaRPr lang="en-US" dirty="0">
              <a:solidFill>
                <a:prstClr val="black"/>
              </a:solidFill>
            </a:endParaRPr>
          </a:p>
        </p:txBody>
      </p:sp>
      <p:sp>
        <p:nvSpPr>
          <p:cNvPr id="5" name="Date Placeholder 4"/>
          <p:cNvSpPr>
            <a:spLocks noGrp="1"/>
          </p:cNvSpPr>
          <p:nvPr>
            <p:ph type="dt" idx="11"/>
          </p:nvPr>
        </p:nvSpPr>
        <p:spPr/>
        <p:txBody>
          <a:bodyPr/>
          <a:lstStyle/>
          <a:p>
            <a:fld id="{B6409837-8065-4136-ADBA-9A49B9A0E631}" type="datetime1">
              <a:rPr lang="en-US" smtClean="0">
                <a:solidFill>
                  <a:prstClr val="black"/>
                </a:solidFill>
              </a:rPr>
              <a:t>7/8/2015</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Sarah Fender 100-level Azure Security deck</a:t>
            </a:r>
            <a:endParaRPr lang="en-US" dirty="0">
              <a:solidFill>
                <a:prstClr val="black"/>
              </a:solidFill>
            </a:endParaRPr>
          </a:p>
        </p:txBody>
      </p:sp>
    </p:spTree>
    <p:extLst>
      <p:ext uri="{BB962C8B-B14F-4D97-AF65-F5344CB8AC3E}">
        <p14:creationId xmlns:p14="http://schemas.microsoft.com/office/powerpoint/2010/main" val="15903863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r>
              <a:rPr lang="en-US" sz="1300" b="1" dirty="0">
                <a:latin typeface="Segoe UI" panose="020B0502040204020203" pitchFamily="34" charset="0"/>
                <a:ea typeface="Segoe UI" panose="020B0502040204020203" pitchFamily="34" charset="0"/>
                <a:cs typeface="Segoe UI" panose="020B0502040204020203" pitchFamily="34" charset="0"/>
              </a:rPr>
              <a:t>Slide title: </a:t>
            </a:r>
            <a:r>
              <a:rPr lang="en-US" sz="1300" dirty="0" smtClean="0">
                <a:latin typeface="Segoe UI" panose="020B0502040204020203" pitchFamily="34" charset="0"/>
                <a:ea typeface="Segoe UI" panose="020B0502040204020203" pitchFamily="34" charset="0"/>
                <a:cs typeface="Segoe UI" panose="020B0502040204020203" pitchFamily="34" charset="0"/>
              </a:rPr>
              <a:t>Privacy</a:t>
            </a:r>
            <a:endParaRPr lang="en-US" sz="1300" dirty="0">
              <a:latin typeface="Segoe UI" panose="020B0502040204020203" pitchFamily="34" charset="0"/>
              <a:ea typeface="Segoe UI" panose="020B0502040204020203" pitchFamily="34" charset="0"/>
              <a:cs typeface="Segoe UI" panose="020B0502040204020203" pitchFamily="34" charset="0"/>
            </a:endParaRPr>
          </a:p>
          <a:p>
            <a:pPr defTabSz="966612">
              <a:lnSpc>
                <a:spcPct val="115000"/>
              </a:lnSpc>
              <a:spcAft>
                <a:spcPts val="1057"/>
              </a:spcAft>
              <a:defRPr/>
            </a:pPr>
            <a:r>
              <a:rPr lang="en-US" sz="1300" b="1" dirty="0">
                <a:latin typeface="Segoe UI" panose="020B0502040204020203" pitchFamily="34" charset="0"/>
                <a:ea typeface="Segoe UI" panose="020B0502040204020203" pitchFamily="34" charset="0"/>
                <a:cs typeface="Segoe UI" panose="020B0502040204020203" pitchFamily="34" charset="0"/>
              </a:rPr>
              <a:t>Slide objectives: </a:t>
            </a:r>
            <a:r>
              <a:rPr lang="en-US" sz="1300" dirty="0">
                <a:latin typeface="Segoe UI" panose="020B0502040204020203" pitchFamily="34" charset="0"/>
                <a:ea typeface="Segoe UI" panose="020B0502040204020203" pitchFamily="34" charset="0"/>
                <a:cs typeface="Segoe UI" panose="020B0502040204020203" pitchFamily="34" charset="0"/>
              </a:rPr>
              <a:t>Provide an overview of privacy </a:t>
            </a:r>
            <a:r>
              <a:rPr lang="en-US" sz="1300" dirty="0" smtClean="0">
                <a:latin typeface="Segoe UI" panose="020B0502040204020203" pitchFamily="34" charset="0"/>
                <a:ea typeface="Segoe UI" panose="020B0502040204020203" pitchFamily="34" charset="0"/>
                <a:cs typeface="Segoe UI" panose="020B0502040204020203" pitchFamily="34" charset="0"/>
              </a:rPr>
              <a:t>features of Microsoft</a:t>
            </a:r>
            <a:r>
              <a:rPr lang="en-US" sz="1300" baseline="0" dirty="0" smtClean="0">
                <a:latin typeface="Segoe UI" panose="020B0502040204020203" pitchFamily="34" charset="0"/>
                <a:ea typeface="Segoe UI" panose="020B0502040204020203" pitchFamily="34" charset="0"/>
                <a:cs typeface="Segoe UI" panose="020B0502040204020203" pitchFamily="34" charset="0"/>
              </a:rPr>
              <a:t> </a:t>
            </a:r>
            <a:r>
              <a:rPr lang="en-US" sz="1300" dirty="0" smtClean="0">
                <a:latin typeface="Segoe UI" panose="020B0502040204020203" pitchFamily="34" charset="0"/>
                <a:ea typeface="Segoe UI" panose="020B0502040204020203" pitchFamily="34" charset="0"/>
                <a:cs typeface="Segoe UI" panose="020B0502040204020203" pitchFamily="34" charset="0"/>
              </a:rPr>
              <a:t>Azure</a:t>
            </a:r>
            <a:r>
              <a:rPr lang="en-US" sz="1300" dirty="0">
                <a:latin typeface="Segoe UI" panose="020B0502040204020203" pitchFamily="34" charset="0"/>
                <a:ea typeface="Segoe UI" panose="020B0502040204020203" pitchFamily="34" charset="0"/>
                <a:cs typeface="Segoe UI" panose="020B0502040204020203" pitchFamily="34" charset="0"/>
              </a:rPr>
              <a:t>.</a:t>
            </a:r>
          </a:p>
          <a:p>
            <a:pPr defTabSz="966612">
              <a:lnSpc>
                <a:spcPct val="115000"/>
              </a:lnSpc>
              <a:spcAft>
                <a:spcPts val="1057"/>
              </a:spcAft>
              <a:defRPr/>
            </a:pPr>
            <a:endParaRPr lang="en-US" sz="1300" b="1" dirty="0">
              <a:latin typeface="Segoe UI" panose="020B0502040204020203" pitchFamily="34" charset="0"/>
              <a:ea typeface="Segoe UI" panose="020B0502040204020203" pitchFamily="34" charset="0"/>
              <a:cs typeface="Segoe UI" panose="020B0502040204020203" pitchFamily="34" charset="0"/>
            </a:endParaRPr>
          </a:p>
          <a:p>
            <a:pPr defTabSz="966612">
              <a:lnSpc>
                <a:spcPct val="115000"/>
              </a:lnSpc>
              <a:spcAft>
                <a:spcPts val="1057"/>
              </a:spcAft>
              <a:defRPr/>
            </a:pPr>
            <a:r>
              <a:rPr lang="en-US" sz="1300" b="1" dirty="0">
                <a:latin typeface="Segoe UI" panose="020B0502040204020203" pitchFamily="34" charset="0"/>
                <a:ea typeface="Segoe UI" panose="020B0502040204020203" pitchFamily="34" charset="0"/>
                <a:cs typeface="Segoe UI" panose="020B0502040204020203" pitchFamily="34" charset="0"/>
              </a:rPr>
              <a:t>Slide script: </a:t>
            </a:r>
            <a:endParaRPr lang="en-US" dirty="0" smtClean="0">
              <a:effectLst/>
              <a:latin typeface="Segoe UI" panose="020B0502040204020203" pitchFamily="34" charset="0"/>
              <a:ea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sz="1300" b="1" dirty="0" smtClean="0"/>
              <a:t>Restricted </a:t>
            </a:r>
            <a:r>
              <a:rPr lang="en-US" sz="1300" b="1" dirty="0"/>
              <a:t>data access and use.</a:t>
            </a:r>
            <a:r>
              <a:rPr lang="en-US" sz="1300" dirty="0"/>
              <a:t> Access to customer data by Microsoft personnel is restricted. Customer Data is only accessed when necessary to support the customer’s use of Windows Azure. This may include </a:t>
            </a:r>
            <a:r>
              <a:rPr lang="en-US" sz="1300" b="1" dirty="0"/>
              <a:t>troubleshooting aimed at preventing, detecting or repairing problems </a:t>
            </a:r>
            <a:r>
              <a:rPr lang="en-US" sz="1300" dirty="0"/>
              <a:t>affecting the operation of Windows Azure and the improvement of features that involve the detection of, and protection against, emerging and evolving threats to the user (such as malware or spam). When granted, </a:t>
            </a:r>
            <a:r>
              <a:rPr lang="en-US" sz="1300" b="1" dirty="0"/>
              <a:t>access is carefully controlled and logged</a:t>
            </a:r>
            <a:r>
              <a:rPr lang="en-US" sz="1300" dirty="0"/>
              <a:t>. </a:t>
            </a:r>
            <a:r>
              <a:rPr lang="en-US" sz="1300" b="1" dirty="0"/>
              <a:t>Strong authentication</a:t>
            </a:r>
            <a:r>
              <a:rPr lang="en-US" sz="1300" dirty="0"/>
              <a:t>, including the use of multi-factor authentication, helps limit access to authorized personnel only. </a:t>
            </a:r>
            <a:r>
              <a:rPr lang="en-US" sz="1300" b="1" dirty="0"/>
              <a:t>Access is revoked </a:t>
            </a:r>
            <a:r>
              <a:rPr lang="en-US" sz="1300" dirty="0"/>
              <a:t>as soon as it is no longer needed</a:t>
            </a:r>
            <a:r>
              <a:rPr lang="en-US" sz="1300" dirty="0" smtClean="0"/>
              <a:t>. Azure </a:t>
            </a:r>
            <a:r>
              <a:rPr lang="en-US" sz="1300" dirty="0"/>
              <a:t>does </a:t>
            </a:r>
            <a:r>
              <a:rPr lang="en-US" sz="1300" dirty="0" smtClean="0"/>
              <a:t>NOT </a:t>
            </a:r>
            <a:r>
              <a:rPr lang="en-US" sz="1300" dirty="0"/>
              <a:t>share Customer Data with its advertiser-supported services, nor is customer data mined for </a:t>
            </a:r>
            <a:r>
              <a:rPr lang="en-US" sz="1300" dirty="0" smtClean="0"/>
              <a:t>advertising.</a:t>
            </a:r>
          </a:p>
          <a:p>
            <a:endParaRPr lang="en-US" sz="1300"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7</a:t>
            </a:fld>
            <a:endParaRPr lang="en-US" dirty="0">
              <a:solidFill>
                <a:prstClr val="black"/>
              </a:solidFill>
            </a:endParaRPr>
          </a:p>
        </p:txBody>
      </p:sp>
      <p:sp>
        <p:nvSpPr>
          <p:cNvPr id="5" name="Date Placeholder 4"/>
          <p:cNvSpPr>
            <a:spLocks noGrp="1"/>
          </p:cNvSpPr>
          <p:nvPr>
            <p:ph type="dt" idx="11"/>
          </p:nvPr>
        </p:nvSpPr>
        <p:spPr/>
        <p:txBody>
          <a:bodyPr/>
          <a:lstStyle/>
          <a:p>
            <a:fld id="{AA9A1BC6-7EF9-4DE7-933F-48309CCD84CF}" type="datetime1">
              <a:rPr lang="en-US" smtClean="0">
                <a:solidFill>
                  <a:prstClr val="black"/>
                </a:solidFill>
              </a:rPr>
              <a:t>7/8/2015</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Sarah Fender 100-level Azure Security deck</a:t>
            </a:r>
            <a:endParaRPr lang="en-US" dirty="0">
              <a:solidFill>
                <a:prstClr val="black"/>
              </a:solidFill>
            </a:endParaRPr>
          </a:p>
        </p:txBody>
      </p:sp>
    </p:spTree>
    <p:extLst>
      <p:ext uri="{BB962C8B-B14F-4D97-AF65-F5344CB8AC3E}">
        <p14:creationId xmlns:p14="http://schemas.microsoft.com/office/powerpoint/2010/main" val="12790872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900" b="1" kern="1200" dirty="0" smtClean="0">
                <a:solidFill>
                  <a:schemeClr val="tx1"/>
                </a:solidFill>
                <a:effectLst/>
                <a:latin typeface="Segoe UI Light" pitchFamily="34" charset="0"/>
                <a:ea typeface="+mn-ea"/>
                <a:cs typeface="+mn-cs"/>
              </a:rPr>
              <a:t>Notification of lawful requests for information. </a:t>
            </a:r>
            <a:r>
              <a:rPr lang="en-US" sz="900" kern="1200" dirty="0" smtClean="0">
                <a:solidFill>
                  <a:schemeClr val="tx1"/>
                </a:solidFill>
                <a:effectLst/>
                <a:latin typeface="Segoe UI Light" pitchFamily="34" charset="0"/>
                <a:ea typeface="+mn-ea"/>
                <a:cs typeface="+mn-cs"/>
              </a:rPr>
              <a:t>Microsoft does not disclose customer data to law enforcement unless required by law, and will notify customers when compelled to disclose. The Law Enforcement Request Report discloses details of requests every 6 months.</a:t>
            </a:r>
          </a:p>
          <a:p>
            <a:pPr marL="285750" indent="-285750">
              <a:buFont typeface="Arial" panose="020B0604020202020204" pitchFamily="34" charset="0"/>
              <a:buChar char="•"/>
            </a:pPr>
            <a:r>
              <a:rPr lang="en-US" sz="900" b="1" kern="1200" dirty="0" smtClean="0">
                <a:solidFill>
                  <a:schemeClr val="tx1"/>
                </a:solidFill>
                <a:effectLst/>
                <a:latin typeface="Segoe UI Light" pitchFamily="34" charset="0"/>
                <a:ea typeface="+mn-ea"/>
                <a:cs typeface="+mn-cs"/>
              </a:rPr>
              <a:t>Transparency and simplicity of data use policies. </a:t>
            </a:r>
            <a:r>
              <a:rPr lang="en-US" sz="900" kern="1200" dirty="0" smtClean="0">
                <a:solidFill>
                  <a:schemeClr val="tx1"/>
                </a:solidFill>
                <a:effectLst/>
                <a:latin typeface="Segoe UI Light" pitchFamily="34" charset="0"/>
                <a:ea typeface="+mn-ea"/>
                <a:cs typeface="+mn-cs"/>
              </a:rPr>
              <a:t>Microsoft keeps customers informed about the processes to protect data privacy and security, including practices and policies. </a:t>
            </a:r>
            <a:r>
              <a:rPr lang="en-US" sz="900" b="1" kern="1200" dirty="0" smtClean="0">
                <a:solidFill>
                  <a:schemeClr val="tx1"/>
                </a:solidFill>
                <a:effectLst/>
                <a:latin typeface="Segoe UI Light" pitchFamily="34" charset="0"/>
                <a:ea typeface="+mn-ea"/>
                <a:cs typeface="+mn-cs"/>
              </a:rPr>
              <a:t>Microsoft also provides the summaries of independent audits of services</a:t>
            </a:r>
            <a:r>
              <a:rPr lang="en-US" sz="900" kern="1200" dirty="0" smtClean="0">
                <a:solidFill>
                  <a:schemeClr val="tx1"/>
                </a:solidFill>
                <a:effectLst/>
                <a:latin typeface="Segoe UI Light" pitchFamily="34" charset="0"/>
                <a:ea typeface="+mn-ea"/>
                <a:cs typeface="+mn-cs"/>
              </a:rPr>
              <a:t>, which help customers pursue their own compliance.</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8217B8F-1724-40B9-A816-B3BBC088F277}" type="datetime1">
              <a:rPr lang="en-US" smtClean="0"/>
              <a:t>7/8/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40257017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r>
              <a:rPr lang="en-US" sz="1050" b="1" dirty="0" smtClean="0">
                <a:latin typeface="Segoe UI" panose="020B0502040204020203" pitchFamily="34" charset="0"/>
                <a:ea typeface="Segoe UI" panose="020B0502040204020203" pitchFamily="34" charset="0"/>
                <a:cs typeface="Segoe UI" panose="020B0502040204020203" pitchFamily="34" charset="0"/>
              </a:rPr>
              <a:t>Slide title: </a:t>
            </a:r>
            <a:r>
              <a:rPr lang="en-US" sz="1050" dirty="0" smtClean="0">
                <a:latin typeface="Segoe UI" panose="020B0502040204020203" pitchFamily="34" charset="0"/>
                <a:ea typeface="Segoe UI" panose="020B0502040204020203" pitchFamily="34" charset="0"/>
                <a:cs typeface="Segoe UI" panose="020B0502040204020203" pitchFamily="34" charset="0"/>
              </a:rPr>
              <a:t>Control</a:t>
            </a:r>
          </a:p>
          <a:p>
            <a:pPr defTabSz="966612">
              <a:lnSpc>
                <a:spcPct val="115000"/>
              </a:lnSpc>
              <a:spcAft>
                <a:spcPts val="1057"/>
              </a:spcAft>
              <a:defRPr/>
            </a:pPr>
            <a:r>
              <a:rPr lang="en-US" sz="1050" b="1" dirty="0" smtClean="0">
                <a:latin typeface="Segoe UI" panose="020B0502040204020203" pitchFamily="34" charset="0"/>
                <a:ea typeface="Segoe UI" panose="020B0502040204020203" pitchFamily="34" charset="0"/>
                <a:cs typeface="Segoe UI" panose="020B0502040204020203" pitchFamily="34" charset="0"/>
              </a:rPr>
              <a:t>Slide objectives: </a:t>
            </a:r>
            <a:r>
              <a:rPr lang="en-US" sz="1050" dirty="0" smtClean="0">
                <a:latin typeface="Segoe UI" panose="020B0502040204020203" pitchFamily="34" charset="0"/>
                <a:ea typeface="Segoe UI" panose="020B0502040204020203" pitchFamily="34" charset="0"/>
                <a:cs typeface="Segoe UI" panose="020B0502040204020203" pitchFamily="34" charset="0"/>
              </a:rPr>
              <a:t>Provide</a:t>
            </a:r>
            <a:r>
              <a:rPr lang="en-US" sz="1050" baseline="0" dirty="0" smtClean="0">
                <a:latin typeface="Segoe UI" panose="020B0502040204020203" pitchFamily="34" charset="0"/>
                <a:ea typeface="Segoe UI" panose="020B0502040204020203" pitchFamily="34" charset="0"/>
                <a:cs typeface="Segoe UI" panose="020B0502040204020203" pitchFamily="34" charset="0"/>
              </a:rPr>
              <a:t> an overview of how Azure enables control</a:t>
            </a:r>
            <a:endParaRPr lang="en-US" sz="1050" dirty="0" smtClean="0">
              <a:latin typeface="Segoe UI" panose="020B0502040204020203" pitchFamily="34" charset="0"/>
              <a:ea typeface="Segoe UI" panose="020B0502040204020203" pitchFamily="34" charset="0"/>
              <a:cs typeface="Segoe UI" panose="020B0502040204020203" pitchFamily="34" charset="0"/>
            </a:endParaRPr>
          </a:p>
          <a:p>
            <a:pPr defTabSz="966612">
              <a:lnSpc>
                <a:spcPct val="115000"/>
              </a:lnSpc>
              <a:spcAft>
                <a:spcPts val="1057"/>
              </a:spcAft>
              <a:defRPr/>
            </a:pPr>
            <a:endParaRPr lang="en-US" sz="1050" b="1" dirty="0" smtClean="0">
              <a:latin typeface="Segoe UI" panose="020B0502040204020203" pitchFamily="34" charset="0"/>
              <a:ea typeface="Segoe UI" panose="020B0502040204020203" pitchFamily="34" charset="0"/>
              <a:cs typeface="Segoe UI" panose="020B0502040204020203" pitchFamily="34" charset="0"/>
            </a:endParaRPr>
          </a:p>
          <a:p>
            <a:pPr defTabSz="966612">
              <a:lnSpc>
                <a:spcPct val="115000"/>
              </a:lnSpc>
              <a:spcAft>
                <a:spcPts val="1057"/>
              </a:spcAft>
              <a:defRPr/>
            </a:pPr>
            <a:r>
              <a:rPr lang="en-US" sz="1050" b="1" dirty="0" smtClean="0">
                <a:latin typeface="Segoe UI" panose="020B0502040204020203" pitchFamily="34" charset="0"/>
                <a:ea typeface="Segoe UI" panose="020B0502040204020203" pitchFamily="34" charset="0"/>
                <a:cs typeface="Segoe UI" panose="020B0502040204020203" pitchFamily="34" charset="0"/>
              </a:rPr>
              <a:t>Slide script: </a:t>
            </a:r>
            <a:endParaRPr lang="en-US" sz="1050" dirty="0" smtClean="0">
              <a:latin typeface="Segoe UI" panose="020B0502040204020203" pitchFamily="34" charset="0"/>
              <a:ea typeface="Segoe UI" panose="020B0502040204020203" pitchFamily="34" charset="0"/>
              <a:cs typeface="Segoe UI" panose="020B0502040204020203" pitchFamily="34" charset="0"/>
            </a:endParaRPr>
          </a:p>
          <a:p>
            <a:pPr marL="285750" marR="0" indent="-285750" algn="l" defTabSz="9666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kern="1200" dirty="0" smtClean="0">
                <a:solidFill>
                  <a:schemeClr val="tx1"/>
                </a:solidFill>
                <a:effectLst/>
                <a:latin typeface="Segoe UI Light" pitchFamily="34" charset="0"/>
                <a:ea typeface="+mn-ea"/>
                <a:cs typeface="+mn-cs"/>
              </a:rPr>
              <a:t>Customers own their data. </a:t>
            </a:r>
            <a:r>
              <a:rPr lang="en-US" sz="1000" kern="1200" dirty="0" smtClean="0">
                <a:solidFill>
                  <a:schemeClr val="tx1"/>
                </a:solidFill>
                <a:effectLst/>
                <a:latin typeface="Segoe UI Light" pitchFamily="34" charset="0"/>
                <a:ea typeface="+mn-ea"/>
                <a:cs typeface="+mn-cs"/>
              </a:rPr>
              <a:t>This belief is fundamental to the Microsoft approach. When a customer utilizes Azure, they retain </a:t>
            </a:r>
            <a:r>
              <a:rPr lang="en-US" sz="1000" b="1" kern="1200" dirty="0" smtClean="0">
                <a:solidFill>
                  <a:schemeClr val="tx1"/>
                </a:solidFill>
                <a:effectLst/>
                <a:latin typeface="Segoe UI Light" pitchFamily="34" charset="0"/>
                <a:ea typeface="+mn-ea"/>
                <a:cs typeface="+mn-cs"/>
              </a:rPr>
              <a:t>exclusive ownership </a:t>
            </a:r>
            <a:r>
              <a:rPr lang="en-US" sz="1000" kern="1200" dirty="0" smtClean="0">
                <a:solidFill>
                  <a:schemeClr val="tx1"/>
                </a:solidFill>
                <a:effectLst/>
                <a:latin typeface="Segoe UI Light" pitchFamily="34" charset="0"/>
                <a:ea typeface="+mn-ea"/>
                <a:cs typeface="+mn-cs"/>
              </a:rPr>
              <a:t>of their data. </a:t>
            </a:r>
          </a:p>
          <a:p>
            <a:pPr marL="285750" marR="0" indent="-285750" algn="l" defTabSz="9666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kern="1200" dirty="0" smtClean="0">
                <a:solidFill>
                  <a:schemeClr val="tx1"/>
                </a:solidFill>
                <a:effectLst/>
                <a:latin typeface="Segoe UI Light" pitchFamily="34" charset="0"/>
                <a:ea typeface="+mn-ea"/>
                <a:cs typeface="+mn-cs"/>
              </a:rPr>
              <a:t>Control over data location.</a:t>
            </a:r>
            <a:r>
              <a:rPr lang="en-US" sz="1000" kern="1200" dirty="0" smtClean="0">
                <a:solidFill>
                  <a:schemeClr val="tx1"/>
                </a:solidFill>
                <a:effectLst/>
                <a:latin typeface="Segoe UI Light" pitchFamily="34" charset="0"/>
                <a:ea typeface="+mn-ea"/>
                <a:cs typeface="+mn-cs"/>
              </a:rPr>
              <a:t> When customers entrust their data to Microsoft, they are not giving up control. For many customers, knowing and controlling the location of their data can be an important element of data privacy, compliance, and governance. Microsoft gives customers the freedom to choose the geographic areas where their data is stored, whether that includes</a:t>
            </a:r>
            <a:r>
              <a:rPr lang="en-US" sz="1000" b="1" kern="1200" dirty="0" smtClean="0">
                <a:solidFill>
                  <a:schemeClr val="tx1"/>
                </a:solidFill>
                <a:effectLst/>
                <a:latin typeface="Segoe UI Light" pitchFamily="34" charset="0"/>
                <a:ea typeface="+mn-ea"/>
                <a:cs typeface="+mn-cs"/>
              </a:rPr>
              <a:t> in-country </a:t>
            </a:r>
            <a:r>
              <a:rPr lang="en-US" sz="1000" kern="1200" dirty="0" smtClean="0">
                <a:solidFill>
                  <a:schemeClr val="tx1"/>
                </a:solidFill>
                <a:effectLst/>
                <a:latin typeface="Segoe UI Light" pitchFamily="34" charset="0"/>
                <a:ea typeface="+mn-ea"/>
                <a:cs typeface="+mn-cs"/>
              </a:rPr>
              <a:t>storage for compliance or latency considerations or </a:t>
            </a:r>
            <a:r>
              <a:rPr lang="en-US" sz="1000" b="1" kern="1200" dirty="0" smtClean="0">
                <a:solidFill>
                  <a:schemeClr val="tx1"/>
                </a:solidFill>
                <a:effectLst/>
                <a:latin typeface="Segoe UI Light" pitchFamily="34" charset="0"/>
                <a:ea typeface="+mn-ea"/>
                <a:cs typeface="+mn-cs"/>
              </a:rPr>
              <a:t>out-of-country</a:t>
            </a:r>
            <a:r>
              <a:rPr lang="en-US" sz="1000" kern="1200" dirty="0" smtClean="0">
                <a:solidFill>
                  <a:schemeClr val="tx1"/>
                </a:solidFill>
                <a:effectLst/>
                <a:latin typeface="Segoe UI Light" pitchFamily="34" charset="0"/>
                <a:ea typeface="+mn-ea"/>
                <a:cs typeface="+mn-cs"/>
              </a:rPr>
              <a:t> storage for security or disaster recovery purposes. Data may be replicated within a selected geographic area for redundancy, but will not be transmitted outside it. </a:t>
            </a:r>
          </a:p>
          <a:p>
            <a:pPr marL="285750" marR="0" indent="-285750" algn="l" defTabSz="9666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kern="1200" dirty="0" smtClean="0">
                <a:solidFill>
                  <a:schemeClr val="tx1"/>
                </a:solidFill>
                <a:effectLst/>
                <a:latin typeface="Segoe UI Light" pitchFamily="34" charset="0"/>
                <a:ea typeface="+mn-ea"/>
                <a:cs typeface="+mn-cs"/>
              </a:rPr>
              <a:t>Encryption key management.</a:t>
            </a:r>
            <a:r>
              <a:rPr lang="en-US" sz="1000" kern="1200" dirty="0" smtClean="0">
                <a:solidFill>
                  <a:schemeClr val="tx1"/>
                </a:solidFill>
                <a:effectLst/>
                <a:latin typeface="Segoe UI Light" pitchFamily="34" charset="0"/>
                <a:ea typeface="+mn-ea"/>
                <a:cs typeface="+mn-cs"/>
              </a:rPr>
              <a:t> To ensure control over encrypted data, customers have the option to </a:t>
            </a:r>
            <a:r>
              <a:rPr lang="en-US" sz="1000" b="1" kern="1200" dirty="0" smtClean="0">
                <a:solidFill>
                  <a:schemeClr val="tx1"/>
                </a:solidFill>
                <a:effectLst/>
                <a:latin typeface="Segoe UI Light" pitchFamily="34" charset="0"/>
                <a:ea typeface="+mn-ea"/>
                <a:cs typeface="+mn-cs"/>
              </a:rPr>
              <a:t>generate and manage their own encryption keys</a:t>
            </a:r>
            <a:r>
              <a:rPr lang="en-US" sz="1000" kern="1200" dirty="0" smtClean="0">
                <a:solidFill>
                  <a:schemeClr val="tx1"/>
                </a:solidFill>
                <a:effectLst/>
                <a:latin typeface="Segoe UI Light" pitchFamily="34" charset="0"/>
                <a:ea typeface="+mn-ea"/>
                <a:cs typeface="+mn-cs"/>
              </a:rPr>
              <a:t>, and determine who is authorized to use them. They also have the option to revoke Microsoft’s copy of their encryption key, although this may limit Microsoft’s ability troubleshoot or repair problems and security threats.</a:t>
            </a:r>
          </a:p>
          <a:p>
            <a:pPr marL="285750" marR="0" indent="-285750" algn="l" defTabSz="9666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kern="1200" dirty="0" smtClean="0">
                <a:solidFill>
                  <a:schemeClr val="tx1"/>
                </a:solidFill>
                <a:effectLst/>
                <a:latin typeface="Segoe UI Light" pitchFamily="34" charset="0"/>
                <a:ea typeface="+mn-ea"/>
                <a:cs typeface="+mn-cs"/>
              </a:rPr>
              <a:t>Role based access control.</a:t>
            </a:r>
            <a:r>
              <a:rPr lang="en-US" sz="1000" kern="1200" dirty="0" smtClean="0">
                <a:solidFill>
                  <a:schemeClr val="tx1"/>
                </a:solidFill>
                <a:effectLst/>
                <a:latin typeface="Segoe UI Light" pitchFamily="34" charset="0"/>
                <a:ea typeface="+mn-ea"/>
                <a:cs typeface="+mn-cs"/>
              </a:rPr>
              <a:t> Microsoft provides an approach to restricting system access to authorized users based on role assignment, role authorization, and permission authorization. Tools in multiple Microsoft cloud services support authorization based on a user’s role, simplifying access control across defined groups of users. </a:t>
            </a:r>
          </a:p>
          <a:p>
            <a:pPr marL="285750" marR="0" indent="-285750" algn="l" defTabSz="9666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kern="1200" dirty="0" smtClean="0">
                <a:solidFill>
                  <a:schemeClr val="tx1"/>
                </a:solidFill>
                <a:effectLst/>
                <a:latin typeface="Segoe UI Light" pitchFamily="34" charset="0"/>
                <a:ea typeface="+mn-ea"/>
                <a:cs typeface="+mn-cs"/>
              </a:rPr>
              <a:t>Control over data destruction.</a:t>
            </a:r>
            <a:r>
              <a:rPr lang="en-US" sz="1000" kern="1200" dirty="0" smtClean="0">
                <a:solidFill>
                  <a:schemeClr val="tx1"/>
                </a:solidFill>
                <a:effectLst/>
                <a:latin typeface="Segoe UI Light" pitchFamily="34" charset="0"/>
                <a:ea typeface="+mn-ea"/>
                <a:cs typeface="+mn-cs"/>
              </a:rPr>
              <a:t> When customers delete data or leave a Microsoft cloud service, Microsoft follows strict standards for overwriting storage resources before reuse, as well physical destruction of decommissioned hardware. Microsoft executes a complete deletion of data on customer request and on contract termination.</a:t>
            </a: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9</a:t>
            </a:fld>
            <a:endParaRPr lang="en-US" dirty="0">
              <a:solidFill>
                <a:prstClr val="black"/>
              </a:solidFill>
            </a:endParaRPr>
          </a:p>
        </p:txBody>
      </p:sp>
      <p:sp>
        <p:nvSpPr>
          <p:cNvPr id="5" name="Date Placeholder 4"/>
          <p:cNvSpPr>
            <a:spLocks noGrp="1"/>
          </p:cNvSpPr>
          <p:nvPr>
            <p:ph type="dt" idx="11"/>
          </p:nvPr>
        </p:nvSpPr>
        <p:spPr/>
        <p:txBody>
          <a:bodyPr/>
          <a:lstStyle/>
          <a:p>
            <a:fld id="{D3CD20F8-9030-44B5-92AE-38182A1B6FE7}" type="datetime1">
              <a:rPr lang="en-US" smtClean="0">
                <a:solidFill>
                  <a:prstClr val="black"/>
                </a:solidFill>
              </a:rPr>
              <a:t>7/8/2015</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Sarah Fender 100-level Azure Security deck</a:t>
            </a:r>
            <a:endParaRPr lang="en-US" dirty="0">
              <a:solidFill>
                <a:prstClr val="black"/>
              </a:solidFill>
            </a:endParaRPr>
          </a:p>
        </p:txBody>
      </p:sp>
    </p:spTree>
    <p:extLst>
      <p:ext uri="{BB962C8B-B14F-4D97-AF65-F5344CB8AC3E}">
        <p14:creationId xmlns:p14="http://schemas.microsoft.com/office/powerpoint/2010/main" val="1299979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For almost all industries, the cloud changes how people work, where people work, and the ways people do business. With the emergence of cloud computing, today’s IT organizations are playing an increasingly important role in driving business strategy. </a:t>
            </a:r>
            <a:r>
              <a:rPr lang="en-US" sz="900" b="1" kern="1200" dirty="0" smtClean="0">
                <a:solidFill>
                  <a:schemeClr val="tx1"/>
                </a:solidFill>
                <a:effectLst/>
                <a:latin typeface="Segoe UI Light" pitchFamily="34" charset="0"/>
                <a:ea typeface="+mn-ea"/>
                <a:cs typeface="+mn-cs"/>
              </a:rPr>
              <a:t>While cost reduction is still a top priority, scalability and business agility have stepped to the forefront </a:t>
            </a:r>
            <a:r>
              <a:rPr lang="en-US" sz="900" kern="1200" dirty="0" smtClean="0">
                <a:solidFill>
                  <a:schemeClr val="tx1"/>
                </a:solidFill>
                <a:effectLst/>
                <a:latin typeface="Segoe UI Light" pitchFamily="34" charset="0"/>
                <a:ea typeface="+mn-ea"/>
                <a:cs typeface="+mn-cs"/>
              </a:rPr>
              <a:t>for IT decision makers. As a result, spending on cloud solutions is expected to </a:t>
            </a:r>
            <a:r>
              <a:rPr lang="en-US" sz="900" b="1" kern="1200" dirty="0" smtClean="0">
                <a:solidFill>
                  <a:schemeClr val="tx1"/>
                </a:solidFill>
                <a:effectLst/>
                <a:latin typeface="Segoe UI Light" pitchFamily="34" charset="0"/>
                <a:ea typeface="+mn-ea"/>
                <a:cs typeface="+mn-cs"/>
              </a:rPr>
              <a:t>grow 30 percent from 2013 to 2018</a:t>
            </a:r>
            <a:r>
              <a:rPr lang="en-US" sz="900" kern="1200" dirty="0" smtClean="0">
                <a:solidFill>
                  <a:schemeClr val="tx1"/>
                </a:solidFill>
                <a:effectLst/>
                <a:latin typeface="Segoe UI Light" pitchFamily="34" charset="0"/>
                <a:ea typeface="+mn-ea"/>
                <a:cs typeface="+mn-cs"/>
              </a:rPr>
              <a:t>, compared with 5 percent overall growth for enterprise IT. Analysts also expect to see a ten-fold increase in the number of cloud-based solutions on the market in the next four to five years. </a:t>
            </a:r>
          </a:p>
          <a:p>
            <a:endParaRPr lang="en-US" sz="900" kern="1200" dirty="0" smtClean="0">
              <a:solidFill>
                <a:schemeClr val="tx1"/>
              </a:solidFill>
              <a:effectLst/>
              <a:latin typeface="Segoe UI Light" pitchFamily="34" charset="0"/>
              <a:ea typeface="+mn-ea"/>
              <a:cs typeface="+mn-cs"/>
            </a:endParaRPr>
          </a:p>
          <a:p>
            <a:endParaRPr lang="en-IN"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0A6C6AE-51D3-4CED-A2FC-C831E8B17EA7}" type="datetime1">
              <a:rPr lang="en-US" smtClean="0"/>
              <a:t>7/8/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29941512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r>
              <a:rPr lang="en-US" sz="1300" b="1" dirty="0">
                <a:latin typeface="Segoe UI" panose="020B0502040204020203" pitchFamily="34" charset="0"/>
                <a:ea typeface="Segoe UI" panose="020B0502040204020203" pitchFamily="34" charset="0"/>
                <a:cs typeface="Segoe UI" panose="020B0502040204020203" pitchFamily="34" charset="0"/>
              </a:rPr>
              <a:t>Slide title: </a:t>
            </a:r>
            <a:r>
              <a:rPr lang="en-US" sz="1300" dirty="0">
                <a:latin typeface="Segoe UI" panose="020B0502040204020203" pitchFamily="34" charset="0"/>
                <a:ea typeface="Segoe UI" panose="020B0502040204020203" pitchFamily="34" charset="0"/>
                <a:cs typeface="Segoe UI" panose="020B0502040204020203" pitchFamily="34" charset="0"/>
              </a:rPr>
              <a:t>Data protection</a:t>
            </a:r>
          </a:p>
          <a:p>
            <a:pPr>
              <a:lnSpc>
                <a:spcPct val="115000"/>
              </a:lnSpc>
              <a:spcAft>
                <a:spcPts val="1057"/>
              </a:spcAft>
            </a:pPr>
            <a:r>
              <a:rPr lang="en-US" sz="1300" b="1" dirty="0">
                <a:latin typeface="Segoe UI" panose="020B0502040204020203" pitchFamily="34" charset="0"/>
                <a:ea typeface="Segoe UI" panose="020B0502040204020203" pitchFamily="34" charset="0"/>
                <a:cs typeface="Segoe UI" panose="020B0502040204020203" pitchFamily="34" charset="0"/>
              </a:rPr>
              <a:t>Slide objectives: </a:t>
            </a:r>
            <a:r>
              <a:rPr lang="en-US" sz="1300" dirty="0">
                <a:latin typeface="Segoe UI" panose="020B0502040204020203" pitchFamily="34" charset="0"/>
                <a:ea typeface="Segoe UI" panose="020B0502040204020203" pitchFamily="34" charset="0"/>
                <a:cs typeface="Segoe UI" panose="020B0502040204020203" pitchFamily="34" charset="0"/>
              </a:rPr>
              <a:t>Provide an overview of </a:t>
            </a:r>
            <a:r>
              <a:rPr lang="en-US" sz="1300" dirty="0" smtClean="0">
                <a:latin typeface="Segoe UI" panose="020B0502040204020203" pitchFamily="34" charset="0"/>
                <a:ea typeface="Segoe UI" panose="020B0502040204020203" pitchFamily="34" charset="0"/>
                <a:cs typeface="Segoe UI" panose="020B0502040204020203" pitchFamily="34" charset="0"/>
              </a:rPr>
              <a:t>Azure </a:t>
            </a:r>
            <a:r>
              <a:rPr lang="en-US" sz="1300" dirty="0">
                <a:latin typeface="Segoe UI" panose="020B0502040204020203" pitchFamily="34" charset="0"/>
                <a:ea typeface="Segoe UI" panose="020B0502040204020203" pitchFamily="34" charset="0"/>
                <a:cs typeface="Segoe UI" panose="020B0502040204020203" pitchFamily="34" charset="0"/>
              </a:rPr>
              <a:t>data protection.</a:t>
            </a:r>
          </a:p>
          <a:p>
            <a:pPr defTabSz="966612">
              <a:lnSpc>
                <a:spcPct val="115000"/>
              </a:lnSpc>
              <a:spcAft>
                <a:spcPts val="1057"/>
              </a:spcAft>
              <a:defRPr/>
            </a:pPr>
            <a:endParaRPr lang="en-US" sz="1300" b="1" dirty="0">
              <a:latin typeface="Segoe UI" panose="020B0502040204020203" pitchFamily="34" charset="0"/>
              <a:ea typeface="Segoe UI" panose="020B0502040204020203" pitchFamily="34" charset="0"/>
              <a:cs typeface="Segoe UI" panose="020B0502040204020203" pitchFamily="34" charset="0"/>
            </a:endParaRPr>
          </a:p>
          <a:p>
            <a:pPr defTabSz="966612">
              <a:lnSpc>
                <a:spcPct val="115000"/>
              </a:lnSpc>
              <a:spcAft>
                <a:spcPts val="1057"/>
              </a:spcAft>
              <a:defRPr/>
            </a:pPr>
            <a:r>
              <a:rPr lang="en-US" sz="1300" b="1" dirty="0">
                <a:latin typeface="Segoe UI" panose="020B0502040204020203" pitchFamily="34" charset="0"/>
                <a:ea typeface="Segoe UI" panose="020B0502040204020203" pitchFamily="34" charset="0"/>
                <a:cs typeface="Segoe UI" panose="020B0502040204020203" pitchFamily="34" charset="0"/>
              </a:rPr>
              <a:t>Slide script: </a:t>
            </a:r>
            <a:endParaRPr lang="en-US" sz="1300" dirty="0">
              <a:latin typeface="Segoe UI" panose="020B0502040204020203" pitchFamily="34" charset="0"/>
              <a:ea typeface="Segoe UI" panose="020B0502040204020203" pitchFamily="34" charset="0"/>
              <a:cs typeface="Segoe UI" panose="020B0502040204020203" pitchFamily="34" charset="0"/>
            </a:endParaRPr>
          </a:p>
          <a:p>
            <a:r>
              <a:rPr lang="en-US" sz="1300" dirty="0"/>
              <a:t>Both technological safeguards, such as encrypted communications, and operation processes help keep Customer Data secure. Customers have the flexibility to implement additional encryption and manage their own keys.</a:t>
            </a:r>
          </a:p>
          <a:p>
            <a:pPr marL="181240" marR="0" indent="-1812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dirty="0" smtClean="0"/>
              <a:t>Data segregation.</a:t>
            </a:r>
            <a:r>
              <a:rPr lang="en-US" sz="1300" dirty="0" smtClean="0"/>
              <a:t> </a:t>
            </a:r>
            <a:r>
              <a:rPr lang="en-US" sz="1200" kern="1200" dirty="0" smtClean="0">
                <a:solidFill>
                  <a:schemeClr val="tx1"/>
                </a:solidFill>
                <a:effectLst/>
                <a:latin typeface="Segoe UI" panose="020B0502040204020203" pitchFamily="34" charset="0"/>
                <a:ea typeface="+mn-ea"/>
                <a:cs typeface="+mn-cs"/>
              </a:rPr>
              <a:t>Azure is a multi-tenant service, meaning that multiple customers’ deployments and virtual machines are stored on the same physical hardware. Azure uses logical isolation to segregate each customer’s data from that of others. This provides the scale and economic benefits of multitenant services while rigorously preventing customers from accessing one another’s data.</a:t>
            </a:r>
          </a:p>
          <a:p>
            <a:pPr marL="181240" indent="-181240">
              <a:buFont typeface="Arial" panose="020B0604020202020204" pitchFamily="34" charset="0"/>
              <a:buChar char="•"/>
            </a:pPr>
            <a:r>
              <a:rPr lang="en-US" sz="1300" b="1" dirty="0" smtClean="0"/>
              <a:t>Data </a:t>
            </a:r>
            <a:r>
              <a:rPr lang="en-US" sz="1300" b="1" dirty="0"/>
              <a:t>at rest. </a:t>
            </a:r>
            <a:r>
              <a:rPr lang="en-US" sz="1200" b="1" kern="1200" dirty="0" smtClean="0">
                <a:solidFill>
                  <a:schemeClr val="tx1"/>
                </a:solidFill>
                <a:effectLst/>
                <a:latin typeface="Segoe UI" panose="020B0502040204020203" pitchFamily="34" charset="0"/>
                <a:ea typeface="+mn-ea"/>
                <a:cs typeface="+mn-cs"/>
              </a:rPr>
              <a:t>Customers are responsible for ensuring that data stored in Azure is encrypted </a:t>
            </a:r>
            <a:r>
              <a:rPr lang="en-US" sz="1200" kern="1200" dirty="0" smtClean="0">
                <a:solidFill>
                  <a:schemeClr val="tx1"/>
                </a:solidFill>
                <a:effectLst/>
                <a:latin typeface="Segoe UI" panose="020B0502040204020203" pitchFamily="34" charset="0"/>
                <a:ea typeface="+mn-ea"/>
                <a:cs typeface="+mn-cs"/>
              </a:rPr>
              <a:t>in accordance with their standards. Azure offers a wide range of encryption capabilities, giving customers the flexibility to choose the solution that best meets their needs.</a:t>
            </a:r>
          </a:p>
          <a:p>
            <a:pPr marL="181240" indent="-181240">
              <a:buFont typeface="Arial" panose="020B0604020202020204" pitchFamily="34" charset="0"/>
              <a:buChar char="•"/>
            </a:pPr>
            <a:r>
              <a:rPr lang="en-US" sz="1400" b="1" dirty="0" smtClean="0">
                <a:effectLst/>
              </a:rPr>
              <a:t>Data in transit. </a:t>
            </a:r>
            <a:r>
              <a:rPr lang="en-US" sz="1200" kern="1200" dirty="0" smtClean="0">
                <a:solidFill>
                  <a:schemeClr val="tx1"/>
                </a:solidFill>
                <a:effectLst/>
                <a:latin typeface="Segoe UI" panose="020B0502040204020203" pitchFamily="34" charset="0"/>
                <a:ea typeface="+mn-ea"/>
                <a:cs typeface="+mn-cs"/>
              </a:rPr>
              <a:t>For data in transit, customers can enable encryption for traffic between their own VMs and end users. Azure protects data in transit to or from outside components, as well as data in transit internally, such as between two virtual networks. Azure uses industry standard transport protocols such as TLS between user devices and Microsoft datacenters, and within datacenters themselves. </a:t>
            </a:r>
            <a:endParaRPr lang="en-US" sz="1400" dirty="0" smtClean="0">
              <a:effectLst/>
            </a:endParaRPr>
          </a:p>
          <a:p>
            <a:pPr marL="181240" marR="0" indent="-1812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dirty="0" smtClean="0"/>
              <a:t>Encryption management. </a:t>
            </a:r>
            <a:r>
              <a:rPr lang="en-US" sz="1200" kern="1200" dirty="0" smtClean="0">
                <a:solidFill>
                  <a:schemeClr val="tx1"/>
                </a:solidFill>
                <a:effectLst/>
                <a:latin typeface="Segoe UI" panose="020B0502040204020203" pitchFamily="34" charset="0"/>
                <a:ea typeface="+mn-ea"/>
                <a:cs typeface="+mn-cs"/>
              </a:rPr>
              <a:t>Encryption of data in storage and in transit can be used by Azure</a:t>
            </a:r>
            <a:r>
              <a:rPr lang="en-US" sz="1200" kern="1200" baseline="0" dirty="0" smtClean="0">
                <a:solidFill>
                  <a:schemeClr val="tx1"/>
                </a:solidFill>
                <a:effectLst/>
                <a:latin typeface="Segoe UI" panose="020B0502040204020203" pitchFamily="34" charset="0"/>
                <a:ea typeface="+mn-ea"/>
                <a:cs typeface="+mn-cs"/>
              </a:rPr>
              <a:t> </a:t>
            </a:r>
            <a:r>
              <a:rPr lang="en-US" sz="1200" kern="1200" dirty="0" smtClean="0">
                <a:solidFill>
                  <a:schemeClr val="tx1"/>
                </a:solidFill>
                <a:effectLst/>
                <a:latin typeface="Segoe UI" panose="020B0502040204020203" pitchFamily="34" charset="0"/>
                <a:ea typeface="+mn-ea"/>
                <a:cs typeface="+mn-cs"/>
              </a:rPr>
              <a:t>customers align with best practices for ensuring confidentiality and integrity of data. It is straightforward for customers to configure their Azure cloud services to use SSL to protect communications from the Internet and even between their Azure hosted VMs.</a:t>
            </a:r>
          </a:p>
          <a:p>
            <a:pPr marL="181240" indent="-181240">
              <a:buFont typeface="Arial" panose="020B0604020202020204" pitchFamily="34" charset="0"/>
              <a:buChar char="•"/>
            </a:pPr>
            <a:r>
              <a:rPr lang="en-US" sz="1300" b="1" dirty="0" smtClean="0"/>
              <a:t>Data redundancy. </a:t>
            </a:r>
            <a:r>
              <a:rPr lang="en-US" sz="1200" kern="1200" dirty="0" smtClean="0">
                <a:solidFill>
                  <a:schemeClr val="tx1"/>
                </a:solidFill>
                <a:effectLst/>
                <a:latin typeface="Segoe UI" panose="020B0502040204020203" pitchFamily="34" charset="0"/>
                <a:ea typeface="+mn-ea"/>
                <a:cs typeface="+mn-cs"/>
              </a:rPr>
              <a:t>Microsoft ensures data is protected in the event of a cyberattack or physical damage to a datacenter. Customers may opt for in-country storage for compliance or latency considerations or out-of-country storage for security or disaster recovery purposes. Data may be replicated within a selected geographic area for redundancy, but will not be transmitted outside it</a:t>
            </a:r>
            <a:r>
              <a:rPr lang="en-US" sz="1200" kern="1200" dirty="0" smtClean="0">
                <a:solidFill>
                  <a:schemeClr val="tx1"/>
                </a:solidFill>
                <a:effectLst/>
                <a:latin typeface="Segoe UI" panose="020B0502040204020203" pitchFamily="34" charset="0"/>
                <a:ea typeface="+mn-ea"/>
                <a:cs typeface="+mn-cs"/>
              </a:rPr>
              <a:t>.</a:t>
            </a:r>
            <a:r>
              <a:rPr lang="en-US" sz="900" kern="120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pPr marL="181240" indent="-181240">
              <a:buFont typeface="Arial" panose="020B0604020202020204" pitchFamily="34" charset="0"/>
              <a:buChar char="•"/>
            </a:pPr>
            <a:r>
              <a:rPr lang="en-US" sz="1300" b="1" dirty="0" smtClean="0"/>
              <a:t>Data </a:t>
            </a:r>
            <a:r>
              <a:rPr lang="en-US" sz="1300" b="1" dirty="0"/>
              <a:t>destruction.</a:t>
            </a:r>
            <a:r>
              <a:rPr lang="en-US" sz="1300" dirty="0"/>
              <a:t> </a:t>
            </a:r>
            <a:r>
              <a:rPr lang="en-US" sz="1200" kern="1200" dirty="0" smtClean="0">
                <a:solidFill>
                  <a:schemeClr val="tx1"/>
                </a:solidFill>
                <a:effectLst/>
                <a:latin typeface="Segoe UI" panose="020B0502040204020203" pitchFamily="34" charset="0"/>
                <a:ea typeface="+mn-ea"/>
                <a:cs typeface="+mn-cs"/>
              </a:rPr>
              <a:t>When customers delete data or leave Azure, Microsoft follows strict standards for overwriting storage resources before reuse, as well physical destruction of decommissioned hardware. Microsoft executes a complete deletion of data on customer request and on contract termination.</a:t>
            </a:r>
            <a:endParaRPr lang="en-US"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20</a:t>
            </a:fld>
            <a:endParaRPr lang="en-US" dirty="0">
              <a:solidFill>
                <a:prstClr val="black"/>
              </a:solidFill>
            </a:endParaRPr>
          </a:p>
        </p:txBody>
      </p:sp>
      <p:sp>
        <p:nvSpPr>
          <p:cNvPr id="5" name="Date Placeholder 4"/>
          <p:cNvSpPr>
            <a:spLocks noGrp="1"/>
          </p:cNvSpPr>
          <p:nvPr>
            <p:ph type="dt" idx="11"/>
          </p:nvPr>
        </p:nvSpPr>
        <p:spPr/>
        <p:txBody>
          <a:bodyPr/>
          <a:lstStyle/>
          <a:p>
            <a:fld id="{6573F10A-6A87-43F6-9F7A-FB752A68B76C}" type="datetime1">
              <a:rPr lang="en-US" smtClean="0">
                <a:solidFill>
                  <a:prstClr val="black"/>
                </a:solidFill>
              </a:rPr>
              <a:t>7/8/2015</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Sarah Fender 100-level Azure Security deck</a:t>
            </a:r>
            <a:endParaRPr lang="en-US" dirty="0">
              <a:solidFill>
                <a:prstClr val="black"/>
              </a:solidFill>
            </a:endParaRPr>
          </a:p>
        </p:txBody>
      </p:sp>
    </p:spTree>
    <p:extLst>
      <p:ext uri="{BB962C8B-B14F-4D97-AF65-F5344CB8AC3E}">
        <p14:creationId xmlns:p14="http://schemas.microsoft.com/office/powerpoint/2010/main" val="12448991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r>
              <a:rPr lang="en-US" sz="1300" b="1" dirty="0">
                <a:latin typeface="Segoe UI" panose="020B0502040204020203" pitchFamily="34" charset="0"/>
                <a:ea typeface="Segoe UI" panose="020B0502040204020203" pitchFamily="34" charset="0"/>
                <a:cs typeface="Segoe UI" panose="020B0502040204020203" pitchFamily="34" charset="0"/>
              </a:rPr>
              <a:t>Slide title: </a:t>
            </a:r>
            <a:r>
              <a:rPr lang="en-US" sz="1300" dirty="0" smtClean="0">
                <a:latin typeface="Segoe UI" panose="020B0502040204020203" pitchFamily="34" charset="0"/>
                <a:ea typeface="Segoe UI" panose="020B0502040204020203" pitchFamily="34" charset="0"/>
                <a:cs typeface="Segoe UI" panose="020B0502040204020203" pitchFamily="34" charset="0"/>
              </a:rPr>
              <a:t>Transparency</a:t>
            </a:r>
          </a:p>
          <a:p>
            <a:pPr defTabSz="966612">
              <a:lnSpc>
                <a:spcPct val="115000"/>
              </a:lnSpc>
              <a:spcAft>
                <a:spcPts val="1057"/>
              </a:spcAft>
              <a:defRPr/>
            </a:pPr>
            <a:r>
              <a:rPr lang="en-US" sz="1300" b="1" dirty="0" smtClean="0">
                <a:latin typeface="Segoe UI" panose="020B0502040204020203" pitchFamily="34" charset="0"/>
                <a:ea typeface="Segoe UI" panose="020B0502040204020203" pitchFamily="34" charset="0"/>
                <a:cs typeface="Segoe UI" panose="020B0502040204020203" pitchFamily="34" charset="0"/>
              </a:rPr>
              <a:t>Slide </a:t>
            </a:r>
            <a:r>
              <a:rPr lang="en-US" sz="1300" b="1" dirty="0">
                <a:latin typeface="Segoe UI" panose="020B0502040204020203" pitchFamily="34" charset="0"/>
                <a:ea typeface="Segoe UI" panose="020B0502040204020203" pitchFamily="34" charset="0"/>
                <a:cs typeface="Segoe UI" panose="020B0502040204020203" pitchFamily="34" charset="0"/>
              </a:rPr>
              <a:t>objectives: </a:t>
            </a:r>
            <a:r>
              <a:rPr lang="en-US" sz="1300" dirty="0">
                <a:latin typeface="Segoe UI" panose="020B0502040204020203" pitchFamily="34" charset="0"/>
                <a:ea typeface="Segoe UI" panose="020B0502040204020203" pitchFamily="34" charset="0"/>
                <a:cs typeface="Segoe UI" panose="020B0502040204020203" pitchFamily="34" charset="0"/>
              </a:rPr>
              <a:t>Introduce the following section on compliance.</a:t>
            </a:r>
          </a:p>
          <a:p>
            <a:pPr defTabSz="966612">
              <a:lnSpc>
                <a:spcPct val="115000"/>
              </a:lnSpc>
              <a:spcAft>
                <a:spcPts val="1057"/>
              </a:spcAft>
              <a:defRPr/>
            </a:pPr>
            <a:endParaRPr lang="en-US" sz="1300" b="1" dirty="0" smtClean="0">
              <a:latin typeface="Segoe UI" panose="020B0502040204020203" pitchFamily="34" charset="0"/>
              <a:ea typeface="Segoe UI" panose="020B0502040204020203" pitchFamily="34" charset="0"/>
              <a:cs typeface="Segoe UI" panose="020B0502040204020203" pitchFamily="34" charset="0"/>
            </a:endParaRPr>
          </a:p>
          <a:p>
            <a:pPr marL="0" marR="0" indent="0" algn="l" defTabSz="966612" rtl="0" eaLnBrk="1" fontAlgn="auto" latinLnBrk="0" hangingPunct="1">
              <a:lnSpc>
                <a:spcPct val="115000"/>
              </a:lnSpc>
              <a:spcBef>
                <a:spcPts val="0"/>
              </a:spcBef>
              <a:spcAft>
                <a:spcPts val="1057"/>
              </a:spcAft>
              <a:buClrTx/>
              <a:buSzTx/>
              <a:buFontTx/>
              <a:buNone/>
              <a:tabLst/>
              <a:defRPr/>
            </a:pPr>
            <a:r>
              <a:rPr lang="en-US" sz="900" kern="1200" dirty="0" smtClean="0">
                <a:solidFill>
                  <a:schemeClr val="tx1"/>
                </a:solidFill>
                <a:effectLst/>
                <a:latin typeface="Segoe UI Light" pitchFamily="34" charset="0"/>
                <a:ea typeface="+mn-ea"/>
                <a:cs typeface="+mn-cs"/>
              </a:rPr>
              <a:t>Microsoft Azure is built on the premise that for customers to control their own Customer Data in the cloud, they require visibility into that data. They must know where it is stored. They must also know, through </a:t>
            </a:r>
            <a:r>
              <a:rPr lang="en-US" sz="900" b="1" kern="1200" dirty="0" smtClean="0">
                <a:solidFill>
                  <a:schemeClr val="tx1"/>
                </a:solidFill>
                <a:effectLst/>
                <a:latin typeface="Segoe UI Light" pitchFamily="34" charset="0"/>
                <a:ea typeface="+mn-ea"/>
                <a:cs typeface="+mn-cs"/>
              </a:rPr>
              <a:t>clearly stated and readily available policies and procedures, how we help secure Customer Data</a:t>
            </a:r>
            <a:r>
              <a:rPr lang="en-US" sz="900" kern="1200" dirty="0" smtClean="0">
                <a:solidFill>
                  <a:schemeClr val="tx1"/>
                </a:solidFill>
                <a:effectLst/>
                <a:latin typeface="Segoe UI Light" pitchFamily="34" charset="0"/>
                <a:ea typeface="+mn-ea"/>
                <a:cs typeface="+mn-cs"/>
              </a:rPr>
              <a:t>, who can access it, and under what circumstances. And don’t take our word for it: Customers can review the third-party audits and certifications that confirm that we meet the standards we set.</a:t>
            </a:r>
          </a:p>
          <a:p>
            <a:pPr defTabSz="966612">
              <a:lnSpc>
                <a:spcPct val="115000"/>
              </a:lnSpc>
              <a:spcAft>
                <a:spcPts val="1057"/>
              </a:spcAft>
              <a:defRPr/>
            </a:pPr>
            <a:endParaRPr lang="en-US" sz="1300" b="1" dirty="0">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21</a:t>
            </a:fld>
            <a:endParaRPr lang="en-US" dirty="0">
              <a:solidFill>
                <a:prstClr val="black"/>
              </a:solidFill>
            </a:endParaRPr>
          </a:p>
        </p:txBody>
      </p:sp>
      <p:sp>
        <p:nvSpPr>
          <p:cNvPr id="5" name="Date Placeholder 4"/>
          <p:cNvSpPr>
            <a:spLocks noGrp="1"/>
          </p:cNvSpPr>
          <p:nvPr>
            <p:ph type="dt" idx="11"/>
          </p:nvPr>
        </p:nvSpPr>
        <p:spPr/>
        <p:txBody>
          <a:bodyPr/>
          <a:lstStyle/>
          <a:p>
            <a:fld id="{BAD83CA9-B412-48F4-B5D0-A53B29063631}" type="datetime1">
              <a:rPr lang="en-US" smtClean="0">
                <a:solidFill>
                  <a:prstClr val="black"/>
                </a:solidFill>
              </a:rPr>
              <a:t>7/8/2015</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Sarah Fender 100-level Azure Security deck</a:t>
            </a:r>
            <a:endParaRPr lang="en-US" dirty="0">
              <a:solidFill>
                <a:prstClr val="black"/>
              </a:solidFill>
            </a:endParaRPr>
          </a:p>
        </p:txBody>
      </p:sp>
    </p:spTree>
    <p:extLst>
      <p:ext uri="{BB962C8B-B14F-4D97-AF65-F5344CB8AC3E}">
        <p14:creationId xmlns:p14="http://schemas.microsoft.com/office/powerpoint/2010/main" val="41719395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r>
              <a:rPr lang="en-US" sz="1300" b="1" dirty="0">
                <a:latin typeface="Segoe UI" panose="020B0502040204020203" pitchFamily="34" charset="0"/>
                <a:ea typeface="Segoe UI" panose="020B0502040204020203" pitchFamily="34" charset="0"/>
                <a:cs typeface="Segoe UI" panose="020B0502040204020203" pitchFamily="34" charset="0"/>
              </a:rPr>
              <a:t>Slide title: </a:t>
            </a:r>
            <a:r>
              <a:rPr lang="en-US" sz="1300" dirty="0" smtClean="0">
                <a:latin typeface="Segoe UI" panose="020B0502040204020203" pitchFamily="34" charset="0"/>
                <a:ea typeface="Segoe UI" panose="020B0502040204020203" pitchFamily="34" charset="0"/>
                <a:cs typeface="Segoe UI" panose="020B0502040204020203" pitchFamily="34" charset="0"/>
              </a:rPr>
              <a:t>Transparency</a:t>
            </a:r>
            <a:endParaRPr lang="en-US" sz="1300" dirty="0">
              <a:latin typeface="Segoe UI" panose="020B0502040204020203" pitchFamily="34" charset="0"/>
              <a:ea typeface="Segoe UI" panose="020B0502040204020203" pitchFamily="34" charset="0"/>
              <a:cs typeface="Segoe UI" panose="020B0502040204020203" pitchFamily="34" charset="0"/>
            </a:endParaRPr>
          </a:p>
          <a:p>
            <a:pPr defTabSz="966612">
              <a:lnSpc>
                <a:spcPct val="115000"/>
              </a:lnSpc>
              <a:spcAft>
                <a:spcPts val="1057"/>
              </a:spcAft>
              <a:defRPr/>
            </a:pPr>
            <a:r>
              <a:rPr lang="en-US" sz="1300" b="1" dirty="0">
                <a:latin typeface="Segoe UI" panose="020B0502040204020203" pitchFamily="34" charset="0"/>
                <a:ea typeface="Segoe UI" panose="020B0502040204020203" pitchFamily="34" charset="0"/>
                <a:cs typeface="Segoe UI" panose="020B0502040204020203" pitchFamily="34" charset="0"/>
              </a:rPr>
              <a:t>Slide objectives: </a:t>
            </a:r>
            <a:r>
              <a:rPr lang="en-US" sz="1300" dirty="0">
                <a:latin typeface="Segoe UI" panose="020B0502040204020203" pitchFamily="34" charset="0"/>
                <a:ea typeface="Segoe UI" panose="020B0502040204020203" pitchFamily="34" charset="0"/>
                <a:cs typeface="Segoe UI" panose="020B0502040204020203" pitchFamily="34" charset="0"/>
              </a:rPr>
              <a:t>Introduce the following section on compliance.</a:t>
            </a:r>
          </a:p>
          <a:p>
            <a:pPr defTabSz="966612">
              <a:lnSpc>
                <a:spcPct val="115000"/>
              </a:lnSpc>
              <a:spcAft>
                <a:spcPts val="1057"/>
              </a:spcAft>
              <a:defRPr/>
            </a:pPr>
            <a:endParaRPr lang="en-US" sz="1300" b="1" dirty="0" smtClean="0">
              <a:latin typeface="Segoe UI" panose="020B0502040204020203" pitchFamily="34" charset="0"/>
              <a:ea typeface="Segoe UI" panose="020B0502040204020203" pitchFamily="34" charset="0"/>
              <a:cs typeface="Segoe UI" panose="020B0502040204020203" pitchFamily="34" charset="0"/>
            </a:endParaRPr>
          </a:p>
          <a:p>
            <a:pPr defTabSz="966612">
              <a:lnSpc>
                <a:spcPct val="115000"/>
              </a:lnSpc>
              <a:spcAft>
                <a:spcPts val="1057"/>
              </a:spcAft>
              <a:defRPr/>
            </a:pPr>
            <a:r>
              <a:rPr lang="en-US" sz="900" kern="1200" dirty="0" smtClean="0">
                <a:solidFill>
                  <a:schemeClr val="tx1"/>
                </a:solidFill>
                <a:effectLst/>
                <a:latin typeface="Segoe UI Light" pitchFamily="34" charset="0"/>
                <a:ea typeface="+mn-ea"/>
                <a:cs typeface="+mn-cs"/>
              </a:rPr>
              <a:t>Microsoft seeks to give </a:t>
            </a:r>
            <a:r>
              <a:rPr lang="en-US" sz="900" b="1" kern="1200" dirty="0" smtClean="0">
                <a:solidFill>
                  <a:schemeClr val="tx1"/>
                </a:solidFill>
                <a:effectLst/>
                <a:latin typeface="Segoe UI Light" pitchFamily="34" charset="0"/>
                <a:ea typeface="+mn-ea"/>
                <a:cs typeface="+mn-cs"/>
              </a:rPr>
              <a:t>Azure customers control </a:t>
            </a:r>
            <a:r>
              <a:rPr lang="en-US" sz="900" kern="1200" dirty="0" smtClean="0">
                <a:solidFill>
                  <a:schemeClr val="tx1"/>
                </a:solidFill>
                <a:effectLst/>
                <a:latin typeface="Segoe UI Light" pitchFamily="34" charset="0"/>
                <a:ea typeface="+mn-ea"/>
                <a:cs typeface="+mn-cs"/>
              </a:rPr>
              <a:t>over where their customer data is stored in an ever-expanding network of datacenters around the globe, balanced with the need to store backups at multiple locations in case of a disaster. </a:t>
            </a:r>
          </a:p>
          <a:p>
            <a:pPr defTabSz="966612">
              <a:lnSpc>
                <a:spcPct val="115000"/>
              </a:lnSpc>
              <a:spcAft>
                <a:spcPts val="1057"/>
              </a:spcAft>
              <a:defRPr/>
            </a:pPr>
            <a:endParaRPr lang="en-US" sz="900" b="1" kern="1200" dirty="0" smtClean="0">
              <a:solidFill>
                <a:schemeClr val="tx1"/>
              </a:solidFill>
              <a:effectLst/>
              <a:latin typeface="Segoe UI Light" pitchFamily="34" charset="0"/>
              <a:ea typeface="+mn-ea"/>
              <a:cs typeface="+mn-cs"/>
            </a:endParaRPr>
          </a:p>
          <a:p>
            <a:pPr defTabSz="966612">
              <a:lnSpc>
                <a:spcPct val="115000"/>
              </a:lnSpc>
              <a:spcAft>
                <a:spcPts val="1057"/>
              </a:spcAft>
              <a:defRPr/>
            </a:pPr>
            <a:r>
              <a:rPr lang="en-US" sz="900" kern="1200" dirty="0" smtClean="0">
                <a:solidFill>
                  <a:schemeClr val="tx1"/>
                </a:solidFill>
                <a:effectLst/>
                <a:latin typeface="Segoe UI Light" pitchFamily="34" charset="0"/>
                <a:ea typeface="+mn-ea"/>
                <a:cs typeface="+mn-cs"/>
              </a:rPr>
              <a:t>Microsoft does </a:t>
            </a:r>
            <a:r>
              <a:rPr lang="en-US" sz="900" b="1" kern="1200" dirty="0" smtClean="0">
                <a:solidFill>
                  <a:schemeClr val="tx1"/>
                </a:solidFill>
                <a:effectLst/>
                <a:latin typeface="Segoe UI Light" pitchFamily="34" charset="0"/>
                <a:ea typeface="+mn-ea"/>
                <a:cs typeface="+mn-cs"/>
              </a:rPr>
              <a:t>not use Azure customer data for advertising</a:t>
            </a:r>
            <a:r>
              <a:rPr lang="en-US" sz="900" kern="1200" dirty="0" smtClean="0">
                <a:solidFill>
                  <a:schemeClr val="tx1"/>
                </a:solidFill>
                <a:effectLst/>
                <a:latin typeface="Segoe UI Light" pitchFamily="34" charset="0"/>
                <a:ea typeface="+mn-ea"/>
                <a:cs typeface="+mn-cs"/>
              </a:rPr>
              <a:t>—we do not share it with our advertiser-supported services or mine it for marketing. This policy is </a:t>
            </a:r>
            <a:r>
              <a:rPr lang="en-US" sz="900" b="1" kern="1200" dirty="0" smtClean="0">
                <a:solidFill>
                  <a:schemeClr val="tx1"/>
                </a:solidFill>
                <a:effectLst/>
                <a:latin typeface="Segoe UI Light" pitchFamily="34" charset="0"/>
                <a:ea typeface="+mn-ea"/>
                <a:cs typeface="+mn-cs"/>
              </a:rPr>
              <a:t>backed by our enterprise cloud service agreements </a:t>
            </a:r>
            <a:r>
              <a:rPr lang="en-US" sz="900" kern="1200" dirty="0" smtClean="0">
                <a:solidFill>
                  <a:schemeClr val="tx1"/>
                </a:solidFill>
                <a:effectLst/>
                <a:latin typeface="Segoe UI Light" pitchFamily="34" charset="0"/>
                <a:ea typeface="+mn-ea"/>
                <a:cs typeface="+mn-cs"/>
              </a:rPr>
              <a:t>and </a:t>
            </a:r>
            <a:r>
              <a:rPr lang="en-US" sz="900" b="1" kern="1200" dirty="0" smtClean="0">
                <a:solidFill>
                  <a:schemeClr val="tx1"/>
                </a:solidFill>
                <a:effectLst/>
                <a:latin typeface="Segoe UI Light" pitchFamily="34" charset="0"/>
                <a:ea typeface="+mn-ea"/>
                <a:cs typeface="+mn-cs"/>
              </a:rPr>
              <a:t>reaffirmed by Microsoft’s adoption of </a:t>
            </a:r>
            <a:r>
              <a:rPr lang="en-US" sz="900" kern="1200" dirty="0" smtClean="0">
                <a:solidFill>
                  <a:schemeClr val="tx1"/>
                </a:solidFill>
                <a:effectLst/>
                <a:latin typeface="Segoe UI Light" pitchFamily="34" charset="0"/>
                <a:ea typeface="+mn-ea"/>
                <a:cs typeface="+mn-cs"/>
              </a:rPr>
              <a:t>the first international code of practice for cloud privacy, </a:t>
            </a:r>
            <a:r>
              <a:rPr lang="en-US" sz="900" b="1" kern="1200" dirty="0" smtClean="0">
                <a:solidFill>
                  <a:schemeClr val="tx1"/>
                </a:solidFill>
                <a:effectLst/>
                <a:latin typeface="Segoe UI Light" pitchFamily="34" charset="0"/>
                <a:ea typeface="+mn-ea"/>
                <a:cs typeface="+mn-cs"/>
              </a:rPr>
              <a:t>ISO/IEC 27018</a:t>
            </a:r>
            <a:r>
              <a:rPr lang="en-US" sz="900" kern="1200" dirty="0" smtClean="0">
                <a:solidFill>
                  <a:schemeClr val="tx1"/>
                </a:solidFill>
                <a:effectLst/>
                <a:latin typeface="Segoe UI Light" pitchFamily="34" charset="0"/>
                <a:ea typeface="+mn-ea"/>
                <a:cs typeface="+mn-cs"/>
              </a:rPr>
              <a:t>.</a:t>
            </a:r>
          </a:p>
          <a:p>
            <a:pPr defTabSz="966612">
              <a:lnSpc>
                <a:spcPct val="115000"/>
              </a:lnSpc>
              <a:spcAft>
                <a:spcPts val="1057"/>
              </a:spcAft>
              <a:defRPr/>
            </a:pPr>
            <a:endParaRPr lang="en-US" sz="900" b="1" kern="1200" dirty="0" smtClean="0">
              <a:solidFill>
                <a:schemeClr val="tx1"/>
              </a:solidFill>
              <a:effectLst/>
              <a:latin typeface="Segoe UI Light" pitchFamily="34" charset="0"/>
              <a:ea typeface="+mn-ea"/>
              <a:cs typeface="+mn-cs"/>
            </a:endParaRPr>
          </a:p>
          <a:p>
            <a:pPr defTabSz="966612">
              <a:lnSpc>
                <a:spcPct val="115000"/>
              </a:lnSpc>
              <a:spcAft>
                <a:spcPts val="1057"/>
              </a:spcAft>
              <a:defRPr/>
            </a:pPr>
            <a:r>
              <a:rPr lang="en-US" sz="900" kern="1200" dirty="0" smtClean="0">
                <a:solidFill>
                  <a:schemeClr val="tx1"/>
                </a:solidFill>
                <a:effectLst/>
                <a:latin typeface="Segoe UI Light" pitchFamily="34" charset="0"/>
                <a:ea typeface="+mn-ea"/>
                <a:cs typeface="+mn-cs"/>
              </a:rPr>
              <a:t>We will use customer data only for purposes compatible with providing you the services. In addition to day-to-day operations, Microsoft customer support and operations personnel may access customer data to provide customer support, troubleshoot the service, improve features (such as protection against malware), or comply with legal requirements.</a:t>
            </a:r>
          </a:p>
          <a:p>
            <a:pPr defTabSz="966612">
              <a:lnSpc>
                <a:spcPct val="115000"/>
              </a:lnSpc>
              <a:spcAft>
                <a:spcPts val="1057"/>
              </a:spcAft>
              <a:defRPr/>
            </a:pPr>
            <a:endParaRPr lang="en-US" sz="900" b="1" kern="1200" dirty="0" smtClean="0">
              <a:solidFill>
                <a:schemeClr val="tx1"/>
              </a:solidFill>
              <a:effectLst/>
              <a:latin typeface="Segoe UI Light" pitchFamily="34" charset="0"/>
              <a:ea typeface="+mn-ea"/>
              <a:cs typeface="+mn-cs"/>
            </a:endParaRPr>
          </a:p>
          <a:p>
            <a:pPr defTabSz="966612">
              <a:lnSpc>
                <a:spcPct val="115000"/>
              </a:lnSpc>
              <a:spcAft>
                <a:spcPts val="1057"/>
              </a:spcAft>
              <a:defRPr/>
            </a:pPr>
            <a:r>
              <a:rPr lang="en-US" sz="900" kern="1200" dirty="0" smtClean="0">
                <a:solidFill>
                  <a:schemeClr val="tx1"/>
                </a:solidFill>
                <a:effectLst/>
                <a:latin typeface="Segoe UI Light" pitchFamily="34" charset="0"/>
                <a:ea typeface="+mn-ea"/>
                <a:cs typeface="+mn-cs"/>
              </a:rPr>
              <a:t>Customers may delete Customer Data or leave the service at any time.</a:t>
            </a:r>
            <a:r>
              <a:rPr lang="en-US" sz="900" b="1" kern="120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In either case, Microsoft follows stringent standards in removing Customer Data from all systems under its control.</a:t>
            </a:r>
            <a:endParaRPr lang="en-US" sz="900" b="1"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22</a:t>
            </a:fld>
            <a:endParaRPr lang="en-US" dirty="0">
              <a:solidFill>
                <a:prstClr val="black"/>
              </a:solidFill>
            </a:endParaRPr>
          </a:p>
        </p:txBody>
      </p:sp>
      <p:sp>
        <p:nvSpPr>
          <p:cNvPr id="5" name="Date Placeholder 4"/>
          <p:cNvSpPr>
            <a:spLocks noGrp="1"/>
          </p:cNvSpPr>
          <p:nvPr>
            <p:ph type="dt" idx="11"/>
          </p:nvPr>
        </p:nvSpPr>
        <p:spPr/>
        <p:txBody>
          <a:bodyPr/>
          <a:lstStyle/>
          <a:p>
            <a:fld id="{7C4678BD-2175-4573-8DA5-1D6D00122DDF}" type="datetime1">
              <a:rPr lang="en-US" smtClean="0">
                <a:solidFill>
                  <a:prstClr val="black"/>
                </a:solidFill>
              </a:rPr>
              <a:t>7/8/2015</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Sarah Fender 100-level Azure Security deck</a:t>
            </a:r>
            <a:endParaRPr lang="en-US" dirty="0">
              <a:solidFill>
                <a:prstClr val="black"/>
              </a:solidFill>
            </a:endParaRPr>
          </a:p>
        </p:txBody>
      </p:sp>
    </p:spTree>
    <p:extLst>
      <p:ext uri="{BB962C8B-B14F-4D97-AF65-F5344CB8AC3E}">
        <p14:creationId xmlns:p14="http://schemas.microsoft.com/office/powerpoint/2010/main" val="29790181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r>
              <a:rPr lang="en-US" sz="1300" b="1" dirty="0">
                <a:latin typeface="Segoe UI" panose="020B0502040204020203" pitchFamily="34" charset="0"/>
                <a:ea typeface="Segoe UI" panose="020B0502040204020203" pitchFamily="34" charset="0"/>
                <a:cs typeface="Segoe UI" panose="020B0502040204020203" pitchFamily="34" charset="0"/>
              </a:rPr>
              <a:t>Slide title: </a:t>
            </a:r>
            <a:r>
              <a:rPr lang="en-US" sz="1300" dirty="0" smtClean="0">
                <a:latin typeface="Segoe UI" panose="020B0502040204020203" pitchFamily="34" charset="0"/>
                <a:ea typeface="Segoe UI" panose="020B0502040204020203" pitchFamily="34" charset="0"/>
                <a:cs typeface="Segoe UI" panose="020B0502040204020203" pitchFamily="34" charset="0"/>
              </a:rPr>
              <a:t>Transparency</a:t>
            </a:r>
          </a:p>
          <a:p>
            <a:pPr defTabSz="966612">
              <a:lnSpc>
                <a:spcPct val="115000"/>
              </a:lnSpc>
              <a:spcAft>
                <a:spcPts val="1057"/>
              </a:spcAft>
              <a:defRPr/>
            </a:pPr>
            <a:r>
              <a:rPr lang="en-US" sz="1300" b="1" dirty="0" smtClean="0">
                <a:latin typeface="Segoe UI" panose="020B0502040204020203" pitchFamily="34" charset="0"/>
                <a:ea typeface="Segoe UI" panose="020B0502040204020203" pitchFamily="34" charset="0"/>
                <a:cs typeface="Segoe UI" panose="020B0502040204020203" pitchFamily="34" charset="0"/>
              </a:rPr>
              <a:t>Slide </a:t>
            </a:r>
            <a:r>
              <a:rPr lang="en-US" sz="1300" b="1" dirty="0">
                <a:latin typeface="Segoe UI" panose="020B0502040204020203" pitchFamily="34" charset="0"/>
                <a:ea typeface="Segoe UI" panose="020B0502040204020203" pitchFamily="34" charset="0"/>
                <a:cs typeface="Segoe UI" panose="020B0502040204020203" pitchFamily="34" charset="0"/>
              </a:rPr>
              <a:t>objectives: </a:t>
            </a:r>
            <a:r>
              <a:rPr lang="en-US" sz="1300" dirty="0">
                <a:latin typeface="Segoe UI" panose="020B0502040204020203" pitchFamily="34" charset="0"/>
                <a:ea typeface="Segoe UI" panose="020B0502040204020203" pitchFamily="34" charset="0"/>
                <a:cs typeface="Segoe UI" panose="020B0502040204020203" pitchFamily="34" charset="0"/>
              </a:rPr>
              <a:t>Introduce the following section on compliance.</a:t>
            </a:r>
          </a:p>
          <a:p>
            <a:pPr defTabSz="966612">
              <a:lnSpc>
                <a:spcPct val="115000"/>
              </a:lnSpc>
              <a:spcAft>
                <a:spcPts val="1057"/>
              </a:spcAft>
              <a:defRPr/>
            </a:pPr>
            <a:endParaRPr lang="en-US" sz="1300" b="1" dirty="0" smtClean="0">
              <a:latin typeface="Segoe UI" panose="020B0502040204020203" pitchFamily="34" charset="0"/>
              <a:ea typeface="Segoe UI" panose="020B0502040204020203" pitchFamily="34" charset="0"/>
              <a:cs typeface="Segoe UI" panose="020B0502040204020203" pitchFamily="34" charset="0"/>
            </a:endParaRPr>
          </a:p>
          <a:p>
            <a:r>
              <a:rPr lang="en-US" sz="900" kern="1200" dirty="0" smtClean="0">
                <a:solidFill>
                  <a:schemeClr val="tx1"/>
                </a:solidFill>
                <a:effectLst/>
                <a:latin typeface="Segoe UI Light" pitchFamily="34" charset="0"/>
                <a:ea typeface="+mn-ea"/>
                <a:cs typeface="+mn-cs"/>
              </a:rPr>
              <a:t>Microsoft has leveraged its </a:t>
            </a:r>
            <a:r>
              <a:rPr lang="en-US" sz="900" b="1" kern="1200" dirty="0" smtClean="0">
                <a:solidFill>
                  <a:schemeClr val="tx1"/>
                </a:solidFill>
                <a:effectLst/>
                <a:latin typeface="Segoe UI Light" pitchFamily="34" charset="0"/>
                <a:ea typeface="+mn-ea"/>
                <a:cs typeface="+mn-cs"/>
              </a:rPr>
              <a:t>decades-long experience building enterprise software </a:t>
            </a:r>
            <a:r>
              <a:rPr lang="en-US" sz="900" kern="1200" dirty="0" smtClean="0">
                <a:solidFill>
                  <a:schemeClr val="tx1"/>
                </a:solidFill>
                <a:effectLst/>
                <a:latin typeface="Segoe UI Light" pitchFamily="34" charset="0"/>
                <a:ea typeface="+mn-ea"/>
                <a:cs typeface="+mn-cs"/>
              </a:rPr>
              <a:t>and running some of the world’s largest online services to create a robust set of security technologies and practices. </a:t>
            </a:r>
          </a:p>
          <a:p>
            <a:endParaRPr lang="en-US" sz="900" kern="1200" dirty="0" smtClean="0">
              <a:solidFill>
                <a:schemeClr val="tx1"/>
              </a:solidFill>
              <a:effectLst/>
              <a:latin typeface="Segoe UI Light" pitchFamily="34" charset="0"/>
              <a:ea typeface="+mn-ea"/>
              <a:cs typeface="+mn-cs"/>
            </a:endParaRPr>
          </a:p>
          <a:p>
            <a:pPr lvl="0"/>
            <a:r>
              <a:rPr lang="en-US" sz="900" kern="1200" dirty="0" smtClean="0">
                <a:solidFill>
                  <a:schemeClr val="tx1"/>
                </a:solidFill>
                <a:effectLst/>
                <a:latin typeface="Segoe UI Light" pitchFamily="34" charset="0"/>
                <a:ea typeface="+mn-ea"/>
                <a:cs typeface="+mn-cs"/>
              </a:rPr>
              <a:t>We start by building security into software code following an approach known as the </a:t>
            </a:r>
            <a:r>
              <a:rPr lang="en-US" sz="900" b="1" kern="1200" dirty="0" smtClean="0">
                <a:solidFill>
                  <a:schemeClr val="tx1"/>
                </a:solidFill>
                <a:effectLst/>
                <a:latin typeface="Segoe UI Light" pitchFamily="34" charset="0"/>
                <a:ea typeface="+mn-ea"/>
                <a:cs typeface="+mn-cs"/>
              </a:rPr>
              <a:t>Security Development Lifecycle (SDL). </a:t>
            </a:r>
            <a:r>
              <a:rPr lang="en-US" sz="900" kern="1200" dirty="0" smtClean="0">
                <a:solidFill>
                  <a:schemeClr val="tx1"/>
                </a:solidFill>
                <a:effectLst/>
                <a:latin typeface="Segoe UI Light" pitchFamily="34" charset="0"/>
                <a:ea typeface="+mn-ea"/>
                <a:cs typeface="+mn-cs"/>
              </a:rPr>
              <a:t>This company-wide, mandatory development process embeds security requirements into the </a:t>
            </a:r>
            <a:r>
              <a:rPr lang="en-US" sz="900" b="1" kern="1200" dirty="0" smtClean="0">
                <a:solidFill>
                  <a:schemeClr val="tx1"/>
                </a:solidFill>
                <a:effectLst/>
                <a:latin typeface="Segoe UI Light" pitchFamily="34" charset="0"/>
                <a:ea typeface="+mn-ea"/>
                <a:cs typeface="+mn-cs"/>
              </a:rPr>
              <a:t>entire software lifecycle, from planning through deployment</a:t>
            </a:r>
            <a:r>
              <a:rPr lang="en-US" sz="900" kern="1200" dirty="0" smtClean="0">
                <a:solidFill>
                  <a:schemeClr val="tx1"/>
                </a:solidFill>
                <a:effectLst/>
                <a:latin typeface="Segoe UI Light" pitchFamily="34" charset="0"/>
                <a:ea typeface="+mn-ea"/>
                <a:cs typeface="+mn-cs"/>
              </a:rPr>
              <a:t>. </a:t>
            </a:r>
          </a:p>
          <a:p>
            <a:pPr lvl="0"/>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On that foundation, we work to ensure that Azure infrastructure is resilient to attack, safeguards user access to the Azure environment, and helps keep customer data secure through encrypted communications as well as threat management and mitigation practices. </a:t>
            </a:r>
            <a:endParaRPr lang="en-US" sz="1300" b="1" dirty="0">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23</a:t>
            </a:fld>
            <a:endParaRPr lang="en-US" dirty="0">
              <a:solidFill>
                <a:prstClr val="black"/>
              </a:solidFill>
            </a:endParaRPr>
          </a:p>
        </p:txBody>
      </p:sp>
      <p:sp>
        <p:nvSpPr>
          <p:cNvPr id="5" name="Date Placeholder 4"/>
          <p:cNvSpPr>
            <a:spLocks noGrp="1"/>
          </p:cNvSpPr>
          <p:nvPr>
            <p:ph type="dt" idx="11"/>
          </p:nvPr>
        </p:nvSpPr>
        <p:spPr/>
        <p:txBody>
          <a:bodyPr/>
          <a:lstStyle/>
          <a:p>
            <a:fld id="{7B49893F-B795-4A75-BE79-C06936D20017}" type="datetime1">
              <a:rPr lang="en-US" smtClean="0">
                <a:solidFill>
                  <a:prstClr val="black"/>
                </a:solidFill>
              </a:rPr>
              <a:t>7/8/2015</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Sarah Fender 100-level Azure Security deck</a:t>
            </a:r>
            <a:endParaRPr lang="en-US" dirty="0">
              <a:solidFill>
                <a:prstClr val="black"/>
              </a:solidFill>
            </a:endParaRPr>
          </a:p>
        </p:txBody>
      </p:sp>
    </p:spTree>
    <p:extLst>
      <p:ext uri="{BB962C8B-B14F-4D97-AF65-F5344CB8AC3E}">
        <p14:creationId xmlns:p14="http://schemas.microsoft.com/office/powerpoint/2010/main" val="32406153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r>
              <a:rPr lang="en-US" sz="8000" b="1" dirty="0" smtClean="0">
                <a:latin typeface="Segoe UI" panose="020B0502040204020203" pitchFamily="34" charset="0"/>
                <a:ea typeface="Segoe UI" panose="020B0502040204020203" pitchFamily="34" charset="0"/>
                <a:cs typeface="Segoe UI" panose="020B0502040204020203" pitchFamily="34" charset="0"/>
              </a:rPr>
              <a:t>Slide title: </a:t>
            </a:r>
            <a:r>
              <a:rPr lang="en-US" sz="8000" dirty="0" smtClean="0">
                <a:latin typeface="Segoe UI" panose="020B0502040204020203" pitchFamily="34" charset="0"/>
                <a:ea typeface="Segoe UI" panose="020B0502040204020203" pitchFamily="34" charset="0"/>
                <a:cs typeface="Segoe UI" panose="020B0502040204020203" pitchFamily="34" charset="0"/>
              </a:rPr>
              <a:t>Transparency</a:t>
            </a:r>
          </a:p>
          <a:p>
            <a:pPr defTabSz="966612">
              <a:lnSpc>
                <a:spcPct val="115000"/>
              </a:lnSpc>
              <a:spcAft>
                <a:spcPts val="1057"/>
              </a:spcAft>
              <a:defRPr/>
            </a:pPr>
            <a:r>
              <a:rPr lang="en-US" sz="8000" b="1" dirty="0" smtClean="0">
                <a:latin typeface="Segoe UI" panose="020B0502040204020203" pitchFamily="34" charset="0"/>
                <a:ea typeface="Segoe UI" panose="020B0502040204020203" pitchFamily="34" charset="0"/>
                <a:cs typeface="Segoe UI" panose="020B0502040204020203" pitchFamily="34" charset="0"/>
              </a:rPr>
              <a:t>Slide objectives: </a:t>
            </a:r>
            <a:r>
              <a:rPr lang="en-US" sz="8000" dirty="0" smtClean="0">
                <a:latin typeface="Segoe UI" panose="020B0502040204020203" pitchFamily="34" charset="0"/>
                <a:ea typeface="Segoe UI" panose="020B0502040204020203" pitchFamily="34" charset="0"/>
                <a:cs typeface="Segoe UI" panose="020B0502040204020203" pitchFamily="34" charset="0"/>
              </a:rPr>
              <a:t>Introduce the following section on compliance.</a:t>
            </a:r>
          </a:p>
          <a:p>
            <a:pPr defTabSz="966612">
              <a:lnSpc>
                <a:spcPct val="115000"/>
              </a:lnSpc>
              <a:spcAft>
                <a:spcPts val="1057"/>
              </a:spcAft>
              <a:defRPr/>
            </a:pPr>
            <a:endParaRPr lang="en-US" sz="8000" b="1" dirty="0" smtClean="0">
              <a:latin typeface="Segoe UI" panose="020B0502040204020203" pitchFamily="34" charset="0"/>
              <a:ea typeface="Segoe UI" panose="020B0502040204020203" pitchFamily="34" charset="0"/>
              <a:cs typeface="Segoe UI" panose="020B0502040204020203" pitchFamily="34" charset="0"/>
            </a:endParaRPr>
          </a:p>
          <a:p>
            <a:pPr lvl="0"/>
            <a:r>
              <a:rPr lang="en-US" sz="4800" kern="1200" dirty="0" smtClean="0">
                <a:solidFill>
                  <a:schemeClr val="tx1"/>
                </a:solidFill>
                <a:effectLst/>
                <a:latin typeface="Segoe UI Light" pitchFamily="34" charset="0"/>
                <a:ea typeface="+mn-ea"/>
                <a:cs typeface="+mn-cs"/>
              </a:rPr>
              <a:t>Strong authentication, including the use of multi-factor authentication, helps limit access to authorized personnel only. </a:t>
            </a:r>
            <a:r>
              <a:rPr lang="en-US" sz="4800" b="1" kern="1200" dirty="0" smtClean="0">
                <a:solidFill>
                  <a:schemeClr val="tx1"/>
                </a:solidFill>
                <a:effectLst/>
                <a:latin typeface="Segoe UI Light" pitchFamily="34" charset="0"/>
                <a:ea typeface="+mn-ea"/>
                <a:cs typeface="+mn-cs"/>
              </a:rPr>
              <a:t>When access is granted, it is carefully controlled and logged, and revoked as soon </a:t>
            </a:r>
            <a:r>
              <a:rPr lang="en-US" sz="4800" kern="1200" dirty="0" smtClean="0">
                <a:solidFill>
                  <a:schemeClr val="tx1"/>
                </a:solidFill>
                <a:effectLst/>
                <a:latin typeface="Segoe UI Light" pitchFamily="34" charset="0"/>
                <a:ea typeface="+mn-ea"/>
                <a:cs typeface="+mn-cs"/>
              </a:rPr>
              <a:t>as it is no longer needed. </a:t>
            </a:r>
            <a:r>
              <a:rPr lang="en-US" sz="4800" b="1" kern="1200" dirty="0" smtClean="0">
                <a:solidFill>
                  <a:schemeClr val="tx1"/>
                </a:solidFill>
                <a:effectLst/>
                <a:latin typeface="Segoe UI Light" pitchFamily="34" charset="0"/>
                <a:ea typeface="+mn-ea"/>
                <a:cs typeface="+mn-cs"/>
              </a:rPr>
              <a:t>Microsoft and third parties perform sample audits to attest </a:t>
            </a:r>
            <a:r>
              <a:rPr lang="en-US" sz="4800" kern="1200" dirty="0" smtClean="0">
                <a:solidFill>
                  <a:schemeClr val="tx1"/>
                </a:solidFill>
                <a:effectLst/>
                <a:latin typeface="Segoe UI Light" pitchFamily="34" charset="0"/>
                <a:ea typeface="+mn-ea"/>
                <a:cs typeface="+mn-cs"/>
              </a:rPr>
              <a:t>that access is only for appropriate business purposes. </a:t>
            </a:r>
          </a:p>
          <a:p>
            <a:pPr lvl="0"/>
            <a:endParaRPr lang="en-US" sz="4800" kern="1200" dirty="0" smtClean="0">
              <a:solidFill>
                <a:schemeClr val="tx1"/>
              </a:solidFill>
              <a:effectLst/>
              <a:latin typeface="Segoe UI Light" pitchFamily="34" charset="0"/>
              <a:ea typeface="+mn-ea"/>
              <a:cs typeface="+mn-cs"/>
            </a:endParaRPr>
          </a:p>
          <a:p>
            <a:r>
              <a:rPr lang="en-US" sz="4800" kern="1200" dirty="0" smtClean="0">
                <a:solidFill>
                  <a:schemeClr val="tx1"/>
                </a:solidFill>
                <a:effectLst/>
                <a:latin typeface="Segoe UI Light" pitchFamily="34" charset="0"/>
                <a:ea typeface="+mn-ea"/>
                <a:cs typeface="+mn-cs"/>
              </a:rPr>
              <a:t>Microsoft may hire other companies to provide limited services, such as customer support, on its behalf. We disclose only customer data that subcontractors require to deliver the services we have hired them to provide. Subcontractors are prohibited from using customer data for any other purpose, and they are required to maintain the confidentiality of our customers’ information. </a:t>
            </a:r>
            <a:endParaRPr lang="en-US" sz="8000" b="1" dirty="0">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24</a:t>
            </a:fld>
            <a:endParaRPr lang="en-US" dirty="0">
              <a:solidFill>
                <a:prstClr val="black"/>
              </a:solidFill>
            </a:endParaRPr>
          </a:p>
        </p:txBody>
      </p:sp>
      <p:sp>
        <p:nvSpPr>
          <p:cNvPr id="5" name="Date Placeholder 4"/>
          <p:cNvSpPr>
            <a:spLocks noGrp="1"/>
          </p:cNvSpPr>
          <p:nvPr>
            <p:ph type="dt" idx="11"/>
          </p:nvPr>
        </p:nvSpPr>
        <p:spPr/>
        <p:txBody>
          <a:bodyPr/>
          <a:lstStyle/>
          <a:p>
            <a:fld id="{5CDC3C07-8A55-48EC-BB9C-082628A24FFD}" type="datetime1">
              <a:rPr lang="en-US" smtClean="0">
                <a:solidFill>
                  <a:prstClr val="black"/>
                </a:solidFill>
              </a:rPr>
              <a:t>7/8/2015</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Sarah Fender 100-level Azure Security deck</a:t>
            </a:r>
            <a:endParaRPr lang="en-US" dirty="0">
              <a:solidFill>
                <a:prstClr val="black"/>
              </a:solidFill>
            </a:endParaRPr>
          </a:p>
        </p:txBody>
      </p:sp>
    </p:spTree>
    <p:extLst>
      <p:ext uri="{BB962C8B-B14F-4D97-AF65-F5344CB8AC3E}">
        <p14:creationId xmlns:p14="http://schemas.microsoft.com/office/powerpoint/2010/main" val="20618970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r>
              <a:rPr lang="en-US" sz="1300" b="1" dirty="0">
                <a:latin typeface="Segoe UI" panose="020B0502040204020203" pitchFamily="34" charset="0"/>
                <a:ea typeface="Segoe UI" panose="020B0502040204020203" pitchFamily="34" charset="0"/>
                <a:cs typeface="Segoe UI" panose="020B0502040204020203" pitchFamily="34" charset="0"/>
              </a:rPr>
              <a:t>Slide title: </a:t>
            </a:r>
            <a:r>
              <a:rPr lang="en-US" sz="1300" dirty="0">
                <a:latin typeface="Segoe UI" panose="020B0502040204020203" pitchFamily="34" charset="0"/>
                <a:ea typeface="Segoe UI" panose="020B0502040204020203" pitchFamily="34" charset="0"/>
                <a:cs typeface="Segoe UI" panose="020B0502040204020203" pitchFamily="34" charset="0"/>
              </a:rPr>
              <a:t>Compliance</a:t>
            </a:r>
          </a:p>
          <a:p>
            <a:pPr defTabSz="966612">
              <a:lnSpc>
                <a:spcPct val="115000"/>
              </a:lnSpc>
              <a:spcAft>
                <a:spcPts val="1057"/>
              </a:spcAft>
              <a:defRPr/>
            </a:pPr>
            <a:r>
              <a:rPr lang="en-US" sz="1300" b="1" dirty="0">
                <a:latin typeface="Segoe UI" panose="020B0502040204020203" pitchFamily="34" charset="0"/>
                <a:ea typeface="Segoe UI" panose="020B0502040204020203" pitchFamily="34" charset="0"/>
                <a:cs typeface="Segoe UI" panose="020B0502040204020203" pitchFamily="34" charset="0"/>
              </a:rPr>
              <a:t>Slide objectives: </a:t>
            </a:r>
            <a:r>
              <a:rPr lang="en-US" sz="1300" dirty="0">
                <a:latin typeface="Segoe UI" panose="020B0502040204020203" pitchFamily="34" charset="0"/>
                <a:ea typeface="Segoe UI" panose="020B0502040204020203" pitchFamily="34" charset="0"/>
                <a:cs typeface="Segoe UI" panose="020B0502040204020203" pitchFamily="34" charset="0"/>
              </a:rPr>
              <a:t>Introduce the following section on compliance.</a:t>
            </a:r>
          </a:p>
          <a:p>
            <a:pPr defTabSz="966612">
              <a:lnSpc>
                <a:spcPct val="115000"/>
              </a:lnSpc>
              <a:spcAft>
                <a:spcPts val="1057"/>
              </a:spcAft>
              <a:defRPr/>
            </a:pPr>
            <a:endParaRPr lang="en-US" sz="1300" b="1" dirty="0" smtClean="0">
              <a:latin typeface="Segoe UI" panose="020B0502040204020203" pitchFamily="34" charset="0"/>
              <a:ea typeface="Segoe UI" panose="020B0502040204020203" pitchFamily="34" charset="0"/>
              <a:cs typeface="Segoe UI" panose="020B0502040204020203" pitchFamily="34" charset="0"/>
            </a:endParaRPr>
          </a:p>
          <a:p>
            <a:r>
              <a:rPr lang="en-US" sz="900" kern="1200" dirty="0" smtClean="0">
                <a:solidFill>
                  <a:schemeClr val="tx1"/>
                </a:solidFill>
                <a:effectLst/>
                <a:latin typeface="Segoe UI Light" pitchFamily="34" charset="0"/>
                <a:ea typeface="+mn-ea"/>
                <a:cs typeface="+mn-cs"/>
              </a:rPr>
              <a:t>Microsoft invests heavily in the development of </a:t>
            </a:r>
            <a:r>
              <a:rPr lang="en-US" sz="900" b="1" kern="1200" dirty="0" smtClean="0">
                <a:solidFill>
                  <a:schemeClr val="tx1"/>
                </a:solidFill>
                <a:effectLst/>
                <a:latin typeface="Segoe UI Light" pitchFamily="34" charset="0"/>
                <a:ea typeface="+mn-ea"/>
                <a:cs typeface="+mn-cs"/>
              </a:rPr>
              <a:t>robust and innovative compliance processes</a:t>
            </a:r>
            <a:r>
              <a:rPr lang="en-US" sz="900" kern="1200" dirty="0" smtClean="0">
                <a:solidFill>
                  <a:schemeClr val="tx1"/>
                </a:solidFill>
                <a:effectLst/>
                <a:latin typeface="Segoe UI Light" pitchFamily="34" charset="0"/>
                <a:ea typeface="+mn-ea"/>
                <a:cs typeface="+mn-cs"/>
              </a:rPr>
              <a:t>. The Microsoft compliance framework for online services </a:t>
            </a:r>
            <a:r>
              <a:rPr lang="en-US" sz="900" b="1" kern="1200" dirty="0" smtClean="0">
                <a:solidFill>
                  <a:schemeClr val="tx1"/>
                </a:solidFill>
                <a:effectLst/>
                <a:latin typeface="Segoe UI Light" pitchFamily="34" charset="0"/>
                <a:ea typeface="+mn-ea"/>
                <a:cs typeface="+mn-cs"/>
              </a:rPr>
              <a:t>maps controls to multiple regulatory standards</a:t>
            </a:r>
            <a:r>
              <a:rPr lang="en-US" sz="900" kern="1200" dirty="0" smtClean="0">
                <a:solidFill>
                  <a:schemeClr val="tx1"/>
                </a:solidFill>
                <a:effectLst/>
                <a:latin typeface="Segoe UI Light" pitchFamily="34" charset="0"/>
                <a:ea typeface="+mn-ea"/>
                <a:cs typeface="+mn-cs"/>
              </a:rPr>
              <a:t>. This enables Microsoft to design and build services using a common set of controls, streamlining compliance across a range of regulations today and as they evolve in the future. </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Microsoft compliance processes also make it easier for customers to achieve compliance across multiple services and meet their changing needs efficiently. Together, security-enhanced technology and effective compliance processes enable Microsoft to </a:t>
            </a:r>
            <a:r>
              <a:rPr lang="en-US" sz="900" b="1" kern="1200" dirty="0" smtClean="0">
                <a:solidFill>
                  <a:schemeClr val="tx1"/>
                </a:solidFill>
                <a:effectLst/>
                <a:latin typeface="Segoe UI Light" pitchFamily="34" charset="0"/>
                <a:ea typeface="+mn-ea"/>
                <a:cs typeface="+mn-cs"/>
              </a:rPr>
              <a:t>maintain and expand a rich set of third-party certifications</a:t>
            </a:r>
            <a:r>
              <a:rPr lang="en-US" sz="900" kern="1200" dirty="0" smtClean="0">
                <a:solidFill>
                  <a:schemeClr val="tx1"/>
                </a:solidFill>
                <a:effectLst/>
                <a:latin typeface="Segoe UI Light" pitchFamily="34" charset="0"/>
                <a:ea typeface="+mn-ea"/>
                <a:cs typeface="+mn-cs"/>
              </a:rPr>
              <a:t>. These help customers </a:t>
            </a:r>
            <a:r>
              <a:rPr lang="en-US" sz="900" b="1" kern="1200" dirty="0" smtClean="0">
                <a:solidFill>
                  <a:schemeClr val="tx1"/>
                </a:solidFill>
                <a:effectLst/>
                <a:latin typeface="Segoe UI Light" pitchFamily="34" charset="0"/>
                <a:ea typeface="+mn-ea"/>
                <a:cs typeface="+mn-cs"/>
              </a:rPr>
              <a:t>demonstrate compliance readiness to customers, auditors, and regulators</a:t>
            </a:r>
            <a:r>
              <a:rPr lang="en-US" sz="900" kern="1200" dirty="0" smtClean="0">
                <a:solidFill>
                  <a:schemeClr val="tx1"/>
                </a:solidFill>
                <a:effectLst/>
                <a:latin typeface="Segoe UI Light" pitchFamily="34" charset="0"/>
                <a:ea typeface="+mn-ea"/>
                <a:cs typeface="+mn-cs"/>
              </a:rPr>
              <a:t>. As part of its commitment to transparency</a:t>
            </a:r>
            <a:r>
              <a:rPr lang="en-US" sz="900" b="1" kern="1200" dirty="0" smtClean="0">
                <a:solidFill>
                  <a:schemeClr val="tx1"/>
                </a:solidFill>
                <a:effectLst/>
                <a:latin typeface="Segoe UI Light" pitchFamily="34" charset="0"/>
                <a:ea typeface="+mn-ea"/>
                <a:cs typeface="+mn-cs"/>
              </a:rPr>
              <a:t>, Microsoft shares third-party verification results with its customers</a:t>
            </a:r>
            <a:r>
              <a:rPr lang="en-US" sz="900" kern="1200" dirty="0" smtClean="0">
                <a:solidFill>
                  <a:schemeClr val="tx1"/>
                </a:solidFill>
                <a:effectLst/>
                <a:latin typeface="Segoe UI Light" pitchFamily="34" charset="0"/>
                <a:ea typeface="+mn-ea"/>
                <a:cs typeface="+mn-cs"/>
              </a:rPr>
              <a:t>.</a:t>
            </a:r>
          </a:p>
          <a:p>
            <a:pPr defTabSz="966612">
              <a:lnSpc>
                <a:spcPct val="115000"/>
              </a:lnSpc>
              <a:spcAft>
                <a:spcPts val="1057"/>
              </a:spcAft>
              <a:defRPr/>
            </a:pPr>
            <a:endParaRPr lang="en-US" sz="1300" b="1" dirty="0">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25</a:t>
            </a:fld>
            <a:endParaRPr lang="en-US" dirty="0">
              <a:solidFill>
                <a:prstClr val="black"/>
              </a:solidFill>
            </a:endParaRPr>
          </a:p>
        </p:txBody>
      </p:sp>
      <p:sp>
        <p:nvSpPr>
          <p:cNvPr id="5" name="Date Placeholder 4"/>
          <p:cNvSpPr>
            <a:spLocks noGrp="1"/>
          </p:cNvSpPr>
          <p:nvPr>
            <p:ph type="dt" idx="11"/>
          </p:nvPr>
        </p:nvSpPr>
        <p:spPr/>
        <p:txBody>
          <a:bodyPr/>
          <a:lstStyle/>
          <a:p>
            <a:fld id="{366A80A2-0B5D-426D-914A-58752274186D}" type="datetime1">
              <a:rPr lang="en-US" smtClean="0">
                <a:solidFill>
                  <a:prstClr val="black"/>
                </a:solidFill>
              </a:rPr>
              <a:t>7/8/2015</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Sarah Fender 100-level Azure Security deck</a:t>
            </a:r>
            <a:endParaRPr lang="en-US" dirty="0">
              <a:solidFill>
                <a:prstClr val="black"/>
              </a:solidFill>
            </a:endParaRPr>
          </a:p>
        </p:txBody>
      </p:sp>
    </p:spTree>
    <p:extLst>
      <p:ext uri="{BB962C8B-B14F-4D97-AF65-F5344CB8AC3E}">
        <p14:creationId xmlns:p14="http://schemas.microsoft.com/office/powerpoint/2010/main" val="19275619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r>
              <a:rPr lang="en-US" sz="1000" b="1" dirty="0" smtClean="0">
                <a:latin typeface="Segoe UI" panose="020B0502040204020203" pitchFamily="34" charset="0"/>
                <a:ea typeface="Segoe UI" panose="020B0502040204020203" pitchFamily="34" charset="0"/>
                <a:cs typeface="Segoe UI" panose="020B0502040204020203" pitchFamily="34" charset="0"/>
              </a:rPr>
              <a:t>Slide title: </a:t>
            </a:r>
            <a:r>
              <a:rPr lang="en-US" sz="1000" dirty="0" smtClean="0">
                <a:latin typeface="Segoe UI" panose="020B0502040204020203" pitchFamily="34" charset="0"/>
                <a:ea typeface="Segoe UI" panose="020B0502040204020203" pitchFamily="34" charset="0"/>
                <a:cs typeface="Segoe UI" panose="020B0502040204020203" pitchFamily="34" charset="0"/>
              </a:rPr>
              <a:t>Compliance</a:t>
            </a:r>
          </a:p>
          <a:p>
            <a:pPr defTabSz="966612">
              <a:lnSpc>
                <a:spcPct val="115000"/>
              </a:lnSpc>
              <a:spcAft>
                <a:spcPts val="1057"/>
              </a:spcAft>
              <a:defRPr/>
            </a:pPr>
            <a:r>
              <a:rPr lang="en-US" sz="1000" b="1" dirty="0" smtClean="0">
                <a:latin typeface="Segoe UI" panose="020B0502040204020203" pitchFamily="34" charset="0"/>
                <a:ea typeface="Segoe UI" panose="020B0502040204020203" pitchFamily="34" charset="0"/>
                <a:cs typeface="Segoe UI" panose="020B0502040204020203" pitchFamily="34" charset="0"/>
              </a:rPr>
              <a:t>Slide objectives: </a:t>
            </a:r>
            <a:r>
              <a:rPr lang="en-US" sz="1000" dirty="0" smtClean="0">
                <a:latin typeface="Segoe UI" panose="020B0502040204020203" pitchFamily="34" charset="0"/>
                <a:ea typeface="Segoe UI" panose="020B0502040204020203" pitchFamily="34" charset="0"/>
                <a:cs typeface="Segoe UI" panose="020B0502040204020203" pitchFamily="34" charset="0"/>
              </a:rPr>
              <a:t>Introduce the following section on compliance.</a:t>
            </a:r>
          </a:p>
          <a:p>
            <a:pPr defTabSz="966612">
              <a:lnSpc>
                <a:spcPct val="115000"/>
              </a:lnSpc>
              <a:spcAft>
                <a:spcPts val="1057"/>
              </a:spcAft>
              <a:defRPr/>
            </a:pPr>
            <a:endParaRPr lang="en-US" sz="1000" b="1" dirty="0" smtClean="0">
              <a:latin typeface="Segoe UI" panose="020B0502040204020203" pitchFamily="34" charset="0"/>
              <a:ea typeface="Segoe UI" panose="020B0502040204020203" pitchFamily="34" charset="0"/>
              <a:cs typeface="Segoe UI" panose="020B0502040204020203" pitchFamily="34" charset="0"/>
            </a:endParaRPr>
          </a:p>
          <a:p>
            <a:r>
              <a:rPr lang="en-US" sz="1000" dirty="0" smtClean="0"/>
              <a:t>By providing customers with compliant, independently verified cloud services, Microsoft makes it easier for customers to achieve compliance for the infrastructure and applications they run in Azure. Microsoft provides Azure customers with </a:t>
            </a:r>
            <a:r>
              <a:rPr lang="en-US" sz="1000" b="1" dirty="0" smtClean="0"/>
              <a:t>detailed information about our security and compliance programs</a:t>
            </a:r>
            <a:r>
              <a:rPr lang="en-US" sz="1000" dirty="0" smtClean="0"/>
              <a:t>, including </a:t>
            </a:r>
            <a:r>
              <a:rPr lang="en-US" sz="1000" b="1" dirty="0" smtClean="0"/>
              <a:t>audit reports and compliance packages</a:t>
            </a:r>
            <a:r>
              <a:rPr lang="en-US" sz="1000" dirty="0" smtClean="0"/>
              <a:t>, to help customers assess our services against their own legal and regulatory requirements.</a:t>
            </a:r>
          </a:p>
          <a:p>
            <a:r>
              <a:rPr lang="en-US" sz="1000" dirty="0" smtClean="0"/>
              <a:t>In addition, Microsoft has developed an extensible compliance framework that enables it to design and build services using a single set of controls to speed up and simplify compliance across a diverse set of regulations and rapidly adapt to changes in the regulatory landscape. </a:t>
            </a:r>
          </a:p>
          <a:p>
            <a:pPr defTabSz="966612">
              <a:lnSpc>
                <a:spcPct val="115000"/>
              </a:lnSpc>
              <a:spcAft>
                <a:spcPts val="1057"/>
              </a:spcAft>
              <a:defRPr/>
            </a:pPr>
            <a:endParaRPr lang="en-US" sz="1000" b="1" dirty="0">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544F29B-B91C-42F3-9905-7A53CFECF151}" type="datetime1">
              <a:rPr lang="en-US" smtClean="0"/>
              <a:t>7/8/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9360518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r>
              <a:rPr lang="en-US" sz="900" b="1" dirty="0" smtClean="0">
                <a:latin typeface="Segoe UI" panose="020B0502040204020203" pitchFamily="34" charset="0"/>
                <a:ea typeface="Segoe UI" panose="020B0502040204020203" pitchFamily="34" charset="0"/>
                <a:cs typeface="Segoe UI" panose="020B0502040204020203" pitchFamily="34" charset="0"/>
              </a:rPr>
              <a:t>Slide title: </a:t>
            </a:r>
            <a:r>
              <a:rPr lang="en-US" sz="900" dirty="0" smtClean="0">
                <a:latin typeface="Segoe UI" panose="020B0502040204020203" pitchFamily="34" charset="0"/>
                <a:ea typeface="Segoe UI" panose="020B0502040204020203" pitchFamily="34" charset="0"/>
                <a:cs typeface="Segoe UI" panose="020B0502040204020203" pitchFamily="34" charset="0"/>
              </a:rPr>
              <a:t>Compliance</a:t>
            </a:r>
          </a:p>
          <a:p>
            <a:pPr defTabSz="966612">
              <a:lnSpc>
                <a:spcPct val="115000"/>
              </a:lnSpc>
              <a:spcAft>
                <a:spcPts val="1057"/>
              </a:spcAft>
              <a:defRPr/>
            </a:pPr>
            <a:r>
              <a:rPr lang="en-US" sz="900" b="1" dirty="0" smtClean="0">
                <a:latin typeface="Segoe UI" panose="020B0502040204020203" pitchFamily="34" charset="0"/>
                <a:ea typeface="Segoe UI" panose="020B0502040204020203" pitchFamily="34" charset="0"/>
                <a:cs typeface="Segoe UI" panose="020B0502040204020203" pitchFamily="34" charset="0"/>
              </a:rPr>
              <a:t>Slide objectives: </a:t>
            </a:r>
            <a:r>
              <a:rPr lang="en-US" sz="900" dirty="0" smtClean="0">
                <a:latin typeface="Segoe UI" panose="020B0502040204020203" pitchFamily="34" charset="0"/>
                <a:ea typeface="Segoe UI" panose="020B0502040204020203" pitchFamily="34" charset="0"/>
                <a:cs typeface="Segoe UI" panose="020B0502040204020203" pitchFamily="34" charset="0"/>
              </a:rPr>
              <a:t>Provide</a:t>
            </a:r>
            <a:r>
              <a:rPr lang="en-US" sz="900" baseline="0" dirty="0" smtClean="0">
                <a:latin typeface="Segoe UI" panose="020B0502040204020203" pitchFamily="34" charset="0"/>
                <a:ea typeface="Segoe UI" panose="020B0502040204020203" pitchFamily="34" charset="0"/>
                <a:cs typeface="Segoe UI" panose="020B0502040204020203" pitchFamily="34" charset="0"/>
              </a:rPr>
              <a:t> an overview of Azure </a:t>
            </a:r>
            <a:r>
              <a:rPr lang="en-US" sz="900" dirty="0" smtClean="0">
                <a:latin typeface="Segoe UI" panose="020B0502040204020203" pitchFamily="34" charset="0"/>
                <a:ea typeface="Segoe UI" panose="020B0502040204020203" pitchFamily="34" charset="0"/>
                <a:cs typeface="Segoe UI" panose="020B0502040204020203" pitchFamily="34" charset="0"/>
              </a:rPr>
              <a:t>compliance.</a:t>
            </a:r>
          </a:p>
          <a:p>
            <a:pPr defTabSz="966612">
              <a:lnSpc>
                <a:spcPct val="115000"/>
              </a:lnSpc>
              <a:spcAft>
                <a:spcPts val="1057"/>
              </a:spcAft>
              <a:defRPr/>
            </a:pPr>
            <a:endParaRPr lang="en-US" sz="900" b="1" dirty="0" smtClean="0">
              <a:latin typeface="Segoe UI" panose="020B0502040204020203" pitchFamily="34" charset="0"/>
              <a:ea typeface="Segoe UI" panose="020B0502040204020203" pitchFamily="34" charset="0"/>
              <a:cs typeface="Segoe UI" panose="020B0502040204020203" pitchFamily="34" charset="0"/>
            </a:endParaRPr>
          </a:p>
          <a:p>
            <a:pPr defTabSz="966612">
              <a:lnSpc>
                <a:spcPct val="115000"/>
              </a:lnSpc>
              <a:spcAft>
                <a:spcPts val="1057"/>
              </a:spcAft>
              <a:defRPr/>
            </a:pPr>
            <a:r>
              <a:rPr lang="en-US" sz="900" b="1" dirty="0" smtClean="0">
                <a:latin typeface="Segoe UI" panose="020B0502040204020203" pitchFamily="34" charset="0"/>
                <a:ea typeface="Segoe UI" panose="020B0502040204020203" pitchFamily="34" charset="0"/>
                <a:cs typeface="Segoe UI" panose="020B0502040204020203" pitchFamily="34" charset="0"/>
              </a:rPr>
              <a:t>Slide script: </a:t>
            </a:r>
            <a:endParaRPr lang="en-US" sz="900" dirty="0" smtClean="0">
              <a:latin typeface="Segoe UI" panose="020B0502040204020203" pitchFamily="34" charset="0"/>
              <a:ea typeface="Segoe UI" panose="020B0502040204020203" pitchFamily="34" charset="0"/>
              <a:cs typeface="Segoe UI" panose="020B0502040204020203" pitchFamily="34" charset="0"/>
            </a:endParaRPr>
          </a:p>
          <a:p>
            <a:pPr marL="285750" marR="0" indent="-285750" algn="l" defTabSz="9666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dirty="0" smtClean="0"/>
              <a:t>Compliance certifications. </a:t>
            </a:r>
            <a:r>
              <a:rPr lang="en-US" sz="900" dirty="0" smtClean="0"/>
              <a:t>Microsoft maintains a </a:t>
            </a:r>
            <a:r>
              <a:rPr lang="en-US" sz="900" b="1" dirty="0" smtClean="0"/>
              <a:t>team of security, privacy, and compliance experts </a:t>
            </a:r>
            <a:r>
              <a:rPr lang="en-US" sz="900" dirty="0" smtClean="0"/>
              <a:t>focused on ensuring that Azure meets its own compliance obligations as well as helping customers meet their compliance requirements. In addition, the </a:t>
            </a:r>
            <a:r>
              <a:rPr lang="en-US" sz="900" b="1" dirty="0" smtClean="0"/>
              <a:t>compliance team represents the “customer voice” </a:t>
            </a:r>
            <a:r>
              <a:rPr lang="en-US" sz="900" dirty="0" smtClean="0"/>
              <a:t>and </a:t>
            </a:r>
            <a:r>
              <a:rPr lang="en-US" sz="900" b="1" dirty="0" smtClean="0"/>
              <a:t>drives necessary changes in engineering, operations, and relationships </a:t>
            </a:r>
            <a:r>
              <a:rPr lang="en-US" sz="900" dirty="0" smtClean="0"/>
              <a:t>with regulatory bodies to help ensure customers’ needs are met.</a:t>
            </a:r>
          </a:p>
          <a:p>
            <a:pPr marL="285750" marR="0" indent="-285750" algn="l" defTabSz="9666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dirty="0" smtClean="0"/>
              <a:t>Benchmark,</a:t>
            </a:r>
            <a:r>
              <a:rPr lang="en-US" sz="900" b="1" baseline="0" dirty="0" smtClean="0"/>
              <a:t> test &amp; audit</a:t>
            </a:r>
            <a:r>
              <a:rPr lang="en-US" sz="900" baseline="0" dirty="0" smtClean="0"/>
              <a:t>. </a:t>
            </a:r>
            <a:r>
              <a:rPr lang="en-US" sz="800" kern="1200" dirty="0" smtClean="0">
                <a:solidFill>
                  <a:schemeClr val="tx1"/>
                </a:solidFill>
                <a:effectLst/>
                <a:latin typeface="Segoe UI Light" pitchFamily="34" charset="0"/>
                <a:ea typeface="+mn-ea"/>
                <a:cs typeface="+mn-cs"/>
              </a:rPr>
              <a:t>Azure is designed with a compliance strategy that helps customers address business objectives and industry standards &amp; regulations. Our security compliance framework </a:t>
            </a:r>
            <a:r>
              <a:rPr lang="en-US" sz="800" b="1" kern="1200" dirty="0" smtClean="0">
                <a:solidFill>
                  <a:schemeClr val="tx1"/>
                </a:solidFill>
                <a:effectLst/>
                <a:latin typeface="Segoe UI Light" pitchFamily="34" charset="0"/>
                <a:ea typeface="+mn-ea"/>
                <a:cs typeface="+mn-cs"/>
              </a:rPr>
              <a:t>includes test and audit phases, security analytics, risk management best practices</a:t>
            </a:r>
            <a:r>
              <a:rPr lang="en-US" sz="800" kern="1200" dirty="0" smtClean="0">
                <a:solidFill>
                  <a:schemeClr val="tx1"/>
                </a:solidFill>
                <a:effectLst/>
                <a:latin typeface="Segoe UI Light" pitchFamily="34" charset="0"/>
                <a:ea typeface="+mn-ea"/>
                <a:cs typeface="+mn-cs"/>
              </a:rPr>
              <a:t>, and security benchmark analysis to achieve certificates and attestations.</a:t>
            </a:r>
          </a:p>
          <a:p>
            <a:pPr marL="285750" indent="-285750" defTabSz="966612">
              <a:buFont typeface="Arial" panose="020B0604020202020204" pitchFamily="34" charset="0"/>
              <a:buChar char="•"/>
              <a:defRPr/>
            </a:pPr>
            <a:r>
              <a:rPr lang="en-US" sz="900" b="1" dirty="0" smtClean="0"/>
              <a:t>Independent verification. </a:t>
            </a:r>
            <a:r>
              <a:rPr lang="en-US" sz="900" dirty="0" smtClean="0"/>
              <a:t>Microsoft is committed to ongoing verification by third party audit firms, and shares audit report findings and compliance packages with customers to help them fulfill their own compliance obligations.</a:t>
            </a:r>
          </a:p>
          <a:p>
            <a:pPr marL="285750" indent="-285750" defTabSz="966612">
              <a:buFont typeface="Arial" panose="020B0604020202020204" pitchFamily="34" charset="0"/>
              <a:buChar char="•"/>
              <a:defRPr/>
            </a:pPr>
            <a:r>
              <a:rPr lang="en-US" sz="900" b="1" dirty="0" smtClean="0"/>
              <a:t>Best practices</a:t>
            </a:r>
            <a:r>
              <a:rPr lang="en-US" sz="900" dirty="0" smtClean="0"/>
              <a:t>. We also </a:t>
            </a:r>
            <a:r>
              <a:rPr lang="en-US" sz="900" b="1" dirty="0" smtClean="0"/>
              <a:t>publish best practices and prescriptive guidance on securing your data</a:t>
            </a:r>
            <a:r>
              <a:rPr lang="en-US" sz="900" dirty="0" smtClean="0"/>
              <a:t>, applications, and infrastructure in Azure. By providing customers with compliant cloud services and detailed information about how it addresses security standards across a range of compliance programs, Microsoft makes it easier for customers to achieve compliance for the infrastructure and applications they run in Azure.</a:t>
            </a:r>
          </a:p>
          <a:p>
            <a:pPr marL="0" indent="0" defTabSz="966612">
              <a:buFont typeface="Arial" panose="020B0604020202020204" pitchFamily="34" charset="0"/>
              <a:buNone/>
              <a:defRPr/>
            </a:pPr>
            <a:endParaRPr lang="en-US" sz="900" dirty="0" smtClean="0"/>
          </a:p>
          <a:p>
            <a:pPr marL="0" marR="0" indent="0" algn="l" defTabSz="9666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dirty="0" smtClean="0"/>
              <a:t>Detailed information about Azure security, privacy, and compliance is available in our online Trust Center. This includes a list of current certifications, links to whitepapers, and other detailed information.</a:t>
            </a:r>
          </a:p>
          <a:p>
            <a:pPr>
              <a:lnSpc>
                <a:spcPct val="115000"/>
              </a:lnSpc>
              <a:spcAft>
                <a:spcPts val="1057"/>
              </a:spcAft>
            </a:pPr>
            <a:endParaRPr lang="en-US" sz="900" dirty="0" smtClean="0"/>
          </a:p>
          <a:p>
            <a:endParaRPr lang="en-IN"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02390B2-D5EB-48FF-A090-84CB72664D04}" type="datetime1">
              <a:rPr lang="en-US" smtClean="0"/>
              <a:t>7/8/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7435824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nSpc>
                <a:spcPct val="115000"/>
              </a:lnSpc>
              <a:spcAft>
                <a:spcPts val="1019"/>
              </a:spcAft>
            </a:pPr>
            <a:r>
              <a:rPr lang="en-US" b="1" dirty="0" smtClean="0">
                <a:latin typeface="Segoe UI" panose="020B0502040204020203" pitchFamily="34" charset="0"/>
                <a:ea typeface="Segoe UI" panose="020B0502040204020203" pitchFamily="34" charset="0"/>
                <a:cs typeface="Segoe UI" panose="020B0502040204020203" pitchFamily="34" charset="0"/>
              </a:rPr>
              <a:t>Slide title: </a:t>
            </a:r>
            <a:r>
              <a:rPr lang="en-US" dirty="0" smtClean="0">
                <a:latin typeface="Segoe UI" panose="020B0502040204020203" pitchFamily="34" charset="0"/>
                <a:ea typeface="Segoe UI" panose="020B0502040204020203" pitchFamily="34" charset="0"/>
                <a:cs typeface="Segoe UI" panose="020B0502040204020203" pitchFamily="34" charset="0"/>
              </a:rPr>
              <a:t>Trustworthy foundation: Built on Microsoft experience and innovation</a:t>
            </a:r>
          </a:p>
          <a:p>
            <a:pPr>
              <a:lnSpc>
                <a:spcPct val="115000"/>
              </a:lnSpc>
              <a:spcAft>
                <a:spcPts val="1019"/>
              </a:spcAft>
            </a:pPr>
            <a:r>
              <a:rPr lang="en-US" b="1" dirty="0" smtClean="0">
                <a:latin typeface="Segoe UI" panose="020B0502040204020203" pitchFamily="34" charset="0"/>
                <a:ea typeface="Segoe UI" panose="020B0502040204020203" pitchFamily="34" charset="0"/>
                <a:cs typeface="Segoe UI" panose="020B0502040204020203" pitchFamily="34" charset="0"/>
              </a:rPr>
              <a:t>Slide objectives: </a:t>
            </a:r>
            <a:r>
              <a:rPr lang="en-US" dirty="0" smtClean="0">
                <a:latin typeface="Segoe UI" panose="020B0502040204020203" pitchFamily="34" charset="0"/>
                <a:ea typeface="Segoe UI" panose="020B0502040204020203" pitchFamily="34" charset="0"/>
                <a:cs typeface="Segoe UI" panose="020B0502040204020203" pitchFamily="34" charset="0"/>
              </a:rPr>
              <a:t>Demonstrate Microsoft experience and innovation in cloud services.</a:t>
            </a:r>
          </a:p>
          <a:p>
            <a:pPr defTabSz="931774">
              <a:lnSpc>
                <a:spcPct val="115000"/>
              </a:lnSpc>
              <a:spcAft>
                <a:spcPts val="1019"/>
              </a:spcAft>
              <a:defRPr/>
            </a:pPr>
            <a:endParaRPr lang="en-US" b="1" dirty="0" smtClean="0">
              <a:latin typeface="Segoe UI" panose="020B0502040204020203" pitchFamily="34" charset="0"/>
              <a:ea typeface="Segoe UI" panose="020B0502040204020203" pitchFamily="34" charset="0"/>
              <a:cs typeface="Segoe UI" panose="020B0502040204020203" pitchFamily="34" charset="0"/>
            </a:endParaRPr>
          </a:p>
          <a:p>
            <a:pPr defTabSz="931774">
              <a:lnSpc>
                <a:spcPct val="115000"/>
              </a:lnSpc>
              <a:spcAft>
                <a:spcPts val="1019"/>
              </a:spcAft>
              <a:defRPr/>
            </a:pPr>
            <a:r>
              <a:rPr lang="en-US" b="1" dirty="0" smtClean="0">
                <a:latin typeface="Segoe UI" panose="020B0502040204020203" pitchFamily="34" charset="0"/>
                <a:ea typeface="Segoe UI" panose="020B0502040204020203" pitchFamily="34" charset="0"/>
                <a:cs typeface="Segoe UI" panose="020B0502040204020203" pitchFamily="34" charset="0"/>
              </a:rPr>
              <a:t>Slide script: </a:t>
            </a:r>
            <a:endParaRPr lang="en-US" dirty="0" smtClean="0">
              <a:latin typeface="Segoe UI" panose="020B0502040204020203" pitchFamily="34" charset="0"/>
              <a:ea typeface="Segoe UI" panose="020B0502040204020203" pitchFamily="34" charset="0"/>
              <a:cs typeface="Segoe UI" panose="020B0502040204020203" pitchFamily="34" charset="0"/>
            </a:endParaRPr>
          </a:p>
          <a:p>
            <a:pPr marL="0" indent="0">
              <a:buFont typeface="Arial" panose="020B0604020202020204" pitchFamily="34" charset="0"/>
              <a:buNone/>
            </a:pPr>
            <a:r>
              <a:rPr lang="en-US" dirty="0" smtClean="0"/>
              <a:t>Microsoft has decades of unmatched experience building enterprise software and running some of the largest online services around the globe beginning with the opening of its first data center in 1989.</a:t>
            </a:r>
          </a:p>
          <a:p>
            <a:pPr marL="0" indent="0">
              <a:buFont typeface="Arial" panose="020B0604020202020204" pitchFamily="34" charset="0"/>
              <a:buNone/>
            </a:pPr>
            <a:endParaRPr lang="en-US" dirty="0" smtClean="0"/>
          </a:p>
          <a:p>
            <a:pPr marL="0" indent="0">
              <a:buFont typeface="Arial" panose="020B0604020202020204" pitchFamily="34" charset="0"/>
              <a:buNone/>
            </a:pPr>
            <a:r>
              <a:rPr lang="en-US" dirty="0" smtClean="0"/>
              <a:t>Today, the Microsoft cloud infrastructure supports over </a:t>
            </a:r>
            <a:r>
              <a:rPr lang="en-US" b="1" dirty="0" smtClean="0"/>
              <a:t>1 billion customers and 200 million businesses running in 76 markets worldwide</a:t>
            </a:r>
            <a:r>
              <a:rPr lang="en-US" dirty="0" smtClean="0"/>
              <a:t>. </a:t>
            </a:r>
          </a:p>
          <a:p>
            <a:endParaRPr lang="en-US" dirty="0"/>
          </a:p>
        </p:txBody>
      </p:sp>
      <p:sp>
        <p:nvSpPr>
          <p:cNvPr id="4" name="Slide Number Placeholder 3"/>
          <p:cNvSpPr>
            <a:spLocks noGrp="1"/>
          </p:cNvSpPr>
          <p:nvPr>
            <p:ph type="sldNum" sz="quarter" idx="10"/>
          </p:nvPr>
        </p:nvSpPr>
        <p:spPr/>
        <p:txBody>
          <a:bodyPr/>
          <a:lstStyle/>
          <a:p>
            <a:fld id="{CC51BC09-F172-4B17-BA6A-7B5D6112C883}"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2370042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dirty="0" smtClean="0">
                <a:latin typeface="Segoe UI Light" pitchFamily="34" charset="0"/>
                <a:cs typeface="+mn-cs"/>
              </a:rPr>
              <a:t>Slide Title: </a:t>
            </a:r>
            <a:r>
              <a:rPr lang="en-US" sz="900" dirty="0" smtClean="0">
                <a:latin typeface="Segoe UI Light" pitchFamily="34" charset="0"/>
                <a:cs typeface="+mn-cs"/>
              </a:rPr>
              <a:t>Partnering with industry leaders</a:t>
            </a:r>
          </a:p>
          <a:p>
            <a:r>
              <a:rPr lang="en-US" sz="900" b="1" dirty="0" smtClean="0">
                <a:latin typeface="Segoe UI Light" pitchFamily="34" charset="0"/>
                <a:cs typeface="+mn-cs"/>
              </a:rPr>
              <a:t>Slide Obj: </a:t>
            </a:r>
            <a:r>
              <a:rPr lang="en-US" sz="900" dirty="0" smtClean="0">
                <a:latin typeface="Segoe UI Light" pitchFamily="34" charset="0"/>
                <a:cs typeface="+mn-cs"/>
              </a:rPr>
              <a:t>Microsoft’s competitive edge</a:t>
            </a:r>
          </a:p>
          <a:p>
            <a:endParaRPr lang="en-US" sz="900" dirty="0" smtClean="0">
              <a:latin typeface="Segoe UI Light" pitchFamily="34" charset="0"/>
              <a:cs typeface="+mn-cs"/>
            </a:endParaRPr>
          </a:p>
          <a:p>
            <a:r>
              <a:rPr lang="en-US" sz="900" b="1" dirty="0" smtClean="0">
                <a:latin typeface="Segoe UI Light" pitchFamily="34" charset="0"/>
                <a:cs typeface="+mn-cs"/>
              </a:rPr>
              <a:t>Slide Script:</a:t>
            </a:r>
          </a:p>
          <a:p>
            <a:r>
              <a:rPr lang="en-US" sz="900" dirty="0" smtClean="0">
                <a:latin typeface="Segoe UI Light" pitchFamily="34" charset="0"/>
                <a:cs typeface="+mn-cs"/>
              </a:rPr>
              <a:t>Microsoft stays abreast of new and upcoming changes to key compliance requirements and actively participates in the conversations that shape them for the benefit of its customers. It works with decision makers and regulators to shape policies in ways that meet evolving business needs while maintaining high standards of security, privacy, and reliability.</a:t>
            </a:r>
          </a:p>
          <a:p>
            <a:r>
              <a:rPr lang="en-US" sz="900" dirty="0" smtClean="0">
                <a:latin typeface="Segoe UI Light" pitchFamily="34" charset="0"/>
                <a:cs typeface="+mn-cs"/>
              </a:rPr>
              <a:t> </a:t>
            </a:r>
          </a:p>
          <a:p>
            <a:r>
              <a:rPr lang="en-US" sz="900" dirty="0" smtClean="0">
                <a:latin typeface="Segoe UI Light" pitchFamily="34" charset="0"/>
                <a:cs typeface="+mn-cs"/>
              </a:rPr>
              <a:t>To promote a standards-based approach to cloud compliance, Microsoft is part of organizations such as the Cloud Security Alliance. Microsoft proactively engages with government customers, serving as a trusted advisor on the development and implementation of their cloud security policies and programs. Microsoft has extensive experience in security compliance assessments for its products and services for both U.S. and global government customers. </a:t>
            </a:r>
          </a:p>
          <a:p>
            <a:r>
              <a:rPr lang="en-US" sz="900" dirty="0" smtClean="0">
                <a:latin typeface="Segoe UI Light" pitchFamily="34" charset="0"/>
                <a:cs typeface="+mn-cs"/>
              </a:rPr>
              <a:t> </a:t>
            </a:r>
          </a:p>
          <a:p>
            <a:r>
              <a:rPr lang="en-US" sz="900" dirty="0" smtClean="0">
                <a:latin typeface="Segoe UI Light" pitchFamily="34" charset="0"/>
                <a:cs typeface="+mn-cs"/>
              </a:rPr>
              <a:t>Microsoft works with government organizations such as the National Institute of Standards and Technology (NIST), European Network and Information Security Agency (ENISA), and others to evolve how they approach the security challenges associated with operating in a network-to-cloud-based environment. </a:t>
            </a:r>
          </a:p>
          <a:p>
            <a:endParaRPr lang="en-US" sz="900" dirty="0" smtClean="0">
              <a:latin typeface="Segoe UI Light" pitchFamily="34" charset="0"/>
              <a:cs typeface="+mn-cs"/>
            </a:endParaRPr>
          </a:p>
          <a:p>
            <a:r>
              <a:rPr lang="en-US" sz="900" dirty="0" smtClean="0">
                <a:latin typeface="Segoe UI Light" pitchFamily="34" charset="0"/>
                <a:cs typeface="+mn-cs"/>
              </a:rPr>
              <a:t>In recent months, Microsoft has collaborated with other technology leaders to propose clear principles for reforming government surveillance, particularly in response to revelations made public by Edward Snowden.</a:t>
            </a:r>
          </a:p>
          <a:p>
            <a:endParaRPr lang="en-US" dirty="0"/>
          </a:p>
        </p:txBody>
      </p:sp>
      <p:sp>
        <p:nvSpPr>
          <p:cNvPr id="4" name="Slide Number Placeholder 3"/>
          <p:cNvSpPr>
            <a:spLocks noGrp="1"/>
          </p:cNvSpPr>
          <p:nvPr>
            <p:ph type="sldNum" sz="quarter" idx="10"/>
          </p:nvPr>
        </p:nvSpPr>
        <p:spPr/>
        <p:txBody>
          <a:bodyPr/>
          <a:lstStyle/>
          <a:p>
            <a:fld id="{5CA7C1A6-3F6E-4A0C-A01A-2F04D27288E6}" type="slidenum">
              <a:rPr lang="en-GB" smtClean="0"/>
              <a:pPr/>
              <a:t>29</a:t>
            </a:fld>
            <a:endParaRPr lang="en-GB" dirty="0"/>
          </a:p>
        </p:txBody>
      </p:sp>
    </p:spTree>
    <p:extLst>
      <p:ext uri="{BB962C8B-B14F-4D97-AF65-F5344CB8AC3E}">
        <p14:creationId xmlns:p14="http://schemas.microsoft.com/office/powerpoint/2010/main" val="8817366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90000"/>
              </a:lnSpc>
              <a:spcAft>
                <a:spcPts val="600"/>
              </a:spcAft>
            </a:pPr>
            <a:r>
              <a:rPr lang="en-US" sz="900" b="1" kern="1200" dirty="0" smtClean="0">
                <a:solidFill>
                  <a:schemeClr val="tx1"/>
                </a:solidFill>
                <a:effectLst/>
                <a:latin typeface="Segoe UI Light" pitchFamily="34" charset="0"/>
                <a:ea typeface="+mn-ea"/>
                <a:cs typeface="+mn-cs"/>
              </a:rPr>
              <a:t>Many CIOs hesitate </a:t>
            </a:r>
            <a:r>
              <a:rPr lang="en-US" sz="900" kern="1200" dirty="0" smtClean="0">
                <a:solidFill>
                  <a:schemeClr val="tx1"/>
                </a:solidFill>
                <a:effectLst/>
                <a:latin typeface="Segoe UI Light" pitchFamily="34" charset="0"/>
                <a:ea typeface="+mn-ea"/>
                <a:cs typeface="+mn-cs"/>
              </a:rPr>
              <a:t>to fully embrace a cloud-first approach. Their hesitation stems in part from anxiety over a wide range of privacy and security related issues. Large-scale data breaches dominated headlines in 2014, raising a critical question for IT leaders everywhere: How can organizations build scalable cloud solutions and increase business agility while taking the </a:t>
            </a:r>
            <a:r>
              <a:rPr lang="en-US" sz="900" b="1" kern="1200" dirty="0" smtClean="0">
                <a:solidFill>
                  <a:schemeClr val="tx1"/>
                </a:solidFill>
                <a:effectLst/>
                <a:latin typeface="Segoe UI Light" pitchFamily="34" charset="0"/>
                <a:ea typeface="+mn-ea"/>
                <a:cs typeface="+mn-cs"/>
              </a:rPr>
              <a:t>necessary steps to secure our data and ensure privacy and compliance across the enterprise</a:t>
            </a:r>
            <a:r>
              <a:rPr lang="en-US" sz="900" kern="1200" dirty="0" smtClean="0">
                <a:solidFill>
                  <a:schemeClr val="tx1"/>
                </a:solidFill>
                <a:effectLst/>
                <a:latin typeface="Segoe UI Light" pitchFamily="34" charset="0"/>
                <a:ea typeface="+mn-ea"/>
                <a:cs typeface="+mn-cs"/>
              </a:rPr>
              <a:t>? </a:t>
            </a:r>
            <a:endParaRPr lang="en-US" sz="900" dirty="0" smtClean="0">
              <a:solidFill>
                <a:schemeClr val="tx1">
                  <a:lumMod val="50000"/>
                </a:schemeClr>
              </a:solidFill>
            </a:endParaRPr>
          </a:p>
          <a:p>
            <a:pPr algn="l">
              <a:lnSpc>
                <a:spcPct val="90000"/>
              </a:lnSpc>
              <a:spcAft>
                <a:spcPts val="600"/>
              </a:spcAft>
            </a:pPr>
            <a:endParaRPr lang="en-US" sz="900" dirty="0" smtClean="0">
              <a:solidFill>
                <a:schemeClr val="tx1">
                  <a:lumMod val="50000"/>
                </a:schemeClr>
              </a:solidFill>
            </a:endParaRPr>
          </a:p>
          <a:p>
            <a:r>
              <a:rPr lang="en-US" sz="900" kern="1200" dirty="0" smtClean="0">
                <a:solidFill>
                  <a:schemeClr val="tx1"/>
                </a:solidFill>
                <a:effectLst/>
                <a:latin typeface="Segoe UI Light" pitchFamily="34" charset="0"/>
                <a:ea typeface="+mn-ea"/>
                <a:cs typeface="+mn-cs"/>
              </a:rPr>
              <a:t>According to the 2014 Breach Level Index Report by the digital security company, Gemalto, In 2014, cyber criminals compromised more than </a:t>
            </a:r>
            <a:r>
              <a:rPr lang="en-US" sz="900" b="1" kern="1200" dirty="0" smtClean="0">
                <a:solidFill>
                  <a:schemeClr val="tx1"/>
                </a:solidFill>
                <a:effectLst/>
                <a:latin typeface="Segoe UI Light" pitchFamily="34" charset="0"/>
                <a:ea typeface="+mn-ea"/>
                <a:cs typeface="+mn-cs"/>
              </a:rPr>
              <a:t>a billion data records in more than 1500 breaches</a:t>
            </a:r>
            <a:r>
              <a:rPr lang="en-US" sz="900" kern="1200" dirty="0" smtClean="0">
                <a:solidFill>
                  <a:schemeClr val="tx1"/>
                </a:solidFill>
                <a:effectLst/>
                <a:latin typeface="Segoe UI Light" pitchFamily="34" charset="0"/>
                <a:ea typeface="+mn-ea"/>
                <a:cs typeface="+mn-cs"/>
              </a:rPr>
              <a:t>. In a 2014 report for the World Economic Forum, McKinsey &amp; Company estimated the risk of cyberattacks “could materially slow the pace of technology and business innovation with as much as $3 trillion in aggregate impact.” In any security attack, target organizations are only as safe as their weakest link. If any component is not secured, then the entire system is at risk. While acknowledging that the cloud can provide increased data security and administrative control, IT leaders are still concerned that migrating to the cloud will leave them more vulnerable to hackers than their current in-house solutions. </a:t>
            </a:r>
          </a:p>
          <a:p>
            <a:pPr algn="l">
              <a:lnSpc>
                <a:spcPct val="90000"/>
              </a:lnSpc>
              <a:spcAft>
                <a:spcPts val="600"/>
              </a:spcAft>
            </a:pPr>
            <a:endParaRPr lang="en-US" sz="900" dirty="0" smtClean="0">
              <a:solidFill>
                <a:schemeClr val="tx1">
                  <a:lumMod val="50000"/>
                </a:schemeClr>
              </a:solidFill>
            </a:endParaRPr>
          </a:p>
          <a:p>
            <a:pPr algn="l">
              <a:lnSpc>
                <a:spcPct val="90000"/>
              </a:lnSpc>
              <a:spcAft>
                <a:spcPts val="600"/>
              </a:spcAft>
            </a:pPr>
            <a:endParaRPr lang="en-US" sz="900" dirty="0" smtClean="0">
              <a:solidFill>
                <a:schemeClr val="tx1">
                  <a:lumMod val="50000"/>
                </a:schemeClr>
              </a:solidFill>
            </a:endParaRPr>
          </a:p>
          <a:p>
            <a:pPr algn="l">
              <a:lnSpc>
                <a:spcPct val="90000"/>
              </a:lnSpc>
              <a:spcAft>
                <a:spcPts val="600"/>
              </a:spcAft>
            </a:pPr>
            <a:endParaRPr lang="en-US" sz="900" dirty="0" smtClean="0">
              <a:solidFill>
                <a:schemeClr val="tx1">
                  <a:lumMod val="50000"/>
                </a:schemeClr>
              </a:solidFill>
            </a:endParaRPr>
          </a:p>
          <a:p>
            <a:pPr algn="l">
              <a:lnSpc>
                <a:spcPct val="90000"/>
              </a:lnSpc>
              <a:spcAft>
                <a:spcPts val="600"/>
              </a:spcAft>
            </a:pPr>
            <a:endParaRPr lang="en-US" sz="900" dirty="0" smtClean="0">
              <a:solidFill>
                <a:schemeClr val="tx1">
                  <a:lumMod val="50000"/>
                </a:schemeClr>
              </a:solidFill>
            </a:endParaRPr>
          </a:p>
          <a:p>
            <a:pPr algn="l">
              <a:lnSpc>
                <a:spcPct val="90000"/>
              </a:lnSpc>
              <a:spcAft>
                <a:spcPts val="600"/>
              </a:spcAft>
            </a:pPr>
            <a:r>
              <a:rPr lang="en-US" sz="900" dirty="0" smtClean="0">
                <a:solidFill>
                  <a:schemeClr val="tx1">
                    <a:lumMod val="50000"/>
                  </a:schemeClr>
                </a:solidFill>
              </a:rPr>
              <a:t>Sources: </a:t>
            </a:r>
          </a:p>
          <a:p>
            <a:pPr marL="0" marR="0" indent="0" algn="l" defTabSz="914400" rtl="0" eaLnBrk="1" fontAlgn="base" latinLnBrk="0" hangingPunct="1">
              <a:lnSpc>
                <a:spcPct val="90000"/>
              </a:lnSpc>
              <a:spcBef>
                <a:spcPct val="30000"/>
              </a:spcBef>
              <a:spcAft>
                <a:spcPts val="600"/>
              </a:spcAft>
              <a:buClrTx/>
              <a:buSzTx/>
              <a:buFontTx/>
              <a:buNone/>
              <a:tabLst/>
              <a:defRPr/>
            </a:pPr>
            <a:r>
              <a:rPr lang="en-US" sz="900" baseline="30000" dirty="0" smtClean="0">
                <a:solidFill>
                  <a:schemeClr val="tx1">
                    <a:lumMod val="50000"/>
                  </a:schemeClr>
                </a:solidFill>
                <a:cs typeface="Segoe UI Light"/>
              </a:rPr>
              <a:t>1</a:t>
            </a:r>
            <a:r>
              <a:rPr lang="en-US" sz="900" dirty="0" smtClean="0">
                <a:solidFill>
                  <a:schemeClr val="tx1">
                    <a:lumMod val="50000"/>
                  </a:schemeClr>
                </a:solidFill>
              </a:rPr>
              <a:t> Intel/McAfee, “Net Losses: Estimating the Global Cost of Cybercrime”, June 2014. http://www.mcafee.com/us/resources/reports/rp-economic-impact-cybercrime2.pdf</a:t>
            </a:r>
          </a:p>
          <a:p>
            <a:pPr algn="l">
              <a:lnSpc>
                <a:spcPct val="90000"/>
              </a:lnSpc>
              <a:spcAft>
                <a:spcPts val="600"/>
              </a:spcAft>
            </a:pPr>
            <a:r>
              <a:rPr lang="en-US" sz="900" baseline="30000" dirty="0" smtClean="0">
                <a:solidFill>
                  <a:schemeClr val="tx1">
                    <a:lumMod val="50000"/>
                  </a:schemeClr>
                </a:solidFill>
                <a:cs typeface="Segoe UI Light"/>
              </a:rPr>
              <a:t>2</a:t>
            </a:r>
            <a:r>
              <a:rPr lang="en-US" sz="900" dirty="0" smtClean="0">
                <a:solidFill>
                  <a:schemeClr val="tx1">
                    <a:lumMod val="50000"/>
                  </a:schemeClr>
                </a:solidFill>
              </a:rPr>
              <a:t> UK Dept. for Business, Innovation and Skills, “2014 Information Security Breaches Survey.” http://www.gov.uk/government/uploads/system/uploads/attachment_data/file/307296/bis-14-767-information-security-breaches-survey-2014-technical-report-revision1.pdf</a:t>
            </a:r>
          </a:p>
          <a:p>
            <a:pPr algn="l">
              <a:lnSpc>
                <a:spcPct val="90000"/>
              </a:lnSpc>
              <a:spcAft>
                <a:spcPts val="600"/>
              </a:spcAft>
            </a:pPr>
            <a:r>
              <a:rPr lang="en-US" sz="900" baseline="30000" dirty="0" smtClean="0">
                <a:solidFill>
                  <a:schemeClr val="tx1">
                    <a:lumMod val="50000"/>
                  </a:schemeClr>
                </a:solidFill>
                <a:cs typeface="Segoe UI Light"/>
              </a:rPr>
              <a:t>3 </a:t>
            </a:r>
            <a:r>
              <a:rPr lang="en-US" sz="900" kern="1200" dirty="0" smtClean="0">
                <a:solidFill>
                  <a:schemeClr val="tx1"/>
                </a:solidFill>
                <a:effectLst/>
                <a:latin typeface="Segoe UI Light" pitchFamily="34" charset="0"/>
                <a:ea typeface="+mn-ea"/>
                <a:cs typeface="+mn-cs"/>
              </a:rPr>
              <a:t>Gemalto, </a:t>
            </a:r>
            <a:r>
              <a:rPr lang="en-US" sz="900" u="sng" kern="1200" dirty="0" smtClean="0">
                <a:solidFill>
                  <a:schemeClr val="tx1"/>
                </a:solidFill>
                <a:effectLst/>
                <a:latin typeface="Segoe UI Light" pitchFamily="34" charset="0"/>
                <a:ea typeface="+mn-ea"/>
                <a:cs typeface="+mn-cs"/>
                <a:hlinkClick r:id="rId3"/>
              </a:rPr>
              <a:t>2014 Breach Level Index Report</a:t>
            </a:r>
            <a:endParaRPr lang="en-US" sz="900" u="sng" kern="1200" dirty="0" smtClean="0">
              <a:solidFill>
                <a:schemeClr val="tx1"/>
              </a:solidFill>
              <a:effectLst/>
              <a:latin typeface="Segoe UI Light" pitchFamily="34" charset="0"/>
              <a:ea typeface="+mn-ea"/>
              <a:cs typeface="+mn-cs"/>
            </a:endParaRPr>
          </a:p>
          <a:p>
            <a:pPr algn="l">
              <a:lnSpc>
                <a:spcPct val="90000"/>
              </a:lnSpc>
              <a:spcAft>
                <a:spcPts val="600"/>
              </a:spcAft>
            </a:pPr>
            <a:r>
              <a:rPr lang="en-US" sz="900" baseline="30000" dirty="0" smtClean="0">
                <a:solidFill>
                  <a:schemeClr val="tx1">
                    <a:lumMod val="50000"/>
                  </a:schemeClr>
                </a:solidFill>
                <a:cs typeface="Segoe UI Light"/>
              </a:rPr>
              <a:t>4 </a:t>
            </a:r>
            <a:r>
              <a:rPr lang="en-US" sz="900" u="sng" kern="1200" dirty="0" smtClean="0">
                <a:solidFill>
                  <a:schemeClr val="tx1"/>
                </a:solidFill>
                <a:effectLst/>
                <a:latin typeface="Segoe UI Light" pitchFamily="34" charset="0"/>
                <a:ea typeface="+mn-ea"/>
                <a:cs typeface="+mn-cs"/>
                <a:hlinkClick r:id="rId4"/>
              </a:rPr>
              <a:t>McKinsey &amp; Company</a:t>
            </a:r>
            <a:r>
              <a:rPr lang="en-US" sz="900" kern="1200" dirty="0" smtClean="0">
                <a:solidFill>
                  <a:schemeClr val="tx1"/>
                </a:solidFill>
                <a:effectLst/>
                <a:latin typeface="Segoe UI Light" pitchFamily="34" charset="0"/>
                <a:ea typeface="+mn-ea"/>
                <a:cs typeface="+mn-cs"/>
              </a:rPr>
              <a:t>, report for World Economic Forum, Jan. 2014</a:t>
            </a:r>
            <a:endParaRPr lang="en-US" sz="900" dirty="0" smtClean="0">
              <a:solidFill>
                <a:schemeClr val="tx1">
                  <a:lumMod val="50000"/>
                </a:schemeClr>
              </a:solidFill>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F8B7C5E-E7D8-401D-B865-83C87B04A9D4}" type="datetime1">
              <a:rPr lang="en-US" smtClean="0"/>
              <a:t>7/8/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159448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r>
              <a:rPr lang="en-US" sz="1300" b="1" dirty="0">
                <a:latin typeface="Calibri" panose="020F0502020204030204" pitchFamily="34" charset="0"/>
                <a:ea typeface="Times New Roman" panose="02020603050405020304" pitchFamily="18" charset="0"/>
                <a:cs typeface="Times New Roman" panose="02020603050405020304" pitchFamily="18" charset="0"/>
              </a:rPr>
              <a:t>Slide title: </a:t>
            </a:r>
            <a:r>
              <a:rPr lang="en-US" sz="1300" dirty="0">
                <a:latin typeface="Calibri" panose="020F0502020204030204" pitchFamily="34" charset="0"/>
                <a:ea typeface="Times New Roman" panose="02020603050405020304" pitchFamily="18" charset="0"/>
                <a:cs typeface="Times New Roman" panose="02020603050405020304" pitchFamily="18" charset="0"/>
              </a:rPr>
              <a:t>Trusted </a:t>
            </a:r>
            <a:r>
              <a:rPr lang="en-US" sz="1300" dirty="0" smtClean="0">
                <a:latin typeface="Calibri" panose="020F0502020204030204" pitchFamily="34" charset="0"/>
                <a:ea typeface="Times New Roman" panose="02020603050405020304" pitchFamily="18" charset="0"/>
                <a:cs typeface="Times New Roman" panose="02020603050405020304" pitchFamily="18" charset="0"/>
              </a:rPr>
              <a:t>globally by </a:t>
            </a:r>
            <a:r>
              <a:rPr lang="en-US" sz="1300" dirty="0">
                <a:latin typeface="Calibri" panose="020F0502020204030204" pitchFamily="34" charset="0"/>
                <a:ea typeface="Times New Roman" panose="02020603050405020304" pitchFamily="18" charset="0"/>
                <a:cs typeface="Times New Roman" panose="02020603050405020304" pitchFamily="18" charset="0"/>
              </a:rPr>
              <a:t>leading companies</a:t>
            </a:r>
          </a:p>
          <a:p>
            <a:pPr>
              <a:lnSpc>
                <a:spcPct val="115000"/>
              </a:lnSpc>
              <a:spcAft>
                <a:spcPts val="1057"/>
              </a:spcAft>
            </a:pPr>
            <a:r>
              <a:rPr lang="en-US" sz="1300" b="1" dirty="0">
                <a:latin typeface="Calibri" panose="020F0502020204030204" pitchFamily="34" charset="0"/>
                <a:ea typeface="Times New Roman" panose="02020603050405020304" pitchFamily="18" charset="0"/>
                <a:cs typeface="Times New Roman" panose="02020603050405020304" pitchFamily="18" charset="0"/>
              </a:rPr>
              <a:t>Slide objectives</a:t>
            </a:r>
            <a:r>
              <a:rPr lang="en-US" sz="1300" b="1" dirty="0" smtClean="0">
                <a:latin typeface="Calibri" panose="020F0502020204030204" pitchFamily="34" charset="0"/>
                <a:ea typeface="Times New Roman" panose="02020603050405020304" pitchFamily="18" charset="0"/>
                <a:cs typeface="Times New Roman" panose="02020603050405020304" pitchFamily="18" charset="0"/>
              </a:rPr>
              <a:t>: </a:t>
            </a:r>
            <a:r>
              <a:rPr lang="en-US" sz="1300" dirty="0" smtClean="0">
                <a:latin typeface="Calibri" panose="020F0502020204030204" pitchFamily="34" charset="0"/>
                <a:ea typeface="Times New Roman" panose="02020603050405020304" pitchFamily="18" charset="0"/>
                <a:cs typeface="Times New Roman" panose="02020603050405020304" pitchFamily="18" charset="0"/>
              </a:rPr>
              <a:t>Demonstrate </a:t>
            </a:r>
            <a:r>
              <a:rPr lang="en-US" sz="1300" dirty="0">
                <a:latin typeface="Calibri" panose="020F0502020204030204" pitchFamily="34" charset="0"/>
                <a:ea typeface="Times New Roman" panose="02020603050405020304" pitchFamily="18" charset="0"/>
                <a:cs typeface="Times New Roman" panose="02020603050405020304" pitchFamily="18" charset="0"/>
              </a:rPr>
              <a:t>customer adoption momentum.</a:t>
            </a:r>
          </a:p>
          <a:p>
            <a:pPr>
              <a:lnSpc>
                <a:spcPct val="115000"/>
              </a:lnSpc>
              <a:spcAft>
                <a:spcPts val="1057"/>
              </a:spcAft>
            </a:pPr>
            <a:r>
              <a:rPr lang="en-US" sz="1300" b="1" dirty="0">
                <a:latin typeface="Calibri" panose="020F0502020204030204" pitchFamily="34" charset="0"/>
                <a:ea typeface="Times New Roman" panose="02020603050405020304" pitchFamily="18" charset="0"/>
                <a:cs typeface="Times New Roman" panose="02020603050405020304" pitchFamily="18" charset="0"/>
              </a:rPr>
              <a:t> </a:t>
            </a:r>
            <a:endParaRPr lang="en-US" sz="1300" dirty="0">
              <a:latin typeface="Calibri" panose="020F0502020204030204" pitchFamily="34" charset="0"/>
              <a:ea typeface="Times New Roman" panose="02020603050405020304" pitchFamily="18" charset="0"/>
              <a:cs typeface="Times New Roman" panose="02020603050405020304" pitchFamily="18" charset="0"/>
            </a:endParaRPr>
          </a:p>
          <a:p>
            <a:pPr>
              <a:lnSpc>
                <a:spcPct val="115000"/>
              </a:lnSpc>
              <a:spcAft>
                <a:spcPts val="1057"/>
              </a:spcAft>
            </a:pPr>
            <a:r>
              <a:rPr lang="en-US" sz="1300" b="1" dirty="0">
                <a:latin typeface="Calibri" panose="020F0502020204030204" pitchFamily="34" charset="0"/>
                <a:ea typeface="Times New Roman" panose="02020603050405020304" pitchFamily="18" charset="0"/>
                <a:cs typeface="Times New Roman" panose="02020603050405020304" pitchFamily="18" charset="0"/>
              </a:rPr>
              <a:t>Slide script:</a:t>
            </a:r>
            <a:endParaRPr lang="en-US" sz="1300" dirty="0">
              <a:latin typeface="Calibri" panose="020F0502020204030204" pitchFamily="34" charset="0"/>
              <a:ea typeface="Times New Roman" panose="02020603050405020304" pitchFamily="18" charset="0"/>
              <a:cs typeface="Times New Roman" panose="02020603050405020304" pitchFamily="18" charset="0"/>
            </a:endParaRPr>
          </a:p>
          <a:p>
            <a:pPr marL="181240" indent="-181240">
              <a:lnSpc>
                <a:spcPct val="115000"/>
              </a:lnSpc>
              <a:spcAft>
                <a:spcPts val="1057"/>
              </a:spcAft>
              <a:buFont typeface="Arial" panose="020B0604020202020204" pitchFamily="34" charset="0"/>
              <a:buChar char="•"/>
            </a:pPr>
            <a:r>
              <a:rPr lang="en-US" sz="1300" dirty="0">
                <a:latin typeface="Calibri" panose="020F0502020204030204" pitchFamily="34" charset="0"/>
                <a:ea typeface="Times New Roman" panose="02020603050405020304" pitchFamily="18" charset="0"/>
                <a:cs typeface="Times New Roman" panose="02020603050405020304" pitchFamily="18" charset="0"/>
              </a:rPr>
              <a:t>In fact – you saw a number of examples today of enterprises and organizations already benefiting from </a:t>
            </a:r>
            <a:r>
              <a:rPr lang="en-US" sz="1300" dirty="0" smtClean="0">
                <a:latin typeface="Calibri" panose="020F0502020204030204" pitchFamily="34" charset="0"/>
                <a:ea typeface="Times New Roman" panose="02020603050405020304" pitchFamily="18" charset="0"/>
                <a:cs typeface="Times New Roman" panose="02020603050405020304" pitchFamily="18" charset="0"/>
              </a:rPr>
              <a:t>Azure</a:t>
            </a:r>
            <a:r>
              <a:rPr lang="en-US" sz="1300" dirty="0">
                <a:latin typeface="Calibri" panose="020F0502020204030204" pitchFamily="34" charset="0"/>
                <a:ea typeface="Times New Roman" panose="02020603050405020304" pitchFamily="18" charset="0"/>
                <a:cs typeface="Times New Roman" panose="02020603050405020304" pitchFamily="18" charset="0"/>
              </a:rPr>
              <a:t>. There are many, many more – this is a look at a small sampling.</a:t>
            </a:r>
          </a:p>
          <a:p>
            <a:pPr marL="181240" indent="-181240">
              <a:lnSpc>
                <a:spcPct val="115000"/>
              </a:lnSpc>
              <a:spcAft>
                <a:spcPts val="1057"/>
              </a:spcAft>
              <a:buFont typeface="Arial" panose="020B0604020202020204" pitchFamily="34" charset="0"/>
              <a:buChar char="•"/>
            </a:pPr>
            <a:r>
              <a:rPr lang="en-US" sz="1300" dirty="0">
                <a:latin typeface="Calibri" panose="020F0502020204030204" pitchFamily="34" charset="0"/>
                <a:ea typeface="Times New Roman" panose="02020603050405020304" pitchFamily="18" charset="0"/>
                <a:cs typeface="Times New Roman" panose="02020603050405020304" pitchFamily="18" charset="0"/>
              </a:rPr>
              <a:t>We’re excited to see how each of you will transform IT and your businesses by taking advantage of our investments and solutions that are bringing the </a:t>
            </a:r>
            <a:r>
              <a:rPr lang="en-US" sz="1300" dirty="0" smtClean="0">
                <a:latin typeface="Calibri" panose="020F0502020204030204" pitchFamily="34" charset="0"/>
                <a:ea typeface="Times New Roman" panose="02020603050405020304" pitchFamily="18" charset="0"/>
                <a:cs typeface="Times New Roman" panose="02020603050405020304" pitchFamily="18" charset="0"/>
              </a:rPr>
              <a:t>Trusted Cloud to </a:t>
            </a:r>
            <a:r>
              <a:rPr lang="en-US" sz="1300" dirty="0">
                <a:latin typeface="Calibri" panose="020F0502020204030204" pitchFamily="34" charset="0"/>
                <a:ea typeface="Times New Roman" panose="02020603050405020304" pitchFamily="18" charset="0"/>
                <a:cs typeface="Times New Roman" panose="02020603050405020304" pitchFamily="18" charset="0"/>
              </a:rPr>
              <a:t>life.</a:t>
            </a:r>
            <a:endParaRPr lang="en-US" sz="1300" b="1" u="sng"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30</a:t>
            </a:fld>
            <a:endParaRPr lang="en-US" dirty="0">
              <a:solidFill>
                <a:prstClr val="black"/>
              </a:solidFill>
            </a:endParaRPr>
          </a:p>
        </p:txBody>
      </p:sp>
      <p:sp>
        <p:nvSpPr>
          <p:cNvPr id="5" name="Date Placeholder 4"/>
          <p:cNvSpPr>
            <a:spLocks noGrp="1"/>
          </p:cNvSpPr>
          <p:nvPr>
            <p:ph type="dt" idx="11"/>
          </p:nvPr>
        </p:nvSpPr>
        <p:spPr/>
        <p:txBody>
          <a:bodyPr/>
          <a:lstStyle/>
          <a:p>
            <a:fld id="{A6245143-1D08-4973-9826-3195D742A43B}" type="datetime1">
              <a:rPr lang="en-US" smtClean="0">
                <a:solidFill>
                  <a:prstClr val="black"/>
                </a:solidFill>
              </a:rPr>
              <a:t>7/8/2015</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smtClean="0">
                <a:solidFill>
                  <a:prstClr val="black"/>
                </a:solidFill>
              </a:rPr>
              <a:t>Sarah Fender 100-level Azure Security deck</a:t>
            </a:r>
            <a:endParaRPr lang="en-US" dirty="0">
              <a:solidFill>
                <a:prstClr val="black"/>
              </a:solidFill>
            </a:endParaRPr>
          </a:p>
        </p:txBody>
      </p:sp>
    </p:spTree>
    <p:extLst>
      <p:ext uri="{BB962C8B-B14F-4D97-AF65-F5344CB8AC3E}">
        <p14:creationId xmlns:p14="http://schemas.microsoft.com/office/powerpoint/2010/main" val="38018761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5745259-316E-490F-BCA7-F10B06CE01D0}" type="datetime1">
              <a:rPr lang="en-US" smtClean="0"/>
              <a:t>7/8/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26838910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900" b="0" i="0" u="none" strike="noStrike" kern="1200" cap="none" spc="0" normalizeH="0" baseline="0" noProof="0" dirty="0" smtClean="0">
                <a:ln>
                  <a:noFill/>
                </a:ln>
                <a:solidFill>
                  <a:prstClr val="black"/>
                </a:solidFill>
                <a:effectLst/>
                <a:uLnTx/>
                <a:uFillTx/>
                <a:latin typeface="Segoe UI Light" pitchFamily="34" charset="0"/>
                <a:ea typeface="+mn-ea"/>
                <a:cs typeface="+mn-cs"/>
                <a:sym typeface="Segoe UI" panose="020B0502040204020203" pitchFamily="34" charset="0"/>
              </a:rPr>
              <a:t>The overwhelming majority of worldwide organizations will be using a form of the cloud this year. </a:t>
            </a:r>
            <a:r>
              <a:rPr lang="en-US" sz="900" kern="1200" dirty="0" smtClean="0">
                <a:solidFill>
                  <a:schemeClr val="tx1"/>
                </a:solidFill>
                <a:latin typeface="Segoe UI Light" pitchFamily="34" charset="0"/>
                <a:ea typeface="+mn-ea"/>
                <a:cs typeface="+mn-cs"/>
              </a:rPr>
              <a:t>With the shift to the cloud, companies need to develop and refine their skill set in order to successfully migrate to and thrive in a cloud environment.</a:t>
            </a:r>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900" b="0" i="0" u="none" strike="noStrike" kern="1200" cap="none" spc="0" normalizeH="0" baseline="0" noProof="0" dirty="0" smtClean="0">
              <a:ln>
                <a:noFill/>
              </a:ln>
              <a:solidFill>
                <a:schemeClr val="tx1"/>
              </a:solidFill>
              <a:effectLst/>
              <a:uLnTx/>
              <a:uFillTx/>
              <a:latin typeface="Segoe UI Light" pitchFamily="34" charset="0"/>
              <a:ea typeface="+mn-ea"/>
              <a:cs typeface="+mn-cs"/>
              <a:sym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900" b="0" i="0" u="none" strike="noStrike" kern="1200" cap="none" spc="0" normalizeH="0" baseline="0" noProof="0" dirty="0" smtClean="0">
                <a:ln>
                  <a:noFill/>
                </a:ln>
                <a:solidFill>
                  <a:schemeClr val="tx1"/>
                </a:solidFill>
                <a:effectLst/>
                <a:uLnTx/>
                <a:uFillTx/>
                <a:latin typeface="Segoe UI Light" pitchFamily="34" charset="0"/>
                <a:ea typeface="+mn-ea"/>
                <a:cs typeface="+mn-cs"/>
                <a:sym typeface="Segoe UI" panose="020B0502040204020203" pitchFamily="34" charset="0"/>
              </a:rPr>
              <a:t>Within this cloud megatrend, t</a:t>
            </a:r>
            <a:r>
              <a:rPr kumimoji="0" lang="en-US" sz="900" b="0" i="0" u="none" strike="noStrike" kern="1200" cap="none" spc="0" normalizeH="0" baseline="0" noProof="0" dirty="0" smtClean="0">
                <a:ln>
                  <a:noFill/>
                </a:ln>
                <a:solidFill>
                  <a:prstClr val="black"/>
                </a:solidFill>
                <a:effectLst/>
                <a:uLnTx/>
                <a:uFillTx/>
                <a:latin typeface="Segoe UI Light" pitchFamily="34" charset="0"/>
                <a:ea typeface="+mn-ea"/>
                <a:cs typeface="+mn-cs"/>
                <a:sym typeface="Segoe UI" panose="020B0502040204020203" pitchFamily="34" charset="0"/>
              </a:rPr>
              <a:t>he </a:t>
            </a:r>
            <a:r>
              <a:rPr kumimoji="0" lang="en-US" sz="900" b="1" i="0" u="none" strike="noStrike" kern="1200" cap="none" spc="0" normalizeH="0" baseline="0" noProof="0" dirty="0" smtClean="0">
                <a:ln>
                  <a:noFill/>
                </a:ln>
                <a:solidFill>
                  <a:prstClr val="black"/>
                </a:solidFill>
                <a:effectLst/>
                <a:uLnTx/>
                <a:uFillTx/>
                <a:latin typeface="Segoe UI Light" pitchFamily="34" charset="0"/>
                <a:ea typeface="+mn-ea"/>
                <a:cs typeface="+mn-cs"/>
                <a:sym typeface="Segoe UI" panose="020B0502040204020203" pitchFamily="34" charset="0"/>
              </a:rPr>
              <a:t>strategic focus has shifted from infrastructure to application platform</a:t>
            </a:r>
            <a:r>
              <a:rPr kumimoji="0" lang="en-US" sz="900" b="0" i="0" u="none" strike="noStrike" kern="1200" cap="none" spc="0" normalizeH="0" baseline="0" noProof="0" dirty="0" smtClean="0">
                <a:ln>
                  <a:noFill/>
                </a:ln>
                <a:solidFill>
                  <a:prstClr val="black"/>
                </a:solidFill>
                <a:effectLst/>
                <a:uLnTx/>
                <a:uFillTx/>
                <a:latin typeface="Segoe UI Light" pitchFamily="34" charset="0"/>
                <a:ea typeface="+mn-ea"/>
                <a:cs typeface="+mn-cs"/>
                <a:sym typeface="Segoe UI" panose="020B0502040204020203" pitchFamily="34" charset="0"/>
              </a:rPr>
              <a:t>. Many CIOs view technology as a service (cloud) will have the most profound impact on their roles. This implies a major business transformation that impacts processes and IT infrastructure enabled by the cloud. </a:t>
            </a:r>
          </a:p>
          <a:p>
            <a:endParaRPr lang="en-IN"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354E2C-EEBA-41B5-8CAE-1C942CFC65F9}" type="datetime1">
              <a:rPr lang="en-US" smtClean="0"/>
              <a:t>7/8/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5558834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smtClean="0">
                <a:solidFill>
                  <a:schemeClr val="tx1"/>
                </a:solidFill>
                <a:effectLst/>
                <a:latin typeface="Segoe UI Light" pitchFamily="34" charset="0"/>
                <a:ea typeface="+mn-ea"/>
                <a:cs typeface="+mn-cs"/>
              </a:rPr>
              <a:t>Today, the Microsoft cloud infrastructure supports more than </a:t>
            </a:r>
            <a:r>
              <a:rPr lang="en-US" sz="900" b="1" kern="1200" dirty="0" smtClean="0">
                <a:solidFill>
                  <a:schemeClr val="tx1"/>
                </a:solidFill>
                <a:effectLst/>
                <a:latin typeface="Segoe UI Light" pitchFamily="34" charset="0"/>
                <a:ea typeface="+mn-ea"/>
                <a:cs typeface="+mn-cs"/>
              </a:rPr>
              <a:t>1 billion customers in 127 countries</a:t>
            </a:r>
            <a:r>
              <a:rPr lang="en-US" sz="900" kern="1200" dirty="0" smtClean="0">
                <a:solidFill>
                  <a:schemeClr val="tx1"/>
                </a:solidFill>
                <a:effectLst/>
                <a:latin typeface="Segoe UI Light" pitchFamily="34" charset="0"/>
                <a:ea typeface="+mn-ea"/>
                <a:cs typeface="+mn-cs"/>
              </a:rPr>
              <a:t>. Drawing on this history and scale, Microsoft has implemented software development with enhanced security, operational management, and threat mitigation practices, helping it to deliver services that achieve higher levels of security, privacy, and compliance than most customers could achieve on their own.</a:t>
            </a:r>
            <a:endParaRPr lang="en-US" dirty="0" smtClean="0"/>
          </a:p>
          <a:p>
            <a:endParaRPr lang="en-US" dirty="0" smtClean="0"/>
          </a:p>
          <a:p>
            <a:r>
              <a:rPr lang="en-US" dirty="0" smtClean="0"/>
              <a:t>Microsoft’s Cloud Services provide a trusted platform with the flexibility and the control customers need, from on-premises to public cloud, for every classification of data. Businesses make the choices about what happens to their data and the services used to manage and protect it. Do they want to implement federated identity management? Multifactor authentication? </a:t>
            </a:r>
            <a:r>
              <a:rPr lang="en-US" b="1" dirty="0" smtClean="0"/>
              <a:t>It’s their data; it’s their choice. </a:t>
            </a:r>
            <a:r>
              <a:rPr lang="en-US" dirty="0" smtClean="0"/>
              <a:t>And if they </a:t>
            </a:r>
            <a:r>
              <a:rPr lang="en-US" b="1" dirty="0" smtClean="0"/>
              <a:t>terminate a service, your data goes with you</a:t>
            </a:r>
            <a:r>
              <a:rPr lang="en-US" dirty="0" smtClean="0"/>
              <a:t>. It’s up to you as the customer.</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ource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30000" dirty="0" smtClean="0"/>
              <a:t>1 </a:t>
            </a:r>
            <a:r>
              <a:rPr lang="en-US" dirty="0" smtClean="0"/>
              <a:t>The Microsoft</a:t>
            </a:r>
            <a:r>
              <a:rPr lang="en-US" baseline="0" dirty="0" smtClean="0"/>
              <a:t> Trusted Cloud figures: Cloud Infrastructure Fact Sheet. http://www.microsoft.com/en-us/server-cloud/cloud-os/global-datacenters.aspx#Fragment_Scenario1</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30000" dirty="0" smtClean="0"/>
              <a:t>2</a:t>
            </a:r>
            <a:r>
              <a:rPr lang="en-US" baseline="0" dirty="0" smtClean="0"/>
              <a:t> https://microsoft.sharepoint.com/teams/gfsweb/DIMC/_layouts/15/WopiFrame.aspx?sourcedoc={2acc6765-67df-404a-bfb8-2003d9ecfa99}&amp;action=default</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30000" dirty="0" smtClean="0"/>
              <a:t>3 </a:t>
            </a:r>
            <a:r>
              <a:rPr lang="en-US" dirty="0" smtClean="0"/>
              <a:t>http://news.microsoft.com/cloud/ms_numbers.pdf</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30000" dirty="0" smtClean="0"/>
              <a:t>4 </a:t>
            </a:r>
            <a:r>
              <a:rPr lang="en-US" dirty="0" smtClean="0"/>
              <a:t>http://news.microsoft.com/bythenumbers/index.html</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30000" dirty="0" smtClean="0"/>
              <a:t>5 </a:t>
            </a:r>
            <a:r>
              <a:rPr lang="en-US" dirty="0" smtClean="0"/>
              <a:t>https://blogs.office.com/2015/04/14/skype-for-business-is-her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30000" dirty="0" smtClean="0"/>
              <a:t>6</a:t>
            </a:r>
            <a:r>
              <a:rPr lang="en-US" dirty="0" smtClean="0"/>
              <a:t> http://thenextweb.com/microsoft/2014/09/08/microsoft-fully-revamps-msn-portal-bing-mobile-apps-rebranded-msn/</a:t>
            </a: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9024650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i="0" dirty="0" smtClean="0"/>
              <a:t>Azure is a unified</a:t>
            </a:r>
            <a:r>
              <a:rPr lang="en-US" i="0" baseline="0" dirty="0" smtClean="0"/>
              <a:t> platform for b</a:t>
            </a:r>
            <a:r>
              <a:rPr lang="en-US" baseline="0" dirty="0" smtClean="0"/>
              <a:t>ringing cloud capabilities to the enterprise through a </a:t>
            </a:r>
            <a:r>
              <a:rPr lang="en-US" b="1" dirty="0" smtClean="0"/>
              <a:t>broad stack of services </a:t>
            </a:r>
            <a:r>
              <a:rPr lang="en-US" dirty="0" smtClean="0"/>
              <a:t>that runs in our global</a:t>
            </a:r>
            <a:r>
              <a:rPr lang="en-US" baseline="0" dirty="0" smtClean="0"/>
              <a:t> datacenters. Businesses can deliver </a:t>
            </a:r>
            <a:r>
              <a:rPr lang="en-US" dirty="0" smtClean="0"/>
              <a:t>compute, data, and applications through the cloud, while saving money and enabling new business</a:t>
            </a:r>
            <a:r>
              <a:rPr lang="en-US" baseline="0" dirty="0" smtClean="0"/>
              <a:t> scenarios. </a:t>
            </a:r>
            <a:endParaRPr lang="en-US" dirty="0" smtClean="0"/>
          </a:p>
          <a:p>
            <a:endParaRPr lang="en-US" dirty="0" smtClean="0"/>
          </a:p>
          <a:p>
            <a:r>
              <a:rPr lang="en-US" dirty="0" smtClean="0"/>
              <a:t>Think of the different services as </a:t>
            </a:r>
            <a:r>
              <a:rPr lang="en-US" i="1" dirty="0" smtClean="0"/>
              <a:t>building blocks.</a:t>
            </a:r>
            <a:r>
              <a:rPr lang="en-US" dirty="0" smtClean="0"/>
              <a:t> </a:t>
            </a:r>
          </a:p>
          <a:p>
            <a:r>
              <a:rPr lang="en-US" b="1" dirty="0" smtClean="0"/>
              <a:t>Compute services, </a:t>
            </a:r>
            <a:r>
              <a:rPr lang="en-US" b="0" dirty="0" smtClean="0"/>
              <a:t>such as Virtual Machines,</a:t>
            </a:r>
            <a:r>
              <a:rPr lang="en-US" b="0" baseline="0" dirty="0" smtClean="0"/>
              <a:t> Cloud Services, and Websites, </a:t>
            </a:r>
            <a:r>
              <a:rPr lang="en-US" dirty="0" smtClean="0"/>
              <a:t>which are lower level building blocks, </a:t>
            </a:r>
          </a:p>
          <a:p>
            <a:r>
              <a:rPr lang="en-US" b="1" dirty="0" smtClean="0"/>
              <a:t>Data services </a:t>
            </a:r>
            <a:r>
              <a:rPr lang="en-US" b="0" dirty="0" smtClean="0"/>
              <a:t>like Storage, SQL Database, and HDInsight </a:t>
            </a:r>
            <a:r>
              <a:rPr lang="en-US" dirty="0" smtClean="0"/>
              <a:t>that provide storage and data management capabilities to apps, </a:t>
            </a:r>
          </a:p>
          <a:p>
            <a:r>
              <a:rPr lang="en-US" b="1" dirty="0" smtClean="0"/>
              <a:t>App services</a:t>
            </a:r>
            <a:r>
              <a:rPr lang="en-US" dirty="0" smtClean="0"/>
              <a:t> like Mobile and Media Services</a:t>
            </a:r>
            <a:r>
              <a:rPr lang="en-US" baseline="0" dirty="0" smtClean="0"/>
              <a:t> </a:t>
            </a:r>
            <a:r>
              <a:rPr lang="en-US" dirty="0" smtClean="0"/>
              <a:t>which provide different capabilities to rapidly develop apps, scale and run apps at a global scale;</a:t>
            </a:r>
            <a:r>
              <a:rPr lang="en-US" baseline="0" dirty="0" smtClean="0"/>
              <a:t> and </a:t>
            </a:r>
            <a:endParaRPr lang="en-US" dirty="0" smtClean="0"/>
          </a:p>
          <a:p>
            <a:r>
              <a:rPr lang="en-US" b="1" dirty="0" smtClean="0"/>
              <a:t>Network services </a:t>
            </a:r>
            <a:r>
              <a:rPr lang="en-US" dirty="0" smtClean="0"/>
              <a:t>that allow businesses to connect </a:t>
            </a:r>
            <a:r>
              <a:rPr lang="en-US" baseline="0" dirty="0" smtClean="0"/>
              <a:t>resources in the cloud with each other and with other resources such as those running on-premises.</a:t>
            </a:r>
            <a:endParaRPr lang="en-US" dirty="0" smtClean="0"/>
          </a:p>
          <a:p>
            <a:endParaRPr lang="en-US" dirty="0" smtClean="0"/>
          </a:p>
          <a:p>
            <a:r>
              <a:rPr lang="en-US" dirty="0" smtClean="0"/>
              <a:t>Azure is also the only major cloud platform </a:t>
            </a:r>
            <a:r>
              <a:rPr lang="en-US" b="1" dirty="0" smtClean="0"/>
              <a:t>ranked by Gartner as an industry leader for both infrastructure-as-a-service (IaaS) and platform-as-a-service (PaaS)</a:t>
            </a:r>
            <a:r>
              <a:rPr lang="en-US" dirty="0" smtClean="0"/>
              <a:t>. This powerful combination of managed and unmanaged services lets you build, deploy, and manage applications any way customers like for unmatched productivity.</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9653416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smtClean="0"/>
              <a:t>Microsoft Azure infrastructure includes hardware, software, administrative and operations staff, and physical data centers.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1" dirty="0" smtClean="0"/>
              <a:t>Security</a:t>
            </a:r>
          </a:p>
          <a:p>
            <a:pPr marL="0" marR="0" indent="0" algn="l" defTabSz="932742" rtl="0" eaLnBrk="1" fontAlgn="auto" latinLnBrk="0" hangingPunct="1">
              <a:lnSpc>
                <a:spcPct val="90000"/>
              </a:lnSpc>
              <a:spcBef>
                <a:spcPts val="0"/>
              </a:spcBef>
              <a:spcAft>
                <a:spcPts val="340"/>
              </a:spcAft>
              <a:buClrTx/>
              <a:buSzTx/>
              <a:buFontTx/>
              <a:buNone/>
              <a:tabLst/>
              <a:defRPr/>
            </a:pPr>
            <a:r>
              <a:rPr lang="en-US" dirty="0" smtClean="0"/>
              <a:t>Microsoft Azure </a:t>
            </a:r>
            <a:r>
              <a:rPr lang="en-US" b="1" dirty="0" smtClean="0"/>
              <a:t>addresses security risks across its infrastructure </a:t>
            </a:r>
            <a:r>
              <a:rPr lang="en-US" dirty="0" smtClean="0"/>
              <a:t>with continuous intrusion detection and prevention systems, denial of service attack prevention, regular penetration testing, and forensic tools that help identify and mitigate threats. With Microsoft Azure, customers can reduce the need to invest in these capabilities on their own and benefit from economies of scale in Microsoft datacenter infrastructure.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1" dirty="0" smtClean="0"/>
              <a:t>Privacy and Control</a:t>
            </a:r>
          </a:p>
          <a:p>
            <a:r>
              <a:rPr lang="en-US" dirty="0" smtClean="0"/>
              <a:t>Microsoft </a:t>
            </a:r>
            <a:r>
              <a:rPr lang="en-US" sz="900" kern="1200" dirty="0" smtClean="0">
                <a:solidFill>
                  <a:schemeClr val="tx1"/>
                </a:solidFill>
                <a:effectLst/>
                <a:latin typeface="Segoe UI Light" pitchFamily="34" charset="0"/>
                <a:ea typeface="+mn-ea"/>
                <a:cs typeface="+mn-cs"/>
              </a:rPr>
              <a:t>builds privacy protections into Azure through </a:t>
            </a:r>
            <a:r>
              <a:rPr lang="en-US" sz="900" b="1" kern="1200" dirty="0" smtClean="0">
                <a:solidFill>
                  <a:schemeClr val="tx1"/>
                </a:solidFill>
                <a:effectLst/>
                <a:latin typeface="Segoe UI Light" pitchFamily="34" charset="0"/>
                <a:ea typeface="+mn-ea"/>
                <a:cs typeface="+mn-cs"/>
              </a:rPr>
              <a:t>Privacy by Design</a:t>
            </a:r>
            <a:r>
              <a:rPr lang="en-US" sz="900" kern="1200" dirty="0" smtClean="0">
                <a:solidFill>
                  <a:schemeClr val="tx1"/>
                </a:solidFill>
                <a:effectLst/>
                <a:latin typeface="Segoe UI Light" pitchFamily="34" charset="0"/>
                <a:ea typeface="+mn-ea"/>
                <a:cs typeface="+mn-cs"/>
              </a:rPr>
              <a:t>, a program which descries how we </a:t>
            </a:r>
            <a:r>
              <a:rPr lang="en-US" sz="900" b="1" kern="1200" dirty="0" smtClean="0">
                <a:solidFill>
                  <a:schemeClr val="tx1"/>
                </a:solidFill>
                <a:effectLst/>
                <a:latin typeface="Segoe UI Light" pitchFamily="34" charset="0"/>
                <a:ea typeface="+mn-ea"/>
                <a:cs typeface="+mn-cs"/>
              </a:rPr>
              <a:t>build and operate products</a:t>
            </a:r>
            <a:r>
              <a:rPr lang="en-US" sz="900" kern="1200" dirty="0" smtClean="0">
                <a:solidFill>
                  <a:schemeClr val="tx1"/>
                </a:solidFill>
                <a:effectLst/>
                <a:latin typeface="Segoe UI Light" pitchFamily="34" charset="0"/>
                <a:ea typeface="+mn-ea"/>
                <a:cs typeface="+mn-cs"/>
              </a:rPr>
              <a:t> </a:t>
            </a:r>
            <a:r>
              <a:rPr lang="en-US" sz="900" b="1" kern="1200" dirty="0" smtClean="0">
                <a:solidFill>
                  <a:schemeClr val="tx1"/>
                </a:solidFill>
                <a:effectLst/>
                <a:latin typeface="Segoe UI Light" pitchFamily="34" charset="0"/>
                <a:ea typeface="+mn-ea"/>
                <a:cs typeface="+mn-cs"/>
              </a:rPr>
              <a:t>and services </a:t>
            </a:r>
            <a:r>
              <a:rPr lang="en-US" sz="900" kern="1200" dirty="0" smtClean="0">
                <a:solidFill>
                  <a:schemeClr val="tx1"/>
                </a:solidFill>
                <a:effectLst/>
                <a:latin typeface="Segoe UI Light" pitchFamily="34" charset="0"/>
                <a:ea typeface="+mn-ea"/>
                <a:cs typeface="+mn-cs"/>
              </a:rPr>
              <a:t>to protect privacy. Standards and processes that support Privacy by Design principles include the Microsoft Online Services Privacy Statement (which details Microsoft’s core privacy requirements and practices) and the Microsoft Secure Development Lifecycle (which includes addressing privacy requirement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1" dirty="0" smtClean="0"/>
              <a:t>Control</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smtClean="0">
                <a:solidFill>
                  <a:schemeClr val="tx1"/>
                </a:solidFill>
                <a:effectLst/>
                <a:latin typeface="Segoe UI Light" pitchFamily="34" charset="0"/>
                <a:ea typeface="+mn-ea"/>
                <a:cs typeface="+mn-cs"/>
              </a:rPr>
              <a:t>For many organizations, the benefits of moving to the cloud are clear. Still, </a:t>
            </a:r>
            <a:r>
              <a:rPr lang="en-US" sz="900" b="1" kern="1200" dirty="0" smtClean="0">
                <a:solidFill>
                  <a:schemeClr val="tx1"/>
                </a:solidFill>
                <a:effectLst/>
                <a:latin typeface="Segoe UI Light" pitchFamily="34" charset="0"/>
                <a:ea typeface="+mn-ea"/>
                <a:cs typeface="+mn-cs"/>
              </a:rPr>
              <a:t>fear of losing control </a:t>
            </a:r>
            <a:r>
              <a:rPr lang="en-US" sz="900" kern="1200" dirty="0" smtClean="0">
                <a:solidFill>
                  <a:schemeClr val="tx1"/>
                </a:solidFill>
                <a:effectLst/>
                <a:latin typeface="Segoe UI Light" pitchFamily="34" charset="0"/>
                <a:ea typeface="+mn-ea"/>
                <a:cs typeface="+mn-cs"/>
              </a:rPr>
              <a:t>causes their decision makers to hesitate. </a:t>
            </a:r>
            <a:r>
              <a:rPr lang="en-US" sz="900" b="1" kern="1200" dirty="0" smtClean="0">
                <a:solidFill>
                  <a:schemeClr val="tx1"/>
                </a:solidFill>
                <a:effectLst/>
                <a:latin typeface="Segoe UI Light" pitchFamily="34" charset="0"/>
                <a:ea typeface="+mn-ea"/>
                <a:cs typeface="+mn-cs"/>
              </a:rPr>
              <a:t>Where</a:t>
            </a:r>
            <a:r>
              <a:rPr lang="en-US" sz="900" kern="1200" dirty="0" smtClean="0">
                <a:solidFill>
                  <a:schemeClr val="tx1"/>
                </a:solidFill>
                <a:effectLst/>
                <a:latin typeface="Segoe UI Light" pitchFamily="34" charset="0"/>
                <a:ea typeface="+mn-ea"/>
                <a:cs typeface="+mn-cs"/>
              </a:rPr>
              <a:t> will data be </a:t>
            </a:r>
            <a:r>
              <a:rPr lang="en-US" sz="900" b="1" kern="1200" dirty="0" smtClean="0">
                <a:solidFill>
                  <a:schemeClr val="tx1"/>
                </a:solidFill>
                <a:effectLst/>
                <a:latin typeface="Segoe UI Light" pitchFamily="34" charset="0"/>
                <a:ea typeface="+mn-ea"/>
                <a:cs typeface="+mn-cs"/>
              </a:rPr>
              <a:t>stored</a:t>
            </a:r>
            <a:r>
              <a:rPr lang="en-US" sz="900" kern="1200" dirty="0" smtClean="0">
                <a:solidFill>
                  <a:schemeClr val="tx1"/>
                </a:solidFill>
                <a:effectLst/>
                <a:latin typeface="Segoe UI Light" pitchFamily="34" charset="0"/>
                <a:ea typeface="+mn-ea"/>
                <a:cs typeface="+mn-cs"/>
              </a:rPr>
              <a:t>? </a:t>
            </a:r>
            <a:r>
              <a:rPr lang="en-US" sz="900" b="1" kern="1200" dirty="0" smtClean="0">
                <a:solidFill>
                  <a:schemeClr val="tx1"/>
                </a:solidFill>
                <a:effectLst/>
                <a:latin typeface="Segoe UI Light" pitchFamily="34" charset="0"/>
                <a:ea typeface="+mn-ea"/>
                <a:cs typeface="+mn-cs"/>
              </a:rPr>
              <a:t>Who owns </a:t>
            </a:r>
            <a:r>
              <a:rPr lang="en-US" sz="900" kern="1200" dirty="0" smtClean="0">
                <a:solidFill>
                  <a:schemeClr val="tx1"/>
                </a:solidFill>
                <a:effectLst/>
                <a:latin typeface="Segoe UI Light" pitchFamily="34" charset="0"/>
                <a:ea typeface="+mn-ea"/>
                <a:cs typeface="+mn-cs"/>
              </a:rPr>
              <a:t>the organization’s data? </a:t>
            </a:r>
            <a:r>
              <a:rPr lang="en-US" sz="900" b="1" kern="1200" dirty="0" smtClean="0">
                <a:solidFill>
                  <a:schemeClr val="tx1"/>
                </a:solidFill>
                <a:effectLst/>
                <a:latin typeface="Segoe UI Light" pitchFamily="34" charset="0"/>
                <a:ea typeface="+mn-ea"/>
                <a:cs typeface="+mn-cs"/>
              </a:rPr>
              <a:t>Who</a:t>
            </a:r>
            <a:r>
              <a:rPr lang="en-US" sz="900" kern="1200" dirty="0" smtClean="0">
                <a:solidFill>
                  <a:schemeClr val="tx1"/>
                </a:solidFill>
                <a:effectLst/>
                <a:latin typeface="Segoe UI Light" pitchFamily="34" charset="0"/>
                <a:ea typeface="+mn-ea"/>
                <a:cs typeface="+mn-cs"/>
              </a:rPr>
              <a:t> will be </a:t>
            </a:r>
            <a:r>
              <a:rPr lang="en-US" sz="900" b="1" kern="1200" dirty="0" smtClean="0">
                <a:solidFill>
                  <a:schemeClr val="tx1"/>
                </a:solidFill>
                <a:effectLst/>
                <a:latin typeface="Segoe UI Light" pitchFamily="34" charset="0"/>
                <a:ea typeface="+mn-ea"/>
                <a:cs typeface="+mn-cs"/>
              </a:rPr>
              <a:t>accessing</a:t>
            </a:r>
            <a:r>
              <a:rPr lang="en-US" sz="900" kern="1200" dirty="0" smtClean="0">
                <a:solidFill>
                  <a:schemeClr val="tx1"/>
                </a:solidFill>
                <a:effectLst/>
                <a:latin typeface="Segoe UI Light" pitchFamily="34" charset="0"/>
                <a:ea typeface="+mn-ea"/>
                <a:cs typeface="+mn-cs"/>
              </a:rPr>
              <a:t> the data? And what happens if the organization wants to switch providers? These are all valid questions—questions Microsoft has in mind when making a clear commitment to provide customers with control over their data. This commitment is unique among major cloud service providers.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1"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1" dirty="0" smtClean="0"/>
              <a:t>Compliance</a:t>
            </a:r>
          </a:p>
          <a:p>
            <a:r>
              <a:rPr lang="en-US" sz="900" kern="1200" dirty="0" smtClean="0">
                <a:solidFill>
                  <a:schemeClr val="tx1"/>
                </a:solidFill>
                <a:effectLst/>
                <a:latin typeface="Segoe UI Light" pitchFamily="34" charset="0"/>
                <a:ea typeface="+mn-ea"/>
                <a:cs typeface="+mn-cs"/>
              </a:rPr>
              <a:t>Microsoft invests heavily in the development of robust and innovative compliance processes. The Microsoft compliance framework for online services </a:t>
            </a:r>
            <a:r>
              <a:rPr lang="en-US" sz="900" b="1" kern="1200" dirty="0" smtClean="0">
                <a:solidFill>
                  <a:schemeClr val="tx1"/>
                </a:solidFill>
                <a:effectLst/>
                <a:latin typeface="Segoe UI Light" pitchFamily="34" charset="0"/>
                <a:ea typeface="+mn-ea"/>
                <a:cs typeface="+mn-cs"/>
              </a:rPr>
              <a:t>maps controls to multiple regulatory standards</a:t>
            </a:r>
            <a:r>
              <a:rPr lang="en-US" sz="900" kern="1200" dirty="0" smtClean="0">
                <a:solidFill>
                  <a:schemeClr val="tx1"/>
                </a:solidFill>
                <a:effectLst/>
                <a:latin typeface="Segoe UI Light" pitchFamily="34" charset="0"/>
                <a:ea typeface="+mn-ea"/>
                <a:cs typeface="+mn-cs"/>
              </a:rPr>
              <a:t>. This enables Microsoft to design and build services using a common set of controls, streamlining compliance across a range of regulations today and as they evolve in the future. </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Microsoft compliance processes also make it easier for customers to achieve compliance across multiple services and meet their changing needs efficiently. Together, security-enhanced technology and effective compliance processes enable Microsoft to maintain and expand a rich set of</a:t>
            </a:r>
            <a:r>
              <a:rPr lang="en-US" sz="900" b="1" kern="120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third-party certifications. </a:t>
            </a:r>
            <a:r>
              <a:rPr lang="en-US" sz="900" b="1" kern="1200" dirty="0" smtClean="0">
                <a:solidFill>
                  <a:schemeClr val="tx1"/>
                </a:solidFill>
                <a:effectLst/>
                <a:latin typeface="Segoe UI Light" pitchFamily="34" charset="0"/>
                <a:ea typeface="+mn-ea"/>
                <a:cs typeface="+mn-cs"/>
              </a:rPr>
              <a:t>These help customers demonstrate compliance readiness to customers, auditors, and regulators.</a:t>
            </a:r>
            <a:r>
              <a:rPr lang="en-US" sz="900" kern="1200" dirty="0" smtClean="0">
                <a:solidFill>
                  <a:schemeClr val="tx1"/>
                </a:solidFill>
                <a:effectLst/>
                <a:latin typeface="Segoe UI Light" pitchFamily="34" charset="0"/>
                <a:ea typeface="+mn-ea"/>
                <a:cs typeface="+mn-cs"/>
              </a:rPr>
              <a:t> As part of its commitment to transparency, Microsoft shares third-party verification results with its customer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1" dirty="0" smtClean="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a:p>
            <a:endParaRPr lang="en-IN"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68B81FF-9116-4B85-B487-89BF73FEE540}" type="datetime1">
              <a:rPr lang="en-US" smtClean="0"/>
              <a:t>7/8/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2448948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rough cutting-edge security practices and unmatched experience running some of the largest online services around the globe, Microsoft delivers enterprise cloud services customers can trust.</a:t>
            </a:r>
          </a:p>
          <a:p>
            <a:endParaRPr lang="en-US" sz="1200" kern="1200" dirty="0" smtClean="0">
              <a:solidFill>
                <a:schemeClr val="tx1"/>
              </a:solidFill>
              <a:effectLst/>
              <a:latin typeface="Segoe UI" panose="020B0502040204020203" pitchFamily="34" charset="0"/>
              <a:ea typeface="+mn-ea"/>
              <a:cs typeface="+mn-cs"/>
            </a:endParaRPr>
          </a:p>
          <a:p>
            <a:r>
              <a:rPr lang="en-US" sz="1200" kern="1200" dirty="0" smtClean="0">
                <a:solidFill>
                  <a:schemeClr val="tx1"/>
                </a:solidFill>
                <a:effectLst/>
                <a:latin typeface="Segoe UI" panose="020B0502040204020203" pitchFamily="34" charset="0"/>
                <a:ea typeface="+mn-ea"/>
                <a:cs typeface="+mn-cs"/>
              </a:rPr>
              <a:t>Drawing on its history and scale, Microsoft has implemented software development with enhanced security, operational management, and threat mitigation practices, helping it to deliver services that achieve higher levels of security, privacy, and compliance than most customers could achieve on their own. </a:t>
            </a:r>
          </a:p>
          <a:p>
            <a:endParaRPr lang="en-US" sz="1200" kern="1200" dirty="0" smtClean="0">
              <a:solidFill>
                <a:schemeClr val="tx1"/>
              </a:solidFill>
              <a:effectLst/>
              <a:latin typeface="Segoe UI" panose="020B0502040204020203" pitchFamily="34" charset="0"/>
              <a:ea typeface="+mn-ea"/>
              <a:cs typeface="+mn-cs"/>
            </a:endParaRPr>
          </a:p>
          <a:p>
            <a:r>
              <a:rPr lang="en-US" sz="1200" kern="1200" dirty="0" smtClean="0">
                <a:solidFill>
                  <a:schemeClr val="tx1"/>
                </a:solidFill>
                <a:effectLst/>
                <a:latin typeface="Segoe UI" panose="020B0502040204020203" pitchFamily="34" charset="0"/>
                <a:ea typeface="+mn-ea"/>
                <a:cs typeface="+mn-cs"/>
              </a:rPr>
              <a:t>Microsoft shares this knowledge with government and commercial organizations and engages in broad security efforts through the creation of centers of excellence, including the </a:t>
            </a:r>
            <a:r>
              <a:rPr lang="en-US" sz="1200" b="1" kern="1200" dirty="0" smtClean="0">
                <a:solidFill>
                  <a:schemeClr val="tx1"/>
                </a:solidFill>
                <a:effectLst/>
                <a:latin typeface="Segoe UI" panose="020B0502040204020203" pitchFamily="34" charset="0"/>
                <a:ea typeface="+mn-ea"/>
                <a:cs typeface="+mn-cs"/>
              </a:rPr>
              <a:t>Microsoft Digital Crimes Unit</a:t>
            </a:r>
            <a:r>
              <a:rPr lang="en-US" sz="1200" kern="1200" dirty="0" smtClean="0">
                <a:solidFill>
                  <a:schemeClr val="tx1"/>
                </a:solidFill>
                <a:effectLst/>
                <a:latin typeface="Segoe UI" panose="020B0502040204020203" pitchFamily="34" charset="0"/>
                <a:ea typeface="+mn-ea"/>
                <a:cs typeface="+mn-cs"/>
              </a:rPr>
              <a:t>, Microsoft </a:t>
            </a:r>
            <a:r>
              <a:rPr lang="en-US" sz="1200" b="1" kern="1200" dirty="0" smtClean="0">
                <a:solidFill>
                  <a:schemeClr val="tx1"/>
                </a:solidFill>
                <a:effectLst/>
                <a:latin typeface="Segoe UI" panose="020B0502040204020203" pitchFamily="34" charset="0"/>
                <a:ea typeface="+mn-ea"/>
                <a:cs typeface="+mn-cs"/>
              </a:rPr>
              <a:t>Security Response Center</a:t>
            </a:r>
            <a:r>
              <a:rPr lang="en-US" sz="1200" kern="1200" dirty="0" smtClean="0">
                <a:solidFill>
                  <a:schemeClr val="tx1"/>
                </a:solidFill>
                <a:effectLst/>
                <a:latin typeface="Segoe UI" panose="020B0502040204020203" pitchFamily="34" charset="0"/>
                <a:ea typeface="+mn-ea"/>
                <a:cs typeface="+mn-cs"/>
              </a:rPr>
              <a:t>, and Microsoft </a:t>
            </a:r>
            <a:r>
              <a:rPr lang="en-US" sz="1200" b="1" kern="1200" dirty="0" smtClean="0">
                <a:solidFill>
                  <a:schemeClr val="tx1"/>
                </a:solidFill>
                <a:effectLst/>
                <a:latin typeface="Segoe UI" panose="020B0502040204020203" pitchFamily="34" charset="0"/>
                <a:ea typeface="+mn-ea"/>
                <a:cs typeface="+mn-cs"/>
              </a:rPr>
              <a:t>Malware Protection Center</a:t>
            </a:r>
            <a:r>
              <a:rPr lang="en-US" sz="1200" kern="1200" dirty="0" smtClean="0">
                <a:solidFill>
                  <a:schemeClr val="tx1"/>
                </a:solidFill>
                <a:effectLst/>
                <a:latin typeface="Segoe UI" panose="020B0502040204020203" pitchFamily="34" charset="0"/>
                <a:ea typeface="+mn-ea"/>
                <a:cs typeface="+mn-cs"/>
              </a:rPr>
              <a:t>. </a:t>
            </a:r>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8</a:t>
            </a:fld>
            <a:endParaRPr lang="en-US" dirty="0">
              <a:solidFill>
                <a:prstClr val="black"/>
              </a:solidFill>
            </a:endParaRPr>
          </a:p>
        </p:txBody>
      </p:sp>
      <p:sp>
        <p:nvSpPr>
          <p:cNvPr id="5" name="Date Placeholder 4"/>
          <p:cNvSpPr>
            <a:spLocks noGrp="1"/>
          </p:cNvSpPr>
          <p:nvPr>
            <p:ph type="dt" idx="11"/>
          </p:nvPr>
        </p:nvSpPr>
        <p:spPr/>
        <p:txBody>
          <a:bodyPr/>
          <a:lstStyle/>
          <a:p>
            <a:fld id="{D38198BC-BD75-49B8-A423-98E049C2DF6F}" type="datetime1">
              <a:rPr lang="en-US" smtClean="0">
                <a:solidFill>
                  <a:prstClr val="black"/>
                </a:solidFill>
              </a:rPr>
              <a:t>7/8/2015</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smtClean="0">
                <a:solidFill>
                  <a:prstClr val="black"/>
                </a:solidFill>
              </a:rPr>
              <a:t>Sarah Fender 100-level Azure Security deck</a:t>
            </a:r>
            <a:endParaRPr lang="en-US" dirty="0">
              <a:solidFill>
                <a:prstClr val="black"/>
              </a:solidFill>
            </a:endParaRPr>
          </a:p>
        </p:txBody>
      </p:sp>
    </p:spTree>
    <p:extLst>
      <p:ext uri="{BB962C8B-B14F-4D97-AF65-F5344CB8AC3E}">
        <p14:creationId xmlns:p14="http://schemas.microsoft.com/office/powerpoint/2010/main" val="24162742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57"/>
              </a:spcAft>
            </a:pPr>
            <a:r>
              <a:rPr lang="en-US" sz="1000" b="1" dirty="0" smtClean="0">
                <a:latin typeface="Segoe UI" panose="020B0502040204020203" pitchFamily="34" charset="0"/>
                <a:ea typeface="Segoe UI" panose="020B0502040204020203" pitchFamily="34" charset="0"/>
                <a:cs typeface="Segoe UI" panose="020B0502040204020203" pitchFamily="34" charset="0"/>
              </a:rPr>
              <a:t>Slide title: </a:t>
            </a:r>
            <a:r>
              <a:rPr lang="en-US" sz="1000" dirty="0" smtClean="0">
                <a:latin typeface="Segoe UI" panose="020B0502040204020203" pitchFamily="34" charset="0"/>
                <a:ea typeface="Segoe UI" panose="020B0502040204020203" pitchFamily="34" charset="0"/>
                <a:cs typeface="Segoe UI" panose="020B0502040204020203" pitchFamily="34" charset="0"/>
              </a:rPr>
              <a:t>Security design an operations</a:t>
            </a:r>
          </a:p>
          <a:p>
            <a:pPr>
              <a:lnSpc>
                <a:spcPct val="115000"/>
              </a:lnSpc>
              <a:spcAft>
                <a:spcPts val="1057"/>
              </a:spcAft>
            </a:pPr>
            <a:r>
              <a:rPr lang="en-US" sz="1000" b="1" dirty="0" smtClean="0">
                <a:latin typeface="Segoe UI" panose="020B0502040204020203" pitchFamily="34" charset="0"/>
                <a:ea typeface="Segoe UI" panose="020B0502040204020203" pitchFamily="34" charset="0"/>
                <a:cs typeface="Segoe UI" panose="020B0502040204020203" pitchFamily="34" charset="0"/>
              </a:rPr>
              <a:t>Slide objectives: </a:t>
            </a:r>
            <a:r>
              <a:rPr lang="en-US" sz="1000" dirty="0" smtClean="0">
                <a:latin typeface="Segoe UI" panose="020B0502040204020203" pitchFamily="34" charset="0"/>
                <a:ea typeface="Segoe UI" panose="020B0502040204020203" pitchFamily="34" charset="0"/>
                <a:cs typeface="Segoe UI" panose="020B0502040204020203" pitchFamily="34" charset="0"/>
              </a:rPr>
              <a:t>Provide an overview of Azure security in design and</a:t>
            </a:r>
            <a:r>
              <a:rPr lang="en-US" sz="1000" baseline="0" dirty="0" smtClean="0">
                <a:latin typeface="Segoe UI" panose="020B0502040204020203" pitchFamily="34" charset="0"/>
                <a:ea typeface="Segoe UI" panose="020B0502040204020203" pitchFamily="34" charset="0"/>
                <a:cs typeface="Segoe UI" panose="020B0502040204020203" pitchFamily="34" charset="0"/>
              </a:rPr>
              <a:t> operations</a:t>
            </a:r>
            <a:r>
              <a:rPr lang="en-US" sz="1000" dirty="0" smtClean="0">
                <a:latin typeface="Segoe UI" panose="020B0502040204020203" pitchFamily="34" charset="0"/>
                <a:ea typeface="Segoe UI" panose="020B0502040204020203" pitchFamily="34" charset="0"/>
                <a:cs typeface="Segoe UI" panose="020B0502040204020203" pitchFamily="34" charset="0"/>
              </a:rPr>
              <a:t>.</a:t>
            </a:r>
          </a:p>
          <a:p>
            <a:pPr defTabSz="966612">
              <a:lnSpc>
                <a:spcPct val="115000"/>
              </a:lnSpc>
              <a:spcAft>
                <a:spcPts val="1057"/>
              </a:spcAft>
              <a:defRPr/>
            </a:pPr>
            <a:endParaRPr lang="en-US" sz="1000" b="1" dirty="0" smtClean="0">
              <a:latin typeface="Segoe UI" panose="020B0502040204020203" pitchFamily="34" charset="0"/>
              <a:ea typeface="Segoe UI" panose="020B0502040204020203" pitchFamily="34" charset="0"/>
              <a:cs typeface="Segoe UI" panose="020B0502040204020203" pitchFamily="34" charset="0"/>
            </a:endParaRPr>
          </a:p>
          <a:p>
            <a:pPr defTabSz="966612">
              <a:lnSpc>
                <a:spcPct val="115000"/>
              </a:lnSpc>
              <a:spcAft>
                <a:spcPts val="1057"/>
              </a:spcAft>
              <a:defRPr/>
            </a:pPr>
            <a:r>
              <a:rPr lang="en-US" sz="1000" b="1" dirty="0" smtClean="0">
                <a:latin typeface="Segoe UI" panose="020B0502040204020203" pitchFamily="34" charset="0"/>
                <a:ea typeface="Segoe UI" panose="020B0502040204020203" pitchFamily="34" charset="0"/>
                <a:cs typeface="Segoe UI" panose="020B0502040204020203" pitchFamily="34" charset="0"/>
              </a:rPr>
              <a:t>Slide script: </a:t>
            </a:r>
            <a:endParaRPr lang="en-US" sz="1000" dirty="0" smtClean="0">
              <a:latin typeface="Segoe UI" panose="020B0502040204020203" pitchFamily="34" charset="0"/>
              <a:ea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sz="1000" b="1" u="sng" dirty="0" smtClean="0"/>
              <a:t>Designing for security from the ground up</a:t>
            </a:r>
            <a:r>
              <a:rPr lang="en-US" sz="1000" b="1" dirty="0" smtClean="0"/>
              <a:t>. </a:t>
            </a:r>
            <a:r>
              <a:rPr lang="en-US" sz="900" kern="1200" dirty="0" smtClean="0">
                <a:solidFill>
                  <a:schemeClr val="tx1"/>
                </a:solidFill>
                <a:effectLst/>
                <a:latin typeface="Segoe UI Light" pitchFamily="34" charset="0"/>
                <a:ea typeface="+mn-ea"/>
                <a:cs typeface="+mn-cs"/>
              </a:rPr>
              <a:t>Azure code development adheres to Microsoft’s Security Development Lifecycle (SDL). The SDL is a software development process that helps developers build more secure software and address security compliance requirements while reducing development cost. The </a:t>
            </a:r>
            <a:r>
              <a:rPr lang="en-US" sz="900" b="1" kern="1200" dirty="0" smtClean="0">
                <a:solidFill>
                  <a:schemeClr val="tx1"/>
                </a:solidFill>
                <a:effectLst/>
                <a:latin typeface="Segoe UI Light" pitchFamily="34" charset="0"/>
                <a:ea typeface="+mn-ea"/>
                <a:cs typeface="+mn-cs"/>
              </a:rPr>
              <a:t>SDL became central to Microsoft’s development practices a decade ago and is shared freely with the industry and customers</a:t>
            </a:r>
            <a:r>
              <a:rPr lang="en-US" sz="900" kern="1200" dirty="0" smtClean="0">
                <a:solidFill>
                  <a:schemeClr val="tx1"/>
                </a:solidFill>
                <a:effectLst/>
                <a:latin typeface="Segoe UI Light" pitchFamily="34" charset="0"/>
                <a:ea typeface="+mn-ea"/>
                <a:cs typeface="+mn-cs"/>
              </a:rPr>
              <a:t>. It embeds </a:t>
            </a:r>
            <a:r>
              <a:rPr lang="en-US" sz="900" b="1" kern="1200" dirty="0" smtClean="0">
                <a:solidFill>
                  <a:schemeClr val="tx1"/>
                </a:solidFill>
                <a:effectLst/>
                <a:latin typeface="Segoe UI Light" pitchFamily="34" charset="0"/>
                <a:ea typeface="+mn-ea"/>
                <a:cs typeface="+mn-cs"/>
              </a:rPr>
              <a:t>security requirements into systems and software through the planning, design, development, and deployment phases</a:t>
            </a:r>
            <a:r>
              <a:rPr lang="en-US" sz="900" kern="1200" dirty="0" smtClean="0">
                <a:solidFill>
                  <a:schemeClr val="tx1"/>
                </a:solidFill>
                <a:effectLst/>
                <a:latin typeface="Segoe UI Light" pitchFamily="34" charset="0"/>
                <a:ea typeface="+mn-ea"/>
                <a:cs typeface="+mn-cs"/>
              </a:rPr>
              <a:t>.</a:t>
            </a:r>
          </a:p>
          <a:p>
            <a:pPr marL="285750" indent="-285750">
              <a:buFont typeface="Arial" panose="020B0604020202020204" pitchFamily="34" charset="0"/>
              <a:buChar char="•"/>
            </a:pPr>
            <a:r>
              <a:rPr lang="en-US" sz="900" b="1" u="sng" kern="1200" dirty="0" smtClean="0">
                <a:solidFill>
                  <a:schemeClr val="tx1"/>
                </a:solidFill>
                <a:effectLst/>
                <a:latin typeface="Segoe UI Light" pitchFamily="34" charset="0"/>
                <a:ea typeface="+mn-ea"/>
                <a:cs typeface="+mn-cs"/>
              </a:rPr>
              <a:t>Enhancing operational security</a:t>
            </a:r>
            <a:r>
              <a:rPr lang="en-US" sz="900" b="1" kern="1200" dirty="0" smtClean="0">
                <a:solidFill>
                  <a:schemeClr val="tx1"/>
                </a:solidFill>
                <a:effectLst/>
                <a:latin typeface="Segoe UI Light" pitchFamily="34" charset="0"/>
                <a:ea typeface="+mn-ea"/>
                <a:cs typeface="+mn-cs"/>
              </a:rPr>
              <a:t>.</a:t>
            </a:r>
            <a:r>
              <a:rPr lang="en-US" sz="900" b="1" i="1" kern="120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Azure adheres to a rigorous set of </a:t>
            </a:r>
            <a:r>
              <a:rPr lang="en-US" sz="900" b="1" kern="1200" dirty="0" smtClean="0">
                <a:solidFill>
                  <a:schemeClr val="tx1"/>
                </a:solidFill>
                <a:effectLst/>
                <a:latin typeface="Segoe UI Light" pitchFamily="34" charset="0"/>
                <a:ea typeface="+mn-ea"/>
                <a:cs typeface="+mn-cs"/>
              </a:rPr>
              <a:t>security controls that govern operations and support</a:t>
            </a:r>
            <a:r>
              <a:rPr lang="en-US" sz="900" kern="1200" dirty="0" smtClean="0">
                <a:solidFill>
                  <a:schemeClr val="tx1"/>
                </a:solidFill>
                <a:effectLst/>
                <a:latin typeface="Segoe UI Light" pitchFamily="34" charset="0"/>
                <a:ea typeface="+mn-ea"/>
                <a:cs typeface="+mn-cs"/>
              </a:rPr>
              <a:t>. The Azure team works with other entities within Microsoft such as Office 365 and the Microsoft Operational Security Assurance (OSA) group to identify risks and share information, supporting continuous improvement in operational controls. This increases the ability to prevent, detect, contain, and respond to operational security threats.</a:t>
            </a:r>
          </a:p>
          <a:p>
            <a:pPr marL="285750" indent="-285750">
              <a:buFont typeface="Arial" panose="020B0604020202020204" pitchFamily="34" charset="0"/>
              <a:buChar char="•"/>
            </a:pPr>
            <a:r>
              <a:rPr lang="en-US" sz="1000" b="1" dirty="0" smtClean="0"/>
              <a:t>Assume breach. </a:t>
            </a:r>
            <a:r>
              <a:rPr lang="en-US" sz="900" kern="1200" dirty="0" smtClean="0">
                <a:solidFill>
                  <a:schemeClr val="tx1"/>
                </a:solidFill>
                <a:effectLst/>
                <a:latin typeface="Segoe UI Light" pitchFamily="34" charset="0"/>
                <a:ea typeface="+mn-ea"/>
                <a:cs typeface="+mn-cs"/>
              </a:rPr>
              <a:t>One key operational best practice that Microsoft uses to harden its cloud services is known as the “assume breach” strategy. A dedicated “</a:t>
            </a:r>
            <a:r>
              <a:rPr lang="en-US" sz="900" b="1" kern="1200" dirty="0" smtClean="0">
                <a:solidFill>
                  <a:schemeClr val="tx1"/>
                </a:solidFill>
                <a:effectLst/>
                <a:latin typeface="Segoe UI Light" pitchFamily="34" charset="0"/>
                <a:ea typeface="+mn-ea"/>
                <a:cs typeface="+mn-cs"/>
              </a:rPr>
              <a:t>red team</a:t>
            </a:r>
            <a:r>
              <a:rPr lang="en-US" sz="900" kern="1200" dirty="0" smtClean="0">
                <a:solidFill>
                  <a:schemeClr val="tx1"/>
                </a:solidFill>
                <a:effectLst/>
                <a:latin typeface="Segoe UI Light" pitchFamily="34" charset="0"/>
                <a:ea typeface="+mn-ea"/>
                <a:cs typeface="+mn-cs"/>
              </a:rPr>
              <a:t>” of software security experts simulates real-world attacks at the network, platform, and application layers, testing Azure’s ability to detect, protect against, and recover from breaches. By constantly challenging the security capabilities of the service, Microsoft can stay ahead of emerging threats.</a:t>
            </a:r>
            <a:r>
              <a:rPr lang="en-US" sz="1000" dirty="0" smtClean="0"/>
              <a:t>.</a:t>
            </a:r>
          </a:p>
          <a:p>
            <a:pPr marL="285750" indent="-285750">
              <a:buFont typeface="Arial" panose="020B0604020202020204" pitchFamily="34" charset="0"/>
              <a:buChar char="•"/>
            </a:pPr>
            <a:r>
              <a:rPr lang="en-US" sz="1000" b="1" dirty="0" smtClean="0"/>
              <a:t>Incident response. </a:t>
            </a:r>
            <a:r>
              <a:rPr lang="en-US" sz="900" kern="1200" dirty="0" smtClean="0">
                <a:solidFill>
                  <a:schemeClr val="tx1"/>
                </a:solidFill>
                <a:effectLst/>
                <a:latin typeface="Segoe UI Light" pitchFamily="34" charset="0"/>
                <a:ea typeface="+mn-ea"/>
                <a:cs typeface="+mn-cs"/>
              </a:rPr>
              <a:t>Microsoft has a global, </a:t>
            </a:r>
            <a:r>
              <a:rPr lang="en-US" sz="900" b="1" kern="1200" dirty="0" smtClean="0">
                <a:solidFill>
                  <a:schemeClr val="tx1"/>
                </a:solidFill>
                <a:effectLst/>
                <a:latin typeface="Segoe UI Light" pitchFamily="34" charset="0"/>
                <a:ea typeface="+mn-ea"/>
                <a:cs typeface="+mn-cs"/>
              </a:rPr>
              <a:t>24x7 incident response service </a:t>
            </a:r>
            <a:r>
              <a:rPr lang="en-US" sz="900" kern="1200" dirty="0" smtClean="0">
                <a:solidFill>
                  <a:schemeClr val="tx1"/>
                </a:solidFill>
                <a:effectLst/>
                <a:latin typeface="Segoe UI Light" pitchFamily="34" charset="0"/>
                <a:ea typeface="+mn-ea"/>
                <a:cs typeface="+mn-cs"/>
              </a:rPr>
              <a:t>that works to mitigate the effects of attacks and malicious activity. The incident response team follows established procedures for incident management, communication, and recovery, and uses discoverable and predictable interfaces with internal and external partners alike</a:t>
            </a:r>
            <a:endParaRPr lang="en-US" sz="1000" dirty="0" smtClean="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9</a:t>
            </a:fld>
            <a:endParaRPr lang="en-US" dirty="0">
              <a:solidFill>
                <a:prstClr val="black"/>
              </a:solidFill>
            </a:endParaRPr>
          </a:p>
        </p:txBody>
      </p:sp>
      <p:sp>
        <p:nvSpPr>
          <p:cNvPr id="5" name="Date Placeholder 4"/>
          <p:cNvSpPr>
            <a:spLocks noGrp="1"/>
          </p:cNvSpPr>
          <p:nvPr>
            <p:ph type="dt" idx="11"/>
          </p:nvPr>
        </p:nvSpPr>
        <p:spPr/>
        <p:txBody>
          <a:bodyPr/>
          <a:lstStyle/>
          <a:p>
            <a:fld id="{7CD63AA1-BB20-47D1-B9D6-9ED24E47C5BA}" type="datetime1">
              <a:rPr lang="en-US" smtClean="0">
                <a:solidFill>
                  <a:prstClr val="black"/>
                </a:solidFill>
              </a:rPr>
              <a:t>7/8/2015</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Sarah Fender 100-level Azure Security deck</a:t>
            </a:r>
            <a:endParaRPr lang="en-US" dirty="0">
              <a:solidFill>
                <a:prstClr val="black"/>
              </a:solidFill>
            </a:endParaRPr>
          </a:p>
        </p:txBody>
      </p:sp>
    </p:spTree>
    <p:extLst>
      <p:ext uri="{BB962C8B-B14F-4D97-AF65-F5344CB8AC3E}">
        <p14:creationId xmlns:p14="http://schemas.microsoft.com/office/powerpoint/2010/main" val="35344480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042775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4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457200" y="2142636"/>
            <a:ext cx="11228387" cy="1720381"/>
          </a:xfrm>
        </p:spPr>
        <p:txBody>
          <a:bodyPr/>
          <a:lstStyle>
            <a:lvl1pPr>
              <a:defRPr sz="6000">
                <a:solidFill>
                  <a:schemeClr val="bg1"/>
                </a:solidFill>
              </a:defRPr>
            </a:lvl1pPr>
          </a:lstStyle>
          <a:p>
            <a:r>
              <a:rPr lang="en-US" dirty="0" smtClean="0"/>
              <a:t>Headline here</a:t>
            </a:r>
            <a:endParaRPr lang="en-US" dirty="0"/>
          </a:p>
        </p:txBody>
      </p:sp>
      <p:sp>
        <p:nvSpPr>
          <p:cNvPr id="3" name="Subtitle 2"/>
          <p:cNvSpPr>
            <a:spLocks noGrp="1"/>
          </p:cNvSpPr>
          <p:nvPr>
            <p:ph type="subTitle" idx="1" hasCustomPrompt="1"/>
          </p:nvPr>
        </p:nvSpPr>
        <p:spPr>
          <a:xfrm>
            <a:off x="457200"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21957" y="327121"/>
            <a:ext cx="1606856" cy="591072"/>
          </a:xfrm>
          <a:prstGeom prst="rect">
            <a:avLst/>
          </a:prstGeom>
        </p:spPr>
      </p:pic>
    </p:spTree>
    <p:extLst>
      <p:ext uri="{BB962C8B-B14F-4D97-AF65-F5344CB8AC3E}">
        <p14:creationId xmlns:p14="http://schemas.microsoft.com/office/powerpoint/2010/main" val="1531475136"/>
      </p:ext>
    </p:extLst>
  </p:cSld>
  <p:clrMapOvr>
    <a:masterClrMapping/>
  </p:clrMapOvr>
  <p:transition spd="slow">
    <p:wip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58pt Title/16pt Text - Blue">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8925987" y="1341231"/>
            <a:ext cx="3510488" cy="5537837"/>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2">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600"/>
                </a:spcAft>
              </a:pPr>
              <a:endParaRPr lang="en-US" sz="1400" b="1" dirty="0" smtClean="0">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600"/>
                </a:spcAft>
              </a:pPr>
              <a:endParaRPr lang="en-US" sz="1400" b="1" dirty="0" smtClean="0">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600"/>
                </a:spcAft>
              </a:pPr>
              <a:endParaRPr lang="en-US" b="1" dirty="0" smtClean="0">
                <a:solidFill>
                  <a:schemeClr val="bg1">
                    <a:lumMod val="65000"/>
                  </a:schemeClr>
                </a:solidFill>
              </a:endParaRPr>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21963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6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7" y="2142636"/>
            <a:ext cx="8335859" cy="1720381"/>
          </a:xfrm>
        </p:spPr>
        <p:txBody>
          <a:bodyPr/>
          <a:lstStyle>
            <a:lvl1pPr>
              <a:defRPr sz="6000">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603504" y="3954463"/>
            <a:ext cx="8322282"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2412671986"/>
      </p:ext>
    </p:extLst>
  </p:cSld>
  <p:clrMapOvr>
    <a:masterClrMapping/>
  </p:clrMapOvr>
  <p:transition spd="slow">
    <p:wip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703778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6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6" y="2142636"/>
            <a:ext cx="8348663" cy="1720381"/>
          </a:xfrm>
        </p:spPr>
        <p:txBody>
          <a:bodyPr/>
          <a:lstStyle>
            <a:lvl1pPr>
              <a:defRPr sz="6000">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603503" y="3954463"/>
            <a:ext cx="8335065"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p>
        </p:txBody>
      </p:sp>
      <p:grpSp>
        <p:nvGrpSpPr>
          <p:cNvPr id="5" name="Group 4"/>
          <p:cNvGrpSpPr/>
          <p:nvPr userDrawn="1"/>
        </p:nvGrpSpPr>
        <p:grpSpPr>
          <a:xfrm>
            <a:off x="8925987" y="1341231"/>
            <a:ext cx="3510488" cy="5537837"/>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3">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600"/>
                </a:spcAft>
              </a:pPr>
              <a:endParaRPr lang="en-US" sz="1400" b="1" dirty="0" smtClean="0">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600"/>
                </a:spcAft>
              </a:pPr>
              <a:endParaRPr lang="en-US" sz="1400" b="1" dirty="0" smtClean="0">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600"/>
                </a:spcAft>
              </a:pPr>
              <a:endParaRPr lang="en-US" b="1" dirty="0" smtClean="0">
                <a:solidFill>
                  <a:schemeClr val="bg1">
                    <a:lumMod val="65000"/>
                  </a:schemeClr>
                </a:solidFill>
              </a:endParaRPr>
            </a:p>
          </p:txBody>
        </p:sp>
      </p:grpSp>
    </p:spTree>
    <p:extLst>
      <p:ext uri="{BB962C8B-B14F-4D97-AF65-F5344CB8AC3E}">
        <p14:creationId xmlns:p14="http://schemas.microsoft.com/office/powerpoint/2010/main" val="1484697271"/>
      </p:ext>
    </p:extLst>
  </p:cSld>
  <p:clrMapOvr>
    <a:masterClrMapping/>
  </p:clrMapOvr>
  <p:transition spd="slow">
    <p:wip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880991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6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7" y="2142636"/>
            <a:ext cx="8209728" cy="1720381"/>
          </a:xfrm>
        </p:spPr>
        <p:txBody>
          <a:bodyPr/>
          <a:lstStyle>
            <a:lvl1pPr>
              <a:defRPr sz="6000">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603503" y="3954463"/>
            <a:ext cx="8196357"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p>
        </p:txBody>
      </p:sp>
      <p:grpSp>
        <p:nvGrpSpPr>
          <p:cNvPr id="5" name="Group 4"/>
          <p:cNvGrpSpPr/>
          <p:nvPr userDrawn="1"/>
        </p:nvGrpSpPr>
        <p:grpSpPr>
          <a:xfrm>
            <a:off x="8925987" y="1341231"/>
            <a:ext cx="3510488" cy="5537837"/>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4">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600"/>
                </a:spcAft>
              </a:pPr>
              <a:endParaRPr lang="en-US" sz="1400" b="1" dirty="0" smtClean="0">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600"/>
                </a:spcAft>
              </a:pPr>
              <a:endParaRPr lang="en-US" sz="1400" b="1" dirty="0" smtClean="0">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600"/>
                </a:spcAft>
              </a:pPr>
              <a:endParaRPr lang="en-US" b="1" dirty="0" smtClean="0">
                <a:solidFill>
                  <a:schemeClr val="bg1">
                    <a:lumMod val="65000"/>
                  </a:schemeClr>
                </a:solidFill>
              </a:endParaRPr>
            </a:p>
          </p:txBody>
        </p:sp>
      </p:grpSp>
    </p:spTree>
    <p:extLst>
      <p:ext uri="{BB962C8B-B14F-4D97-AF65-F5344CB8AC3E}">
        <p14:creationId xmlns:p14="http://schemas.microsoft.com/office/powerpoint/2010/main" val="3302847824"/>
      </p:ext>
    </p:extLst>
  </p:cSld>
  <p:clrMapOvr>
    <a:masterClrMapping/>
  </p:clrMapOvr>
  <p:transition spd="slow">
    <p:wip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457593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7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6" y="2142636"/>
            <a:ext cx="11228387" cy="1720381"/>
          </a:xfrm>
        </p:spPr>
        <p:txBody>
          <a:bodyPr/>
          <a:lstStyle>
            <a:lvl1pPr>
              <a:defRPr sz="6000">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603503" y="3954463"/>
            <a:ext cx="11210099"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p>
        </p:txBody>
      </p:sp>
      <p:grpSp>
        <p:nvGrpSpPr>
          <p:cNvPr id="5" name="Group 4"/>
          <p:cNvGrpSpPr/>
          <p:nvPr userDrawn="1"/>
        </p:nvGrpSpPr>
        <p:grpSpPr>
          <a:xfrm>
            <a:off x="8925987" y="1341231"/>
            <a:ext cx="3510488" cy="5537837"/>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5">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 name="TextBox 14"/>
            <p:cNvSpPr txBox="1"/>
            <p:nvPr/>
          </p:nvSpPr>
          <p:spPr>
            <a:xfrm>
              <a:off x="10272407" y="5327699"/>
              <a:ext cx="593726" cy="593726"/>
            </a:xfrm>
            <a:prstGeom prst="ellipse">
              <a:avLst/>
            </a:prstGeom>
            <a:solidFill>
              <a:schemeClr val="accent5">
                <a:lumMod val="60000"/>
                <a:lumOff val="40000"/>
              </a:schemeClr>
            </a:solidFill>
          </p:spPr>
          <p:txBody>
            <a:bodyPr wrap="none" lIns="182880" tIns="146304" rIns="182880" bIns="146304" rtlCol="0" anchor="ctr">
              <a:noAutofit/>
            </a:bodyPr>
            <a:lstStyle/>
            <a:p>
              <a:pPr algn="ctr">
                <a:lnSpc>
                  <a:spcPct val="90000"/>
                </a:lnSpc>
                <a:spcAft>
                  <a:spcPts val="600"/>
                </a:spcAft>
              </a:pPr>
              <a:endParaRPr lang="en-US" sz="1400" b="1" dirty="0" smtClean="0">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600"/>
                </a:spcAft>
              </a:pPr>
              <a:endParaRPr lang="en-US" sz="1400" b="1" dirty="0" smtClean="0">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600"/>
                </a:spcAft>
              </a:pPr>
              <a:endParaRPr lang="en-US" b="1" dirty="0" smtClean="0">
                <a:solidFill>
                  <a:schemeClr val="bg1">
                    <a:lumMod val="65000"/>
                  </a:schemeClr>
                </a:solidFill>
              </a:endParaRPr>
            </a:p>
          </p:txBody>
        </p:sp>
      </p:grpSp>
    </p:spTree>
    <p:extLst>
      <p:ext uri="{BB962C8B-B14F-4D97-AF65-F5344CB8AC3E}">
        <p14:creationId xmlns:p14="http://schemas.microsoft.com/office/powerpoint/2010/main" val="477961205"/>
      </p:ext>
    </p:extLst>
  </p:cSld>
  <p:clrMapOvr>
    <a:masterClrMapping/>
  </p:clrMapOvr>
  <p:transition spd="slow">
    <p:wip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241801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7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6" y="2142636"/>
            <a:ext cx="8248671" cy="1720381"/>
          </a:xfrm>
        </p:spPr>
        <p:txBody>
          <a:bodyPr/>
          <a:lstStyle>
            <a:lvl1pPr>
              <a:defRPr sz="6000">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p>
        </p:txBody>
      </p:sp>
      <p:grpSp>
        <p:nvGrpSpPr>
          <p:cNvPr id="5" name="Group 4"/>
          <p:cNvGrpSpPr/>
          <p:nvPr userDrawn="1"/>
        </p:nvGrpSpPr>
        <p:grpSpPr>
          <a:xfrm>
            <a:off x="8925987" y="1341231"/>
            <a:ext cx="3510488" cy="5537837"/>
            <a:chOff x="8925987" y="1341231"/>
            <a:chExt cx="3510488" cy="5537837"/>
          </a:xfrm>
        </p:grpSpPr>
        <p:sp>
          <p:nvSpPr>
            <p:cNvPr id="6" name="Freeform 5"/>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6">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 name="TextBox 14"/>
            <p:cNvSpPr txBox="1"/>
            <p:nvPr/>
          </p:nvSpPr>
          <p:spPr>
            <a:xfrm>
              <a:off x="10272407" y="5327699"/>
              <a:ext cx="593726" cy="593726"/>
            </a:xfrm>
            <a:prstGeom prst="ellipse">
              <a:avLst/>
            </a:prstGeom>
            <a:solidFill>
              <a:schemeClr val="accent5">
                <a:lumMod val="20000"/>
                <a:lumOff val="80000"/>
              </a:schemeClr>
            </a:solidFill>
          </p:spPr>
          <p:txBody>
            <a:bodyPr wrap="none" lIns="182880" tIns="146304" rIns="182880" bIns="146304" rtlCol="0" anchor="ctr">
              <a:noAutofit/>
            </a:bodyPr>
            <a:lstStyle/>
            <a:p>
              <a:pPr algn="ctr">
                <a:lnSpc>
                  <a:spcPct val="90000"/>
                </a:lnSpc>
                <a:spcAft>
                  <a:spcPts val="600"/>
                </a:spcAft>
              </a:pPr>
              <a:endParaRPr lang="en-US" sz="1400" b="1" dirty="0" smtClean="0">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40000"/>
                <a:lumOff val="60000"/>
              </a:schemeClr>
            </a:solidFill>
          </p:spPr>
          <p:txBody>
            <a:bodyPr wrap="none" lIns="182880" tIns="146304" rIns="182880" bIns="146304" rtlCol="0" anchor="ctr">
              <a:noAutofit/>
            </a:bodyPr>
            <a:lstStyle/>
            <a:p>
              <a:pPr algn="ctr">
                <a:lnSpc>
                  <a:spcPct val="90000"/>
                </a:lnSpc>
                <a:spcAft>
                  <a:spcPts val="600"/>
                </a:spcAft>
              </a:pPr>
              <a:endParaRPr lang="en-US" sz="1400" b="1" dirty="0" smtClean="0">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600"/>
                </a:spcAft>
              </a:pPr>
              <a:endParaRPr lang="en-US" b="1" dirty="0" smtClean="0">
                <a:solidFill>
                  <a:schemeClr val="bg1">
                    <a:lumMod val="65000"/>
                  </a:schemeClr>
                </a:solidFill>
              </a:endParaRPr>
            </a:p>
          </p:txBody>
        </p:sp>
      </p:grpSp>
    </p:spTree>
    <p:extLst>
      <p:ext uri="{BB962C8B-B14F-4D97-AF65-F5344CB8AC3E}">
        <p14:creationId xmlns:p14="http://schemas.microsoft.com/office/powerpoint/2010/main" val="1370353244"/>
      </p:ext>
    </p:extLst>
  </p:cSld>
  <p:clrMapOvr>
    <a:masterClrMapping/>
  </p:clrMapOvr>
  <p:transition spd="slow">
    <p:wip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7193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3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2"/>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3" y="6554129"/>
            <a:ext cx="2604878" cy="224114"/>
          </a:xfrm>
          <a:prstGeom prst="rect">
            <a:avLst/>
          </a:prstGeom>
          <a:noFill/>
        </p:spPr>
        <p:txBody>
          <a:bodyPr wrap="none" lIns="0" tIns="0" rIns="0" bIns="0">
            <a:spAutoFit/>
          </a:bodyPr>
          <a:lstStyle/>
          <a:p>
            <a:pPr fontAlgn="auto">
              <a:spcBef>
                <a:spcPts val="0"/>
              </a:spcBef>
              <a:spcAft>
                <a:spcPts val="0"/>
              </a:spcAft>
              <a:defRPr/>
            </a:pPr>
            <a:r>
              <a:rPr lang="en-US" sz="1428" kern="1000" dirty="0">
                <a:solidFill>
                  <a:schemeClr val="bg1"/>
                </a:solidFill>
                <a:latin typeface="Segoe UI Light"/>
                <a:ea typeface="+mn-ea"/>
                <a:cs typeface="+mn-cs"/>
              </a:rPr>
              <a:t>Your complete office in the cloud.</a:t>
            </a:r>
          </a:p>
        </p:txBody>
      </p:sp>
      <p:sp>
        <p:nvSpPr>
          <p:cNvPr id="2" name="Title 1"/>
          <p:cNvSpPr>
            <a:spLocks noGrp="1"/>
          </p:cNvSpPr>
          <p:nvPr>
            <p:ph type="ctrTitle"/>
          </p:nvPr>
        </p:nvSpPr>
        <p:spPr>
          <a:xfrm>
            <a:off x="613797" y="1969155"/>
            <a:ext cx="5080868" cy="627807"/>
          </a:xfrm>
        </p:spPr>
        <p:txBody>
          <a:bodyPr/>
          <a:lstStyle>
            <a:lvl1pPr>
              <a:defRPr sz="408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13797" y="2726800"/>
            <a:ext cx="5126882" cy="2238631"/>
          </a:xfrm>
        </p:spPr>
        <p:txBody>
          <a:bodyPr>
            <a:noAutofit/>
          </a:bodyPr>
          <a:lstStyle>
            <a:lvl1pPr marL="0" indent="0" algn="l" defTabSz="466298" rtl="0" eaLnBrk="1" latinLnBrk="0" hangingPunct="1">
              <a:spcBef>
                <a:spcPct val="0"/>
              </a:spcBef>
              <a:buNone/>
              <a:defRPr lang="en-US" sz="2040" b="0" i="0" kern="1200" baseline="0" dirty="0">
                <a:solidFill>
                  <a:schemeClr val="tx2"/>
                </a:solidFill>
                <a:latin typeface="Segoe UI Light"/>
                <a:ea typeface="+mj-ea"/>
                <a:cs typeface="Segoe UI Light"/>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smtClean="0"/>
              <a:t>Click to edit Master subtitle style</a:t>
            </a:r>
            <a:endParaRPr lang="en-US" dirty="0"/>
          </a:p>
        </p:txBody>
      </p:sp>
      <p:sp>
        <p:nvSpPr>
          <p:cNvPr id="5" name="Picture Placeholder 4"/>
          <p:cNvSpPr>
            <a:spLocks noGrp="1"/>
          </p:cNvSpPr>
          <p:nvPr>
            <p:ph type="pic" sz="quarter" idx="10"/>
          </p:nvPr>
        </p:nvSpPr>
        <p:spPr>
          <a:xfrm>
            <a:off x="6098377" y="0"/>
            <a:ext cx="6338099" cy="6986523"/>
          </a:xfrm>
        </p:spPr>
        <p:txBody>
          <a:bodyPr rtlCol="0">
            <a:normAutofit/>
          </a:bodyPr>
          <a:lstStyle/>
          <a:p>
            <a:pPr lvl="0"/>
            <a:r>
              <a:rPr lang="en-US" noProof="0" dirty="0" smtClean="0"/>
              <a:t>Click icon to add picture</a:t>
            </a:r>
            <a:endParaRPr lang="en-US" noProof="0" dirty="0"/>
          </a:p>
        </p:txBody>
      </p:sp>
      <p:sp>
        <p:nvSpPr>
          <p:cNvPr id="10" name="Footer Placeholder 2"/>
          <p:cNvSpPr>
            <a:spLocks noGrp="1"/>
          </p:cNvSpPr>
          <p:nvPr>
            <p:ph type="ftr" sz="quarter" idx="43"/>
          </p:nvPr>
        </p:nvSpPr>
        <p:spPr>
          <a:xfrm>
            <a:off x="274639" y="6565392"/>
            <a:ext cx="3937000" cy="137160"/>
          </a:xfrm>
        </p:spPr>
        <p:txBody>
          <a:bodyPr/>
          <a:lstStyle>
            <a:lvl1pPr>
              <a:defRPr>
                <a:solidFill>
                  <a:schemeClr val="tx2"/>
                </a:solidFill>
              </a:defRPr>
            </a:lvl1pPr>
          </a:lstStyle>
          <a:p>
            <a:endParaRPr lang="en-US" dirty="0"/>
          </a:p>
        </p:txBody>
      </p:sp>
      <p:sp>
        <p:nvSpPr>
          <p:cNvPr id="11" name="Slide Number Placeholder 3"/>
          <p:cNvSpPr>
            <a:spLocks noGrp="1"/>
          </p:cNvSpPr>
          <p:nvPr>
            <p:ph type="sldNum" sz="quarter" idx="44"/>
          </p:nvPr>
        </p:nvSpPr>
        <p:spPr>
          <a:xfrm>
            <a:off x="11595101" y="6565392"/>
            <a:ext cx="566737" cy="137160"/>
          </a:xfrm>
        </p:spPr>
        <p:txBody>
          <a:bodyPr/>
          <a:lstStyle>
            <a:lvl1pPr>
              <a:defRPr>
                <a:solidFill>
                  <a:srgbClr val="505050"/>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36806245"/>
      </p:ext>
    </p:extLst>
  </p:cSld>
  <p:clrMapOvr>
    <a:masterClrMapping/>
  </p:clrMapOvr>
  <p:transition spd="slow">
    <p:wip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364696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4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951896" y="1969155"/>
            <a:ext cx="5080868" cy="627807"/>
          </a:xfrm>
        </p:spPr>
        <p:txBody>
          <a:bodyPr/>
          <a:lstStyle>
            <a:lvl1pPr>
              <a:defRPr sz="408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951896" y="2726800"/>
            <a:ext cx="5126882" cy="2238631"/>
          </a:xfrm>
        </p:spPr>
        <p:txBody>
          <a:bodyPr>
            <a:noAutofit/>
          </a:bodyPr>
          <a:lstStyle>
            <a:lvl1pPr marL="0" indent="0" algn="l" defTabSz="466298" rtl="0" eaLnBrk="1" latinLnBrk="0" hangingPunct="1">
              <a:spcBef>
                <a:spcPct val="0"/>
              </a:spcBef>
              <a:buNone/>
              <a:defRPr lang="en-US" sz="2040" b="0" i="0" kern="1200" baseline="0" dirty="0">
                <a:solidFill>
                  <a:schemeClr val="tx2"/>
                </a:solidFill>
                <a:latin typeface="Segoe UI Light"/>
                <a:ea typeface="+mj-ea"/>
                <a:cs typeface="Segoe UI Light"/>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smtClean="0"/>
              <a:t>Click to edit Master subtitle style</a:t>
            </a:r>
            <a:endParaRPr lang="en-US" dirty="0"/>
          </a:p>
        </p:txBody>
      </p:sp>
      <p:sp>
        <p:nvSpPr>
          <p:cNvPr id="5" name="Picture Placeholder 4"/>
          <p:cNvSpPr>
            <a:spLocks noGrp="1"/>
          </p:cNvSpPr>
          <p:nvPr>
            <p:ph type="pic" sz="quarter" idx="10"/>
          </p:nvPr>
        </p:nvSpPr>
        <p:spPr>
          <a:xfrm>
            <a:off x="-9718" y="0"/>
            <a:ext cx="6338099" cy="6986523"/>
          </a:xfrm>
        </p:spPr>
        <p:txBody>
          <a:bodyPr rtlCol="0">
            <a:normAutofit/>
          </a:bodyPr>
          <a:lstStyle/>
          <a:p>
            <a:pPr lvl="0"/>
            <a:r>
              <a:rPr lang="en-US" noProof="0" dirty="0" smtClean="0"/>
              <a:t>Click icon to add picture</a:t>
            </a:r>
            <a:endParaRPr lang="en-US" noProof="0" dirty="0"/>
          </a:p>
        </p:txBody>
      </p:sp>
      <p:sp>
        <p:nvSpPr>
          <p:cNvPr id="8" name="Footer Placeholder 2"/>
          <p:cNvSpPr>
            <a:spLocks noGrp="1"/>
          </p:cNvSpPr>
          <p:nvPr>
            <p:ph type="ftr" sz="quarter" idx="43"/>
          </p:nvPr>
        </p:nvSpPr>
        <p:spPr>
          <a:xfrm>
            <a:off x="274639" y="6565392"/>
            <a:ext cx="3937000" cy="137160"/>
          </a:xfrm>
        </p:spPr>
        <p:txBody>
          <a:bodyPr/>
          <a:lstStyle>
            <a:lvl1pPr>
              <a:defRPr>
                <a:solidFill>
                  <a:srgbClr val="505050"/>
                </a:solidFill>
              </a:defRPr>
            </a:lvl1pPr>
          </a:lstStyle>
          <a:p>
            <a:endParaRPr lang="en-US" dirty="0"/>
          </a:p>
        </p:txBody>
      </p:sp>
      <p:sp>
        <p:nvSpPr>
          <p:cNvPr id="9" name="Slide Number Placeholder 3"/>
          <p:cNvSpPr>
            <a:spLocks noGrp="1"/>
          </p:cNvSpPr>
          <p:nvPr>
            <p:ph type="sldNum" sz="quarter" idx="44"/>
          </p:nvPr>
        </p:nvSpPr>
        <p:spPr>
          <a:xfrm>
            <a:off x="11595101" y="6565392"/>
            <a:ext cx="566737" cy="137160"/>
          </a:xfrm>
        </p:spPr>
        <p:txBody>
          <a:bodyPr/>
          <a:lstStyle>
            <a:lvl1pPr>
              <a:defRPr>
                <a:solidFill>
                  <a:schemeClr val="tx2"/>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638509751"/>
      </p:ext>
    </p:extLst>
  </p:cSld>
  <p:clrMapOvr>
    <a:masterClrMapping/>
  </p:clrMapOvr>
  <p:transition spd="slow">
    <p:wip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5296909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7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603504" y="1545465"/>
            <a:ext cx="11226196" cy="4663068"/>
          </a:xfrm>
        </p:spPr>
        <p:txBody>
          <a:bodyPr lIns="0" tIns="0"/>
          <a:lstStyle>
            <a:lvl1pPr marL="233363" indent="-233363">
              <a:spcBef>
                <a:spcPts val="1200"/>
              </a:spcBef>
              <a:defRPr sz="2600">
                <a:latin typeface="+mn-lt"/>
              </a:defRPr>
            </a:lvl1pPr>
            <a:lvl2pPr marL="690563" indent="-233363">
              <a:spcBef>
                <a:spcPts val="1200"/>
              </a:spcBef>
              <a:buSzPct val="100000"/>
              <a:buFont typeface="Segoe UI" pitchFamily="34" charset="0"/>
              <a:buChar char="‐"/>
              <a:defRPr/>
            </a:lvl2pPr>
            <a:lvl3pPr marL="1147763" indent="-233363">
              <a:spcBef>
                <a:spcPts val="1200"/>
              </a:spcBef>
              <a:buFont typeface="Wingdings" pitchFamily="2" charset="2"/>
              <a:buChar char="§"/>
              <a:defRPr/>
            </a:lvl3pPr>
            <a:lvl4pPr marL="1600200" indent="-342900">
              <a:spcBef>
                <a:spcPts val="1200"/>
              </a:spcBef>
              <a:buFont typeface="+mj-lt"/>
              <a:buAutoNum type="arabicPeriod"/>
              <a:defRPr/>
            </a:lvl4pPr>
            <a:lvl5pPr marL="1946275" indent="-342900">
              <a:spcBef>
                <a:spcPts val="1200"/>
              </a:spcBef>
              <a:buFont typeface="+mj-lt"/>
              <a:buAutoNum type="alphaLcParenR"/>
              <a:defRPr/>
            </a:lvl5pPr>
          </a:lstStyle>
          <a:p>
            <a:pPr lvl="0"/>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cing</a:t>
            </a:r>
            <a:r>
              <a:rPr lang="en-US" dirty="0" smtClean="0"/>
              <a:t> </a:t>
            </a:r>
            <a:br>
              <a:rPr lang="en-US" dirty="0" smtClean="0"/>
            </a:br>
            <a:r>
              <a:rPr lang="en-US" dirty="0" err="1" smtClean="0"/>
              <a:t>elit</a:t>
            </a:r>
            <a:r>
              <a:rPr lang="en-US" dirty="0" smtClean="0"/>
              <a:t>. </a:t>
            </a:r>
            <a:r>
              <a:rPr lang="en-US" dirty="0" err="1" smtClean="0"/>
              <a:t>Nunc</a:t>
            </a:r>
            <a:r>
              <a:rPr lang="en-US" dirty="0" smtClean="0"/>
              <a:t> et </a:t>
            </a:r>
            <a:r>
              <a:rPr lang="en-US" dirty="0" err="1" smtClean="0"/>
              <a:t>sagittis</a:t>
            </a:r>
            <a:r>
              <a:rPr lang="en-US" dirty="0" smtClean="0"/>
              <a:t> ligula</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47354767"/>
      </p:ext>
    </p:extLst>
  </p:cSld>
  <p:clrMapOvr>
    <a:masterClrMapping/>
  </p:clrMapOvr>
  <p:transition spd="slow">
    <p:wip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9730478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7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4400" baseline="0">
                <a:solidFill>
                  <a:schemeClr val="accent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Tree>
    <p:extLst>
      <p:ext uri="{BB962C8B-B14F-4D97-AF65-F5344CB8AC3E}">
        <p14:creationId xmlns:p14="http://schemas.microsoft.com/office/powerpoint/2010/main" val="453926092"/>
      </p:ext>
    </p:extLst>
  </p:cSld>
  <p:clrMapOvr>
    <a:masterClrMapping/>
  </p:clrMapOvr>
  <p:transition spd="slow">
    <p:wip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894556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4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4"/>
          <p:cNvSpPr>
            <a:spLocks noGrp="1"/>
          </p:cNvSpPr>
          <p:nvPr>
            <p:ph type="body" sz="quarter" idx="10"/>
          </p:nvPr>
        </p:nvSpPr>
        <p:spPr>
          <a:xfrm>
            <a:off x="274638" y="2674311"/>
            <a:ext cx="8229574" cy="523202"/>
          </a:xfrm>
        </p:spPr>
        <p:txBody>
          <a:bodyPr lIns="182880"/>
          <a:lstStyle>
            <a:lvl1pPr marL="0" indent="0">
              <a:buFontTx/>
              <a:buNone/>
              <a:defRPr sz="2400">
                <a:solidFill>
                  <a:schemeClr val="tx2"/>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smtClean="0"/>
              <a:t>Click to edit Master text styles</a:t>
            </a:r>
          </a:p>
        </p:txBody>
      </p:sp>
      <p:sp>
        <p:nvSpPr>
          <p:cNvPr id="12" name="Text Placeholder 4"/>
          <p:cNvSpPr>
            <a:spLocks noGrp="1"/>
          </p:cNvSpPr>
          <p:nvPr>
            <p:ph type="body" sz="quarter" idx="11"/>
          </p:nvPr>
        </p:nvSpPr>
        <p:spPr>
          <a:xfrm>
            <a:off x="274639" y="355512"/>
            <a:ext cx="8229574" cy="629914"/>
          </a:xfrm>
        </p:spPr>
        <p:txBody>
          <a:bodyPr lIns="146304" tIns="109728" rIns="146304" bIns="109728" anchor="t" anchorCtr="0"/>
          <a:lstStyle>
            <a:lvl1pPr marL="0" indent="0">
              <a:lnSpc>
                <a:spcPts val="3600"/>
              </a:lnSpc>
              <a:buFontTx/>
              <a:buNone/>
              <a:defRPr sz="3600">
                <a:solidFill>
                  <a:schemeClr val="accent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smtClean="0"/>
              <a:t>Click to edit Master text styles</a:t>
            </a:r>
          </a:p>
        </p:txBody>
      </p:sp>
      <p:sp>
        <p:nvSpPr>
          <p:cNvPr id="4" name="Text Placeholder 11"/>
          <p:cNvSpPr>
            <a:spLocks noGrp="1" noChangeAspect="1"/>
          </p:cNvSpPr>
          <p:nvPr>
            <p:ph type="body" sz="quarter" idx="13"/>
          </p:nvPr>
        </p:nvSpPr>
        <p:spPr>
          <a:xfrm>
            <a:off x="274638" y="3586227"/>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smtClean="0"/>
              <a:t>Click to edit Master text styles</a:t>
            </a:r>
          </a:p>
        </p:txBody>
      </p:sp>
      <p:sp>
        <p:nvSpPr>
          <p:cNvPr id="31" name="Text Placeholder 11"/>
          <p:cNvSpPr>
            <a:spLocks noGrp="1" noChangeAspect="1"/>
          </p:cNvSpPr>
          <p:nvPr>
            <p:ph type="body" sz="quarter" idx="20"/>
          </p:nvPr>
        </p:nvSpPr>
        <p:spPr>
          <a:xfrm>
            <a:off x="3261879" y="3586227"/>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smtClean="0"/>
              <a:t>Click to edit Master text styles</a:t>
            </a:r>
          </a:p>
        </p:txBody>
      </p:sp>
      <p:sp>
        <p:nvSpPr>
          <p:cNvPr id="32" name="Text Placeholder 11"/>
          <p:cNvSpPr>
            <a:spLocks noGrp="1" noChangeAspect="1"/>
          </p:cNvSpPr>
          <p:nvPr>
            <p:ph type="body" sz="quarter" idx="21"/>
          </p:nvPr>
        </p:nvSpPr>
        <p:spPr>
          <a:xfrm>
            <a:off x="6249120" y="3586227"/>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smtClean="0"/>
              <a:t>Click to edit Master text styles</a:t>
            </a:r>
          </a:p>
        </p:txBody>
      </p:sp>
      <p:sp>
        <p:nvSpPr>
          <p:cNvPr id="33" name="Text Placeholder 11"/>
          <p:cNvSpPr>
            <a:spLocks noGrp="1" noChangeAspect="1"/>
          </p:cNvSpPr>
          <p:nvPr>
            <p:ph type="body" sz="quarter" idx="22"/>
          </p:nvPr>
        </p:nvSpPr>
        <p:spPr>
          <a:xfrm>
            <a:off x="9236361" y="3586227"/>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smtClean="0"/>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endParaRPr lang="en-US" dirty="0"/>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28327063"/>
      </p:ext>
    </p:extLst>
  </p:cSld>
  <p:clrMapOvr>
    <a:masterClrMapping/>
  </p:clrMapOvr>
  <p:transition spd="slow">
    <p:wip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2610804" y="5270500"/>
            <a:ext cx="9827154" cy="1724754"/>
            <a:chOff x="4402138" y="4330700"/>
            <a:chExt cx="4757738" cy="835026"/>
          </a:xfrm>
        </p:grpSpPr>
        <p:sp>
          <p:nvSpPr>
            <p:cNvPr id="7"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716"/>
              <a:endParaRPr lang="en-US" sz="2448" dirty="0">
                <a:solidFill>
                  <a:srgbClr val="000000"/>
                </a:solidFill>
              </a:endParaRPr>
            </a:p>
          </p:txBody>
        </p:sp>
        <p:sp>
          <p:nvSpPr>
            <p:cNvPr id="9"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716"/>
              <a:endParaRPr lang="en-US" sz="2448" dirty="0">
                <a:solidFill>
                  <a:srgbClr val="000000"/>
                </a:solidFill>
              </a:endParaRPr>
            </a:p>
          </p:txBody>
        </p:sp>
        <p:sp>
          <p:nvSpPr>
            <p:cNvPr id="10"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21716"/>
              <a:endParaRPr lang="en-US" sz="2448" dirty="0">
                <a:solidFill>
                  <a:srgbClr val="000000"/>
                </a:solidFill>
              </a:endParaRPr>
            </a:p>
          </p:txBody>
        </p:sp>
      </p:gr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133575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6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576072" y="2142636"/>
            <a:ext cx="11228387" cy="1720381"/>
          </a:xfrm>
        </p:spPr>
        <p:txBody>
          <a:bodyPr/>
          <a:lstStyle>
            <a:lvl1pPr>
              <a:defRPr sz="6000">
                <a:solidFill>
                  <a:schemeClr val="bg1"/>
                </a:solidFill>
              </a:defRPr>
            </a:lvl1pPr>
          </a:lstStyle>
          <a:p>
            <a:r>
              <a:rPr lang="en-US" dirty="0" smtClean="0"/>
              <a:t>Headline here</a:t>
            </a:r>
            <a:endParaRPr lang="en-US" dirty="0"/>
          </a:p>
        </p:txBody>
      </p:sp>
      <p:sp>
        <p:nvSpPr>
          <p:cNvPr id="3" name="Subtitle 2"/>
          <p:cNvSpPr>
            <a:spLocks noGrp="1"/>
          </p:cNvSpPr>
          <p:nvPr>
            <p:ph type="subTitle" idx="1" hasCustomPrompt="1"/>
          </p:nvPr>
        </p:nvSpPr>
        <p:spPr>
          <a:xfrm>
            <a:off x="57607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21957" y="327121"/>
            <a:ext cx="1606856" cy="591072"/>
          </a:xfrm>
          <a:prstGeom prst="rect">
            <a:avLst/>
          </a:prstGeom>
        </p:spPr>
      </p:pic>
      <p:grpSp>
        <p:nvGrpSpPr>
          <p:cNvPr id="89" name="Group 88"/>
          <p:cNvGrpSpPr/>
          <p:nvPr userDrawn="1"/>
        </p:nvGrpSpPr>
        <p:grpSpPr>
          <a:xfrm>
            <a:off x="5565775" y="-357188"/>
            <a:ext cx="7088188" cy="7088188"/>
            <a:chOff x="5565775" y="-357188"/>
            <a:chExt cx="7088188" cy="7088188"/>
          </a:xfrm>
        </p:grpSpPr>
        <p:sp>
          <p:nvSpPr>
            <p:cNvPr id="17" name="Freeform 204"/>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05"/>
            <p:cNvSpPr>
              <a:spLocks/>
            </p:cNvSpPr>
            <p:nvPr userDrawn="1"/>
          </p:nvSpPr>
          <p:spPr bwMode="auto">
            <a:xfrm>
              <a:off x="7485063" y="3132137"/>
              <a:ext cx="2763838" cy="2762250"/>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206"/>
            <p:cNvSpPr>
              <a:spLocks/>
            </p:cNvSpPr>
            <p:nvPr userDrawn="1"/>
          </p:nvSpPr>
          <p:spPr bwMode="auto">
            <a:xfrm>
              <a:off x="8088313" y="577850"/>
              <a:ext cx="1508125" cy="99060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207"/>
            <p:cNvSpPr>
              <a:spLocks/>
            </p:cNvSpPr>
            <p:nvPr userDrawn="1"/>
          </p:nvSpPr>
          <p:spPr bwMode="auto">
            <a:xfrm>
              <a:off x="9793288" y="1322387"/>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08"/>
            <p:cNvSpPr>
              <a:spLocks/>
            </p:cNvSpPr>
            <p:nvPr userDrawn="1"/>
          </p:nvSpPr>
          <p:spPr bwMode="auto">
            <a:xfrm>
              <a:off x="7386638" y="1501775"/>
              <a:ext cx="836613" cy="546100"/>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Rectangle 209"/>
            <p:cNvSpPr>
              <a:spLocks noChangeArrowheads="1"/>
            </p:cNvSpPr>
            <p:nvPr userDrawn="1"/>
          </p:nvSpPr>
          <p:spPr bwMode="auto">
            <a:xfrm>
              <a:off x="8518525" y="2017712"/>
              <a:ext cx="1846263" cy="15319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10"/>
            <p:cNvSpPr>
              <a:spLocks noChangeArrowheads="1"/>
            </p:cNvSpPr>
            <p:nvPr userDrawn="1"/>
          </p:nvSpPr>
          <p:spPr bwMode="auto">
            <a:xfrm>
              <a:off x="8518525" y="2017712"/>
              <a:ext cx="18462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Rectangle 211"/>
            <p:cNvSpPr>
              <a:spLocks noChangeArrowheads="1"/>
            </p:cNvSpPr>
            <p:nvPr userDrawn="1"/>
          </p:nvSpPr>
          <p:spPr bwMode="auto">
            <a:xfrm>
              <a:off x="8426450" y="194468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212"/>
            <p:cNvSpPr>
              <a:spLocks noChangeArrowheads="1"/>
            </p:cNvSpPr>
            <p:nvPr userDrawn="1"/>
          </p:nvSpPr>
          <p:spPr bwMode="auto">
            <a:xfrm>
              <a:off x="8426450" y="194468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Rectangle 213"/>
            <p:cNvSpPr>
              <a:spLocks noChangeArrowheads="1"/>
            </p:cNvSpPr>
            <p:nvPr userDrawn="1"/>
          </p:nvSpPr>
          <p:spPr bwMode="auto">
            <a:xfrm>
              <a:off x="8704263" y="22209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Rectangle 214"/>
            <p:cNvSpPr>
              <a:spLocks noChangeArrowheads="1"/>
            </p:cNvSpPr>
            <p:nvPr userDrawn="1"/>
          </p:nvSpPr>
          <p:spPr bwMode="auto">
            <a:xfrm>
              <a:off x="8704263" y="22209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215"/>
            <p:cNvSpPr>
              <a:spLocks noChangeArrowheads="1"/>
            </p:cNvSpPr>
            <p:nvPr userDrawn="1"/>
          </p:nvSpPr>
          <p:spPr bwMode="auto">
            <a:xfrm>
              <a:off x="8704263" y="26400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216"/>
            <p:cNvSpPr>
              <a:spLocks noChangeArrowheads="1"/>
            </p:cNvSpPr>
            <p:nvPr userDrawn="1"/>
          </p:nvSpPr>
          <p:spPr bwMode="auto">
            <a:xfrm>
              <a:off x="8704263" y="26400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17"/>
            <p:cNvSpPr>
              <a:spLocks/>
            </p:cNvSpPr>
            <p:nvPr userDrawn="1"/>
          </p:nvSpPr>
          <p:spPr bwMode="auto">
            <a:xfrm>
              <a:off x="8518525" y="2017712"/>
              <a:ext cx="652463" cy="615950"/>
            </a:xfrm>
            <a:custGeom>
              <a:avLst/>
              <a:gdLst>
                <a:gd name="T0" fmla="*/ 106 w 106"/>
                <a:gd name="T1" fmla="*/ 0 h 100"/>
                <a:gd name="T2" fmla="*/ 0 w 106"/>
                <a:gd name="T3" fmla="*/ 0 h 100"/>
                <a:gd name="T4" fmla="*/ 0 w 106"/>
                <a:gd name="T5" fmla="*/ 99 h 100"/>
                <a:gd name="T6" fmla="*/ 8 w 106"/>
                <a:gd name="T7" fmla="*/ 100 h 100"/>
                <a:gd name="T8" fmla="*/ 76 w 106"/>
                <a:gd name="T9" fmla="*/ 72 h 100"/>
                <a:gd name="T10" fmla="*/ 30 w 106"/>
                <a:gd name="T11" fmla="*/ 72 h 100"/>
                <a:gd name="T12" fmla="*/ 30 w 106"/>
                <a:gd name="T13" fmla="*/ 33 h 100"/>
                <a:gd name="T14" fmla="*/ 101 w 106"/>
                <a:gd name="T15" fmla="*/ 33 h 100"/>
                <a:gd name="T16" fmla="*/ 106 w 106"/>
                <a:gd name="T17" fmla="*/ 2 h 100"/>
                <a:gd name="T18" fmla="*/ 106 w 10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0">
                  <a:moveTo>
                    <a:pt x="106" y="0"/>
                  </a:moveTo>
                  <a:cubicBezTo>
                    <a:pt x="0" y="0"/>
                    <a:pt x="0" y="0"/>
                    <a:pt x="0" y="0"/>
                  </a:cubicBezTo>
                  <a:cubicBezTo>
                    <a:pt x="0" y="99"/>
                    <a:pt x="0" y="99"/>
                    <a:pt x="0" y="99"/>
                  </a:cubicBezTo>
                  <a:cubicBezTo>
                    <a:pt x="3" y="99"/>
                    <a:pt x="5" y="100"/>
                    <a:pt x="8" y="100"/>
                  </a:cubicBezTo>
                  <a:cubicBezTo>
                    <a:pt x="34" y="100"/>
                    <a:pt x="58" y="89"/>
                    <a:pt x="76" y="72"/>
                  </a:cubicBezTo>
                  <a:cubicBezTo>
                    <a:pt x="30" y="72"/>
                    <a:pt x="30" y="72"/>
                    <a:pt x="30" y="72"/>
                  </a:cubicBezTo>
                  <a:cubicBezTo>
                    <a:pt x="30" y="33"/>
                    <a:pt x="30" y="33"/>
                    <a:pt x="30" y="33"/>
                  </a:cubicBezTo>
                  <a:cubicBezTo>
                    <a:pt x="101" y="33"/>
                    <a:pt x="101" y="33"/>
                    <a:pt x="101" y="33"/>
                  </a:cubicBezTo>
                  <a:cubicBezTo>
                    <a:pt x="104" y="23"/>
                    <a:pt x="106" y="13"/>
                    <a:pt x="106" y="2"/>
                  </a:cubicBezTo>
                  <a:cubicBezTo>
                    <a:pt x="106" y="1"/>
                    <a:pt x="106" y="0"/>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218"/>
            <p:cNvSpPr>
              <a:spLocks/>
            </p:cNvSpPr>
            <p:nvPr userDrawn="1"/>
          </p:nvSpPr>
          <p:spPr bwMode="auto">
            <a:xfrm>
              <a:off x="8518525" y="1944687"/>
              <a:ext cx="652463" cy="73025"/>
            </a:xfrm>
            <a:custGeom>
              <a:avLst/>
              <a:gdLst>
                <a:gd name="T0" fmla="*/ 105 w 106"/>
                <a:gd name="T1" fmla="*/ 0 h 12"/>
                <a:gd name="T2" fmla="*/ 0 w 106"/>
                <a:gd name="T3" fmla="*/ 0 h 12"/>
                <a:gd name="T4" fmla="*/ 0 w 106"/>
                <a:gd name="T5" fmla="*/ 12 h 12"/>
                <a:gd name="T6" fmla="*/ 106 w 106"/>
                <a:gd name="T7" fmla="*/ 12 h 12"/>
                <a:gd name="T8" fmla="*/ 105 w 106"/>
                <a:gd name="T9" fmla="*/ 0 h 12"/>
              </a:gdLst>
              <a:ahLst/>
              <a:cxnLst>
                <a:cxn ang="0">
                  <a:pos x="T0" y="T1"/>
                </a:cxn>
                <a:cxn ang="0">
                  <a:pos x="T2" y="T3"/>
                </a:cxn>
                <a:cxn ang="0">
                  <a:pos x="T4" y="T5"/>
                </a:cxn>
                <a:cxn ang="0">
                  <a:pos x="T6" y="T7"/>
                </a:cxn>
                <a:cxn ang="0">
                  <a:pos x="T8" y="T9"/>
                </a:cxn>
              </a:cxnLst>
              <a:rect l="0" t="0" r="r" b="b"/>
              <a:pathLst>
                <a:path w="106" h="12">
                  <a:moveTo>
                    <a:pt x="105" y="0"/>
                  </a:moveTo>
                  <a:cubicBezTo>
                    <a:pt x="0" y="0"/>
                    <a:pt x="0" y="0"/>
                    <a:pt x="0" y="0"/>
                  </a:cubicBezTo>
                  <a:cubicBezTo>
                    <a:pt x="0" y="12"/>
                    <a:pt x="0" y="12"/>
                    <a:pt x="0" y="12"/>
                  </a:cubicBezTo>
                  <a:cubicBezTo>
                    <a:pt x="106" y="12"/>
                    <a:pt x="106" y="12"/>
                    <a:pt x="106" y="12"/>
                  </a:cubicBezTo>
                  <a:cubicBezTo>
                    <a:pt x="106" y="8"/>
                    <a:pt x="105" y="4"/>
                    <a:pt x="10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219"/>
            <p:cNvSpPr>
              <a:spLocks/>
            </p:cNvSpPr>
            <p:nvPr userDrawn="1"/>
          </p:nvSpPr>
          <p:spPr bwMode="auto">
            <a:xfrm>
              <a:off x="8704263" y="2220912"/>
              <a:ext cx="436563" cy="239713"/>
            </a:xfrm>
            <a:custGeom>
              <a:avLst/>
              <a:gdLst>
                <a:gd name="T0" fmla="*/ 71 w 71"/>
                <a:gd name="T1" fmla="*/ 0 h 39"/>
                <a:gd name="T2" fmla="*/ 0 w 71"/>
                <a:gd name="T3" fmla="*/ 0 h 39"/>
                <a:gd name="T4" fmla="*/ 0 w 71"/>
                <a:gd name="T5" fmla="*/ 39 h 39"/>
                <a:gd name="T6" fmla="*/ 46 w 71"/>
                <a:gd name="T7" fmla="*/ 39 h 39"/>
                <a:gd name="T8" fmla="*/ 71 w 71"/>
                <a:gd name="T9" fmla="*/ 0 h 39"/>
              </a:gdLst>
              <a:ahLst/>
              <a:cxnLst>
                <a:cxn ang="0">
                  <a:pos x="T0" y="T1"/>
                </a:cxn>
                <a:cxn ang="0">
                  <a:pos x="T2" y="T3"/>
                </a:cxn>
                <a:cxn ang="0">
                  <a:pos x="T4" y="T5"/>
                </a:cxn>
                <a:cxn ang="0">
                  <a:pos x="T6" y="T7"/>
                </a:cxn>
                <a:cxn ang="0">
                  <a:pos x="T8" y="T9"/>
                </a:cxn>
              </a:cxnLst>
              <a:rect l="0" t="0" r="r" b="b"/>
              <a:pathLst>
                <a:path w="71" h="39">
                  <a:moveTo>
                    <a:pt x="71" y="0"/>
                  </a:moveTo>
                  <a:cubicBezTo>
                    <a:pt x="0" y="0"/>
                    <a:pt x="0" y="0"/>
                    <a:pt x="0" y="0"/>
                  </a:cubicBezTo>
                  <a:cubicBezTo>
                    <a:pt x="0" y="39"/>
                    <a:pt x="0" y="39"/>
                    <a:pt x="0" y="39"/>
                  </a:cubicBezTo>
                  <a:cubicBezTo>
                    <a:pt x="46" y="39"/>
                    <a:pt x="46" y="39"/>
                    <a:pt x="46" y="39"/>
                  </a:cubicBezTo>
                  <a:cubicBezTo>
                    <a:pt x="57" y="29"/>
                    <a:pt x="65" y="15"/>
                    <a:pt x="7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Rectangle 220"/>
            <p:cNvSpPr>
              <a:spLocks noChangeArrowheads="1"/>
            </p:cNvSpPr>
            <p:nvPr userDrawn="1"/>
          </p:nvSpPr>
          <p:spPr bwMode="auto">
            <a:xfrm>
              <a:off x="8704263" y="305117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Rectangle 221"/>
            <p:cNvSpPr>
              <a:spLocks noChangeArrowheads="1"/>
            </p:cNvSpPr>
            <p:nvPr userDrawn="1"/>
          </p:nvSpPr>
          <p:spPr bwMode="auto">
            <a:xfrm>
              <a:off x="8704263" y="305117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Rectangle 222"/>
            <p:cNvSpPr>
              <a:spLocks noChangeArrowheads="1"/>
            </p:cNvSpPr>
            <p:nvPr userDrawn="1"/>
          </p:nvSpPr>
          <p:spPr bwMode="auto">
            <a:xfrm>
              <a:off x="8518525" y="3549650"/>
              <a:ext cx="1846263" cy="2344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Rectangle 223"/>
            <p:cNvSpPr>
              <a:spLocks noChangeArrowheads="1"/>
            </p:cNvSpPr>
            <p:nvPr userDrawn="1"/>
          </p:nvSpPr>
          <p:spPr bwMode="auto">
            <a:xfrm>
              <a:off x="8518525" y="3549650"/>
              <a:ext cx="1846263"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Rectangle 224"/>
            <p:cNvSpPr>
              <a:spLocks noChangeArrowheads="1"/>
            </p:cNvSpPr>
            <p:nvPr userDrawn="1"/>
          </p:nvSpPr>
          <p:spPr bwMode="auto">
            <a:xfrm>
              <a:off x="8426450" y="3513137"/>
              <a:ext cx="2030413" cy="73025"/>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Rectangle 225"/>
            <p:cNvSpPr>
              <a:spLocks noChangeArrowheads="1"/>
            </p:cNvSpPr>
            <p:nvPr userDrawn="1"/>
          </p:nvSpPr>
          <p:spPr bwMode="auto">
            <a:xfrm>
              <a:off x="8426450" y="3513137"/>
              <a:ext cx="2030413"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Rectangle 226"/>
            <p:cNvSpPr>
              <a:spLocks noChangeArrowheads="1"/>
            </p:cNvSpPr>
            <p:nvPr userDrawn="1"/>
          </p:nvSpPr>
          <p:spPr bwMode="auto">
            <a:xfrm>
              <a:off x="9534525" y="5426075"/>
              <a:ext cx="239713"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Rectangle 227"/>
            <p:cNvSpPr>
              <a:spLocks noChangeArrowheads="1"/>
            </p:cNvSpPr>
            <p:nvPr userDrawn="1"/>
          </p:nvSpPr>
          <p:spPr bwMode="auto">
            <a:xfrm>
              <a:off x="9115425" y="5426075"/>
              <a:ext cx="241300" cy="46196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Rectangle 228"/>
            <p:cNvSpPr>
              <a:spLocks noChangeArrowheads="1"/>
            </p:cNvSpPr>
            <p:nvPr userDrawn="1"/>
          </p:nvSpPr>
          <p:spPr bwMode="auto">
            <a:xfrm>
              <a:off x="9115425" y="5426075"/>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Rectangle 229"/>
            <p:cNvSpPr>
              <a:spLocks noChangeArrowheads="1"/>
            </p:cNvSpPr>
            <p:nvPr userDrawn="1"/>
          </p:nvSpPr>
          <p:spPr bwMode="auto">
            <a:xfrm>
              <a:off x="8704263" y="37957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30"/>
            <p:cNvSpPr>
              <a:spLocks noChangeArrowheads="1"/>
            </p:cNvSpPr>
            <p:nvPr userDrawn="1"/>
          </p:nvSpPr>
          <p:spPr bwMode="auto">
            <a:xfrm>
              <a:off x="8704263" y="37957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Rectangle 231"/>
            <p:cNvSpPr>
              <a:spLocks noChangeArrowheads="1"/>
            </p:cNvSpPr>
            <p:nvPr userDrawn="1"/>
          </p:nvSpPr>
          <p:spPr bwMode="auto">
            <a:xfrm>
              <a:off x="8704263" y="420846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Rectangle 232"/>
            <p:cNvSpPr>
              <a:spLocks noChangeArrowheads="1"/>
            </p:cNvSpPr>
            <p:nvPr userDrawn="1"/>
          </p:nvSpPr>
          <p:spPr bwMode="auto">
            <a:xfrm>
              <a:off x="8704263" y="420846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Rectangle 233"/>
            <p:cNvSpPr>
              <a:spLocks noChangeArrowheads="1"/>
            </p:cNvSpPr>
            <p:nvPr userDrawn="1"/>
          </p:nvSpPr>
          <p:spPr bwMode="auto">
            <a:xfrm>
              <a:off x="8704263" y="4621212"/>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Rectangle 234"/>
            <p:cNvSpPr>
              <a:spLocks noChangeArrowheads="1"/>
            </p:cNvSpPr>
            <p:nvPr userDrawn="1"/>
          </p:nvSpPr>
          <p:spPr bwMode="auto">
            <a:xfrm>
              <a:off x="8704263" y="4621212"/>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Rectangle 235"/>
            <p:cNvSpPr>
              <a:spLocks noChangeArrowheads="1"/>
            </p:cNvSpPr>
            <p:nvPr userDrawn="1"/>
          </p:nvSpPr>
          <p:spPr bwMode="auto">
            <a:xfrm>
              <a:off x="8704263" y="5038725"/>
              <a:ext cx="1489075" cy="23971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236"/>
            <p:cNvSpPr>
              <a:spLocks noChangeArrowheads="1"/>
            </p:cNvSpPr>
            <p:nvPr userDrawn="1"/>
          </p:nvSpPr>
          <p:spPr bwMode="auto">
            <a:xfrm>
              <a:off x="8704263" y="5038725"/>
              <a:ext cx="14890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Rectangle 237"/>
            <p:cNvSpPr>
              <a:spLocks noChangeArrowheads="1"/>
            </p:cNvSpPr>
            <p:nvPr userDrawn="1"/>
          </p:nvSpPr>
          <p:spPr bwMode="auto">
            <a:xfrm>
              <a:off x="81137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Oval 238"/>
            <p:cNvSpPr>
              <a:spLocks noChangeArrowheads="1"/>
            </p:cNvSpPr>
            <p:nvPr userDrawn="1"/>
          </p:nvSpPr>
          <p:spPr bwMode="auto">
            <a:xfrm>
              <a:off x="79168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Oval 239"/>
            <p:cNvSpPr>
              <a:spLocks noChangeArrowheads="1"/>
            </p:cNvSpPr>
            <p:nvPr userDrawn="1"/>
          </p:nvSpPr>
          <p:spPr bwMode="auto">
            <a:xfrm>
              <a:off x="79771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Rectangle 240"/>
            <p:cNvSpPr>
              <a:spLocks noChangeArrowheads="1"/>
            </p:cNvSpPr>
            <p:nvPr userDrawn="1"/>
          </p:nvSpPr>
          <p:spPr bwMode="auto">
            <a:xfrm>
              <a:off x="7516813" y="5524500"/>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Oval 241"/>
            <p:cNvSpPr>
              <a:spLocks noChangeArrowheads="1"/>
            </p:cNvSpPr>
            <p:nvPr userDrawn="1"/>
          </p:nvSpPr>
          <p:spPr bwMode="auto">
            <a:xfrm>
              <a:off x="7319963" y="5205412"/>
              <a:ext cx="485775" cy="48577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Oval 242"/>
            <p:cNvSpPr>
              <a:spLocks noChangeArrowheads="1"/>
            </p:cNvSpPr>
            <p:nvPr userDrawn="1"/>
          </p:nvSpPr>
          <p:spPr bwMode="auto">
            <a:xfrm>
              <a:off x="7380288" y="4953000"/>
              <a:ext cx="357188" cy="357188"/>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243"/>
            <p:cNvSpPr>
              <a:spLocks noEditPoints="1"/>
            </p:cNvSpPr>
            <p:nvPr userDrawn="1"/>
          </p:nvSpPr>
          <p:spPr bwMode="auto">
            <a:xfrm>
              <a:off x="8267700" y="1771650"/>
              <a:ext cx="601663" cy="511175"/>
            </a:xfrm>
            <a:custGeom>
              <a:avLst/>
              <a:gdLst>
                <a:gd name="T0" fmla="*/ 93 w 98"/>
                <a:gd name="T1" fmla="*/ 78 h 83"/>
                <a:gd name="T2" fmla="*/ 0 w 98"/>
                <a:gd name="T3" fmla="*/ 15 h 83"/>
                <a:gd name="T4" fmla="*/ 0 w 98"/>
                <a:gd name="T5" fmla="*/ 83 h 83"/>
                <a:gd name="T6" fmla="*/ 98 w 98"/>
                <a:gd name="T7" fmla="*/ 0 h 83"/>
                <a:gd name="T8" fmla="*/ 0 w 98"/>
                <a:gd name="T9" fmla="*/ 0 h 83"/>
                <a:gd name="T10" fmla="*/ 57 w 98"/>
                <a:gd name="T11" fmla="*/ 47 h 83"/>
                <a:gd name="T12" fmla="*/ 54 w 98"/>
                <a:gd name="T13" fmla="*/ 42 h 83"/>
                <a:gd name="T14" fmla="*/ 51 w 98"/>
                <a:gd name="T15" fmla="*/ 40 h 83"/>
                <a:gd name="T16" fmla="*/ 46 w 98"/>
                <a:gd name="T17" fmla="*/ 37 h 83"/>
                <a:gd name="T18" fmla="*/ 41 w 98"/>
                <a:gd name="T19" fmla="*/ 37 h 83"/>
                <a:gd name="T20" fmla="*/ 36 w 98"/>
                <a:gd name="T21" fmla="*/ 40 h 83"/>
                <a:gd name="T22" fmla="*/ 33 w 98"/>
                <a:gd name="T23" fmla="*/ 42 h 83"/>
                <a:gd name="T24" fmla="*/ 30 w 98"/>
                <a:gd name="T25" fmla="*/ 47 h 83"/>
                <a:gd name="T26" fmla="*/ 29 w 98"/>
                <a:gd name="T27" fmla="*/ 51 h 83"/>
                <a:gd name="T28" fmla="*/ 30 w 98"/>
                <a:gd name="T29" fmla="*/ 57 h 83"/>
                <a:gd name="T30" fmla="*/ 32 w 98"/>
                <a:gd name="T31" fmla="*/ 60 h 83"/>
                <a:gd name="T32" fmla="*/ 37 w 98"/>
                <a:gd name="T33" fmla="*/ 64 h 83"/>
                <a:gd name="T34" fmla="*/ 41 w 98"/>
                <a:gd name="T35" fmla="*/ 66 h 83"/>
                <a:gd name="T36" fmla="*/ 44 w 98"/>
                <a:gd name="T37" fmla="*/ 62 h 83"/>
                <a:gd name="T38" fmla="*/ 50 w 98"/>
                <a:gd name="T39" fmla="*/ 65 h 83"/>
                <a:gd name="T40" fmla="*/ 51 w 98"/>
                <a:gd name="T41" fmla="*/ 59 h 83"/>
                <a:gd name="T42" fmla="*/ 57 w 98"/>
                <a:gd name="T43" fmla="*/ 58 h 83"/>
                <a:gd name="T44" fmla="*/ 54 w 98"/>
                <a:gd name="T45" fmla="*/ 53 h 83"/>
                <a:gd name="T46" fmla="*/ 49 w 98"/>
                <a:gd name="T47" fmla="*/ 52 h 83"/>
                <a:gd name="T48" fmla="*/ 40 w 98"/>
                <a:gd name="T49" fmla="*/ 56 h 83"/>
                <a:gd name="T50" fmla="*/ 44 w 98"/>
                <a:gd name="T51" fmla="*/ 46 h 83"/>
                <a:gd name="T52" fmla="*/ 41 w 98"/>
                <a:gd name="T53" fmla="*/ 52 h 83"/>
                <a:gd name="T54" fmla="*/ 44 w 98"/>
                <a:gd name="T55" fmla="*/ 54 h 83"/>
                <a:gd name="T56" fmla="*/ 67 w 98"/>
                <a:gd name="T57" fmla="*/ 41 h 83"/>
                <a:gd name="T58" fmla="*/ 69 w 98"/>
                <a:gd name="T59" fmla="*/ 38 h 83"/>
                <a:gd name="T60" fmla="*/ 67 w 98"/>
                <a:gd name="T61" fmla="*/ 36 h 83"/>
                <a:gd name="T62" fmla="*/ 63 w 98"/>
                <a:gd name="T63" fmla="*/ 36 h 83"/>
                <a:gd name="T64" fmla="*/ 61 w 98"/>
                <a:gd name="T65" fmla="*/ 33 h 83"/>
                <a:gd name="T66" fmla="*/ 58 w 98"/>
                <a:gd name="T67" fmla="*/ 37 h 83"/>
                <a:gd name="T68" fmla="*/ 55 w 98"/>
                <a:gd name="T69" fmla="*/ 37 h 83"/>
                <a:gd name="T70" fmla="*/ 54 w 98"/>
                <a:gd name="T71" fmla="*/ 39 h 83"/>
                <a:gd name="T72" fmla="*/ 56 w 98"/>
                <a:gd name="T73" fmla="*/ 42 h 83"/>
                <a:gd name="T74" fmla="*/ 54 w 98"/>
                <a:gd name="T75" fmla="*/ 45 h 83"/>
                <a:gd name="T76" fmla="*/ 56 w 98"/>
                <a:gd name="T77" fmla="*/ 46 h 83"/>
                <a:gd name="T78" fmla="*/ 60 w 98"/>
                <a:gd name="T79" fmla="*/ 49 h 83"/>
                <a:gd name="T80" fmla="*/ 63 w 98"/>
                <a:gd name="T81" fmla="*/ 49 h 83"/>
                <a:gd name="T82" fmla="*/ 67 w 98"/>
                <a:gd name="T83" fmla="*/ 46 h 83"/>
                <a:gd name="T84" fmla="*/ 69 w 98"/>
                <a:gd name="T85" fmla="*/ 45 h 83"/>
                <a:gd name="T86" fmla="*/ 67 w 98"/>
                <a:gd name="T87" fmla="*/ 42 h 83"/>
                <a:gd name="T88" fmla="*/ 59 w 98"/>
                <a:gd name="T89"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5" y="20"/>
                  </a:moveTo>
                  <a:cubicBezTo>
                    <a:pt x="5" y="78"/>
                    <a:pt x="5" y="78"/>
                    <a:pt x="5" y="78"/>
                  </a:cubicBezTo>
                  <a:cubicBezTo>
                    <a:pt x="93" y="78"/>
                    <a:pt x="93" y="78"/>
                    <a:pt x="93" y="78"/>
                  </a:cubicBezTo>
                  <a:cubicBezTo>
                    <a:pt x="93" y="20"/>
                    <a:pt x="93" y="20"/>
                    <a:pt x="93" y="20"/>
                  </a:cubicBezTo>
                  <a:cubicBezTo>
                    <a:pt x="5" y="20"/>
                    <a:pt x="5" y="20"/>
                    <a:pt x="5" y="20"/>
                  </a:cubicBezTo>
                  <a:close/>
                  <a:moveTo>
                    <a:pt x="0" y="15"/>
                  </a:moveTo>
                  <a:cubicBezTo>
                    <a:pt x="98" y="15"/>
                    <a:pt x="98" y="15"/>
                    <a:pt x="98" y="15"/>
                  </a:cubicBezTo>
                  <a:cubicBezTo>
                    <a:pt x="98" y="83"/>
                    <a:pt x="98" y="83"/>
                    <a:pt x="98" y="83"/>
                  </a:cubicBezTo>
                  <a:cubicBezTo>
                    <a:pt x="0" y="83"/>
                    <a:pt x="0" y="83"/>
                    <a:pt x="0" y="83"/>
                  </a:cubicBezTo>
                  <a:cubicBezTo>
                    <a:pt x="0" y="15"/>
                    <a:pt x="0" y="15"/>
                    <a:pt x="0" y="15"/>
                  </a:cubicBezTo>
                  <a:close/>
                  <a:moveTo>
                    <a:pt x="0" y="0"/>
                  </a:moveTo>
                  <a:cubicBezTo>
                    <a:pt x="98" y="0"/>
                    <a:pt x="98" y="0"/>
                    <a:pt x="98" y="0"/>
                  </a:cubicBezTo>
                  <a:cubicBezTo>
                    <a:pt x="98" y="10"/>
                    <a:pt x="98" y="10"/>
                    <a:pt x="98" y="10"/>
                  </a:cubicBezTo>
                  <a:cubicBezTo>
                    <a:pt x="0" y="10"/>
                    <a:pt x="0" y="10"/>
                    <a:pt x="0" y="10"/>
                  </a:cubicBezTo>
                  <a:cubicBezTo>
                    <a:pt x="0" y="0"/>
                    <a:pt x="0" y="0"/>
                    <a:pt x="0" y="0"/>
                  </a:cubicBezTo>
                  <a:close/>
                  <a:moveTo>
                    <a:pt x="58" y="50"/>
                  </a:moveTo>
                  <a:cubicBezTo>
                    <a:pt x="58" y="48"/>
                    <a:pt x="58" y="48"/>
                    <a:pt x="58" y="48"/>
                  </a:cubicBezTo>
                  <a:cubicBezTo>
                    <a:pt x="58" y="48"/>
                    <a:pt x="57" y="47"/>
                    <a:pt x="57" y="47"/>
                  </a:cubicBezTo>
                  <a:cubicBezTo>
                    <a:pt x="53" y="47"/>
                    <a:pt x="53" y="47"/>
                    <a:pt x="53" y="47"/>
                  </a:cubicBezTo>
                  <a:cubicBezTo>
                    <a:pt x="52" y="46"/>
                    <a:pt x="52" y="46"/>
                    <a:pt x="52" y="46"/>
                  </a:cubicBezTo>
                  <a:cubicBezTo>
                    <a:pt x="54" y="42"/>
                    <a:pt x="54" y="42"/>
                    <a:pt x="54" y="42"/>
                  </a:cubicBezTo>
                  <a:cubicBezTo>
                    <a:pt x="54" y="41"/>
                    <a:pt x="54" y="41"/>
                    <a:pt x="54" y="41"/>
                  </a:cubicBezTo>
                  <a:cubicBezTo>
                    <a:pt x="52" y="40"/>
                    <a:pt x="52" y="40"/>
                    <a:pt x="52" y="40"/>
                  </a:cubicBezTo>
                  <a:cubicBezTo>
                    <a:pt x="51" y="40"/>
                    <a:pt x="51" y="40"/>
                    <a:pt x="51" y="40"/>
                  </a:cubicBezTo>
                  <a:cubicBezTo>
                    <a:pt x="48" y="42"/>
                    <a:pt x="48" y="42"/>
                    <a:pt x="48" y="42"/>
                  </a:cubicBezTo>
                  <a:cubicBezTo>
                    <a:pt x="47" y="42"/>
                    <a:pt x="47" y="42"/>
                    <a:pt x="47" y="42"/>
                  </a:cubicBezTo>
                  <a:cubicBezTo>
                    <a:pt x="46" y="37"/>
                    <a:pt x="46" y="37"/>
                    <a:pt x="46" y="37"/>
                  </a:cubicBezTo>
                  <a:cubicBezTo>
                    <a:pt x="45" y="37"/>
                    <a:pt x="45" y="37"/>
                    <a:pt x="45" y="37"/>
                  </a:cubicBezTo>
                  <a:cubicBezTo>
                    <a:pt x="42" y="37"/>
                    <a:pt x="42" y="37"/>
                    <a:pt x="42" y="37"/>
                  </a:cubicBezTo>
                  <a:cubicBezTo>
                    <a:pt x="41" y="37"/>
                    <a:pt x="41" y="37"/>
                    <a:pt x="41" y="37"/>
                  </a:cubicBezTo>
                  <a:cubicBezTo>
                    <a:pt x="41" y="42"/>
                    <a:pt x="41" y="42"/>
                    <a:pt x="41" y="42"/>
                  </a:cubicBezTo>
                  <a:cubicBezTo>
                    <a:pt x="40" y="42"/>
                    <a:pt x="40" y="42"/>
                    <a:pt x="40" y="42"/>
                  </a:cubicBezTo>
                  <a:cubicBezTo>
                    <a:pt x="36" y="40"/>
                    <a:pt x="36" y="40"/>
                    <a:pt x="36" y="40"/>
                  </a:cubicBezTo>
                  <a:cubicBezTo>
                    <a:pt x="35" y="40"/>
                    <a:pt x="35" y="40"/>
                    <a:pt x="35" y="40"/>
                  </a:cubicBezTo>
                  <a:cubicBezTo>
                    <a:pt x="33" y="41"/>
                    <a:pt x="33" y="41"/>
                    <a:pt x="33" y="41"/>
                  </a:cubicBezTo>
                  <a:cubicBezTo>
                    <a:pt x="33" y="42"/>
                    <a:pt x="33" y="42"/>
                    <a:pt x="33" y="42"/>
                  </a:cubicBezTo>
                  <a:cubicBezTo>
                    <a:pt x="35" y="46"/>
                    <a:pt x="35" y="46"/>
                    <a:pt x="35" y="46"/>
                  </a:cubicBezTo>
                  <a:cubicBezTo>
                    <a:pt x="34" y="47"/>
                    <a:pt x="34" y="47"/>
                    <a:pt x="34" y="47"/>
                  </a:cubicBezTo>
                  <a:cubicBezTo>
                    <a:pt x="30" y="47"/>
                    <a:pt x="30" y="47"/>
                    <a:pt x="30" y="47"/>
                  </a:cubicBezTo>
                  <a:cubicBezTo>
                    <a:pt x="30" y="47"/>
                    <a:pt x="30" y="48"/>
                    <a:pt x="29" y="48"/>
                  </a:cubicBezTo>
                  <a:cubicBezTo>
                    <a:pt x="29" y="50"/>
                    <a:pt x="29" y="50"/>
                    <a:pt x="29" y="50"/>
                  </a:cubicBezTo>
                  <a:cubicBezTo>
                    <a:pt x="29" y="51"/>
                    <a:pt x="29" y="51"/>
                    <a:pt x="29" y="51"/>
                  </a:cubicBezTo>
                  <a:cubicBezTo>
                    <a:pt x="33" y="53"/>
                    <a:pt x="33" y="53"/>
                    <a:pt x="33" y="53"/>
                  </a:cubicBezTo>
                  <a:cubicBezTo>
                    <a:pt x="33" y="53"/>
                    <a:pt x="33" y="54"/>
                    <a:pt x="33" y="54"/>
                  </a:cubicBezTo>
                  <a:cubicBezTo>
                    <a:pt x="30" y="57"/>
                    <a:pt x="30" y="57"/>
                    <a:pt x="30" y="57"/>
                  </a:cubicBezTo>
                  <a:cubicBezTo>
                    <a:pt x="30" y="58"/>
                    <a:pt x="30" y="58"/>
                    <a:pt x="30" y="58"/>
                  </a:cubicBezTo>
                  <a:cubicBezTo>
                    <a:pt x="32" y="60"/>
                    <a:pt x="32" y="60"/>
                    <a:pt x="32" y="60"/>
                  </a:cubicBezTo>
                  <a:cubicBezTo>
                    <a:pt x="32" y="60"/>
                    <a:pt x="32" y="60"/>
                    <a:pt x="32" y="60"/>
                  </a:cubicBezTo>
                  <a:cubicBezTo>
                    <a:pt x="36" y="59"/>
                    <a:pt x="36" y="59"/>
                    <a:pt x="36" y="59"/>
                  </a:cubicBezTo>
                  <a:cubicBezTo>
                    <a:pt x="37" y="60"/>
                    <a:pt x="37" y="60"/>
                    <a:pt x="37" y="60"/>
                  </a:cubicBezTo>
                  <a:cubicBezTo>
                    <a:pt x="37" y="64"/>
                    <a:pt x="37" y="64"/>
                    <a:pt x="37" y="64"/>
                  </a:cubicBezTo>
                  <a:cubicBezTo>
                    <a:pt x="37" y="65"/>
                    <a:pt x="37" y="65"/>
                    <a:pt x="37" y="65"/>
                  </a:cubicBezTo>
                  <a:cubicBezTo>
                    <a:pt x="40" y="66"/>
                    <a:pt x="40" y="66"/>
                    <a:pt x="40" y="66"/>
                  </a:cubicBezTo>
                  <a:cubicBezTo>
                    <a:pt x="41" y="66"/>
                    <a:pt x="41" y="66"/>
                    <a:pt x="41" y="66"/>
                  </a:cubicBezTo>
                  <a:cubicBezTo>
                    <a:pt x="43" y="62"/>
                    <a:pt x="43" y="62"/>
                    <a:pt x="43" y="62"/>
                  </a:cubicBezTo>
                  <a:cubicBezTo>
                    <a:pt x="44" y="62"/>
                    <a:pt x="44" y="62"/>
                    <a:pt x="44" y="62"/>
                  </a:cubicBezTo>
                  <a:cubicBezTo>
                    <a:pt x="44" y="62"/>
                    <a:pt x="44" y="62"/>
                    <a:pt x="44" y="62"/>
                  </a:cubicBezTo>
                  <a:cubicBezTo>
                    <a:pt x="46" y="66"/>
                    <a:pt x="46" y="66"/>
                    <a:pt x="46" y="66"/>
                  </a:cubicBezTo>
                  <a:cubicBezTo>
                    <a:pt x="47" y="66"/>
                    <a:pt x="47" y="66"/>
                    <a:pt x="47" y="66"/>
                  </a:cubicBezTo>
                  <a:cubicBezTo>
                    <a:pt x="50" y="65"/>
                    <a:pt x="50" y="65"/>
                    <a:pt x="50" y="65"/>
                  </a:cubicBezTo>
                  <a:cubicBezTo>
                    <a:pt x="50" y="64"/>
                    <a:pt x="50" y="64"/>
                    <a:pt x="50" y="64"/>
                  </a:cubicBezTo>
                  <a:cubicBezTo>
                    <a:pt x="50" y="60"/>
                    <a:pt x="50" y="60"/>
                    <a:pt x="50" y="60"/>
                  </a:cubicBezTo>
                  <a:cubicBezTo>
                    <a:pt x="51" y="59"/>
                    <a:pt x="51" y="59"/>
                    <a:pt x="51" y="59"/>
                  </a:cubicBezTo>
                  <a:cubicBezTo>
                    <a:pt x="55" y="60"/>
                    <a:pt x="55" y="60"/>
                    <a:pt x="55" y="60"/>
                  </a:cubicBezTo>
                  <a:cubicBezTo>
                    <a:pt x="55" y="60"/>
                    <a:pt x="55" y="60"/>
                    <a:pt x="55" y="60"/>
                  </a:cubicBezTo>
                  <a:cubicBezTo>
                    <a:pt x="57" y="58"/>
                    <a:pt x="57" y="58"/>
                    <a:pt x="57" y="58"/>
                  </a:cubicBezTo>
                  <a:cubicBezTo>
                    <a:pt x="57" y="57"/>
                    <a:pt x="57" y="57"/>
                    <a:pt x="57" y="57"/>
                  </a:cubicBezTo>
                  <a:cubicBezTo>
                    <a:pt x="54" y="54"/>
                    <a:pt x="54" y="54"/>
                    <a:pt x="54" y="54"/>
                  </a:cubicBezTo>
                  <a:cubicBezTo>
                    <a:pt x="54" y="54"/>
                    <a:pt x="54" y="53"/>
                    <a:pt x="54" y="53"/>
                  </a:cubicBezTo>
                  <a:cubicBezTo>
                    <a:pt x="58" y="51"/>
                    <a:pt x="58" y="51"/>
                    <a:pt x="58" y="51"/>
                  </a:cubicBezTo>
                  <a:cubicBezTo>
                    <a:pt x="58" y="51"/>
                    <a:pt x="58" y="51"/>
                    <a:pt x="58" y="50"/>
                  </a:cubicBezTo>
                  <a:close/>
                  <a:moveTo>
                    <a:pt x="49" y="52"/>
                  </a:moveTo>
                  <a:cubicBezTo>
                    <a:pt x="49" y="53"/>
                    <a:pt x="49" y="55"/>
                    <a:pt x="48" y="56"/>
                  </a:cubicBezTo>
                  <a:cubicBezTo>
                    <a:pt x="47" y="57"/>
                    <a:pt x="45" y="58"/>
                    <a:pt x="44" y="58"/>
                  </a:cubicBezTo>
                  <a:cubicBezTo>
                    <a:pt x="42" y="58"/>
                    <a:pt x="41" y="57"/>
                    <a:pt x="40" y="56"/>
                  </a:cubicBezTo>
                  <a:cubicBezTo>
                    <a:pt x="39" y="55"/>
                    <a:pt x="38" y="53"/>
                    <a:pt x="38" y="52"/>
                  </a:cubicBezTo>
                  <a:cubicBezTo>
                    <a:pt x="38" y="50"/>
                    <a:pt x="39" y="49"/>
                    <a:pt x="40" y="48"/>
                  </a:cubicBezTo>
                  <a:cubicBezTo>
                    <a:pt x="41" y="47"/>
                    <a:pt x="42" y="46"/>
                    <a:pt x="44" y="46"/>
                  </a:cubicBezTo>
                  <a:cubicBezTo>
                    <a:pt x="45" y="46"/>
                    <a:pt x="47" y="47"/>
                    <a:pt x="48" y="48"/>
                  </a:cubicBezTo>
                  <a:cubicBezTo>
                    <a:pt x="49" y="49"/>
                    <a:pt x="49" y="50"/>
                    <a:pt x="49" y="52"/>
                  </a:cubicBezTo>
                  <a:close/>
                  <a:moveTo>
                    <a:pt x="41" y="52"/>
                  </a:moveTo>
                  <a:cubicBezTo>
                    <a:pt x="41" y="50"/>
                    <a:pt x="42" y="49"/>
                    <a:pt x="44" y="49"/>
                  </a:cubicBezTo>
                  <a:cubicBezTo>
                    <a:pt x="45" y="49"/>
                    <a:pt x="46" y="50"/>
                    <a:pt x="46" y="52"/>
                  </a:cubicBezTo>
                  <a:cubicBezTo>
                    <a:pt x="46" y="53"/>
                    <a:pt x="45" y="54"/>
                    <a:pt x="44" y="54"/>
                  </a:cubicBezTo>
                  <a:cubicBezTo>
                    <a:pt x="42" y="54"/>
                    <a:pt x="41" y="53"/>
                    <a:pt x="41" y="52"/>
                  </a:cubicBezTo>
                  <a:close/>
                  <a:moveTo>
                    <a:pt x="67" y="42"/>
                  </a:moveTo>
                  <a:cubicBezTo>
                    <a:pt x="67" y="41"/>
                    <a:pt x="67" y="41"/>
                    <a:pt x="67" y="41"/>
                  </a:cubicBezTo>
                  <a:cubicBezTo>
                    <a:pt x="67" y="40"/>
                    <a:pt x="67" y="40"/>
                    <a:pt x="67" y="40"/>
                  </a:cubicBezTo>
                  <a:cubicBezTo>
                    <a:pt x="69" y="39"/>
                    <a:pt x="69" y="39"/>
                    <a:pt x="69" y="39"/>
                  </a:cubicBezTo>
                  <a:cubicBezTo>
                    <a:pt x="69" y="38"/>
                    <a:pt x="69" y="38"/>
                    <a:pt x="69" y="38"/>
                  </a:cubicBezTo>
                  <a:cubicBezTo>
                    <a:pt x="69" y="38"/>
                    <a:pt x="69" y="38"/>
                    <a:pt x="69" y="38"/>
                  </a:cubicBezTo>
                  <a:cubicBezTo>
                    <a:pt x="68" y="37"/>
                    <a:pt x="68" y="37"/>
                    <a:pt x="68" y="37"/>
                  </a:cubicBezTo>
                  <a:cubicBezTo>
                    <a:pt x="67" y="36"/>
                    <a:pt x="67" y="36"/>
                    <a:pt x="67" y="36"/>
                  </a:cubicBezTo>
                  <a:cubicBezTo>
                    <a:pt x="67" y="36"/>
                    <a:pt x="67" y="36"/>
                    <a:pt x="67" y="36"/>
                  </a:cubicBezTo>
                  <a:cubicBezTo>
                    <a:pt x="65" y="37"/>
                    <a:pt x="65" y="37"/>
                    <a:pt x="65" y="37"/>
                  </a:cubicBezTo>
                  <a:cubicBezTo>
                    <a:pt x="65" y="37"/>
                    <a:pt x="64" y="36"/>
                    <a:pt x="63" y="36"/>
                  </a:cubicBezTo>
                  <a:cubicBezTo>
                    <a:pt x="63" y="34"/>
                    <a:pt x="63" y="34"/>
                    <a:pt x="63" y="34"/>
                  </a:cubicBezTo>
                  <a:cubicBezTo>
                    <a:pt x="62" y="33"/>
                    <a:pt x="62" y="33"/>
                    <a:pt x="62" y="33"/>
                  </a:cubicBezTo>
                  <a:cubicBezTo>
                    <a:pt x="61" y="33"/>
                    <a:pt x="61" y="33"/>
                    <a:pt x="61" y="33"/>
                  </a:cubicBezTo>
                  <a:cubicBezTo>
                    <a:pt x="60" y="34"/>
                    <a:pt x="60" y="34"/>
                    <a:pt x="60" y="34"/>
                  </a:cubicBezTo>
                  <a:cubicBezTo>
                    <a:pt x="60" y="36"/>
                    <a:pt x="60" y="36"/>
                    <a:pt x="60" y="36"/>
                  </a:cubicBezTo>
                  <a:cubicBezTo>
                    <a:pt x="59" y="36"/>
                    <a:pt x="58" y="37"/>
                    <a:pt x="58" y="37"/>
                  </a:cubicBezTo>
                  <a:cubicBezTo>
                    <a:pt x="56" y="36"/>
                    <a:pt x="56" y="36"/>
                    <a:pt x="56" y="36"/>
                  </a:cubicBezTo>
                  <a:cubicBezTo>
                    <a:pt x="56" y="36"/>
                    <a:pt x="56" y="36"/>
                    <a:pt x="56" y="36"/>
                  </a:cubicBezTo>
                  <a:cubicBezTo>
                    <a:pt x="55" y="37"/>
                    <a:pt x="55" y="37"/>
                    <a:pt x="55" y="37"/>
                  </a:cubicBezTo>
                  <a:cubicBezTo>
                    <a:pt x="54" y="38"/>
                    <a:pt x="54" y="38"/>
                    <a:pt x="54" y="38"/>
                  </a:cubicBezTo>
                  <a:cubicBezTo>
                    <a:pt x="54" y="38"/>
                    <a:pt x="54" y="38"/>
                    <a:pt x="54" y="38"/>
                  </a:cubicBezTo>
                  <a:cubicBezTo>
                    <a:pt x="54" y="39"/>
                    <a:pt x="54" y="39"/>
                    <a:pt x="54" y="39"/>
                  </a:cubicBezTo>
                  <a:cubicBezTo>
                    <a:pt x="56" y="40"/>
                    <a:pt x="56" y="40"/>
                    <a:pt x="56" y="40"/>
                  </a:cubicBezTo>
                  <a:cubicBezTo>
                    <a:pt x="56" y="41"/>
                    <a:pt x="56" y="41"/>
                    <a:pt x="56" y="41"/>
                  </a:cubicBezTo>
                  <a:cubicBezTo>
                    <a:pt x="56" y="42"/>
                    <a:pt x="56" y="42"/>
                    <a:pt x="56" y="42"/>
                  </a:cubicBezTo>
                  <a:cubicBezTo>
                    <a:pt x="54" y="44"/>
                    <a:pt x="54" y="44"/>
                    <a:pt x="54" y="44"/>
                  </a:cubicBezTo>
                  <a:cubicBezTo>
                    <a:pt x="54" y="44"/>
                    <a:pt x="54" y="44"/>
                    <a:pt x="54" y="44"/>
                  </a:cubicBezTo>
                  <a:cubicBezTo>
                    <a:pt x="54" y="45"/>
                    <a:pt x="54" y="45"/>
                    <a:pt x="54" y="45"/>
                  </a:cubicBezTo>
                  <a:cubicBezTo>
                    <a:pt x="55" y="46"/>
                    <a:pt x="55" y="46"/>
                    <a:pt x="55" y="46"/>
                  </a:cubicBezTo>
                  <a:cubicBezTo>
                    <a:pt x="56" y="46"/>
                    <a:pt x="56" y="46"/>
                    <a:pt x="56" y="46"/>
                  </a:cubicBezTo>
                  <a:cubicBezTo>
                    <a:pt x="56" y="46"/>
                    <a:pt x="56" y="46"/>
                    <a:pt x="56" y="46"/>
                  </a:cubicBezTo>
                  <a:cubicBezTo>
                    <a:pt x="58" y="46"/>
                    <a:pt x="58" y="46"/>
                    <a:pt x="58" y="46"/>
                  </a:cubicBezTo>
                  <a:cubicBezTo>
                    <a:pt x="58" y="46"/>
                    <a:pt x="59" y="46"/>
                    <a:pt x="60" y="47"/>
                  </a:cubicBezTo>
                  <a:cubicBezTo>
                    <a:pt x="60" y="49"/>
                    <a:pt x="60" y="49"/>
                    <a:pt x="60" y="49"/>
                  </a:cubicBezTo>
                  <a:cubicBezTo>
                    <a:pt x="61" y="49"/>
                    <a:pt x="61" y="49"/>
                    <a:pt x="61" y="49"/>
                  </a:cubicBezTo>
                  <a:cubicBezTo>
                    <a:pt x="62" y="49"/>
                    <a:pt x="62" y="49"/>
                    <a:pt x="62" y="49"/>
                  </a:cubicBezTo>
                  <a:cubicBezTo>
                    <a:pt x="63" y="49"/>
                    <a:pt x="63" y="49"/>
                    <a:pt x="63" y="49"/>
                  </a:cubicBezTo>
                  <a:cubicBezTo>
                    <a:pt x="63" y="47"/>
                    <a:pt x="63" y="47"/>
                    <a:pt x="63" y="47"/>
                  </a:cubicBezTo>
                  <a:cubicBezTo>
                    <a:pt x="64" y="46"/>
                    <a:pt x="65" y="46"/>
                    <a:pt x="65" y="46"/>
                  </a:cubicBezTo>
                  <a:cubicBezTo>
                    <a:pt x="67" y="46"/>
                    <a:pt x="67" y="46"/>
                    <a:pt x="67" y="46"/>
                  </a:cubicBezTo>
                  <a:cubicBezTo>
                    <a:pt x="67" y="46"/>
                    <a:pt x="67" y="46"/>
                    <a:pt x="67" y="46"/>
                  </a:cubicBezTo>
                  <a:cubicBezTo>
                    <a:pt x="68" y="46"/>
                    <a:pt x="68" y="46"/>
                    <a:pt x="68" y="46"/>
                  </a:cubicBezTo>
                  <a:cubicBezTo>
                    <a:pt x="69" y="45"/>
                    <a:pt x="69" y="45"/>
                    <a:pt x="69" y="45"/>
                  </a:cubicBezTo>
                  <a:cubicBezTo>
                    <a:pt x="69" y="44"/>
                    <a:pt x="69" y="44"/>
                    <a:pt x="69" y="44"/>
                  </a:cubicBezTo>
                  <a:cubicBezTo>
                    <a:pt x="69" y="44"/>
                    <a:pt x="69" y="44"/>
                    <a:pt x="69" y="44"/>
                  </a:cubicBezTo>
                  <a:cubicBezTo>
                    <a:pt x="67" y="42"/>
                    <a:pt x="67" y="42"/>
                    <a:pt x="67" y="42"/>
                  </a:cubicBezTo>
                  <a:close/>
                  <a:moveTo>
                    <a:pt x="64" y="41"/>
                  </a:moveTo>
                  <a:cubicBezTo>
                    <a:pt x="64" y="42"/>
                    <a:pt x="63" y="43"/>
                    <a:pt x="62" y="43"/>
                  </a:cubicBezTo>
                  <a:cubicBezTo>
                    <a:pt x="60" y="43"/>
                    <a:pt x="59" y="42"/>
                    <a:pt x="59" y="41"/>
                  </a:cubicBezTo>
                  <a:cubicBezTo>
                    <a:pt x="59" y="40"/>
                    <a:pt x="60" y="39"/>
                    <a:pt x="62" y="39"/>
                  </a:cubicBezTo>
                  <a:cubicBezTo>
                    <a:pt x="63" y="39"/>
                    <a:pt x="64" y="40"/>
                    <a:pt x="64"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Oval 244"/>
            <p:cNvSpPr>
              <a:spLocks noChangeArrowheads="1"/>
            </p:cNvSpPr>
            <p:nvPr userDrawn="1"/>
          </p:nvSpPr>
          <p:spPr bwMode="auto">
            <a:xfrm>
              <a:off x="7861300" y="1322387"/>
              <a:ext cx="1204913" cy="1200150"/>
            </a:xfrm>
            <a:prstGeom prst="ellipse">
              <a:avLst/>
            </a:pr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246"/>
            <p:cNvSpPr>
              <a:spLocks noEditPoints="1"/>
            </p:cNvSpPr>
            <p:nvPr userDrawn="1"/>
          </p:nvSpPr>
          <p:spPr bwMode="auto">
            <a:xfrm>
              <a:off x="8802688" y="3586162"/>
              <a:ext cx="781050" cy="622300"/>
            </a:xfrm>
            <a:custGeom>
              <a:avLst/>
              <a:gdLst>
                <a:gd name="T0" fmla="*/ 127 w 127"/>
                <a:gd name="T1" fmla="*/ 73 h 101"/>
                <a:gd name="T2" fmla="*/ 0 w 127"/>
                <a:gd name="T3" fmla="*/ 73 h 101"/>
                <a:gd name="T4" fmla="*/ 16 w 127"/>
                <a:gd name="T5" fmla="*/ 101 h 101"/>
                <a:gd name="T6" fmla="*/ 112 w 127"/>
                <a:gd name="T7" fmla="*/ 101 h 101"/>
                <a:gd name="T8" fmla="*/ 127 w 127"/>
                <a:gd name="T9" fmla="*/ 73 h 101"/>
                <a:gd name="T10" fmla="*/ 95 w 127"/>
                <a:gd name="T11" fmla="*/ 0 h 101"/>
                <a:gd name="T12" fmla="*/ 33 w 127"/>
                <a:gd name="T13" fmla="*/ 0 h 101"/>
                <a:gd name="T14" fmla="*/ 3 w 127"/>
                <a:gd name="T15" fmla="*/ 34 h 101"/>
                <a:gd name="T16" fmla="*/ 124 w 127"/>
                <a:gd name="T17" fmla="*/ 34 h 101"/>
                <a:gd name="T18" fmla="*/ 95 w 127"/>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01">
                  <a:moveTo>
                    <a:pt x="127" y="73"/>
                  </a:moveTo>
                  <a:cubicBezTo>
                    <a:pt x="0" y="73"/>
                    <a:pt x="0" y="73"/>
                    <a:pt x="0" y="73"/>
                  </a:cubicBezTo>
                  <a:cubicBezTo>
                    <a:pt x="3" y="83"/>
                    <a:pt x="8" y="93"/>
                    <a:pt x="16" y="101"/>
                  </a:cubicBezTo>
                  <a:cubicBezTo>
                    <a:pt x="112" y="101"/>
                    <a:pt x="112" y="101"/>
                    <a:pt x="112" y="101"/>
                  </a:cubicBezTo>
                  <a:cubicBezTo>
                    <a:pt x="119" y="93"/>
                    <a:pt x="124" y="83"/>
                    <a:pt x="127" y="73"/>
                  </a:cubicBezTo>
                  <a:moveTo>
                    <a:pt x="95" y="0"/>
                  </a:moveTo>
                  <a:cubicBezTo>
                    <a:pt x="33" y="0"/>
                    <a:pt x="33" y="0"/>
                    <a:pt x="33" y="0"/>
                  </a:cubicBezTo>
                  <a:cubicBezTo>
                    <a:pt x="19" y="7"/>
                    <a:pt x="9" y="19"/>
                    <a:pt x="3" y="34"/>
                  </a:cubicBezTo>
                  <a:cubicBezTo>
                    <a:pt x="124" y="34"/>
                    <a:pt x="124" y="34"/>
                    <a:pt x="124" y="34"/>
                  </a:cubicBezTo>
                  <a:cubicBezTo>
                    <a:pt x="119" y="19"/>
                    <a:pt x="108" y="7"/>
                    <a:pt x="95"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247"/>
            <p:cNvSpPr>
              <a:spLocks/>
            </p:cNvSpPr>
            <p:nvPr userDrawn="1"/>
          </p:nvSpPr>
          <p:spPr bwMode="auto">
            <a:xfrm>
              <a:off x="9005888" y="3536950"/>
              <a:ext cx="381000" cy="49213"/>
            </a:xfrm>
            <a:custGeom>
              <a:avLst/>
              <a:gdLst>
                <a:gd name="T0" fmla="*/ 31 w 62"/>
                <a:gd name="T1" fmla="*/ 0 h 8"/>
                <a:gd name="T2" fmla="*/ 0 w 62"/>
                <a:gd name="T3" fmla="*/ 8 h 8"/>
                <a:gd name="T4" fmla="*/ 62 w 62"/>
                <a:gd name="T5" fmla="*/ 8 h 8"/>
                <a:gd name="T6" fmla="*/ 31 w 62"/>
                <a:gd name="T7" fmla="*/ 0 h 8"/>
              </a:gdLst>
              <a:ahLst/>
              <a:cxnLst>
                <a:cxn ang="0">
                  <a:pos x="T0" y="T1"/>
                </a:cxn>
                <a:cxn ang="0">
                  <a:pos x="T2" y="T3"/>
                </a:cxn>
                <a:cxn ang="0">
                  <a:pos x="T4" y="T5"/>
                </a:cxn>
                <a:cxn ang="0">
                  <a:pos x="T6" y="T7"/>
                </a:cxn>
              </a:cxnLst>
              <a:rect l="0" t="0" r="r" b="b"/>
              <a:pathLst>
                <a:path w="62" h="8">
                  <a:moveTo>
                    <a:pt x="31" y="0"/>
                  </a:moveTo>
                  <a:cubicBezTo>
                    <a:pt x="19" y="0"/>
                    <a:pt x="9" y="3"/>
                    <a:pt x="0" y="8"/>
                  </a:cubicBezTo>
                  <a:cubicBezTo>
                    <a:pt x="62" y="8"/>
                    <a:pt x="62" y="8"/>
                    <a:pt x="62" y="8"/>
                  </a:cubicBezTo>
                  <a:cubicBezTo>
                    <a:pt x="53" y="3"/>
                    <a:pt x="42" y="0"/>
                    <a:pt x="3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248"/>
            <p:cNvSpPr>
              <a:spLocks/>
            </p:cNvSpPr>
            <p:nvPr userDrawn="1"/>
          </p:nvSpPr>
          <p:spPr bwMode="auto">
            <a:xfrm>
              <a:off x="8796338" y="3795712"/>
              <a:ext cx="800100" cy="239713"/>
            </a:xfrm>
            <a:custGeom>
              <a:avLst/>
              <a:gdLst>
                <a:gd name="T0" fmla="*/ 125 w 130"/>
                <a:gd name="T1" fmla="*/ 0 h 39"/>
                <a:gd name="T2" fmla="*/ 4 w 130"/>
                <a:gd name="T3" fmla="*/ 0 h 39"/>
                <a:gd name="T4" fmla="*/ 0 w 130"/>
                <a:gd name="T5" fmla="*/ 23 h 39"/>
                <a:gd name="T6" fmla="*/ 1 w 130"/>
                <a:gd name="T7" fmla="*/ 39 h 39"/>
                <a:gd name="T8" fmla="*/ 128 w 130"/>
                <a:gd name="T9" fmla="*/ 39 h 39"/>
                <a:gd name="T10" fmla="*/ 130 w 130"/>
                <a:gd name="T11" fmla="*/ 23 h 39"/>
                <a:gd name="T12" fmla="*/ 125 w 13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30" h="39">
                  <a:moveTo>
                    <a:pt x="125" y="0"/>
                  </a:moveTo>
                  <a:cubicBezTo>
                    <a:pt x="4" y="0"/>
                    <a:pt x="4" y="0"/>
                    <a:pt x="4" y="0"/>
                  </a:cubicBezTo>
                  <a:cubicBezTo>
                    <a:pt x="1" y="7"/>
                    <a:pt x="0" y="15"/>
                    <a:pt x="0" y="23"/>
                  </a:cubicBezTo>
                  <a:cubicBezTo>
                    <a:pt x="0" y="28"/>
                    <a:pt x="0" y="34"/>
                    <a:pt x="1" y="39"/>
                  </a:cubicBezTo>
                  <a:cubicBezTo>
                    <a:pt x="128" y="39"/>
                    <a:pt x="128" y="39"/>
                    <a:pt x="128" y="39"/>
                  </a:cubicBezTo>
                  <a:cubicBezTo>
                    <a:pt x="129" y="34"/>
                    <a:pt x="130" y="28"/>
                    <a:pt x="130" y="23"/>
                  </a:cubicBezTo>
                  <a:cubicBezTo>
                    <a:pt x="130" y="15"/>
                    <a:pt x="128" y="7"/>
                    <a:pt x="12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249"/>
            <p:cNvSpPr>
              <a:spLocks/>
            </p:cNvSpPr>
            <p:nvPr userDrawn="1"/>
          </p:nvSpPr>
          <p:spPr bwMode="auto">
            <a:xfrm>
              <a:off x="8901113" y="4208462"/>
              <a:ext cx="590550" cy="128588"/>
            </a:xfrm>
            <a:custGeom>
              <a:avLst/>
              <a:gdLst>
                <a:gd name="T0" fmla="*/ 96 w 96"/>
                <a:gd name="T1" fmla="*/ 0 h 21"/>
                <a:gd name="T2" fmla="*/ 0 w 96"/>
                <a:gd name="T3" fmla="*/ 0 h 21"/>
                <a:gd name="T4" fmla="*/ 48 w 96"/>
                <a:gd name="T5" fmla="*/ 21 h 21"/>
                <a:gd name="T6" fmla="*/ 96 w 96"/>
                <a:gd name="T7" fmla="*/ 0 h 21"/>
              </a:gdLst>
              <a:ahLst/>
              <a:cxnLst>
                <a:cxn ang="0">
                  <a:pos x="T0" y="T1"/>
                </a:cxn>
                <a:cxn ang="0">
                  <a:pos x="T2" y="T3"/>
                </a:cxn>
                <a:cxn ang="0">
                  <a:pos x="T4" y="T5"/>
                </a:cxn>
                <a:cxn ang="0">
                  <a:pos x="T6" y="T7"/>
                </a:cxn>
              </a:cxnLst>
              <a:rect l="0" t="0" r="r" b="b"/>
              <a:pathLst>
                <a:path w="96" h="21">
                  <a:moveTo>
                    <a:pt x="96" y="0"/>
                  </a:moveTo>
                  <a:cubicBezTo>
                    <a:pt x="0" y="0"/>
                    <a:pt x="0" y="0"/>
                    <a:pt x="0" y="0"/>
                  </a:cubicBezTo>
                  <a:cubicBezTo>
                    <a:pt x="12" y="13"/>
                    <a:pt x="29" y="21"/>
                    <a:pt x="48" y="21"/>
                  </a:cubicBezTo>
                  <a:cubicBezTo>
                    <a:pt x="67" y="21"/>
                    <a:pt x="84" y="13"/>
                    <a:pt x="96"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Oval 250"/>
            <p:cNvSpPr>
              <a:spLocks noChangeArrowheads="1"/>
            </p:cNvSpPr>
            <p:nvPr userDrawn="1"/>
          </p:nvSpPr>
          <p:spPr bwMode="auto">
            <a:xfrm>
              <a:off x="8747125" y="3487737"/>
              <a:ext cx="800100" cy="80010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Oval 252"/>
            <p:cNvSpPr>
              <a:spLocks noChangeArrowheads="1"/>
            </p:cNvSpPr>
            <p:nvPr userDrawn="1"/>
          </p:nvSpPr>
          <p:spPr bwMode="auto">
            <a:xfrm>
              <a:off x="10063163" y="2251075"/>
              <a:ext cx="855663" cy="855663"/>
            </a:xfrm>
            <a:prstGeom prst="ellipse">
              <a:avLst/>
            </a:pr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254"/>
            <p:cNvSpPr>
              <a:spLocks/>
            </p:cNvSpPr>
            <p:nvPr userDrawn="1"/>
          </p:nvSpPr>
          <p:spPr bwMode="auto">
            <a:xfrm>
              <a:off x="9767888" y="4264025"/>
              <a:ext cx="523875" cy="417513"/>
            </a:xfrm>
            <a:custGeom>
              <a:avLst/>
              <a:gdLst>
                <a:gd name="T0" fmla="*/ 69 w 85"/>
                <a:gd name="T1" fmla="*/ 0 h 68"/>
                <a:gd name="T2" fmla="*/ 69 w 85"/>
                <a:gd name="T3" fmla="*/ 30 h 68"/>
                <a:gd name="T4" fmla="*/ 1 w 85"/>
                <a:gd name="T5" fmla="*/ 30 h 68"/>
                <a:gd name="T6" fmla="*/ 0 w 85"/>
                <a:gd name="T7" fmla="*/ 34 h 68"/>
                <a:gd name="T8" fmla="*/ 8 w 85"/>
                <a:gd name="T9" fmla="*/ 58 h 68"/>
                <a:gd name="T10" fmla="*/ 69 w 85"/>
                <a:gd name="T11" fmla="*/ 58 h 68"/>
                <a:gd name="T12" fmla="*/ 69 w 85"/>
                <a:gd name="T13" fmla="*/ 68 h 68"/>
                <a:gd name="T14" fmla="*/ 85 w 85"/>
                <a:gd name="T15" fmla="*/ 34 h 68"/>
                <a:gd name="T16" fmla="*/ 69 w 85"/>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68">
                  <a:moveTo>
                    <a:pt x="69" y="0"/>
                  </a:moveTo>
                  <a:cubicBezTo>
                    <a:pt x="69" y="30"/>
                    <a:pt x="69" y="30"/>
                    <a:pt x="69" y="30"/>
                  </a:cubicBezTo>
                  <a:cubicBezTo>
                    <a:pt x="1" y="30"/>
                    <a:pt x="1" y="30"/>
                    <a:pt x="1" y="30"/>
                  </a:cubicBezTo>
                  <a:cubicBezTo>
                    <a:pt x="0" y="31"/>
                    <a:pt x="0" y="33"/>
                    <a:pt x="0" y="34"/>
                  </a:cubicBezTo>
                  <a:cubicBezTo>
                    <a:pt x="0" y="43"/>
                    <a:pt x="3" y="51"/>
                    <a:pt x="8" y="58"/>
                  </a:cubicBezTo>
                  <a:cubicBezTo>
                    <a:pt x="69" y="58"/>
                    <a:pt x="69" y="58"/>
                    <a:pt x="69" y="58"/>
                  </a:cubicBezTo>
                  <a:cubicBezTo>
                    <a:pt x="69" y="68"/>
                    <a:pt x="69" y="68"/>
                    <a:pt x="69" y="68"/>
                  </a:cubicBezTo>
                  <a:cubicBezTo>
                    <a:pt x="79" y="60"/>
                    <a:pt x="85" y="48"/>
                    <a:pt x="85" y="34"/>
                  </a:cubicBezTo>
                  <a:cubicBezTo>
                    <a:pt x="85" y="20"/>
                    <a:pt x="79" y="8"/>
                    <a:pt x="69"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255"/>
            <p:cNvSpPr>
              <a:spLocks/>
            </p:cNvSpPr>
            <p:nvPr userDrawn="1"/>
          </p:nvSpPr>
          <p:spPr bwMode="auto">
            <a:xfrm>
              <a:off x="9774238" y="4208462"/>
              <a:ext cx="419100" cy="239713"/>
            </a:xfrm>
            <a:custGeom>
              <a:avLst/>
              <a:gdLst>
                <a:gd name="T0" fmla="*/ 42 w 68"/>
                <a:gd name="T1" fmla="*/ 0 h 39"/>
                <a:gd name="T2" fmla="*/ 0 w 68"/>
                <a:gd name="T3" fmla="*/ 39 h 39"/>
                <a:gd name="T4" fmla="*/ 68 w 68"/>
                <a:gd name="T5" fmla="*/ 39 h 39"/>
                <a:gd name="T6" fmla="*/ 68 w 68"/>
                <a:gd name="T7" fmla="*/ 9 h 39"/>
                <a:gd name="T8" fmla="*/ 42 w 68"/>
                <a:gd name="T9" fmla="*/ 0 h 39"/>
              </a:gdLst>
              <a:ahLst/>
              <a:cxnLst>
                <a:cxn ang="0">
                  <a:pos x="T0" y="T1"/>
                </a:cxn>
                <a:cxn ang="0">
                  <a:pos x="T2" y="T3"/>
                </a:cxn>
                <a:cxn ang="0">
                  <a:pos x="T4" y="T5"/>
                </a:cxn>
                <a:cxn ang="0">
                  <a:pos x="T6" y="T7"/>
                </a:cxn>
                <a:cxn ang="0">
                  <a:pos x="T8" y="T9"/>
                </a:cxn>
              </a:cxnLst>
              <a:rect l="0" t="0" r="r" b="b"/>
              <a:pathLst>
                <a:path w="68" h="39">
                  <a:moveTo>
                    <a:pt x="42" y="0"/>
                  </a:moveTo>
                  <a:cubicBezTo>
                    <a:pt x="20" y="0"/>
                    <a:pt x="2" y="17"/>
                    <a:pt x="0" y="39"/>
                  </a:cubicBezTo>
                  <a:cubicBezTo>
                    <a:pt x="68" y="39"/>
                    <a:pt x="68" y="39"/>
                    <a:pt x="68" y="39"/>
                  </a:cubicBezTo>
                  <a:cubicBezTo>
                    <a:pt x="68" y="9"/>
                    <a:pt x="68" y="9"/>
                    <a:pt x="68" y="9"/>
                  </a:cubicBezTo>
                  <a:cubicBezTo>
                    <a:pt x="61" y="4"/>
                    <a:pt x="52" y="0"/>
                    <a:pt x="42"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256"/>
            <p:cNvSpPr>
              <a:spLocks/>
            </p:cNvSpPr>
            <p:nvPr userDrawn="1"/>
          </p:nvSpPr>
          <p:spPr bwMode="auto">
            <a:xfrm>
              <a:off x="9817100" y="4621212"/>
              <a:ext cx="376238" cy="109538"/>
            </a:xfrm>
            <a:custGeom>
              <a:avLst/>
              <a:gdLst>
                <a:gd name="T0" fmla="*/ 61 w 61"/>
                <a:gd name="T1" fmla="*/ 0 h 18"/>
                <a:gd name="T2" fmla="*/ 0 w 61"/>
                <a:gd name="T3" fmla="*/ 0 h 18"/>
                <a:gd name="T4" fmla="*/ 35 w 61"/>
                <a:gd name="T5" fmla="*/ 18 h 18"/>
                <a:gd name="T6" fmla="*/ 61 w 61"/>
                <a:gd name="T7" fmla="*/ 10 h 18"/>
                <a:gd name="T8" fmla="*/ 61 w 61"/>
                <a:gd name="T9" fmla="*/ 0 h 18"/>
              </a:gdLst>
              <a:ahLst/>
              <a:cxnLst>
                <a:cxn ang="0">
                  <a:pos x="T0" y="T1"/>
                </a:cxn>
                <a:cxn ang="0">
                  <a:pos x="T2" y="T3"/>
                </a:cxn>
                <a:cxn ang="0">
                  <a:pos x="T4" y="T5"/>
                </a:cxn>
                <a:cxn ang="0">
                  <a:pos x="T6" y="T7"/>
                </a:cxn>
                <a:cxn ang="0">
                  <a:pos x="T8" y="T9"/>
                </a:cxn>
              </a:cxnLst>
              <a:rect l="0" t="0" r="r" b="b"/>
              <a:pathLst>
                <a:path w="61" h="18">
                  <a:moveTo>
                    <a:pt x="61" y="0"/>
                  </a:moveTo>
                  <a:cubicBezTo>
                    <a:pt x="0" y="0"/>
                    <a:pt x="0" y="0"/>
                    <a:pt x="0" y="0"/>
                  </a:cubicBezTo>
                  <a:cubicBezTo>
                    <a:pt x="8" y="11"/>
                    <a:pt x="20" y="18"/>
                    <a:pt x="35" y="18"/>
                  </a:cubicBezTo>
                  <a:cubicBezTo>
                    <a:pt x="45" y="18"/>
                    <a:pt x="54" y="15"/>
                    <a:pt x="61" y="10"/>
                  </a:cubicBezTo>
                  <a:cubicBezTo>
                    <a:pt x="61" y="0"/>
                    <a:pt x="61" y="0"/>
                    <a:pt x="61"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Oval 257"/>
            <p:cNvSpPr>
              <a:spLocks noChangeArrowheads="1"/>
            </p:cNvSpPr>
            <p:nvPr userDrawn="1"/>
          </p:nvSpPr>
          <p:spPr bwMode="auto">
            <a:xfrm>
              <a:off x="9718675" y="4159250"/>
              <a:ext cx="523875" cy="522288"/>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259"/>
            <p:cNvSpPr>
              <a:spLocks noEditPoints="1"/>
            </p:cNvSpPr>
            <p:nvPr userDrawn="1"/>
          </p:nvSpPr>
          <p:spPr bwMode="auto">
            <a:xfrm>
              <a:off x="9190038" y="2879725"/>
              <a:ext cx="522288" cy="423863"/>
            </a:xfrm>
            <a:custGeom>
              <a:avLst/>
              <a:gdLst>
                <a:gd name="T0" fmla="*/ 54 w 85"/>
                <a:gd name="T1" fmla="*/ 67 h 69"/>
                <a:gd name="T2" fmla="*/ 31 w 85"/>
                <a:gd name="T3" fmla="*/ 67 h 69"/>
                <a:gd name="T4" fmla="*/ 42 w 85"/>
                <a:gd name="T5" fmla="*/ 69 h 69"/>
                <a:gd name="T6" fmla="*/ 54 w 85"/>
                <a:gd name="T7" fmla="*/ 67 h 69"/>
                <a:gd name="T8" fmla="*/ 76 w 85"/>
                <a:gd name="T9" fmla="*/ 0 h 69"/>
                <a:gd name="T10" fmla="*/ 9 w 85"/>
                <a:gd name="T11" fmla="*/ 0 h 69"/>
                <a:gd name="T12" fmla="*/ 0 w 85"/>
                <a:gd name="T13" fmla="*/ 26 h 69"/>
                <a:gd name="T14" fmla="*/ 0 w 85"/>
                <a:gd name="T15" fmla="*/ 28 h 69"/>
                <a:gd name="T16" fmla="*/ 85 w 85"/>
                <a:gd name="T17" fmla="*/ 28 h 69"/>
                <a:gd name="T18" fmla="*/ 85 w 85"/>
                <a:gd name="T19" fmla="*/ 26 h 69"/>
                <a:gd name="T20" fmla="*/ 76 w 85"/>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9">
                  <a:moveTo>
                    <a:pt x="54" y="67"/>
                  </a:moveTo>
                  <a:cubicBezTo>
                    <a:pt x="31" y="67"/>
                    <a:pt x="31" y="67"/>
                    <a:pt x="31" y="67"/>
                  </a:cubicBezTo>
                  <a:cubicBezTo>
                    <a:pt x="35" y="68"/>
                    <a:pt x="38" y="69"/>
                    <a:pt x="42" y="69"/>
                  </a:cubicBezTo>
                  <a:cubicBezTo>
                    <a:pt x="47" y="69"/>
                    <a:pt x="50" y="68"/>
                    <a:pt x="54" y="67"/>
                  </a:cubicBezTo>
                  <a:moveTo>
                    <a:pt x="76" y="0"/>
                  </a:moveTo>
                  <a:cubicBezTo>
                    <a:pt x="9" y="0"/>
                    <a:pt x="9" y="0"/>
                    <a:pt x="9" y="0"/>
                  </a:cubicBezTo>
                  <a:cubicBezTo>
                    <a:pt x="3" y="7"/>
                    <a:pt x="0" y="16"/>
                    <a:pt x="0" y="26"/>
                  </a:cubicBezTo>
                  <a:cubicBezTo>
                    <a:pt x="0" y="27"/>
                    <a:pt x="0" y="27"/>
                    <a:pt x="0" y="28"/>
                  </a:cubicBezTo>
                  <a:cubicBezTo>
                    <a:pt x="85" y="28"/>
                    <a:pt x="85" y="28"/>
                    <a:pt x="85" y="28"/>
                  </a:cubicBezTo>
                  <a:cubicBezTo>
                    <a:pt x="85" y="27"/>
                    <a:pt x="85" y="27"/>
                    <a:pt x="85" y="26"/>
                  </a:cubicBezTo>
                  <a:cubicBezTo>
                    <a:pt x="85" y="16"/>
                    <a:pt x="82" y="7"/>
                    <a:pt x="7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260"/>
            <p:cNvSpPr>
              <a:spLocks/>
            </p:cNvSpPr>
            <p:nvPr userDrawn="1"/>
          </p:nvSpPr>
          <p:spPr bwMode="auto">
            <a:xfrm>
              <a:off x="9245600" y="2774950"/>
              <a:ext cx="411163" cy="104775"/>
            </a:xfrm>
            <a:custGeom>
              <a:avLst/>
              <a:gdLst>
                <a:gd name="T0" fmla="*/ 33 w 67"/>
                <a:gd name="T1" fmla="*/ 0 h 17"/>
                <a:gd name="T2" fmla="*/ 0 w 67"/>
                <a:gd name="T3" fmla="*/ 17 h 17"/>
                <a:gd name="T4" fmla="*/ 67 w 67"/>
                <a:gd name="T5" fmla="*/ 17 h 17"/>
                <a:gd name="T6" fmla="*/ 33 w 67"/>
                <a:gd name="T7" fmla="*/ 0 h 17"/>
              </a:gdLst>
              <a:ahLst/>
              <a:cxnLst>
                <a:cxn ang="0">
                  <a:pos x="T0" y="T1"/>
                </a:cxn>
                <a:cxn ang="0">
                  <a:pos x="T2" y="T3"/>
                </a:cxn>
                <a:cxn ang="0">
                  <a:pos x="T4" y="T5"/>
                </a:cxn>
                <a:cxn ang="0">
                  <a:pos x="T6" y="T7"/>
                </a:cxn>
              </a:cxnLst>
              <a:rect l="0" t="0" r="r" b="b"/>
              <a:pathLst>
                <a:path w="67" h="17">
                  <a:moveTo>
                    <a:pt x="33" y="0"/>
                  </a:moveTo>
                  <a:cubicBezTo>
                    <a:pt x="20" y="0"/>
                    <a:pt x="8" y="7"/>
                    <a:pt x="0" y="17"/>
                  </a:cubicBezTo>
                  <a:cubicBezTo>
                    <a:pt x="67" y="17"/>
                    <a:pt x="67" y="17"/>
                    <a:pt x="67" y="17"/>
                  </a:cubicBezTo>
                  <a:cubicBezTo>
                    <a:pt x="59" y="7"/>
                    <a:pt x="47" y="0"/>
                    <a:pt x="3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261"/>
            <p:cNvSpPr>
              <a:spLocks/>
            </p:cNvSpPr>
            <p:nvPr userDrawn="1"/>
          </p:nvSpPr>
          <p:spPr bwMode="auto">
            <a:xfrm>
              <a:off x="9190038" y="3051175"/>
              <a:ext cx="522288" cy="239713"/>
            </a:xfrm>
            <a:custGeom>
              <a:avLst/>
              <a:gdLst>
                <a:gd name="T0" fmla="*/ 85 w 85"/>
                <a:gd name="T1" fmla="*/ 0 h 39"/>
                <a:gd name="T2" fmla="*/ 0 w 85"/>
                <a:gd name="T3" fmla="*/ 0 h 39"/>
                <a:gd name="T4" fmla="*/ 31 w 85"/>
                <a:gd name="T5" fmla="*/ 39 h 39"/>
                <a:gd name="T6" fmla="*/ 54 w 85"/>
                <a:gd name="T7" fmla="*/ 39 h 39"/>
                <a:gd name="T8" fmla="*/ 85 w 85"/>
                <a:gd name="T9" fmla="*/ 0 h 39"/>
              </a:gdLst>
              <a:ahLst/>
              <a:cxnLst>
                <a:cxn ang="0">
                  <a:pos x="T0" y="T1"/>
                </a:cxn>
                <a:cxn ang="0">
                  <a:pos x="T2" y="T3"/>
                </a:cxn>
                <a:cxn ang="0">
                  <a:pos x="T4" y="T5"/>
                </a:cxn>
                <a:cxn ang="0">
                  <a:pos x="T6" y="T7"/>
                </a:cxn>
                <a:cxn ang="0">
                  <a:pos x="T8" y="T9"/>
                </a:cxn>
              </a:cxnLst>
              <a:rect l="0" t="0" r="r" b="b"/>
              <a:pathLst>
                <a:path w="85" h="39">
                  <a:moveTo>
                    <a:pt x="85" y="0"/>
                  </a:moveTo>
                  <a:cubicBezTo>
                    <a:pt x="0" y="0"/>
                    <a:pt x="0" y="0"/>
                    <a:pt x="0" y="0"/>
                  </a:cubicBezTo>
                  <a:cubicBezTo>
                    <a:pt x="1" y="19"/>
                    <a:pt x="14" y="34"/>
                    <a:pt x="31" y="39"/>
                  </a:cubicBezTo>
                  <a:cubicBezTo>
                    <a:pt x="54" y="39"/>
                    <a:pt x="54" y="39"/>
                    <a:pt x="54" y="39"/>
                  </a:cubicBezTo>
                  <a:cubicBezTo>
                    <a:pt x="71" y="34"/>
                    <a:pt x="84" y="19"/>
                    <a:pt x="85"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Oval 262"/>
            <p:cNvSpPr>
              <a:spLocks noChangeArrowheads="1"/>
            </p:cNvSpPr>
            <p:nvPr userDrawn="1"/>
          </p:nvSpPr>
          <p:spPr bwMode="auto">
            <a:xfrm>
              <a:off x="9091613" y="2682875"/>
              <a:ext cx="522288" cy="522288"/>
            </a:xfrm>
            <a:prstGeom prst="ellipse">
              <a:avLst/>
            </a:pr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264"/>
            <p:cNvSpPr>
              <a:spLocks/>
            </p:cNvSpPr>
            <p:nvPr userDrawn="1"/>
          </p:nvSpPr>
          <p:spPr bwMode="auto">
            <a:xfrm>
              <a:off x="8943975" y="4860925"/>
              <a:ext cx="603250" cy="177800"/>
            </a:xfrm>
            <a:custGeom>
              <a:avLst/>
              <a:gdLst>
                <a:gd name="T0" fmla="*/ 62 w 98"/>
                <a:gd name="T1" fmla="*/ 0 h 29"/>
                <a:gd name="T2" fmla="*/ 36 w 98"/>
                <a:gd name="T3" fmla="*/ 0 h 29"/>
                <a:gd name="T4" fmla="*/ 0 w 98"/>
                <a:gd name="T5" fmla="*/ 29 h 29"/>
                <a:gd name="T6" fmla="*/ 98 w 98"/>
                <a:gd name="T7" fmla="*/ 29 h 29"/>
                <a:gd name="T8" fmla="*/ 62 w 98"/>
                <a:gd name="T9" fmla="*/ 0 h 29"/>
              </a:gdLst>
              <a:ahLst/>
              <a:cxnLst>
                <a:cxn ang="0">
                  <a:pos x="T0" y="T1"/>
                </a:cxn>
                <a:cxn ang="0">
                  <a:pos x="T2" y="T3"/>
                </a:cxn>
                <a:cxn ang="0">
                  <a:pos x="T4" y="T5"/>
                </a:cxn>
                <a:cxn ang="0">
                  <a:pos x="T6" y="T7"/>
                </a:cxn>
                <a:cxn ang="0">
                  <a:pos x="T8" y="T9"/>
                </a:cxn>
              </a:cxnLst>
              <a:rect l="0" t="0" r="r" b="b"/>
              <a:pathLst>
                <a:path w="98" h="29">
                  <a:moveTo>
                    <a:pt x="62" y="0"/>
                  </a:moveTo>
                  <a:cubicBezTo>
                    <a:pt x="36" y="0"/>
                    <a:pt x="36" y="0"/>
                    <a:pt x="36" y="0"/>
                  </a:cubicBezTo>
                  <a:cubicBezTo>
                    <a:pt x="20" y="4"/>
                    <a:pt x="7" y="15"/>
                    <a:pt x="0" y="29"/>
                  </a:cubicBezTo>
                  <a:cubicBezTo>
                    <a:pt x="98" y="29"/>
                    <a:pt x="98" y="29"/>
                    <a:pt x="98" y="29"/>
                  </a:cubicBezTo>
                  <a:cubicBezTo>
                    <a:pt x="91" y="15"/>
                    <a:pt x="78" y="4"/>
                    <a:pt x="62"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65"/>
            <p:cNvSpPr>
              <a:spLocks/>
            </p:cNvSpPr>
            <p:nvPr userDrawn="1"/>
          </p:nvSpPr>
          <p:spPr bwMode="auto">
            <a:xfrm>
              <a:off x="9164638" y="4854575"/>
              <a:ext cx="160338" cy="6350"/>
            </a:xfrm>
            <a:custGeom>
              <a:avLst/>
              <a:gdLst>
                <a:gd name="T0" fmla="*/ 13 w 26"/>
                <a:gd name="T1" fmla="*/ 0 h 1"/>
                <a:gd name="T2" fmla="*/ 0 w 26"/>
                <a:gd name="T3" fmla="*/ 1 h 1"/>
                <a:gd name="T4" fmla="*/ 26 w 26"/>
                <a:gd name="T5" fmla="*/ 1 h 1"/>
                <a:gd name="T6" fmla="*/ 13 w 26"/>
                <a:gd name="T7" fmla="*/ 0 h 1"/>
              </a:gdLst>
              <a:ahLst/>
              <a:cxnLst>
                <a:cxn ang="0">
                  <a:pos x="T0" y="T1"/>
                </a:cxn>
                <a:cxn ang="0">
                  <a:pos x="T2" y="T3"/>
                </a:cxn>
                <a:cxn ang="0">
                  <a:pos x="T4" y="T5"/>
                </a:cxn>
                <a:cxn ang="0">
                  <a:pos x="T6" y="T7"/>
                </a:cxn>
              </a:cxnLst>
              <a:rect l="0" t="0" r="r" b="b"/>
              <a:pathLst>
                <a:path w="26" h="1">
                  <a:moveTo>
                    <a:pt x="13" y="0"/>
                  </a:moveTo>
                  <a:cubicBezTo>
                    <a:pt x="8" y="0"/>
                    <a:pt x="4" y="0"/>
                    <a:pt x="0" y="1"/>
                  </a:cubicBezTo>
                  <a:cubicBezTo>
                    <a:pt x="26" y="1"/>
                    <a:pt x="26" y="1"/>
                    <a:pt x="26" y="1"/>
                  </a:cubicBezTo>
                  <a:cubicBezTo>
                    <a:pt x="22" y="0"/>
                    <a:pt x="17" y="0"/>
                    <a:pt x="13"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66"/>
            <p:cNvSpPr>
              <a:spLocks/>
            </p:cNvSpPr>
            <p:nvPr userDrawn="1"/>
          </p:nvSpPr>
          <p:spPr bwMode="auto">
            <a:xfrm>
              <a:off x="8918575" y="5278437"/>
              <a:ext cx="652463" cy="228600"/>
            </a:xfrm>
            <a:custGeom>
              <a:avLst/>
              <a:gdLst>
                <a:gd name="T0" fmla="*/ 106 w 106"/>
                <a:gd name="T1" fmla="*/ 0 h 37"/>
                <a:gd name="T2" fmla="*/ 0 w 106"/>
                <a:gd name="T3" fmla="*/ 0 h 37"/>
                <a:gd name="T4" fmla="*/ 32 w 106"/>
                <a:gd name="T5" fmla="*/ 36 h 37"/>
                <a:gd name="T6" fmla="*/ 32 w 106"/>
                <a:gd name="T7" fmla="*/ 24 h 37"/>
                <a:gd name="T8" fmla="*/ 71 w 106"/>
                <a:gd name="T9" fmla="*/ 24 h 37"/>
                <a:gd name="T10" fmla="*/ 71 w 106"/>
                <a:gd name="T11" fmla="*/ 37 h 37"/>
                <a:gd name="T12" fmla="*/ 106 w 106"/>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106" h="37">
                  <a:moveTo>
                    <a:pt x="106" y="0"/>
                  </a:moveTo>
                  <a:cubicBezTo>
                    <a:pt x="0" y="0"/>
                    <a:pt x="0" y="0"/>
                    <a:pt x="0" y="0"/>
                  </a:cubicBezTo>
                  <a:cubicBezTo>
                    <a:pt x="4" y="16"/>
                    <a:pt x="16" y="30"/>
                    <a:pt x="32" y="36"/>
                  </a:cubicBezTo>
                  <a:cubicBezTo>
                    <a:pt x="32" y="24"/>
                    <a:pt x="32" y="24"/>
                    <a:pt x="32" y="24"/>
                  </a:cubicBezTo>
                  <a:cubicBezTo>
                    <a:pt x="71" y="24"/>
                    <a:pt x="71" y="24"/>
                    <a:pt x="71" y="24"/>
                  </a:cubicBezTo>
                  <a:cubicBezTo>
                    <a:pt x="71" y="37"/>
                    <a:pt x="71" y="37"/>
                    <a:pt x="71" y="37"/>
                  </a:cubicBezTo>
                  <a:cubicBezTo>
                    <a:pt x="88" y="31"/>
                    <a:pt x="101" y="17"/>
                    <a:pt x="106" y="0"/>
                  </a:cubicBezTo>
                </a:path>
              </a:pathLst>
            </a:custGeom>
            <a:solidFill>
              <a:srgbClr val="531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267"/>
            <p:cNvSpPr>
              <a:spLocks/>
            </p:cNvSpPr>
            <p:nvPr userDrawn="1"/>
          </p:nvSpPr>
          <p:spPr bwMode="auto">
            <a:xfrm>
              <a:off x="9115425" y="5426075"/>
              <a:ext cx="241300" cy="98425"/>
            </a:xfrm>
            <a:custGeom>
              <a:avLst/>
              <a:gdLst>
                <a:gd name="T0" fmla="*/ 39 w 39"/>
                <a:gd name="T1" fmla="*/ 0 h 16"/>
                <a:gd name="T2" fmla="*/ 0 w 39"/>
                <a:gd name="T3" fmla="*/ 0 h 16"/>
                <a:gd name="T4" fmla="*/ 0 w 39"/>
                <a:gd name="T5" fmla="*/ 12 h 16"/>
                <a:gd name="T6" fmla="*/ 21 w 39"/>
                <a:gd name="T7" fmla="*/ 16 h 16"/>
                <a:gd name="T8" fmla="*/ 39 w 39"/>
                <a:gd name="T9" fmla="*/ 13 h 16"/>
                <a:gd name="T10" fmla="*/ 39 w 39"/>
                <a:gd name="T11" fmla="*/ 0 h 16"/>
              </a:gdLst>
              <a:ahLst/>
              <a:cxnLst>
                <a:cxn ang="0">
                  <a:pos x="T0" y="T1"/>
                </a:cxn>
                <a:cxn ang="0">
                  <a:pos x="T2" y="T3"/>
                </a:cxn>
                <a:cxn ang="0">
                  <a:pos x="T4" y="T5"/>
                </a:cxn>
                <a:cxn ang="0">
                  <a:pos x="T6" y="T7"/>
                </a:cxn>
                <a:cxn ang="0">
                  <a:pos x="T8" y="T9"/>
                </a:cxn>
                <a:cxn ang="0">
                  <a:pos x="T10" y="T11"/>
                </a:cxn>
              </a:cxnLst>
              <a:rect l="0" t="0" r="r" b="b"/>
              <a:pathLst>
                <a:path w="39" h="16">
                  <a:moveTo>
                    <a:pt x="39" y="0"/>
                  </a:moveTo>
                  <a:cubicBezTo>
                    <a:pt x="0" y="0"/>
                    <a:pt x="0" y="0"/>
                    <a:pt x="0" y="0"/>
                  </a:cubicBezTo>
                  <a:cubicBezTo>
                    <a:pt x="0" y="12"/>
                    <a:pt x="0" y="12"/>
                    <a:pt x="0" y="12"/>
                  </a:cubicBezTo>
                  <a:cubicBezTo>
                    <a:pt x="7" y="15"/>
                    <a:pt x="14" y="16"/>
                    <a:pt x="21" y="16"/>
                  </a:cubicBezTo>
                  <a:cubicBezTo>
                    <a:pt x="27" y="16"/>
                    <a:pt x="34" y="15"/>
                    <a:pt x="39" y="13"/>
                  </a:cubicBezTo>
                  <a:cubicBezTo>
                    <a:pt x="39" y="0"/>
                    <a:pt x="39" y="0"/>
                    <a:pt x="39"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268"/>
            <p:cNvSpPr>
              <a:spLocks/>
            </p:cNvSpPr>
            <p:nvPr userDrawn="1"/>
          </p:nvSpPr>
          <p:spPr bwMode="auto">
            <a:xfrm>
              <a:off x="8907463" y="5038725"/>
              <a:ext cx="676275" cy="239713"/>
            </a:xfrm>
            <a:custGeom>
              <a:avLst/>
              <a:gdLst>
                <a:gd name="T0" fmla="*/ 104 w 110"/>
                <a:gd name="T1" fmla="*/ 0 h 39"/>
                <a:gd name="T2" fmla="*/ 6 w 110"/>
                <a:gd name="T3" fmla="*/ 0 h 39"/>
                <a:gd name="T4" fmla="*/ 0 w 110"/>
                <a:gd name="T5" fmla="*/ 25 h 39"/>
                <a:gd name="T6" fmla="*/ 2 w 110"/>
                <a:gd name="T7" fmla="*/ 39 h 39"/>
                <a:gd name="T8" fmla="*/ 108 w 110"/>
                <a:gd name="T9" fmla="*/ 39 h 39"/>
                <a:gd name="T10" fmla="*/ 110 w 110"/>
                <a:gd name="T11" fmla="*/ 25 h 39"/>
                <a:gd name="T12" fmla="*/ 104 w 110"/>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10" h="39">
                  <a:moveTo>
                    <a:pt x="104" y="0"/>
                  </a:moveTo>
                  <a:cubicBezTo>
                    <a:pt x="6" y="0"/>
                    <a:pt x="6" y="0"/>
                    <a:pt x="6" y="0"/>
                  </a:cubicBezTo>
                  <a:cubicBezTo>
                    <a:pt x="2" y="7"/>
                    <a:pt x="0" y="16"/>
                    <a:pt x="0" y="25"/>
                  </a:cubicBezTo>
                  <a:cubicBezTo>
                    <a:pt x="0" y="29"/>
                    <a:pt x="1" y="34"/>
                    <a:pt x="2" y="39"/>
                  </a:cubicBezTo>
                  <a:cubicBezTo>
                    <a:pt x="108" y="39"/>
                    <a:pt x="108" y="39"/>
                    <a:pt x="108" y="39"/>
                  </a:cubicBezTo>
                  <a:cubicBezTo>
                    <a:pt x="109" y="34"/>
                    <a:pt x="110" y="29"/>
                    <a:pt x="110" y="25"/>
                  </a:cubicBezTo>
                  <a:cubicBezTo>
                    <a:pt x="110" y="16"/>
                    <a:pt x="108" y="7"/>
                    <a:pt x="104" y="0"/>
                  </a:cubicBezTo>
                </a:path>
              </a:pathLst>
            </a:custGeom>
            <a:solidFill>
              <a:srgbClr val="7C3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Oval 269"/>
            <p:cNvSpPr>
              <a:spLocks noChangeArrowheads="1"/>
            </p:cNvSpPr>
            <p:nvPr userDrawn="1"/>
          </p:nvSpPr>
          <p:spPr bwMode="auto">
            <a:xfrm>
              <a:off x="8783638" y="4724400"/>
              <a:ext cx="671513" cy="677863"/>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9"/>
            <p:cNvSpPr>
              <a:spLocks noChangeAspect="1" noEditPoints="1"/>
            </p:cNvSpPr>
            <p:nvPr userDrawn="1"/>
          </p:nvSpPr>
          <p:spPr bwMode="auto">
            <a:xfrm>
              <a:off x="8210826" y="1526687"/>
              <a:ext cx="521239" cy="681315"/>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64"/>
            <p:cNvSpPr>
              <a:spLocks noEditPoints="1"/>
            </p:cNvSpPr>
            <p:nvPr userDrawn="1"/>
          </p:nvSpPr>
          <p:spPr bwMode="black">
            <a:xfrm>
              <a:off x="8921038" y="3609462"/>
              <a:ext cx="423322" cy="56486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5" name="Freeform 52"/>
            <p:cNvSpPr>
              <a:spLocks noEditPoints="1"/>
            </p:cNvSpPr>
            <p:nvPr userDrawn="1"/>
          </p:nvSpPr>
          <p:spPr bwMode="auto">
            <a:xfrm>
              <a:off x="10227238" y="2429322"/>
              <a:ext cx="516399" cy="517322"/>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bg1"/>
            </a:solidFill>
            <a:ln w="0">
              <a:noFill/>
              <a:prstDash val="solid"/>
              <a:round/>
              <a:headEnd/>
              <a:tailEnd/>
            </a:ln>
          </p:spPr>
          <p:txBody>
            <a:bodyPr vert="horz" wrap="square" lIns="91440" tIns="91440" rIns="91440" bIns="274320" numCol="1" anchor="b" anchorCtr="0" compatLnSpc="1">
              <a:prstTxWarp prst="textNoShape">
                <a:avLst/>
              </a:prstTxWarp>
            </a:bodyPr>
            <a:lstStyle/>
            <a:p>
              <a:endParaRPr lang="en-US" dirty="0"/>
            </a:p>
          </p:txBody>
        </p:sp>
        <p:sp>
          <p:nvSpPr>
            <p:cNvPr id="84" name="Freeform 9"/>
            <p:cNvSpPr>
              <a:spLocks noChangeAspect="1" noEditPoints="1"/>
            </p:cNvSpPr>
            <p:nvPr userDrawn="1"/>
          </p:nvSpPr>
          <p:spPr bwMode="auto">
            <a:xfrm>
              <a:off x="9861272" y="4240611"/>
              <a:ext cx="242613" cy="317121"/>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86" name="Freeform 8"/>
            <p:cNvSpPr>
              <a:spLocks noEditPoints="1"/>
            </p:cNvSpPr>
            <p:nvPr userDrawn="1"/>
          </p:nvSpPr>
          <p:spPr bwMode="auto">
            <a:xfrm rot="145679">
              <a:off x="8916494" y="4904931"/>
              <a:ext cx="464307" cy="297206"/>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742"/>
              <a:endParaRPr lang="en-US" sz="1800" dirty="0">
                <a:solidFill>
                  <a:srgbClr val="3F3F3F"/>
                </a:solidFill>
              </a:endParaRPr>
            </a:p>
          </p:txBody>
        </p:sp>
        <p:sp>
          <p:nvSpPr>
            <p:cNvPr id="87" name="Freeform 8"/>
            <p:cNvSpPr>
              <a:spLocks noEditPoints="1"/>
            </p:cNvSpPr>
            <p:nvPr userDrawn="1"/>
          </p:nvSpPr>
          <p:spPr bwMode="auto">
            <a:xfrm rot="145679">
              <a:off x="9189941" y="2824301"/>
              <a:ext cx="356864" cy="237253"/>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bg1"/>
            </a:solidFill>
            <a:ln w="3175">
              <a:noFill/>
            </a:ln>
            <a:effectLst/>
            <a:extLst/>
          </p:spPr>
          <p:txBody>
            <a:bodyPr vert="horz" wrap="square" lIns="91440" tIns="45720" rIns="91440" bIns="45720" numCol="1" anchor="t" anchorCtr="0" compatLnSpc="1">
              <a:prstTxWarp prst="textNoShape">
                <a:avLst/>
              </a:prstTxWarp>
            </a:bodyPr>
            <a:lstStyle/>
            <a:p>
              <a:pPr defTabSz="932742"/>
              <a:endParaRPr lang="en-US" sz="1800" dirty="0">
                <a:solidFill>
                  <a:srgbClr val="3F3F3F"/>
                </a:solidFill>
              </a:endParaRPr>
            </a:p>
          </p:txBody>
        </p:sp>
        <p:sp>
          <p:nvSpPr>
            <p:cNvPr id="16" name="AutoShape 202"/>
            <p:cNvSpPr>
              <a:spLocks noChangeAspect="1" noChangeArrowheads="1" noTextEdit="1"/>
            </p:cNvSpPr>
            <p:nvPr userDrawn="1"/>
          </p:nvSpPr>
          <p:spPr bwMode="auto">
            <a:xfrm>
              <a:off x="5565775" y="-357188"/>
              <a:ext cx="7088188" cy="708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031710582"/>
      </p:ext>
    </p:extLst>
  </p:cSld>
  <p:clrMapOvr>
    <a:masterClrMapping/>
  </p:clrMapOvr>
  <p:transition spd="slow">
    <p:wip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4687637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4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4"/>
          <p:cNvSpPr>
            <a:spLocks noGrp="1"/>
          </p:cNvSpPr>
          <p:nvPr>
            <p:ph type="body" sz="quarter" idx="10"/>
          </p:nvPr>
        </p:nvSpPr>
        <p:spPr>
          <a:xfrm>
            <a:off x="521208" y="375657"/>
            <a:ext cx="6400613" cy="457195"/>
          </a:xfrm>
        </p:spPr>
        <p:txBody>
          <a:bodyPr lIns="182880" tIns="146304" rIns="182880" bIns="146304" anchor="ctr" anchorCtr="0"/>
          <a:lstStyle>
            <a:lvl1pPr marL="0" indent="0">
              <a:lnSpc>
                <a:spcPts val="2800"/>
              </a:lnSpc>
              <a:spcBef>
                <a:spcPts val="0"/>
              </a:spcBef>
              <a:buFontTx/>
              <a:buNone/>
              <a:defRPr sz="2400">
                <a:solidFill>
                  <a:schemeClr val="accent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549016" y="1091909"/>
            <a:ext cx="2743200" cy="2743200"/>
          </a:xfrm>
        </p:spPr>
        <p:txBody>
          <a:bodyPr lIns="146304" tIns="91440" rIns="146304" bIns="91440">
            <a:noAutofit/>
          </a:bodyPr>
          <a:lstStyle>
            <a:lvl1pPr marL="0" indent="0">
              <a:buFontTx/>
              <a:buNone/>
              <a:defRPr sz="2400">
                <a:solidFill>
                  <a:schemeClr val="tx2"/>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41422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27914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144063"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549016" y="3954455"/>
            <a:ext cx="2743200" cy="2560671"/>
          </a:xfrm>
        </p:spPr>
        <p:txBody>
          <a:bodyPr lIns="182880" tIns="146304" bIns="146304">
            <a:noAutofit/>
          </a:bodyPr>
          <a:lstStyle>
            <a:lvl1pPr marL="0" indent="0">
              <a:lnSpc>
                <a:spcPct val="90000"/>
              </a:lnSpc>
              <a:spcBef>
                <a:spcPts val="300"/>
              </a:spcBef>
              <a:spcAft>
                <a:spcPts val="600"/>
              </a:spcAft>
              <a:buFontTx/>
              <a:buNone/>
              <a:defRPr sz="1200" b="0">
                <a:solidFill>
                  <a:schemeClr val="tx2"/>
                </a:solidFill>
                <a:latin typeface="+mn-lt"/>
                <a:cs typeface="Segoe UI" panose="020B0502040204020203" pitchFamily="34" charset="0"/>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414307" y="3954457"/>
            <a:ext cx="2742914" cy="2560643"/>
          </a:xfrm>
        </p:spPr>
        <p:txBody>
          <a:bodyPr lIns="182880" tIns="146304" bIns="146304">
            <a:noAutofit/>
          </a:bodyPr>
          <a:lstStyle>
            <a:lvl1pPr marL="0" indent="0">
              <a:lnSpc>
                <a:spcPts val="1440"/>
              </a:lnSpc>
              <a:spcBef>
                <a:spcPts val="300"/>
              </a:spcBef>
              <a:spcAft>
                <a:spcPts val="600"/>
              </a:spcAft>
              <a:buFontTx/>
              <a:buNone/>
              <a:defRPr sz="1200" b="0">
                <a:solidFill>
                  <a:schemeClr val="tx2"/>
                </a:solidFill>
                <a:latin typeface="+mn-lt"/>
                <a:cs typeface="Segoe UI" panose="020B0502040204020203" pitchFamily="34" charset="0"/>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144318" y="3954457"/>
            <a:ext cx="2742914" cy="2560643"/>
          </a:xfrm>
        </p:spPr>
        <p:txBody>
          <a:bodyPr lIns="182880" tIns="146304" bIns="146304">
            <a:noAutofit/>
          </a:bodyPr>
          <a:lstStyle>
            <a:lvl1pPr marL="0" indent="0">
              <a:lnSpc>
                <a:spcPts val="1440"/>
              </a:lnSpc>
              <a:spcBef>
                <a:spcPts val="300"/>
              </a:spcBef>
              <a:spcAft>
                <a:spcPts val="600"/>
              </a:spcAft>
              <a:buFontTx/>
              <a:buNone/>
              <a:defRPr sz="1200" b="0">
                <a:solidFill>
                  <a:schemeClr val="tx2"/>
                </a:solidFill>
                <a:latin typeface="Segoe UI" panose="020B0502040204020203" pitchFamily="34" charset="0"/>
                <a:cs typeface="Segoe UI" panose="020B0502040204020203" pitchFamily="34" charset="0"/>
                <a:sym typeface="Segoe UI" panose="020B0502040204020203" pitchFamily="34" charset="0"/>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279312" y="3954457"/>
            <a:ext cx="2742914" cy="2560643"/>
          </a:xfrm>
        </p:spPr>
        <p:txBody>
          <a:bodyPr lIns="182880" tIns="146304" bIns="146304">
            <a:noAutofit/>
          </a:bodyPr>
          <a:lstStyle>
            <a:lvl1pPr marL="0" indent="0">
              <a:lnSpc>
                <a:spcPts val="1440"/>
              </a:lnSpc>
              <a:spcBef>
                <a:spcPts val="300"/>
              </a:spcBef>
              <a:spcAft>
                <a:spcPts val="600"/>
              </a:spcAft>
              <a:buFontTx/>
              <a:buNone/>
              <a:defRPr sz="1200" b="0">
                <a:solidFill>
                  <a:schemeClr val="tx2"/>
                </a:solidFill>
                <a:latin typeface="+mn-lt"/>
                <a:cs typeface="Segoe UI" panose="020B0502040204020203" pitchFamily="34" charset="0"/>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a:xfrm>
            <a:off x="274639" y="6707283"/>
            <a:ext cx="3937000" cy="137160"/>
          </a:xfrm>
        </p:spPr>
        <p:txBody>
          <a:bodyPr/>
          <a:lstStyle>
            <a:lvl1pPr>
              <a:defRPr>
                <a:solidFill>
                  <a:srgbClr val="505050"/>
                </a:solidFill>
              </a:defRPr>
            </a:lvl1pPr>
          </a:lstStyle>
          <a:p>
            <a:endParaRPr lang="en-US" dirty="0"/>
          </a:p>
        </p:txBody>
      </p:sp>
      <p:sp>
        <p:nvSpPr>
          <p:cNvPr id="4" name="Slide Number Placeholder 3"/>
          <p:cNvSpPr>
            <a:spLocks noGrp="1"/>
          </p:cNvSpPr>
          <p:nvPr>
            <p:ph type="sldNum" sz="quarter" idx="44"/>
          </p:nvPr>
        </p:nvSpPr>
        <p:spPr>
          <a:xfrm>
            <a:off x="11595101" y="6707283"/>
            <a:ext cx="566737" cy="137160"/>
          </a:xfrm>
        </p:spPr>
        <p:txBody>
          <a:bodyPr/>
          <a:lstStyle>
            <a:lvl1pPr>
              <a:defRPr>
                <a:solidFill>
                  <a:srgbClr val="505050"/>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835865188"/>
      </p:ext>
    </p:extLst>
  </p:cSld>
  <p:clrMapOvr>
    <a:masterClrMapping/>
  </p:clrMapOvr>
  <p:transition spd="slow">
    <p:wip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9580552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9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6" y="2142636"/>
            <a:ext cx="11228387" cy="1720381"/>
          </a:xfrm>
        </p:spPr>
        <p:txBody>
          <a:bodyPr/>
          <a:lstStyle>
            <a:lvl1pPr>
              <a:defRPr sz="8800">
                <a:solidFill>
                  <a:schemeClr val="bg1"/>
                </a:solidFill>
              </a:defRPr>
            </a:lvl1pPr>
          </a:lstStyle>
          <a:p>
            <a:r>
              <a:rPr lang="en-US" dirty="0" smtClean="0"/>
              <a:t>Title</a:t>
            </a:r>
            <a:endParaRPr lang="en-US" dirty="0"/>
          </a:p>
        </p:txBody>
      </p:sp>
    </p:spTree>
    <p:extLst>
      <p:ext uri="{BB962C8B-B14F-4D97-AF65-F5344CB8AC3E}">
        <p14:creationId xmlns:p14="http://schemas.microsoft.com/office/powerpoint/2010/main" val="511434188"/>
      </p:ext>
    </p:extLst>
  </p:cSld>
  <p:clrMapOvr>
    <a:masterClrMapping/>
  </p:clrMapOvr>
  <p:transition spd="slow">
    <p:wip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842246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9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p:cNvSpPr>
            <a:spLocks noGrp="1"/>
          </p:cNvSpPr>
          <p:nvPr>
            <p:ph type="ctrTitle" hasCustomPrompt="1"/>
          </p:nvPr>
        </p:nvSpPr>
        <p:spPr>
          <a:xfrm>
            <a:off x="585216" y="2142636"/>
            <a:ext cx="11228387" cy="1720381"/>
          </a:xfrm>
        </p:spPr>
        <p:txBody>
          <a:bodyPr/>
          <a:lstStyle>
            <a:lvl1pPr>
              <a:defRPr sz="8800">
                <a:solidFill>
                  <a:schemeClr val="bg1"/>
                </a:solidFill>
              </a:defRPr>
            </a:lvl1pPr>
          </a:lstStyle>
          <a:p>
            <a:r>
              <a:rPr lang="en-US" dirty="0" smtClean="0"/>
              <a:t>Title</a:t>
            </a:r>
            <a:endParaRPr lang="en-US" dirty="0"/>
          </a:p>
        </p:txBody>
      </p:sp>
    </p:spTree>
    <p:extLst>
      <p:ext uri="{BB962C8B-B14F-4D97-AF65-F5344CB8AC3E}">
        <p14:creationId xmlns:p14="http://schemas.microsoft.com/office/powerpoint/2010/main" val="3587067009"/>
      </p:ext>
    </p:extLst>
  </p:cSld>
  <p:clrMapOvr>
    <a:masterClrMapping/>
  </p:clrMapOvr>
  <p:transition spd="slow">
    <p:wip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488008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0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1565227545"/>
      </p:ext>
    </p:extLst>
  </p:cSld>
  <p:clrMapOvr>
    <a:masterClrMapping/>
  </p:clrMapOvr>
  <p:transition spd="slow">
    <p:wip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55008" y="6482889"/>
            <a:ext cx="2798207" cy="372394"/>
          </a:xfrm>
          <a:prstGeom prst="rect">
            <a:avLst/>
          </a:prstGeom>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A17D736-E5CF-49C6-ABA9-2A913C2A7619}" type="slidenum">
              <a:rPr lang="en-US" smtClean="0"/>
              <a:t>‹#›</a:t>
            </a:fld>
            <a:endParaRPr lang="en-US"/>
          </a:p>
        </p:txBody>
      </p:sp>
    </p:spTree>
    <p:extLst>
      <p:ext uri="{BB962C8B-B14F-4D97-AF65-F5344CB8AC3E}">
        <p14:creationId xmlns:p14="http://schemas.microsoft.com/office/powerpoint/2010/main" val="2410852833"/>
      </p:ext>
    </p:extLst>
  </p:cSld>
  <p:clrMapOvr>
    <a:masterClrMapping/>
  </p:clrMapOvr>
  <p:transition spd="slow">
    <p:wip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14549" y="326413"/>
            <a:ext cx="10726460" cy="606840"/>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895716568"/>
      </p:ext>
    </p:extLst>
  </p:cSld>
  <p:clrMapOvr>
    <a:masterClrMapping/>
  </p:clrMapOvr>
  <p:transition spd="slow">
    <p:wip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768436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5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6" y="2142636"/>
            <a:ext cx="11228387" cy="1720381"/>
          </a:xfrm>
        </p:spPr>
        <p:txBody>
          <a:bodyPr/>
          <a:lstStyle>
            <a:lvl1pPr>
              <a:defRPr sz="6000">
                <a:solidFill>
                  <a:schemeClr val="bg1"/>
                </a:solidFill>
              </a:defRPr>
            </a:lvl1pPr>
          </a:lstStyle>
          <a:p>
            <a:r>
              <a:rPr lang="en-US" dirty="0" smtClean="0"/>
              <a:t>Title</a:t>
            </a:r>
            <a:endParaRPr lang="en-US" dirty="0"/>
          </a:p>
        </p:txBody>
      </p:sp>
      <p:sp>
        <p:nvSpPr>
          <p:cNvPr id="8" name="Subtitle 2"/>
          <p:cNvSpPr>
            <a:spLocks noGrp="1"/>
          </p:cNvSpPr>
          <p:nvPr>
            <p:ph type="subTitle" idx="1" hasCustomPrompt="1"/>
          </p:nvPr>
        </p:nvSpPr>
        <p:spPr>
          <a:xfrm>
            <a:off x="603503" y="3954463"/>
            <a:ext cx="11210099"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2101746364"/>
      </p:ext>
    </p:extLst>
  </p:cSld>
  <p:clrMapOvr>
    <a:masterClrMapping/>
  </p:clrMapOvr>
  <p:transition spd="slow">
    <p:wip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206790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5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6" y="2142636"/>
            <a:ext cx="11228387" cy="1720381"/>
          </a:xfrm>
        </p:spPr>
        <p:txBody>
          <a:bodyPr/>
          <a:lstStyle>
            <a:lvl1pPr>
              <a:defRPr sz="6000">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603503" y="3954463"/>
            <a:ext cx="11210099"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2562931271"/>
      </p:ext>
    </p:extLst>
  </p:cSld>
  <p:clrMapOvr>
    <a:masterClrMapping/>
  </p:clrMapOvr>
  <p:transition spd="slow">
    <p:wip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971570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6" y="2142636"/>
            <a:ext cx="11228387" cy="1720381"/>
          </a:xfrm>
        </p:spPr>
        <p:txBody>
          <a:bodyPr/>
          <a:lstStyle>
            <a:lvl1pPr>
              <a:defRPr sz="6000">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603503" y="3954463"/>
            <a:ext cx="11210099"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3789983819"/>
      </p:ext>
    </p:extLst>
  </p:cSld>
  <p:clrMapOvr>
    <a:masterClrMapping/>
  </p:clrMapOvr>
  <p:transition spd="slow">
    <p:wip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5470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6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6" y="2142636"/>
            <a:ext cx="11228387" cy="1720381"/>
          </a:xfrm>
        </p:spPr>
        <p:txBody>
          <a:bodyPr/>
          <a:lstStyle>
            <a:lvl1pPr>
              <a:defRPr sz="6000">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603503" y="3954463"/>
            <a:ext cx="11210099"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3171477041"/>
      </p:ext>
    </p:extLst>
  </p:cSld>
  <p:clrMapOvr>
    <a:masterClrMapping/>
  </p:clrMapOvr>
  <p:transition spd="slow">
    <p:wip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739376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6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6" y="2142636"/>
            <a:ext cx="11228387" cy="1720381"/>
          </a:xfrm>
        </p:spPr>
        <p:txBody>
          <a:bodyPr/>
          <a:lstStyle>
            <a:lvl1pPr>
              <a:defRPr sz="6000">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603503" y="3954463"/>
            <a:ext cx="11210099"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2962188597"/>
      </p:ext>
    </p:extLst>
  </p:cSld>
  <p:clrMapOvr>
    <a:masterClrMapping/>
  </p:clrMapOvr>
  <p:transition spd="slow">
    <p:wip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876465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6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6" y="2142636"/>
            <a:ext cx="11228387" cy="1720381"/>
          </a:xfrm>
        </p:spPr>
        <p:txBody>
          <a:bodyPr/>
          <a:lstStyle>
            <a:lvl1pPr>
              <a:defRPr sz="6000">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603503" y="3954463"/>
            <a:ext cx="11210099"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4006924507"/>
      </p:ext>
    </p:extLst>
  </p:cSld>
  <p:clrMapOvr>
    <a:masterClrMapping/>
  </p:clrMapOvr>
  <p:transition spd="slow">
    <p:wip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74368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6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6" y="2142636"/>
            <a:ext cx="8248671" cy="1720381"/>
          </a:xfrm>
        </p:spPr>
        <p:txBody>
          <a:bodyPr/>
          <a:lstStyle>
            <a:lvl1pPr>
              <a:defRPr sz="6000">
                <a:solidFill>
                  <a:schemeClr val="bg1"/>
                </a:solidFill>
              </a:defRPr>
            </a:lvl1pPr>
          </a:lstStyle>
          <a:p>
            <a:r>
              <a:rPr lang="en-US" dirty="0" smtClean="0"/>
              <a:t>Title</a:t>
            </a:r>
            <a:endParaRPr lang="en-US" dirty="0"/>
          </a:p>
        </p:txBody>
      </p:sp>
      <p:sp>
        <p:nvSpPr>
          <p:cNvPr id="8" name="Subtitle 2"/>
          <p:cNvSpPr>
            <a:spLocks noGrp="1"/>
          </p:cNvSpPr>
          <p:nvPr>
            <p:ph type="subTitle" idx="1" hasCustomPrompt="1"/>
          </p:nvPr>
        </p:nvSpPr>
        <p:spPr>
          <a:xfrm>
            <a:off x="603504" y="3954463"/>
            <a:ext cx="8235236"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p>
        </p:txBody>
      </p:sp>
      <p:grpSp>
        <p:nvGrpSpPr>
          <p:cNvPr id="5" name="Group 4"/>
          <p:cNvGrpSpPr/>
          <p:nvPr userDrawn="1"/>
        </p:nvGrpSpPr>
        <p:grpSpPr>
          <a:xfrm>
            <a:off x="8925987" y="1341231"/>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a:lnSpc>
                  <a:spcPct val="90000"/>
                </a:lnSpc>
                <a:spcAft>
                  <a:spcPts val="600"/>
                </a:spcAft>
              </a:pPr>
              <a:endParaRPr lang="en-US" sz="1400" b="1" dirty="0" smtClean="0">
                <a:solidFill>
                  <a:schemeClr val="accent5">
                    <a:lumMod val="40000"/>
                    <a:lumOff val="60000"/>
                  </a:scheme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a:lnSpc>
                  <a:spcPct val="90000"/>
                </a:lnSpc>
                <a:spcAft>
                  <a:spcPts val="600"/>
                </a:spcAft>
              </a:pPr>
              <a:endParaRPr lang="en-US" sz="1400" b="1" dirty="0" smtClean="0">
                <a:solidFill>
                  <a:schemeClr val="accent1">
                    <a:lumMod val="60000"/>
                    <a:lumOff val="40000"/>
                  </a:scheme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a:lnSpc>
                  <a:spcPct val="90000"/>
                </a:lnSpc>
                <a:spcAft>
                  <a:spcPts val="600"/>
                </a:spcAft>
              </a:pPr>
              <a:endParaRPr lang="en-US" b="1" dirty="0" smtClean="0">
                <a:solidFill>
                  <a:schemeClr val="bg1">
                    <a:lumMod val="65000"/>
                  </a:schemeClr>
                </a:solidFill>
              </a:endParaRPr>
            </a:p>
          </p:txBody>
        </p:sp>
      </p:grpSp>
    </p:spTree>
    <p:extLst>
      <p:ext uri="{BB962C8B-B14F-4D97-AF65-F5344CB8AC3E}">
        <p14:creationId xmlns:p14="http://schemas.microsoft.com/office/powerpoint/2010/main" val="3636823686"/>
      </p:ext>
    </p:extLst>
  </p:cSld>
  <p:clrMapOvr>
    <a:masterClrMapping/>
  </p:clrMapOvr>
  <p:transition spd="slow">
    <p:wip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8"/>
            </p:custDataLst>
            <p:extLst>
              <p:ext uri="{D42A27DB-BD31-4B8C-83A1-F6EECF244321}">
                <p14:modId xmlns:p14="http://schemas.microsoft.com/office/powerpoint/2010/main" val="3598359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470"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85216" y="295274"/>
            <a:ext cx="11271191" cy="917575"/>
          </a:xfrm>
          <a:prstGeom prst="rect">
            <a:avLst/>
          </a:prstGeom>
        </p:spPr>
        <p:txBody>
          <a:bodyPr vert="horz" wrap="square" lIns="0"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603504" y="1212851"/>
            <a:ext cx="11268948" cy="2092881"/>
          </a:xfrm>
          <a:prstGeom prst="rect">
            <a:avLst/>
          </a:prstGeom>
        </p:spPr>
        <p:txBody>
          <a:bodyPr vert="horz" wrap="square" lIns="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ooter Placeholder 2"/>
          <p:cNvSpPr>
            <a:spLocks noGrp="1"/>
          </p:cNvSpPr>
          <p:nvPr>
            <p:ph type="ftr" sz="quarter" idx="3"/>
          </p:nvPr>
        </p:nvSpPr>
        <p:spPr>
          <a:xfrm>
            <a:off x="274639"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tx2"/>
                </a:solidFill>
                <a:latin typeface="+mn-lt"/>
                <a:ea typeface="+mn-ea"/>
                <a:cs typeface="+mn-cs"/>
              </a:defRPr>
            </a:lvl1pPr>
          </a:lstStyle>
          <a:p>
            <a:endParaRPr lang="en-US" dirty="0"/>
          </a:p>
        </p:txBody>
      </p:sp>
      <p:sp>
        <p:nvSpPr>
          <p:cNvPr id="5"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tx2"/>
                </a:soli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88" r:id="rId1"/>
    <p:sldLayoutId id="2147484355" r:id="rId2"/>
    <p:sldLayoutId id="2147484195" r:id="rId3"/>
    <p:sldLayoutId id="2147484194" r:id="rId4"/>
    <p:sldLayoutId id="2147484260" r:id="rId5"/>
    <p:sldLayoutId id="2147484197" r:id="rId6"/>
    <p:sldLayoutId id="2147484298" r:id="rId7"/>
    <p:sldLayoutId id="2147484196" r:id="rId8"/>
    <p:sldLayoutId id="2147484356" r:id="rId9"/>
    <p:sldLayoutId id="2147484357" r:id="rId10"/>
    <p:sldLayoutId id="2147484358" r:id="rId11"/>
    <p:sldLayoutId id="2147484359" r:id="rId12"/>
    <p:sldLayoutId id="2147484360" r:id="rId13"/>
    <p:sldLayoutId id="2147484361" r:id="rId14"/>
    <p:sldLayoutId id="2147484353" r:id="rId15"/>
    <p:sldLayoutId id="2147484354" r:id="rId16"/>
    <p:sldLayoutId id="2147484198" r:id="rId17"/>
    <p:sldLayoutId id="2147484199" r:id="rId18"/>
    <p:sldLayoutId id="2147484333" r:id="rId19"/>
    <p:sldLayoutId id="2147484308" r:id="rId20"/>
    <p:sldLayoutId id="2147484230" r:id="rId21"/>
    <p:sldLayoutId id="2147484228" r:id="rId22"/>
    <p:sldLayoutId id="2147484259" r:id="rId23"/>
    <p:sldLayoutId id="2147484362" r:id="rId24"/>
    <p:sldLayoutId id="2147484363" r:id="rId25"/>
  </p:sldLayoutIdLst>
  <p:transition spd="slow">
    <p:wipe/>
  </p:transition>
  <p:timing>
    <p:tnLst>
      <p:par>
        <p:cTn id="1" dur="indefinite" restart="never" nodeType="tmRoot"/>
      </p:par>
    </p:tnLst>
  </p:timing>
  <p:hf hdr="0" ftr="0" dt="0"/>
  <p:txStyles>
    <p:titleStyle>
      <a:lvl1pPr algn="l" defTabSz="932742" rtl="0" eaLnBrk="1" latinLnBrk="0" hangingPunct="1">
        <a:lnSpc>
          <a:spcPct val="90000"/>
        </a:lnSpc>
        <a:spcBef>
          <a:spcPct val="0"/>
        </a:spcBef>
        <a:buNone/>
        <a:defRPr lang="en-US" sz="5400" b="0" kern="1200" cap="none" spc="-102" baseline="0" dirty="0" smtClean="0">
          <a:ln w="3175">
            <a:noFill/>
          </a:ln>
          <a:solidFill>
            <a:schemeClr val="tx2"/>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4.emf"/><Relationship Id="rId5" Type="http://schemas.openxmlformats.org/officeDocument/2006/relationships/oleObject" Target="../embeddings/oleObject2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18.jpeg"/><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22.emf"/><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4.emf"/><Relationship Id="rId5" Type="http://schemas.openxmlformats.org/officeDocument/2006/relationships/oleObject" Target="../embeddings/oleObject26.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23.emf"/><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4.emf"/><Relationship Id="rId5" Type="http://schemas.openxmlformats.org/officeDocument/2006/relationships/oleObject" Target="../embeddings/oleObject44.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20.jpg"/><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4.emf"/><Relationship Id="rId5" Type="http://schemas.openxmlformats.org/officeDocument/2006/relationships/oleObject" Target="../embeddings/oleObject45.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4.emf"/><Relationship Id="rId5" Type="http://schemas.openxmlformats.org/officeDocument/2006/relationships/oleObject" Target="../embeddings/oleObject46.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4.emf"/><Relationship Id="rId5" Type="http://schemas.openxmlformats.org/officeDocument/2006/relationships/oleObject" Target="../embeddings/oleObject47.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4.emf"/><Relationship Id="rId5" Type="http://schemas.openxmlformats.org/officeDocument/2006/relationships/oleObject" Target="../embeddings/oleObject48.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24.jpeg"/><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4.emf"/><Relationship Id="rId5" Type="http://schemas.openxmlformats.org/officeDocument/2006/relationships/oleObject" Target="../embeddings/oleObject49.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4.emf"/><Relationship Id="rId5" Type="http://schemas.openxmlformats.org/officeDocument/2006/relationships/oleObject" Target="../embeddings/oleObject50.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4.emf"/><Relationship Id="rId5" Type="http://schemas.openxmlformats.org/officeDocument/2006/relationships/oleObject" Target="../embeddings/oleObject51.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jpeg"/><Relationship Id="rId18" Type="http://schemas.openxmlformats.org/officeDocument/2006/relationships/image" Target="../media/image36.png"/><Relationship Id="rId3" Type="http://schemas.openxmlformats.org/officeDocument/2006/relationships/slideLayout" Target="../slideLayouts/slideLayout18.xml"/><Relationship Id="rId7" Type="http://schemas.openxmlformats.org/officeDocument/2006/relationships/image" Target="../media/image25.png"/><Relationship Id="rId12" Type="http://schemas.openxmlformats.org/officeDocument/2006/relationships/image" Target="../media/image30.png"/><Relationship Id="rId17" Type="http://schemas.openxmlformats.org/officeDocument/2006/relationships/image" Target="../media/image35.png"/><Relationship Id="rId2" Type="http://schemas.openxmlformats.org/officeDocument/2006/relationships/tags" Target="../tags/tag53.xml"/><Relationship Id="rId16" Type="http://schemas.openxmlformats.org/officeDocument/2006/relationships/image" Target="../media/image34.png"/><Relationship Id="rId1" Type="http://schemas.openxmlformats.org/officeDocument/2006/relationships/vmlDrawing" Target="../drawings/vmlDrawing52.vml"/><Relationship Id="rId6" Type="http://schemas.openxmlformats.org/officeDocument/2006/relationships/image" Target="../media/image4.emf"/><Relationship Id="rId11" Type="http://schemas.openxmlformats.org/officeDocument/2006/relationships/image" Target="../media/image29.png"/><Relationship Id="rId5" Type="http://schemas.openxmlformats.org/officeDocument/2006/relationships/oleObject" Target="../embeddings/oleObject52.bin"/><Relationship Id="rId15" Type="http://schemas.openxmlformats.org/officeDocument/2006/relationships/image" Target="../media/image33.png"/><Relationship Id="rId10" Type="http://schemas.openxmlformats.org/officeDocument/2006/relationships/image" Target="../media/image28.png"/><Relationship Id="rId19" Type="http://schemas.openxmlformats.org/officeDocument/2006/relationships/image" Target="../media/image37.png"/><Relationship Id="rId4" Type="http://schemas.openxmlformats.org/officeDocument/2006/relationships/notesSlide" Target="../notesSlides/notesSlide28.xml"/><Relationship Id="rId9" Type="http://schemas.openxmlformats.org/officeDocument/2006/relationships/image" Target="../media/image27.png"/><Relationship Id="rId14" Type="http://schemas.openxmlformats.org/officeDocument/2006/relationships/image" Target="../media/image32.png"/></Relationships>
</file>

<file path=ppt/slides/_rels/slide29.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36.png"/><Relationship Id="rId18" Type="http://schemas.openxmlformats.org/officeDocument/2006/relationships/image" Target="../media/image46.png"/><Relationship Id="rId3" Type="http://schemas.openxmlformats.org/officeDocument/2006/relationships/slideLayout" Target="../slideLayouts/slideLayout18.xml"/><Relationship Id="rId21" Type="http://schemas.openxmlformats.org/officeDocument/2006/relationships/image" Target="../media/image49.png"/><Relationship Id="rId7" Type="http://schemas.openxmlformats.org/officeDocument/2006/relationships/image" Target="../media/image38.png"/><Relationship Id="rId12" Type="http://schemas.openxmlformats.org/officeDocument/2006/relationships/image" Target="../media/image27.png"/><Relationship Id="rId17" Type="http://schemas.openxmlformats.org/officeDocument/2006/relationships/image" Target="../media/image45.png"/><Relationship Id="rId2" Type="http://schemas.openxmlformats.org/officeDocument/2006/relationships/tags" Target="../tags/tag54.xml"/><Relationship Id="rId16" Type="http://schemas.openxmlformats.org/officeDocument/2006/relationships/image" Target="../media/image44.png"/><Relationship Id="rId20" Type="http://schemas.openxmlformats.org/officeDocument/2006/relationships/image" Target="../media/image48.png"/><Relationship Id="rId1" Type="http://schemas.openxmlformats.org/officeDocument/2006/relationships/vmlDrawing" Target="../drawings/vmlDrawing53.vml"/><Relationship Id="rId6" Type="http://schemas.openxmlformats.org/officeDocument/2006/relationships/image" Target="../media/image4.emf"/><Relationship Id="rId11" Type="http://schemas.openxmlformats.org/officeDocument/2006/relationships/image" Target="../media/image42.png"/><Relationship Id="rId5" Type="http://schemas.openxmlformats.org/officeDocument/2006/relationships/oleObject" Target="../embeddings/oleObject53.bin"/><Relationship Id="rId15" Type="http://schemas.openxmlformats.org/officeDocument/2006/relationships/image" Target="../media/image43.png"/><Relationship Id="rId10" Type="http://schemas.openxmlformats.org/officeDocument/2006/relationships/image" Target="../media/image41.gif"/><Relationship Id="rId19" Type="http://schemas.openxmlformats.org/officeDocument/2006/relationships/image" Target="../media/image47.png"/><Relationship Id="rId4" Type="http://schemas.openxmlformats.org/officeDocument/2006/relationships/notesSlide" Target="../notesSlides/notesSlide29.xml"/><Relationship Id="rId9" Type="http://schemas.openxmlformats.org/officeDocument/2006/relationships/image" Target="../media/image40.png"/><Relationship Id="rId14"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4.emf"/><Relationship Id="rId5" Type="http://schemas.openxmlformats.org/officeDocument/2006/relationships/oleObject" Target="../embeddings/oleObject27.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4.emf"/><Relationship Id="rId5" Type="http://schemas.openxmlformats.org/officeDocument/2006/relationships/oleObject" Target="../embeddings/oleObject54.bin"/><Relationship Id="rId4" Type="http://schemas.openxmlformats.org/officeDocument/2006/relationships/notesSlide" Target="../notesSlides/notesSlide31.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8.xml"/><Relationship Id="rId7" Type="http://schemas.openxmlformats.org/officeDocument/2006/relationships/image" Target="../media/image5.pn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notesSlide" Target="../notesSlides/notesSlide4.xml"/><Relationship Id="rId9"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3" Type="http://schemas.openxmlformats.org/officeDocument/2006/relationships/slideLayout" Target="../slideLayouts/slideLayout18.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4.emf"/><Relationship Id="rId11" Type="http://schemas.openxmlformats.org/officeDocument/2006/relationships/image" Target="../media/image12.png"/><Relationship Id="rId5" Type="http://schemas.openxmlformats.org/officeDocument/2006/relationships/oleObject" Target="../embeddings/oleObject29.bin"/><Relationship Id="rId10" Type="http://schemas.openxmlformats.org/officeDocument/2006/relationships/image" Target="../media/image11.png"/><Relationship Id="rId4" Type="http://schemas.openxmlformats.org/officeDocument/2006/relationships/notesSlide" Target="../notesSlides/notesSlide5.xml"/><Relationship Id="rId9" Type="http://schemas.openxmlformats.org/officeDocument/2006/relationships/image" Target="../media/image10.png"/></Relationships>
</file>

<file path=ppt/slides/_rels/slide6.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Layout" Target="../slideLayouts/slideLayout18.xml"/><Relationship Id="rId7" Type="http://schemas.openxmlformats.org/officeDocument/2006/relationships/image" Target="../media/image15.emf"/><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notesSlide" Target="../notesSlides/notesSlide6.xml"/><Relationship Id="rId9" Type="http://schemas.openxmlformats.org/officeDocument/2006/relationships/image" Target="../media/image17.emf"/></Relationships>
</file>

<file path=ppt/slides/_rels/slide7.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slideLayout" Target="../slideLayouts/slideLayout18.xml"/><Relationship Id="rId7" Type="http://schemas.openxmlformats.org/officeDocument/2006/relationships/image" Target="../media/image18.jpe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10" Type="http://schemas.openxmlformats.org/officeDocument/2006/relationships/image" Target="../media/image21.jpeg"/><Relationship Id="rId4" Type="http://schemas.openxmlformats.org/officeDocument/2006/relationships/notesSlide" Target="../notesSlides/notesSlide7.xml"/><Relationship Id="rId9" Type="http://schemas.openxmlformats.org/officeDocument/2006/relationships/image" Target="../media/image20.jp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19.jpg"/><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385872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658"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p:txBody>
          <a:bodyPr/>
          <a:lstStyle/>
          <a:p>
            <a:r>
              <a:rPr lang="en-US" sz="4800" dirty="0" smtClean="0"/>
              <a:t>Security, Privacy, Control and </a:t>
            </a:r>
            <a:br>
              <a:rPr lang="en-US" sz="4800" dirty="0" smtClean="0"/>
            </a:br>
            <a:r>
              <a:rPr lang="en-US" sz="4800" dirty="0" smtClean="0"/>
              <a:t>Compliance in the Cloud</a:t>
            </a:r>
            <a:endParaRPr lang="en-US" sz="4800" dirty="0"/>
          </a:p>
        </p:txBody>
      </p:sp>
      <p:sp>
        <p:nvSpPr>
          <p:cNvPr id="3" name="Subtitle 2"/>
          <p:cNvSpPr>
            <a:spLocks noGrp="1"/>
          </p:cNvSpPr>
          <p:nvPr>
            <p:ph type="subTitle" idx="1"/>
          </p:nvPr>
        </p:nvSpPr>
        <p:spPr/>
        <p:txBody>
          <a:bodyPr/>
          <a:lstStyle/>
          <a:p>
            <a:r>
              <a:rPr lang="de-DE" dirty="0" smtClean="0"/>
              <a:t>Peter Kirchner</a:t>
            </a:r>
          </a:p>
          <a:p>
            <a:r>
              <a:rPr lang="de-DE" dirty="0" smtClean="0"/>
              <a:t>Microsoft Deutschland GmbH</a:t>
            </a:r>
            <a:endParaRPr lang="en-US" dirty="0" smtClean="0"/>
          </a:p>
        </p:txBody>
      </p:sp>
    </p:spTree>
    <p:extLst>
      <p:ext uri="{BB962C8B-B14F-4D97-AF65-F5344CB8AC3E}">
        <p14:creationId xmlns:p14="http://schemas.microsoft.com/office/powerpoint/2010/main" val="2304397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3961"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IN" dirty="0"/>
              <a:t>Infrastructure protection</a:t>
            </a:r>
          </a:p>
        </p:txBody>
      </p:sp>
      <p:sp>
        <p:nvSpPr>
          <p:cNvPr id="17" name="Rectangle 16"/>
          <p:cNvSpPr/>
          <p:nvPr/>
        </p:nvSpPr>
        <p:spPr>
          <a:xfrm>
            <a:off x="579438" y="1330850"/>
            <a:ext cx="11277600" cy="830997"/>
          </a:xfrm>
          <a:prstGeom prst="rect">
            <a:avLst/>
          </a:prstGeom>
        </p:spPr>
        <p:txBody>
          <a:bodyPr wrap="square" lIns="0">
            <a:spAutoFit/>
          </a:bodyPr>
          <a:lstStyle/>
          <a:p>
            <a:r>
              <a:rPr lang="en-IN" sz="2400" dirty="0">
                <a:solidFill>
                  <a:schemeClr val="tx2"/>
                </a:solidFill>
                <a:latin typeface="+mj-lt"/>
              </a:rPr>
              <a:t>Azure infrastructure includes hardware, software, networks, administrative and operations staff, </a:t>
            </a:r>
            <a:r>
              <a:rPr lang="en-IN" sz="2400" dirty="0" smtClean="0">
                <a:solidFill>
                  <a:schemeClr val="tx2"/>
                </a:solidFill>
                <a:latin typeface="+mj-lt"/>
              </a:rPr>
              <a:t>policies and procedures, and </a:t>
            </a:r>
            <a:r>
              <a:rPr lang="en-IN" sz="2400" dirty="0">
                <a:solidFill>
                  <a:schemeClr val="tx2"/>
                </a:solidFill>
                <a:latin typeface="+mj-lt"/>
              </a:rPr>
              <a:t>the physical data centers that house it </a:t>
            </a:r>
            <a:r>
              <a:rPr lang="en-IN" sz="2400" dirty="0" smtClean="0">
                <a:solidFill>
                  <a:schemeClr val="tx2"/>
                </a:solidFill>
                <a:latin typeface="+mj-lt"/>
              </a:rPr>
              <a:t>all</a:t>
            </a:r>
            <a:endParaRPr lang="en-IN" sz="2400" dirty="0">
              <a:solidFill>
                <a:schemeClr val="tx2"/>
              </a:solidFill>
              <a:latin typeface="+mj-lt"/>
            </a:endParaRPr>
          </a:p>
        </p:txBody>
      </p:sp>
      <p:grpSp>
        <p:nvGrpSpPr>
          <p:cNvPr id="1414" name="Group 1413"/>
          <p:cNvGrpSpPr/>
          <p:nvPr/>
        </p:nvGrpSpPr>
        <p:grpSpPr>
          <a:xfrm>
            <a:off x="579438" y="2244854"/>
            <a:ext cx="4255397" cy="4749672"/>
            <a:chOff x="579438" y="2244854"/>
            <a:chExt cx="4255397" cy="4749672"/>
          </a:xfrm>
        </p:grpSpPr>
        <p:sp>
          <p:nvSpPr>
            <p:cNvPr id="18" name="Rectangle 17"/>
            <p:cNvSpPr/>
            <p:nvPr/>
          </p:nvSpPr>
          <p:spPr bwMode="auto">
            <a:xfrm>
              <a:off x="1136195" y="2244854"/>
              <a:ext cx="3698640" cy="1371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IN" sz="2400" dirty="0">
                  <a:solidFill>
                    <a:schemeClr val="tx2"/>
                  </a:solidFill>
                  <a:latin typeface="+mj-lt"/>
                  <a:ea typeface="Segoe UI" pitchFamily="34" charset="0"/>
                  <a:cs typeface="Segoe UI" pitchFamily="34" charset="0"/>
                </a:rPr>
                <a:t>24 hour monitored </a:t>
              </a:r>
              <a:r>
                <a:rPr lang="en-IN" sz="2800" dirty="0" smtClean="0">
                  <a:solidFill>
                    <a:schemeClr val="accent1"/>
                  </a:solidFill>
                  <a:latin typeface="Segoe UI Semibold" panose="020B0702040204020203" pitchFamily="34" charset="0"/>
                  <a:ea typeface="Segoe UI" pitchFamily="34" charset="0"/>
                  <a:cs typeface="Segoe UI" pitchFamily="34" charset="0"/>
                </a:rPr>
                <a:t>PHYSICAL SECURITY</a:t>
              </a:r>
              <a:endParaRPr lang="en-IN" sz="2800" dirty="0">
                <a:solidFill>
                  <a:schemeClr val="accent1"/>
                </a:solidFill>
                <a:latin typeface="Segoe UI Semibold" panose="020B0702040204020203" pitchFamily="34" charset="0"/>
                <a:ea typeface="Segoe UI" pitchFamily="34" charset="0"/>
                <a:cs typeface="Segoe UI" pitchFamily="34" charset="0"/>
              </a:endParaRPr>
            </a:p>
          </p:txBody>
        </p:sp>
        <p:sp>
          <p:nvSpPr>
            <p:cNvPr id="21" name="Oval 20"/>
            <p:cNvSpPr/>
            <p:nvPr/>
          </p:nvSpPr>
          <p:spPr bwMode="auto">
            <a:xfrm>
              <a:off x="1061078" y="2855538"/>
              <a:ext cx="150232" cy="150232"/>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68" name="Elbow Connector 67"/>
            <p:cNvCxnSpPr>
              <a:endCxn id="21" idx="2"/>
            </p:cNvCxnSpPr>
            <p:nvPr/>
          </p:nvCxnSpPr>
          <p:spPr>
            <a:xfrm rot="5400000" flipH="1" flipV="1">
              <a:off x="-1211678" y="4721770"/>
              <a:ext cx="4063872" cy="481640"/>
            </a:xfrm>
            <a:prstGeom prst="bentConnector2">
              <a:avLst/>
            </a:prstGeom>
            <a:ln w="28575">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15" name="Group 1414"/>
          <p:cNvGrpSpPr/>
          <p:nvPr/>
        </p:nvGrpSpPr>
        <p:grpSpPr>
          <a:xfrm>
            <a:off x="579438" y="3667962"/>
            <a:ext cx="4255397" cy="1371600"/>
            <a:chOff x="579438" y="3667962"/>
            <a:chExt cx="4255397" cy="1371600"/>
          </a:xfrm>
        </p:grpSpPr>
        <p:sp>
          <p:nvSpPr>
            <p:cNvPr id="59" name="Rectangle 58"/>
            <p:cNvSpPr/>
            <p:nvPr/>
          </p:nvSpPr>
          <p:spPr bwMode="auto">
            <a:xfrm>
              <a:off x="1136195" y="3667962"/>
              <a:ext cx="3698640" cy="1371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IN" sz="2400" dirty="0">
                  <a:solidFill>
                    <a:schemeClr val="tx2"/>
                  </a:solidFill>
                  <a:latin typeface="+mj-lt"/>
                  <a:ea typeface="Segoe UI" pitchFamily="34" charset="0"/>
                  <a:cs typeface="Segoe UI" pitchFamily="34" charset="0"/>
                </a:rPr>
                <a:t>Centralized </a:t>
              </a:r>
              <a:r>
                <a:rPr lang="en-IN" sz="2800" dirty="0" smtClean="0">
                  <a:solidFill>
                    <a:schemeClr val="accent1"/>
                  </a:solidFill>
                  <a:latin typeface="Segoe UI Semibold" panose="020B0702040204020203" pitchFamily="34" charset="0"/>
                  <a:ea typeface="Segoe UI" pitchFamily="34" charset="0"/>
                  <a:cs typeface="Segoe UI" pitchFamily="34" charset="0"/>
                </a:rPr>
                <a:t>MONITORING AND ALERTS</a:t>
              </a:r>
              <a:endParaRPr lang="en-IN" sz="2800" dirty="0">
                <a:solidFill>
                  <a:schemeClr val="accent1"/>
                </a:solidFill>
                <a:latin typeface="Segoe UI Semibold" panose="020B0702040204020203" pitchFamily="34" charset="0"/>
                <a:ea typeface="Segoe UI" pitchFamily="34" charset="0"/>
                <a:cs typeface="Segoe UI" pitchFamily="34" charset="0"/>
              </a:endParaRPr>
            </a:p>
          </p:txBody>
        </p:sp>
        <p:sp>
          <p:nvSpPr>
            <p:cNvPr id="69" name="Oval 68"/>
            <p:cNvSpPr/>
            <p:nvPr/>
          </p:nvSpPr>
          <p:spPr bwMode="auto">
            <a:xfrm>
              <a:off x="1061078" y="4278646"/>
              <a:ext cx="150232" cy="150232"/>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24" name="Straight Connector 23"/>
            <p:cNvCxnSpPr/>
            <p:nvPr/>
          </p:nvCxnSpPr>
          <p:spPr>
            <a:xfrm flipH="1">
              <a:off x="579438" y="4353762"/>
              <a:ext cx="481640" cy="0"/>
            </a:xfrm>
            <a:prstGeom prst="line">
              <a:avLst/>
            </a:prstGeom>
            <a:ln w="28575">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17" name="Group 1416"/>
          <p:cNvGrpSpPr/>
          <p:nvPr/>
        </p:nvGrpSpPr>
        <p:grpSpPr>
          <a:xfrm>
            <a:off x="7685315" y="2244854"/>
            <a:ext cx="4060017" cy="4749672"/>
            <a:chOff x="7685315" y="2244854"/>
            <a:chExt cx="4060017" cy="4749672"/>
          </a:xfrm>
        </p:grpSpPr>
        <p:sp>
          <p:nvSpPr>
            <p:cNvPr id="91" name="Rectangle 90"/>
            <p:cNvSpPr/>
            <p:nvPr/>
          </p:nvSpPr>
          <p:spPr bwMode="auto">
            <a:xfrm>
              <a:off x="7685315" y="2244854"/>
              <a:ext cx="3498237" cy="1371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IN" sz="2400" dirty="0">
                  <a:solidFill>
                    <a:schemeClr val="tx2"/>
                  </a:solidFill>
                  <a:latin typeface="+mj-lt"/>
                  <a:ea typeface="Segoe UI" pitchFamily="34" charset="0"/>
                  <a:cs typeface="Segoe UI" pitchFamily="34" charset="0"/>
                </a:rPr>
                <a:t>Anti-Virus/Anti-Malware </a:t>
              </a:r>
              <a:r>
                <a:rPr lang="en-IN" sz="2800" dirty="0" smtClean="0">
                  <a:solidFill>
                    <a:schemeClr val="accent1"/>
                  </a:solidFill>
                  <a:latin typeface="Segoe UI Semibold" panose="020B0702040204020203" pitchFamily="34" charset="0"/>
                  <a:ea typeface="Segoe UI" pitchFamily="34" charset="0"/>
                  <a:cs typeface="Segoe UI" pitchFamily="34" charset="0"/>
                </a:rPr>
                <a:t>PROTECTION</a:t>
              </a:r>
              <a:endParaRPr lang="en-IN" sz="2800" dirty="0">
                <a:solidFill>
                  <a:schemeClr val="accent1"/>
                </a:solidFill>
                <a:latin typeface="Segoe UI Semibold" panose="020B0702040204020203" pitchFamily="34" charset="0"/>
                <a:ea typeface="Segoe UI" pitchFamily="34" charset="0"/>
                <a:cs typeface="Segoe UI" pitchFamily="34" charset="0"/>
              </a:endParaRPr>
            </a:p>
          </p:txBody>
        </p:sp>
        <p:sp>
          <p:nvSpPr>
            <p:cNvPr id="96" name="Oval 95"/>
            <p:cNvSpPr/>
            <p:nvPr/>
          </p:nvSpPr>
          <p:spPr bwMode="auto">
            <a:xfrm flipH="1">
              <a:off x="11113460" y="2855538"/>
              <a:ext cx="150232" cy="150232"/>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97" name="Elbow Connector 96"/>
            <p:cNvCxnSpPr>
              <a:endCxn id="96" idx="2"/>
            </p:cNvCxnSpPr>
            <p:nvPr/>
          </p:nvCxnSpPr>
          <p:spPr>
            <a:xfrm rot="16200000" flipV="1">
              <a:off x="9472576" y="4721770"/>
              <a:ext cx="4063872" cy="481640"/>
            </a:xfrm>
            <a:prstGeom prst="bentConnector2">
              <a:avLst/>
            </a:prstGeom>
            <a:ln w="28575">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18" name="Group 1417"/>
          <p:cNvGrpSpPr/>
          <p:nvPr/>
        </p:nvGrpSpPr>
        <p:grpSpPr>
          <a:xfrm>
            <a:off x="7685315" y="3667962"/>
            <a:ext cx="4060017" cy="1371600"/>
            <a:chOff x="7685315" y="3667962"/>
            <a:chExt cx="4060017" cy="1371600"/>
          </a:xfrm>
        </p:grpSpPr>
        <p:sp>
          <p:nvSpPr>
            <p:cNvPr id="92" name="Rectangle 91"/>
            <p:cNvSpPr/>
            <p:nvPr/>
          </p:nvSpPr>
          <p:spPr bwMode="auto">
            <a:xfrm>
              <a:off x="7685315" y="3667962"/>
              <a:ext cx="3498237" cy="1371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IN" sz="2400" dirty="0" smtClean="0">
                  <a:solidFill>
                    <a:schemeClr val="tx2"/>
                  </a:solidFill>
                  <a:latin typeface="+mj-lt"/>
                  <a:ea typeface="Segoe UI" pitchFamily="34" charset="0"/>
                  <a:cs typeface="Segoe UI" pitchFamily="34" charset="0"/>
                </a:rPr>
                <a:t>Red Teaming</a:t>
              </a:r>
              <a:br>
                <a:rPr lang="en-IN" sz="2400" dirty="0" smtClean="0">
                  <a:solidFill>
                    <a:schemeClr val="tx2"/>
                  </a:solidFill>
                  <a:latin typeface="+mj-lt"/>
                  <a:ea typeface="Segoe UI" pitchFamily="34" charset="0"/>
                  <a:cs typeface="Segoe UI" pitchFamily="34" charset="0"/>
                </a:rPr>
              </a:br>
              <a:r>
                <a:rPr lang="en-IN" sz="2800" dirty="0" smtClean="0">
                  <a:solidFill>
                    <a:schemeClr val="accent1"/>
                  </a:solidFill>
                  <a:latin typeface="Segoe UI Semibold" panose="020B0702040204020203" pitchFamily="34" charset="0"/>
                  <a:ea typeface="Segoe UI" pitchFamily="34" charset="0"/>
                  <a:cs typeface="Segoe UI" pitchFamily="34" charset="0"/>
                </a:rPr>
                <a:t>PENETRATION TESTING</a:t>
              </a:r>
              <a:endParaRPr lang="en-IN" sz="2800" dirty="0">
                <a:solidFill>
                  <a:schemeClr val="accent1"/>
                </a:solidFill>
                <a:latin typeface="Segoe UI Semibold" panose="020B0702040204020203" pitchFamily="34" charset="0"/>
                <a:ea typeface="Segoe UI" pitchFamily="34" charset="0"/>
                <a:cs typeface="Segoe UI" pitchFamily="34" charset="0"/>
              </a:endParaRPr>
            </a:p>
          </p:txBody>
        </p:sp>
        <p:sp>
          <p:nvSpPr>
            <p:cNvPr id="98" name="Oval 97"/>
            <p:cNvSpPr/>
            <p:nvPr/>
          </p:nvSpPr>
          <p:spPr bwMode="auto">
            <a:xfrm flipH="1">
              <a:off x="11113460" y="4278646"/>
              <a:ext cx="150232" cy="150232"/>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100" name="Straight Connector 99"/>
            <p:cNvCxnSpPr/>
            <p:nvPr/>
          </p:nvCxnSpPr>
          <p:spPr>
            <a:xfrm>
              <a:off x="11263692" y="4353762"/>
              <a:ext cx="481640" cy="0"/>
            </a:xfrm>
            <a:prstGeom prst="line">
              <a:avLst/>
            </a:prstGeom>
            <a:ln w="28575">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19" name="Group 1418"/>
          <p:cNvGrpSpPr/>
          <p:nvPr/>
        </p:nvGrpSpPr>
        <p:grpSpPr>
          <a:xfrm>
            <a:off x="7685315" y="5091070"/>
            <a:ext cx="4060018" cy="1371600"/>
            <a:chOff x="7685315" y="5091070"/>
            <a:chExt cx="4060018" cy="1371600"/>
          </a:xfrm>
        </p:grpSpPr>
        <p:sp>
          <p:nvSpPr>
            <p:cNvPr id="93" name="Rectangle 92"/>
            <p:cNvSpPr/>
            <p:nvPr/>
          </p:nvSpPr>
          <p:spPr bwMode="auto">
            <a:xfrm>
              <a:off x="7685315" y="5091070"/>
              <a:ext cx="3498237" cy="1371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IN" sz="2800" dirty="0" smtClean="0">
                  <a:solidFill>
                    <a:schemeClr val="accent1"/>
                  </a:solidFill>
                  <a:latin typeface="Segoe UI Semibold" panose="020B0702040204020203" pitchFamily="34" charset="0"/>
                  <a:ea typeface="Segoe UI" pitchFamily="34" charset="0"/>
                  <a:cs typeface="Segoe UI" pitchFamily="34" charset="0"/>
                </a:rPr>
                <a:t>  FIREWALLS</a:t>
              </a:r>
              <a:endParaRPr lang="en-IN" sz="2800" dirty="0">
                <a:solidFill>
                  <a:schemeClr val="accent1"/>
                </a:solidFill>
                <a:latin typeface="Segoe UI Semibold" panose="020B0702040204020203" pitchFamily="34" charset="0"/>
                <a:ea typeface="Segoe UI" pitchFamily="34" charset="0"/>
                <a:cs typeface="Segoe UI" pitchFamily="34" charset="0"/>
              </a:endParaRPr>
            </a:p>
          </p:txBody>
        </p:sp>
        <p:cxnSp>
          <p:nvCxnSpPr>
            <p:cNvPr id="101" name="Straight Connector 100"/>
            <p:cNvCxnSpPr/>
            <p:nvPr/>
          </p:nvCxnSpPr>
          <p:spPr>
            <a:xfrm>
              <a:off x="11196693" y="5776870"/>
              <a:ext cx="548640" cy="0"/>
            </a:xfrm>
            <a:prstGeom prst="line">
              <a:avLst/>
            </a:prstGeom>
            <a:ln w="28575">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9" name="Oval 98"/>
            <p:cNvSpPr/>
            <p:nvPr/>
          </p:nvSpPr>
          <p:spPr bwMode="auto">
            <a:xfrm flipH="1">
              <a:off x="11113460" y="5701754"/>
              <a:ext cx="150232" cy="150232"/>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416" name="Group 1415"/>
          <p:cNvGrpSpPr/>
          <p:nvPr/>
        </p:nvGrpSpPr>
        <p:grpSpPr>
          <a:xfrm>
            <a:off x="579437" y="5091070"/>
            <a:ext cx="4255398" cy="1371600"/>
            <a:chOff x="579437" y="5091070"/>
            <a:chExt cx="4255398" cy="1371600"/>
          </a:xfrm>
        </p:grpSpPr>
        <p:sp>
          <p:nvSpPr>
            <p:cNvPr id="60" name="Rectangle 59"/>
            <p:cNvSpPr/>
            <p:nvPr/>
          </p:nvSpPr>
          <p:spPr bwMode="auto">
            <a:xfrm>
              <a:off x="1136195" y="5091070"/>
              <a:ext cx="3698640" cy="1371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IN" sz="2400" dirty="0">
                  <a:solidFill>
                    <a:schemeClr val="tx2"/>
                  </a:solidFill>
                  <a:latin typeface="+mj-lt"/>
                  <a:ea typeface="Segoe UI" pitchFamily="34" charset="0"/>
                  <a:cs typeface="Segoe UI" pitchFamily="34" charset="0"/>
                </a:rPr>
                <a:t>Update </a:t>
              </a:r>
              <a:r>
                <a:rPr lang="en-IN" sz="2800" dirty="0" smtClean="0">
                  <a:solidFill>
                    <a:schemeClr val="accent1"/>
                  </a:solidFill>
                  <a:latin typeface="Segoe UI Semibold" panose="020B0702040204020203" pitchFamily="34" charset="0"/>
                  <a:ea typeface="Segoe UI" pitchFamily="34" charset="0"/>
                  <a:cs typeface="Segoe UI" pitchFamily="34" charset="0"/>
                </a:rPr>
                <a:t>MANAGEMENT</a:t>
              </a:r>
              <a:endParaRPr lang="en-IN" sz="2800" dirty="0">
                <a:solidFill>
                  <a:schemeClr val="accent1"/>
                </a:solidFill>
                <a:latin typeface="Segoe UI Semibold" panose="020B0702040204020203" pitchFamily="34" charset="0"/>
                <a:ea typeface="Segoe UI" pitchFamily="34" charset="0"/>
                <a:cs typeface="Segoe UI" pitchFamily="34" charset="0"/>
              </a:endParaRPr>
            </a:p>
          </p:txBody>
        </p:sp>
        <p:cxnSp>
          <p:nvCxnSpPr>
            <p:cNvPr id="75" name="Straight Connector 74"/>
            <p:cNvCxnSpPr/>
            <p:nvPr/>
          </p:nvCxnSpPr>
          <p:spPr>
            <a:xfrm flipH="1">
              <a:off x="579437" y="5776870"/>
              <a:ext cx="548640" cy="0"/>
            </a:xfrm>
            <a:prstGeom prst="line">
              <a:avLst/>
            </a:prstGeom>
            <a:ln w="28575">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0" name="Oval 69"/>
            <p:cNvSpPr/>
            <p:nvPr/>
          </p:nvSpPr>
          <p:spPr bwMode="auto">
            <a:xfrm>
              <a:off x="1061078" y="5701754"/>
              <a:ext cx="150232" cy="150232"/>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413" name="Group 1412"/>
          <p:cNvGrpSpPr/>
          <p:nvPr/>
        </p:nvGrpSpPr>
        <p:grpSpPr>
          <a:xfrm>
            <a:off x="4752975" y="2285087"/>
            <a:ext cx="2930524" cy="4155606"/>
            <a:chOff x="4752975" y="2285087"/>
            <a:chExt cx="2930524" cy="4155606"/>
          </a:xfrm>
        </p:grpSpPr>
        <p:sp>
          <p:nvSpPr>
            <p:cNvPr id="54" name="Freeform 53"/>
            <p:cNvSpPr/>
            <p:nvPr/>
          </p:nvSpPr>
          <p:spPr bwMode="auto">
            <a:xfrm>
              <a:off x="4752975" y="2285087"/>
              <a:ext cx="2930524" cy="4155606"/>
            </a:xfrm>
            <a:custGeom>
              <a:avLst/>
              <a:gdLst>
                <a:gd name="connsiteX0" fmla="*/ 1342382 w 2692400"/>
                <a:gd name="connsiteY0" fmla="*/ 287127 h 3817937"/>
                <a:gd name="connsiteX1" fmla="*/ 882508 w 2692400"/>
                <a:gd name="connsiteY1" fmla="*/ 653745 h 3817937"/>
                <a:gd name="connsiteX2" fmla="*/ 882508 w 2692400"/>
                <a:gd name="connsiteY2" fmla="*/ 1209255 h 3817937"/>
                <a:gd name="connsiteX3" fmla="*/ 945881 w 2692400"/>
                <a:gd name="connsiteY3" fmla="*/ 1186060 h 3817937"/>
                <a:gd name="connsiteX4" fmla="*/ 1346200 w 2692400"/>
                <a:gd name="connsiteY4" fmla="*/ 1125537 h 3817937"/>
                <a:gd name="connsiteX5" fmla="*/ 1746519 w 2692400"/>
                <a:gd name="connsiteY5" fmla="*/ 1186060 h 3817937"/>
                <a:gd name="connsiteX6" fmla="*/ 1809892 w 2692400"/>
                <a:gd name="connsiteY6" fmla="*/ 1209255 h 3817937"/>
                <a:gd name="connsiteX7" fmla="*/ 1809892 w 2692400"/>
                <a:gd name="connsiteY7" fmla="*/ 653745 h 3817937"/>
                <a:gd name="connsiteX8" fmla="*/ 1342382 w 2692400"/>
                <a:gd name="connsiteY8" fmla="*/ 287127 h 3817937"/>
                <a:gd name="connsiteX9" fmla="*/ 1342382 w 2692400"/>
                <a:gd name="connsiteY9" fmla="*/ 0 h 3817937"/>
                <a:gd name="connsiteX10" fmla="*/ 2176297 w 2692400"/>
                <a:gd name="connsiteY10" fmla="*/ 653745 h 3817937"/>
                <a:gd name="connsiteX11" fmla="*/ 2176297 w 2692400"/>
                <a:gd name="connsiteY11" fmla="*/ 1413343 h 3817937"/>
                <a:gd name="connsiteX12" fmla="*/ 2202508 w 2692400"/>
                <a:gd name="connsiteY12" fmla="*/ 1432944 h 3817937"/>
                <a:gd name="connsiteX13" fmla="*/ 2692400 w 2692400"/>
                <a:gd name="connsiteY13" fmla="*/ 2471737 h 3817937"/>
                <a:gd name="connsiteX14" fmla="*/ 1346200 w 2692400"/>
                <a:gd name="connsiteY14" fmla="*/ 3817937 h 3817937"/>
                <a:gd name="connsiteX15" fmla="*/ 0 w 2692400"/>
                <a:gd name="connsiteY15" fmla="*/ 2471737 h 3817937"/>
                <a:gd name="connsiteX16" fmla="*/ 489892 w 2692400"/>
                <a:gd name="connsiteY16" fmla="*/ 1432944 h 3817937"/>
                <a:gd name="connsiteX17" fmla="*/ 516103 w 2692400"/>
                <a:gd name="connsiteY17" fmla="*/ 1413343 h 3817937"/>
                <a:gd name="connsiteX18" fmla="*/ 516103 w 2692400"/>
                <a:gd name="connsiteY18" fmla="*/ 653745 h 3817937"/>
                <a:gd name="connsiteX19" fmla="*/ 1342382 w 2692400"/>
                <a:gd name="connsiteY19" fmla="*/ 0 h 3817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92400" h="3817937">
                  <a:moveTo>
                    <a:pt x="1342382" y="287127"/>
                  </a:moveTo>
                  <a:cubicBezTo>
                    <a:pt x="1085052" y="287127"/>
                    <a:pt x="896785" y="461678"/>
                    <a:pt x="882508" y="653745"/>
                  </a:cubicBezTo>
                  <a:lnTo>
                    <a:pt x="882508" y="1209255"/>
                  </a:lnTo>
                  <a:lnTo>
                    <a:pt x="945881" y="1186060"/>
                  </a:lnTo>
                  <a:cubicBezTo>
                    <a:pt x="1072342" y="1146726"/>
                    <a:pt x="1206796" y="1125537"/>
                    <a:pt x="1346200" y="1125537"/>
                  </a:cubicBezTo>
                  <a:cubicBezTo>
                    <a:pt x="1485604" y="1125537"/>
                    <a:pt x="1620058" y="1146726"/>
                    <a:pt x="1746519" y="1186060"/>
                  </a:cubicBezTo>
                  <a:lnTo>
                    <a:pt x="1809892" y="1209255"/>
                  </a:lnTo>
                  <a:lnTo>
                    <a:pt x="1809892" y="653745"/>
                  </a:lnTo>
                  <a:cubicBezTo>
                    <a:pt x="1797939" y="461678"/>
                    <a:pt x="1599546" y="287127"/>
                    <a:pt x="1342382" y="287127"/>
                  </a:cubicBezTo>
                  <a:close/>
                  <a:moveTo>
                    <a:pt x="1342382" y="0"/>
                  </a:moveTo>
                  <a:cubicBezTo>
                    <a:pt x="1802089" y="0"/>
                    <a:pt x="2176297" y="293265"/>
                    <a:pt x="2176297" y="653745"/>
                  </a:cubicBezTo>
                  <a:lnTo>
                    <a:pt x="2176297" y="1413343"/>
                  </a:lnTo>
                  <a:lnTo>
                    <a:pt x="2202508" y="1432944"/>
                  </a:lnTo>
                  <a:cubicBezTo>
                    <a:pt x="2501698" y="1679857"/>
                    <a:pt x="2692400" y="2053526"/>
                    <a:pt x="2692400" y="2471737"/>
                  </a:cubicBezTo>
                  <a:cubicBezTo>
                    <a:pt x="2692400" y="3215223"/>
                    <a:pt x="2089686" y="3817937"/>
                    <a:pt x="1346200" y="3817937"/>
                  </a:cubicBezTo>
                  <a:cubicBezTo>
                    <a:pt x="602714" y="3817937"/>
                    <a:pt x="0" y="3215223"/>
                    <a:pt x="0" y="2471737"/>
                  </a:cubicBezTo>
                  <a:cubicBezTo>
                    <a:pt x="0" y="2053526"/>
                    <a:pt x="190703" y="1679857"/>
                    <a:pt x="489892" y="1432944"/>
                  </a:cubicBezTo>
                  <a:lnTo>
                    <a:pt x="516103" y="1413343"/>
                  </a:lnTo>
                  <a:lnTo>
                    <a:pt x="516103" y="653745"/>
                  </a:lnTo>
                  <a:cubicBezTo>
                    <a:pt x="516103" y="293265"/>
                    <a:pt x="882508" y="0"/>
                    <a:pt x="1342382"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Oval 30"/>
            <p:cNvSpPr/>
            <p:nvPr/>
          </p:nvSpPr>
          <p:spPr bwMode="auto">
            <a:xfrm>
              <a:off x="4842827" y="3600021"/>
              <a:ext cx="2750822" cy="2750821"/>
            </a:xfrm>
            <a:prstGeom prst="ellipse">
              <a:avLst/>
            </a:prstGeom>
            <a:solidFill>
              <a:schemeClr val="bg1">
                <a:alpha val="30000"/>
              </a:schemeClr>
            </a:solidFill>
          </p:spPr>
          <p:txBody>
            <a:bodyPr wrap="square" lIns="91440" tIns="91440" rIns="91440" bIns="91440" rtlCol="0" anchor="ctr">
              <a:noAutofit/>
            </a:bodyPr>
            <a:lstStyle/>
            <a:p>
              <a:pPr fontAlgn="base"/>
              <a:endParaRPr lang="en-IN" sz="2000" dirty="0">
                <a:solidFill>
                  <a:srgbClr val="FFFFFF"/>
                </a:solidFill>
                <a:cs typeface="Segoe UI Light"/>
              </a:endParaRPr>
            </a:p>
          </p:txBody>
        </p:sp>
        <p:sp>
          <p:nvSpPr>
            <p:cNvPr id="32" name="Oval 31"/>
            <p:cNvSpPr/>
            <p:nvPr/>
          </p:nvSpPr>
          <p:spPr bwMode="auto">
            <a:xfrm>
              <a:off x="4925767" y="3682961"/>
              <a:ext cx="2584943" cy="2584943"/>
            </a:xfrm>
            <a:prstGeom prst="ellipse">
              <a:avLst/>
            </a:prstGeom>
            <a:solidFill>
              <a:schemeClr val="bg1">
                <a:alpha val="30000"/>
              </a:schemeClr>
            </a:solidFill>
          </p:spPr>
          <p:txBody>
            <a:bodyPr wrap="square" lIns="91440" tIns="91440" rIns="91440" bIns="91440" rtlCol="0" anchor="ctr">
              <a:noAutofit/>
            </a:bodyPr>
            <a:lstStyle/>
            <a:p>
              <a:pPr fontAlgn="base"/>
              <a:endParaRPr lang="en-IN" sz="2000" dirty="0">
                <a:solidFill>
                  <a:srgbClr val="FFFFFF"/>
                </a:solidFill>
                <a:cs typeface="Segoe UI Light"/>
              </a:endParaRPr>
            </a:p>
          </p:txBody>
        </p:sp>
        <p:sp>
          <p:nvSpPr>
            <p:cNvPr id="34" name="Oval 33"/>
            <p:cNvSpPr/>
            <p:nvPr/>
          </p:nvSpPr>
          <p:spPr bwMode="auto">
            <a:xfrm>
              <a:off x="5008706" y="3765900"/>
              <a:ext cx="2419065" cy="2419064"/>
            </a:xfrm>
            <a:prstGeom prst="ellipse">
              <a:avLst/>
            </a:prstGeom>
            <a:solidFill>
              <a:schemeClr val="bg1">
                <a:alpha val="30000"/>
              </a:schemeClr>
            </a:solidFill>
          </p:spPr>
          <p:txBody>
            <a:bodyPr wrap="square" lIns="91440" tIns="91440" rIns="91440" bIns="91440" rtlCol="0" anchor="ctr">
              <a:noAutofit/>
            </a:bodyPr>
            <a:lstStyle/>
            <a:p>
              <a:pPr fontAlgn="base"/>
              <a:endParaRPr lang="en-IN" sz="2000" dirty="0">
                <a:solidFill>
                  <a:srgbClr val="FFFFFF"/>
                </a:solidFill>
                <a:cs typeface="Segoe UI Light"/>
              </a:endParaRPr>
            </a:p>
          </p:txBody>
        </p:sp>
        <p:sp>
          <p:nvSpPr>
            <p:cNvPr id="35" name="Oval 34"/>
            <p:cNvSpPr/>
            <p:nvPr/>
          </p:nvSpPr>
          <p:spPr bwMode="auto">
            <a:xfrm>
              <a:off x="5091643" y="3848841"/>
              <a:ext cx="2253186" cy="2253186"/>
            </a:xfrm>
            <a:prstGeom prst="ellipse">
              <a:avLst/>
            </a:prstGeom>
            <a:solidFill>
              <a:schemeClr val="bg1">
                <a:alpha val="30000"/>
              </a:schemeClr>
            </a:solidFill>
          </p:spPr>
          <p:txBody>
            <a:bodyPr wrap="square" lIns="91440" tIns="91440" rIns="91440" bIns="91440" rtlCol="0" anchor="ctr">
              <a:noAutofit/>
            </a:bodyPr>
            <a:lstStyle/>
            <a:p>
              <a:pPr fontAlgn="base"/>
              <a:endParaRPr lang="en-IN" sz="2000" dirty="0">
                <a:solidFill>
                  <a:srgbClr val="FFFFFF"/>
                </a:solidFill>
                <a:cs typeface="Segoe UI Light"/>
              </a:endParaRPr>
            </a:p>
          </p:txBody>
        </p:sp>
        <p:sp>
          <p:nvSpPr>
            <p:cNvPr id="36" name="Oval 35"/>
            <p:cNvSpPr/>
            <p:nvPr/>
          </p:nvSpPr>
          <p:spPr bwMode="auto">
            <a:xfrm>
              <a:off x="5169400" y="3926595"/>
              <a:ext cx="2097676" cy="2097675"/>
            </a:xfrm>
            <a:prstGeom prst="ellipse">
              <a:avLst/>
            </a:prstGeom>
            <a:solidFill>
              <a:schemeClr val="bg1">
                <a:alpha val="30000"/>
              </a:schemeClr>
            </a:solidFill>
          </p:spPr>
          <p:txBody>
            <a:bodyPr wrap="square" lIns="91440" tIns="91440" rIns="91440" bIns="91440" rtlCol="0" anchor="ctr">
              <a:noAutofit/>
            </a:bodyPr>
            <a:lstStyle/>
            <a:p>
              <a:pPr fontAlgn="base"/>
              <a:endParaRPr lang="en-IN" sz="2000" dirty="0">
                <a:solidFill>
                  <a:srgbClr val="FFFFFF"/>
                </a:solidFill>
                <a:cs typeface="Segoe UI Light"/>
              </a:endParaRPr>
            </a:p>
          </p:txBody>
        </p:sp>
        <p:sp>
          <p:nvSpPr>
            <p:cNvPr id="37" name="Oval 36"/>
            <p:cNvSpPr/>
            <p:nvPr/>
          </p:nvSpPr>
          <p:spPr bwMode="auto">
            <a:xfrm>
              <a:off x="5247155" y="4004351"/>
              <a:ext cx="1942163" cy="1942163"/>
            </a:xfrm>
            <a:prstGeom prst="ellipse">
              <a:avLst/>
            </a:prstGeom>
            <a:solidFill>
              <a:schemeClr val="bg1">
                <a:alpha val="30000"/>
              </a:schemeClr>
            </a:solidFill>
          </p:spPr>
          <p:txBody>
            <a:bodyPr wrap="square" lIns="91440" tIns="91440" rIns="91440" bIns="91440" rtlCol="0" anchor="ctr">
              <a:noAutofit/>
            </a:bodyPr>
            <a:lstStyle/>
            <a:p>
              <a:pPr fontAlgn="base"/>
              <a:endParaRPr lang="en-IN" sz="2000" dirty="0">
                <a:solidFill>
                  <a:srgbClr val="FFFFFF"/>
                </a:solidFill>
                <a:cs typeface="Segoe UI Light"/>
              </a:endParaRPr>
            </a:p>
          </p:txBody>
        </p:sp>
        <p:sp>
          <p:nvSpPr>
            <p:cNvPr id="38" name="Oval 37"/>
            <p:cNvSpPr/>
            <p:nvPr/>
          </p:nvSpPr>
          <p:spPr bwMode="auto">
            <a:xfrm>
              <a:off x="5319728" y="4076923"/>
              <a:ext cx="1797019" cy="1797019"/>
            </a:xfrm>
            <a:prstGeom prst="ellipse">
              <a:avLst/>
            </a:prstGeom>
            <a:solidFill>
              <a:schemeClr val="bg1">
                <a:alpha val="30000"/>
              </a:schemeClr>
            </a:solidFill>
          </p:spPr>
          <p:txBody>
            <a:bodyPr wrap="square" lIns="91440" tIns="91440" rIns="91440" bIns="91440" rtlCol="0" anchor="ctr">
              <a:noAutofit/>
            </a:bodyPr>
            <a:lstStyle/>
            <a:p>
              <a:pPr fontAlgn="base"/>
              <a:endParaRPr lang="en-IN" sz="2000" dirty="0">
                <a:solidFill>
                  <a:srgbClr val="FFFFFF"/>
                </a:solidFill>
                <a:cs typeface="Segoe UI Light"/>
              </a:endParaRPr>
            </a:p>
          </p:txBody>
        </p:sp>
        <p:sp>
          <p:nvSpPr>
            <p:cNvPr id="39" name="Oval 38"/>
            <p:cNvSpPr/>
            <p:nvPr/>
          </p:nvSpPr>
          <p:spPr bwMode="auto">
            <a:xfrm>
              <a:off x="5375022" y="4132217"/>
              <a:ext cx="1686434" cy="1686433"/>
            </a:xfrm>
            <a:prstGeom prst="ellipse">
              <a:avLst/>
            </a:prstGeom>
            <a:solidFill>
              <a:schemeClr val="bg1">
                <a:alpha val="30000"/>
              </a:schemeClr>
            </a:solidFill>
          </p:spPr>
          <p:txBody>
            <a:bodyPr wrap="square" lIns="91440" tIns="91440" rIns="91440" bIns="91440" rtlCol="0" anchor="ctr">
              <a:noAutofit/>
            </a:bodyPr>
            <a:lstStyle/>
            <a:p>
              <a:pPr fontAlgn="base"/>
              <a:endParaRPr lang="en-IN" sz="2000" dirty="0">
                <a:solidFill>
                  <a:srgbClr val="FFFFFF"/>
                </a:solidFill>
                <a:cs typeface="Segoe UI Light"/>
              </a:endParaRPr>
            </a:p>
          </p:txBody>
        </p:sp>
        <p:sp>
          <p:nvSpPr>
            <p:cNvPr id="40" name="Oval 39"/>
            <p:cNvSpPr/>
            <p:nvPr/>
          </p:nvSpPr>
          <p:spPr bwMode="auto">
            <a:xfrm>
              <a:off x="5445864" y="4203059"/>
              <a:ext cx="1549932" cy="1549932"/>
            </a:xfrm>
            <a:prstGeom prst="ellipse">
              <a:avLst/>
            </a:prstGeom>
            <a:solidFill>
              <a:schemeClr val="bg1">
                <a:alpha val="30000"/>
              </a:schemeClr>
            </a:solidFill>
          </p:spPr>
          <p:txBody>
            <a:bodyPr wrap="square" lIns="91440" tIns="91440" rIns="91440" bIns="91440" rtlCol="0" anchor="ctr">
              <a:noAutofit/>
            </a:bodyPr>
            <a:lstStyle/>
            <a:p>
              <a:pPr fontAlgn="base"/>
              <a:endParaRPr lang="en-IN" sz="2000" dirty="0">
                <a:solidFill>
                  <a:srgbClr val="FFFFFF"/>
                </a:solidFill>
                <a:cs typeface="Segoe UI Light"/>
              </a:endParaRPr>
            </a:p>
          </p:txBody>
        </p:sp>
        <p:sp>
          <p:nvSpPr>
            <p:cNvPr id="44" name="Oval 43"/>
            <p:cNvSpPr/>
            <p:nvPr/>
          </p:nvSpPr>
          <p:spPr bwMode="auto">
            <a:xfrm>
              <a:off x="5508067" y="4265264"/>
              <a:ext cx="1425523" cy="1425523"/>
            </a:xfrm>
            <a:prstGeom prst="ellipse">
              <a:avLst/>
            </a:prstGeom>
            <a:solidFill>
              <a:schemeClr val="bg1">
                <a:alpha val="30000"/>
              </a:schemeClr>
            </a:solidFill>
          </p:spPr>
          <p:txBody>
            <a:bodyPr wrap="square" lIns="91440" tIns="91440" rIns="91440" bIns="91440" rtlCol="0" anchor="ctr">
              <a:noAutofit/>
            </a:bodyPr>
            <a:lstStyle/>
            <a:p>
              <a:pPr fontAlgn="base"/>
              <a:endParaRPr lang="en-IN" sz="2000" dirty="0">
                <a:solidFill>
                  <a:srgbClr val="FFFFFF"/>
                </a:solidFill>
                <a:cs typeface="Segoe UI Light"/>
              </a:endParaRPr>
            </a:p>
          </p:txBody>
        </p:sp>
        <p:sp>
          <p:nvSpPr>
            <p:cNvPr id="45" name="Oval 44"/>
            <p:cNvSpPr/>
            <p:nvPr/>
          </p:nvSpPr>
          <p:spPr bwMode="auto">
            <a:xfrm>
              <a:off x="5572002" y="4329198"/>
              <a:ext cx="1297657" cy="1297657"/>
            </a:xfrm>
            <a:prstGeom prst="ellipse">
              <a:avLst/>
            </a:prstGeom>
            <a:solidFill>
              <a:schemeClr val="bg1">
                <a:alpha val="30000"/>
              </a:schemeClr>
            </a:solidFill>
          </p:spPr>
          <p:txBody>
            <a:bodyPr wrap="square" lIns="91440" tIns="91440" rIns="91440" bIns="91440" rtlCol="0" anchor="ctr">
              <a:noAutofit/>
            </a:bodyPr>
            <a:lstStyle/>
            <a:p>
              <a:pPr fontAlgn="base"/>
              <a:endParaRPr lang="en-IN" sz="2000" dirty="0">
                <a:solidFill>
                  <a:srgbClr val="FFFFFF"/>
                </a:solidFill>
                <a:cs typeface="Segoe UI Light"/>
              </a:endParaRPr>
            </a:p>
          </p:txBody>
        </p:sp>
        <p:sp>
          <p:nvSpPr>
            <p:cNvPr id="12" name="Freeform 11"/>
            <p:cNvSpPr/>
            <p:nvPr/>
          </p:nvSpPr>
          <p:spPr bwMode="auto">
            <a:xfrm>
              <a:off x="6138872" y="4654542"/>
              <a:ext cx="163948" cy="646969"/>
            </a:xfrm>
            <a:custGeom>
              <a:avLst/>
              <a:gdLst>
                <a:gd name="connsiteX0" fmla="*/ 25400 w 1663700"/>
                <a:gd name="connsiteY0" fmla="*/ 0 h 6261100"/>
                <a:gd name="connsiteX1" fmla="*/ 1663700 w 1663700"/>
                <a:gd name="connsiteY1" fmla="*/ 0 h 6261100"/>
                <a:gd name="connsiteX2" fmla="*/ 1663700 w 1663700"/>
                <a:gd name="connsiteY2" fmla="*/ 6261100 h 6261100"/>
                <a:gd name="connsiteX3" fmla="*/ 203200 w 1663700"/>
                <a:gd name="connsiteY3" fmla="*/ 6261100 h 6261100"/>
                <a:gd name="connsiteX4" fmla="*/ 203200 w 1663700"/>
                <a:gd name="connsiteY4" fmla="*/ 3390900 h 6261100"/>
                <a:gd name="connsiteX5" fmla="*/ 0 w 1663700"/>
                <a:gd name="connsiteY5" fmla="*/ 2959100 h 6261100"/>
                <a:gd name="connsiteX6" fmla="*/ 787400 w 1663700"/>
                <a:gd name="connsiteY6" fmla="*/ 2959100 h 6261100"/>
                <a:gd name="connsiteX7" fmla="*/ 800100 w 1663700"/>
                <a:gd name="connsiteY7" fmla="*/ 2362200 h 6261100"/>
                <a:gd name="connsiteX8" fmla="*/ 38100 w 1663700"/>
                <a:gd name="connsiteY8" fmla="*/ 2362200 h 6261100"/>
                <a:gd name="connsiteX9" fmla="*/ 38100 w 1663700"/>
                <a:gd name="connsiteY9" fmla="*/ 1765300 h 6261100"/>
                <a:gd name="connsiteX10" fmla="*/ 800100 w 1663700"/>
                <a:gd name="connsiteY10" fmla="*/ 1765300 h 6261100"/>
                <a:gd name="connsiteX11" fmla="*/ 800100 w 1663700"/>
                <a:gd name="connsiteY11" fmla="*/ 1016000 h 6261100"/>
                <a:gd name="connsiteX12" fmla="*/ 12700 w 1663700"/>
                <a:gd name="connsiteY12" fmla="*/ 1016000 h 6261100"/>
                <a:gd name="connsiteX13" fmla="*/ 25400 w 1663700"/>
                <a:gd name="connsiteY13" fmla="*/ 0 h 6261100"/>
                <a:gd name="connsiteX0" fmla="*/ 25400 w 1663700"/>
                <a:gd name="connsiteY0" fmla="*/ 0 h 6515100"/>
                <a:gd name="connsiteX1" fmla="*/ 1663700 w 1663700"/>
                <a:gd name="connsiteY1" fmla="*/ 0 h 6515100"/>
                <a:gd name="connsiteX2" fmla="*/ 1663700 w 1663700"/>
                <a:gd name="connsiteY2" fmla="*/ 6261100 h 6515100"/>
                <a:gd name="connsiteX3" fmla="*/ 203200 w 1663700"/>
                <a:gd name="connsiteY3" fmla="*/ 6261100 h 6515100"/>
                <a:gd name="connsiteX4" fmla="*/ 203200 w 1663700"/>
                <a:gd name="connsiteY4" fmla="*/ 3390900 h 6515100"/>
                <a:gd name="connsiteX5" fmla="*/ 0 w 1663700"/>
                <a:gd name="connsiteY5" fmla="*/ 2959100 h 6515100"/>
                <a:gd name="connsiteX6" fmla="*/ 787400 w 1663700"/>
                <a:gd name="connsiteY6" fmla="*/ 2959100 h 6515100"/>
                <a:gd name="connsiteX7" fmla="*/ 800100 w 1663700"/>
                <a:gd name="connsiteY7" fmla="*/ 2362200 h 6515100"/>
                <a:gd name="connsiteX8" fmla="*/ 38100 w 1663700"/>
                <a:gd name="connsiteY8" fmla="*/ 2362200 h 6515100"/>
                <a:gd name="connsiteX9" fmla="*/ 38100 w 1663700"/>
                <a:gd name="connsiteY9" fmla="*/ 1765300 h 6515100"/>
                <a:gd name="connsiteX10" fmla="*/ 800100 w 1663700"/>
                <a:gd name="connsiteY10" fmla="*/ 1765300 h 6515100"/>
                <a:gd name="connsiteX11" fmla="*/ 800100 w 1663700"/>
                <a:gd name="connsiteY11" fmla="*/ 1016000 h 6515100"/>
                <a:gd name="connsiteX12" fmla="*/ 12700 w 1663700"/>
                <a:gd name="connsiteY12" fmla="*/ 1016000 h 6515100"/>
                <a:gd name="connsiteX13" fmla="*/ 25400 w 1663700"/>
                <a:gd name="connsiteY13" fmla="*/ 0 h 6515100"/>
                <a:gd name="connsiteX0" fmla="*/ 25400 w 1663700"/>
                <a:gd name="connsiteY0" fmla="*/ 0 h 6601023"/>
                <a:gd name="connsiteX1" fmla="*/ 1663700 w 1663700"/>
                <a:gd name="connsiteY1" fmla="*/ 0 h 6601023"/>
                <a:gd name="connsiteX2" fmla="*/ 1663700 w 1663700"/>
                <a:gd name="connsiteY2" fmla="*/ 6261100 h 6601023"/>
                <a:gd name="connsiteX3" fmla="*/ 203200 w 1663700"/>
                <a:gd name="connsiteY3" fmla="*/ 6261100 h 6601023"/>
                <a:gd name="connsiteX4" fmla="*/ 203200 w 1663700"/>
                <a:gd name="connsiteY4" fmla="*/ 3390900 h 6601023"/>
                <a:gd name="connsiteX5" fmla="*/ 0 w 1663700"/>
                <a:gd name="connsiteY5" fmla="*/ 2959100 h 6601023"/>
                <a:gd name="connsiteX6" fmla="*/ 787400 w 1663700"/>
                <a:gd name="connsiteY6" fmla="*/ 2959100 h 6601023"/>
                <a:gd name="connsiteX7" fmla="*/ 800100 w 1663700"/>
                <a:gd name="connsiteY7" fmla="*/ 2362200 h 6601023"/>
                <a:gd name="connsiteX8" fmla="*/ 38100 w 1663700"/>
                <a:gd name="connsiteY8" fmla="*/ 2362200 h 6601023"/>
                <a:gd name="connsiteX9" fmla="*/ 38100 w 1663700"/>
                <a:gd name="connsiteY9" fmla="*/ 1765300 h 6601023"/>
                <a:gd name="connsiteX10" fmla="*/ 800100 w 1663700"/>
                <a:gd name="connsiteY10" fmla="*/ 1765300 h 6601023"/>
                <a:gd name="connsiteX11" fmla="*/ 800100 w 1663700"/>
                <a:gd name="connsiteY11" fmla="*/ 1016000 h 6601023"/>
                <a:gd name="connsiteX12" fmla="*/ 12700 w 1663700"/>
                <a:gd name="connsiteY12" fmla="*/ 1016000 h 6601023"/>
                <a:gd name="connsiteX13" fmla="*/ 25400 w 1663700"/>
                <a:gd name="connsiteY13" fmla="*/ 0 h 6601023"/>
                <a:gd name="connsiteX0" fmla="*/ 25400 w 1663700"/>
                <a:gd name="connsiteY0" fmla="*/ 0 h 6597002"/>
                <a:gd name="connsiteX1" fmla="*/ 1663700 w 1663700"/>
                <a:gd name="connsiteY1" fmla="*/ 0 h 6597002"/>
                <a:gd name="connsiteX2" fmla="*/ 1663700 w 1663700"/>
                <a:gd name="connsiteY2" fmla="*/ 6261100 h 6597002"/>
                <a:gd name="connsiteX3" fmla="*/ 203200 w 1663700"/>
                <a:gd name="connsiteY3" fmla="*/ 6261100 h 6597002"/>
                <a:gd name="connsiteX4" fmla="*/ 203200 w 1663700"/>
                <a:gd name="connsiteY4" fmla="*/ 3390900 h 6597002"/>
                <a:gd name="connsiteX5" fmla="*/ 0 w 1663700"/>
                <a:gd name="connsiteY5" fmla="*/ 2959100 h 6597002"/>
                <a:gd name="connsiteX6" fmla="*/ 787400 w 1663700"/>
                <a:gd name="connsiteY6" fmla="*/ 2959100 h 6597002"/>
                <a:gd name="connsiteX7" fmla="*/ 800100 w 1663700"/>
                <a:gd name="connsiteY7" fmla="*/ 2362200 h 6597002"/>
                <a:gd name="connsiteX8" fmla="*/ 38100 w 1663700"/>
                <a:gd name="connsiteY8" fmla="*/ 2362200 h 6597002"/>
                <a:gd name="connsiteX9" fmla="*/ 38100 w 1663700"/>
                <a:gd name="connsiteY9" fmla="*/ 1765300 h 6597002"/>
                <a:gd name="connsiteX10" fmla="*/ 800100 w 1663700"/>
                <a:gd name="connsiteY10" fmla="*/ 1765300 h 6597002"/>
                <a:gd name="connsiteX11" fmla="*/ 800100 w 1663700"/>
                <a:gd name="connsiteY11" fmla="*/ 1016000 h 6597002"/>
                <a:gd name="connsiteX12" fmla="*/ 12700 w 1663700"/>
                <a:gd name="connsiteY12" fmla="*/ 1016000 h 6597002"/>
                <a:gd name="connsiteX13" fmla="*/ 25400 w 1663700"/>
                <a:gd name="connsiteY13" fmla="*/ 0 h 6597002"/>
                <a:gd name="connsiteX0" fmla="*/ 25400 w 1663700"/>
                <a:gd name="connsiteY0" fmla="*/ 0 h 6565276"/>
                <a:gd name="connsiteX1" fmla="*/ 1663700 w 1663700"/>
                <a:gd name="connsiteY1" fmla="*/ 0 h 6565276"/>
                <a:gd name="connsiteX2" fmla="*/ 1663700 w 1663700"/>
                <a:gd name="connsiteY2" fmla="*/ 6261100 h 6565276"/>
                <a:gd name="connsiteX3" fmla="*/ 203200 w 1663700"/>
                <a:gd name="connsiteY3" fmla="*/ 6261100 h 6565276"/>
                <a:gd name="connsiteX4" fmla="*/ 203200 w 1663700"/>
                <a:gd name="connsiteY4" fmla="*/ 3390900 h 6565276"/>
                <a:gd name="connsiteX5" fmla="*/ 0 w 1663700"/>
                <a:gd name="connsiteY5" fmla="*/ 2959100 h 6565276"/>
                <a:gd name="connsiteX6" fmla="*/ 787400 w 1663700"/>
                <a:gd name="connsiteY6" fmla="*/ 2959100 h 6565276"/>
                <a:gd name="connsiteX7" fmla="*/ 800100 w 1663700"/>
                <a:gd name="connsiteY7" fmla="*/ 2362200 h 6565276"/>
                <a:gd name="connsiteX8" fmla="*/ 38100 w 1663700"/>
                <a:gd name="connsiteY8" fmla="*/ 2362200 h 6565276"/>
                <a:gd name="connsiteX9" fmla="*/ 38100 w 1663700"/>
                <a:gd name="connsiteY9" fmla="*/ 1765300 h 6565276"/>
                <a:gd name="connsiteX10" fmla="*/ 800100 w 1663700"/>
                <a:gd name="connsiteY10" fmla="*/ 1765300 h 6565276"/>
                <a:gd name="connsiteX11" fmla="*/ 800100 w 1663700"/>
                <a:gd name="connsiteY11" fmla="*/ 1016000 h 6565276"/>
                <a:gd name="connsiteX12" fmla="*/ 12700 w 1663700"/>
                <a:gd name="connsiteY12" fmla="*/ 1016000 h 6565276"/>
                <a:gd name="connsiteX13" fmla="*/ 25400 w 1663700"/>
                <a:gd name="connsiteY13" fmla="*/ 0 h 6565276"/>
                <a:gd name="connsiteX0" fmla="*/ 25400 w 1663700"/>
                <a:gd name="connsiteY0" fmla="*/ 0 h 6565276"/>
                <a:gd name="connsiteX1" fmla="*/ 1663700 w 1663700"/>
                <a:gd name="connsiteY1" fmla="*/ 0 h 6565276"/>
                <a:gd name="connsiteX2" fmla="*/ 1663700 w 1663700"/>
                <a:gd name="connsiteY2" fmla="*/ 6261100 h 6565276"/>
                <a:gd name="connsiteX3" fmla="*/ 203200 w 1663700"/>
                <a:gd name="connsiteY3" fmla="*/ 6261100 h 6565276"/>
                <a:gd name="connsiteX4" fmla="*/ 203200 w 1663700"/>
                <a:gd name="connsiteY4" fmla="*/ 3390900 h 6565276"/>
                <a:gd name="connsiteX5" fmla="*/ 0 w 1663700"/>
                <a:gd name="connsiteY5" fmla="*/ 2959100 h 6565276"/>
                <a:gd name="connsiteX6" fmla="*/ 787400 w 1663700"/>
                <a:gd name="connsiteY6" fmla="*/ 2959100 h 6565276"/>
                <a:gd name="connsiteX7" fmla="*/ 800100 w 1663700"/>
                <a:gd name="connsiteY7" fmla="*/ 2362200 h 6565276"/>
                <a:gd name="connsiteX8" fmla="*/ 38100 w 1663700"/>
                <a:gd name="connsiteY8" fmla="*/ 2362200 h 6565276"/>
                <a:gd name="connsiteX9" fmla="*/ 38100 w 1663700"/>
                <a:gd name="connsiteY9" fmla="*/ 1765300 h 6565276"/>
                <a:gd name="connsiteX10" fmla="*/ 800100 w 1663700"/>
                <a:gd name="connsiteY10" fmla="*/ 1765300 h 6565276"/>
                <a:gd name="connsiteX11" fmla="*/ 800100 w 1663700"/>
                <a:gd name="connsiteY11" fmla="*/ 1016000 h 6565276"/>
                <a:gd name="connsiteX12" fmla="*/ 12700 w 1663700"/>
                <a:gd name="connsiteY12" fmla="*/ 1016000 h 6565276"/>
                <a:gd name="connsiteX13" fmla="*/ 25400 w 1663700"/>
                <a:gd name="connsiteY13" fmla="*/ 0 h 6565276"/>
                <a:gd name="connsiteX0" fmla="*/ 25400 w 1663700"/>
                <a:gd name="connsiteY0" fmla="*/ 0 h 6565276"/>
                <a:gd name="connsiteX1" fmla="*/ 1663700 w 1663700"/>
                <a:gd name="connsiteY1" fmla="*/ 0 h 6565276"/>
                <a:gd name="connsiteX2" fmla="*/ 1663700 w 1663700"/>
                <a:gd name="connsiteY2" fmla="*/ 6261100 h 6565276"/>
                <a:gd name="connsiteX3" fmla="*/ 203200 w 1663700"/>
                <a:gd name="connsiteY3" fmla="*/ 6261100 h 6565276"/>
                <a:gd name="connsiteX4" fmla="*/ 203200 w 1663700"/>
                <a:gd name="connsiteY4" fmla="*/ 3390900 h 6565276"/>
                <a:gd name="connsiteX5" fmla="*/ 0 w 1663700"/>
                <a:gd name="connsiteY5" fmla="*/ 2959100 h 6565276"/>
                <a:gd name="connsiteX6" fmla="*/ 787400 w 1663700"/>
                <a:gd name="connsiteY6" fmla="*/ 2959100 h 6565276"/>
                <a:gd name="connsiteX7" fmla="*/ 800100 w 1663700"/>
                <a:gd name="connsiteY7" fmla="*/ 2362200 h 6565276"/>
                <a:gd name="connsiteX8" fmla="*/ 38100 w 1663700"/>
                <a:gd name="connsiteY8" fmla="*/ 2362200 h 6565276"/>
                <a:gd name="connsiteX9" fmla="*/ 38100 w 1663700"/>
                <a:gd name="connsiteY9" fmla="*/ 1765300 h 6565276"/>
                <a:gd name="connsiteX10" fmla="*/ 800100 w 1663700"/>
                <a:gd name="connsiteY10" fmla="*/ 1765300 h 6565276"/>
                <a:gd name="connsiteX11" fmla="*/ 800100 w 1663700"/>
                <a:gd name="connsiteY11" fmla="*/ 1016000 h 6565276"/>
                <a:gd name="connsiteX12" fmla="*/ 12700 w 1663700"/>
                <a:gd name="connsiteY12" fmla="*/ 1016000 h 6565276"/>
                <a:gd name="connsiteX13" fmla="*/ 25400 w 1663700"/>
                <a:gd name="connsiteY13" fmla="*/ 0 h 6565276"/>
                <a:gd name="connsiteX0" fmla="*/ 25400 w 1663700"/>
                <a:gd name="connsiteY0" fmla="*/ 0 h 6565276"/>
                <a:gd name="connsiteX1" fmla="*/ 1663700 w 1663700"/>
                <a:gd name="connsiteY1" fmla="*/ 0 h 6565276"/>
                <a:gd name="connsiteX2" fmla="*/ 1663700 w 1663700"/>
                <a:gd name="connsiteY2" fmla="*/ 6261100 h 6565276"/>
                <a:gd name="connsiteX3" fmla="*/ 203200 w 1663700"/>
                <a:gd name="connsiteY3" fmla="*/ 6261100 h 6565276"/>
                <a:gd name="connsiteX4" fmla="*/ 203200 w 1663700"/>
                <a:gd name="connsiteY4" fmla="*/ 3390900 h 6565276"/>
                <a:gd name="connsiteX5" fmla="*/ 0 w 1663700"/>
                <a:gd name="connsiteY5" fmla="*/ 2959100 h 6565276"/>
                <a:gd name="connsiteX6" fmla="*/ 787400 w 1663700"/>
                <a:gd name="connsiteY6" fmla="*/ 2959100 h 6565276"/>
                <a:gd name="connsiteX7" fmla="*/ 800100 w 1663700"/>
                <a:gd name="connsiteY7" fmla="*/ 2362200 h 6565276"/>
                <a:gd name="connsiteX8" fmla="*/ 38100 w 1663700"/>
                <a:gd name="connsiteY8" fmla="*/ 2362200 h 6565276"/>
                <a:gd name="connsiteX9" fmla="*/ 38100 w 1663700"/>
                <a:gd name="connsiteY9" fmla="*/ 1765300 h 6565276"/>
                <a:gd name="connsiteX10" fmla="*/ 800100 w 1663700"/>
                <a:gd name="connsiteY10" fmla="*/ 1765300 h 6565276"/>
                <a:gd name="connsiteX11" fmla="*/ 800100 w 1663700"/>
                <a:gd name="connsiteY11" fmla="*/ 1016000 h 6565276"/>
                <a:gd name="connsiteX12" fmla="*/ 12700 w 1663700"/>
                <a:gd name="connsiteY12" fmla="*/ 1016000 h 6565276"/>
                <a:gd name="connsiteX13" fmla="*/ 25400 w 1663700"/>
                <a:gd name="connsiteY13" fmla="*/ 0 h 6565276"/>
                <a:gd name="connsiteX0" fmla="*/ 25400 w 1663700"/>
                <a:gd name="connsiteY0" fmla="*/ 0 h 6565276"/>
                <a:gd name="connsiteX1" fmla="*/ 1663700 w 1663700"/>
                <a:gd name="connsiteY1" fmla="*/ 0 h 6565276"/>
                <a:gd name="connsiteX2" fmla="*/ 1663700 w 1663700"/>
                <a:gd name="connsiteY2" fmla="*/ 6261100 h 6565276"/>
                <a:gd name="connsiteX3" fmla="*/ 203200 w 1663700"/>
                <a:gd name="connsiteY3" fmla="*/ 6261100 h 6565276"/>
                <a:gd name="connsiteX4" fmla="*/ 203200 w 1663700"/>
                <a:gd name="connsiteY4" fmla="*/ 3390900 h 6565276"/>
                <a:gd name="connsiteX5" fmla="*/ 0 w 1663700"/>
                <a:gd name="connsiteY5" fmla="*/ 2959100 h 6565276"/>
                <a:gd name="connsiteX6" fmla="*/ 787400 w 1663700"/>
                <a:gd name="connsiteY6" fmla="*/ 2959100 h 6565276"/>
                <a:gd name="connsiteX7" fmla="*/ 800100 w 1663700"/>
                <a:gd name="connsiteY7" fmla="*/ 2362200 h 6565276"/>
                <a:gd name="connsiteX8" fmla="*/ 38100 w 1663700"/>
                <a:gd name="connsiteY8" fmla="*/ 2362200 h 6565276"/>
                <a:gd name="connsiteX9" fmla="*/ 38100 w 1663700"/>
                <a:gd name="connsiteY9" fmla="*/ 1765300 h 6565276"/>
                <a:gd name="connsiteX10" fmla="*/ 800100 w 1663700"/>
                <a:gd name="connsiteY10" fmla="*/ 1765300 h 6565276"/>
                <a:gd name="connsiteX11" fmla="*/ 800100 w 1663700"/>
                <a:gd name="connsiteY11" fmla="*/ 1016000 h 6565276"/>
                <a:gd name="connsiteX12" fmla="*/ 12700 w 1663700"/>
                <a:gd name="connsiteY12" fmla="*/ 1016000 h 6565276"/>
                <a:gd name="connsiteX13" fmla="*/ 25400 w 1663700"/>
                <a:gd name="connsiteY13" fmla="*/ 0 h 6565276"/>
                <a:gd name="connsiteX0" fmla="*/ 25400 w 1663700"/>
                <a:gd name="connsiteY0" fmla="*/ 0 h 6565276"/>
                <a:gd name="connsiteX1" fmla="*/ 1663700 w 1663700"/>
                <a:gd name="connsiteY1" fmla="*/ 0 h 6565276"/>
                <a:gd name="connsiteX2" fmla="*/ 1663700 w 1663700"/>
                <a:gd name="connsiteY2" fmla="*/ 6261100 h 6565276"/>
                <a:gd name="connsiteX3" fmla="*/ 203200 w 1663700"/>
                <a:gd name="connsiteY3" fmla="*/ 6261100 h 6565276"/>
                <a:gd name="connsiteX4" fmla="*/ 203200 w 1663700"/>
                <a:gd name="connsiteY4" fmla="*/ 3390900 h 6565276"/>
                <a:gd name="connsiteX5" fmla="*/ 0 w 1663700"/>
                <a:gd name="connsiteY5" fmla="*/ 2959100 h 6565276"/>
                <a:gd name="connsiteX6" fmla="*/ 787400 w 1663700"/>
                <a:gd name="connsiteY6" fmla="*/ 2959100 h 6565276"/>
                <a:gd name="connsiteX7" fmla="*/ 800100 w 1663700"/>
                <a:gd name="connsiteY7" fmla="*/ 2362200 h 6565276"/>
                <a:gd name="connsiteX8" fmla="*/ 38100 w 1663700"/>
                <a:gd name="connsiteY8" fmla="*/ 2362200 h 6565276"/>
                <a:gd name="connsiteX9" fmla="*/ 38100 w 1663700"/>
                <a:gd name="connsiteY9" fmla="*/ 1765300 h 6565276"/>
                <a:gd name="connsiteX10" fmla="*/ 800100 w 1663700"/>
                <a:gd name="connsiteY10" fmla="*/ 1765300 h 6565276"/>
                <a:gd name="connsiteX11" fmla="*/ 800100 w 1663700"/>
                <a:gd name="connsiteY11" fmla="*/ 1016000 h 6565276"/>
                <a:gd name="connsiteX12" fmla="*/ 12700 w 1663700"/>
                <a:gd name="connsiteY12" fmla="*/ 1016000 h 6565276"/>
                <a:gd name="connsiteX13" fmla="*/ 25400 w 1663700"/>
                <a:gd name="connsiteY13" fmla="*/ 0 h 6565276"/>
                <a:gd name="connsiteX0" fmla="*/ 25400 w 1663700"/>
                <a:gd name="connsiteY0" fmla="*/ 0 h 6565276"/>
                <a:gd name="connsiteX1" fmla="*/ 1663700 w 1663700"/>
                <a:gd name="connsiteY1" fmla="*/ 0 h 6565276"/>
                <a:gd name="connsiteX2" fmla="*/ 1663700 w 1663700"/>
                <a:gd name="connsiteY2" fmla="*/ 6261100 h 6565276"/>
                <a:gd name="connsiteX3" fmla="*/ 203200 w 1663700"/>
                <a:gd name="connsiteY3" fmla="*/ 6261100 h 6565276"/>
                <a:gd name="connsiteX4" fmla="*/ 203200 w 1663700"/>
                <a:gd name="connsiteY4" fmla="*/ 3390900 h 6565276"/>
                <a:gd name="connsiteX5" fmla="*/ 0 w 1663700"/>
                <a:gd name="connsiteY5" fmla="*/ 2959100 h 6565276"/>
                <a:gd name="connsiteX6" fmla="*/ 787400 w 1663700"/>
                <a:gd name="connsiteY6" fmla="*/ 2959100 h 6565276"/>
                <a:gd name="connsiteX7" fmla="*/ 800100 w 1663700"/>
                <a:gd name="connsiteY7" fmla="*/ 2362200 h 6565276"/>
                <a:gd name="connsiteX8" fmla="*/ 38100 w 1663700"/>
                <a:gd name="connsiteY8" fmla="*/ 2362200 h 6565276"/>
                <a:gd name="connsiteX9" fmla="*/ 38100 w 1663700"/>
                <a:gd name="connsiteY9" fmla="*/ 1765300 h 6565276"/>
                <a:gd name="connsiteX10" fmla="*/ 800100 w 1663700"/>
                <a:gd name="connsiteY10" fmla="*/ 1765300 h 6565276"/>
                <a:gd name="connsiteX11" fmla="*/ 800100 w 1663700"/>
                <a:gd name="connsiteY11" fmla="*/ 1016000 h 6565276"/>
                <a:gd name="connsiteX12" fmla="*/ 12700 w 1663700"/>
                <a:gd name="connsiteY12" fmla="*/ 1016000 h 6565276"/>
                <a:gd name="connsiteX13" fmla="*/ 25400 w 1663700"/>
                <a:gd name="connsiteY13" fmla="*/ 0 h 656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3700" h="6565276">
                  <a:moveTo>
                    <a:pt x="25400" y="0"/>
                  </a:moveTo>
                  <a:lnTo>
                    <a:pt x="1663700" y="0"/>
                  </a:lnTo>
                  <a:lnTo>
                    <a:pt x="1663700" y="6261100"/>
                  </a:lnTo>
                  <a:cubicBezTo>
                    <a:pt x="1126067" y="6756400"/>
                    <a:pt x="397933" y="6565900"/>
                    <a:pt x="203200" y="6261100"/>
                  </a:cubicBezTo>
                  <a:lnTo>
                    <a:pt x="203200" y="3390900"/>
                  </a:lnTo>
                  <a:lnTo>
                    <a:pt x="0" y="2959100"/>
                  </a:lnTo>
                  <a:lnTo>
                    <a:pt x="787400" y="2959100"/>
                  </a:lnTo>
                  <a:cubicBezTo>
                    <a:pt x="982133" y="2785533"/>
                    <a:pt x="951315" y="2533735"/>
                    <a:pt x="800100" y="2362200"/>
                  </a:cubicBezTo>
                  <a:lnTo>
                    <a:pt x="38100" y="2362200"/>
                  </a:lnTo>
                  <a:lnTo>
                    <a:pt x="38100" y="1765300"/>
                  </a:lnTo>
                  <a:lnTo>
                    <a:pt x="800100" y="1765300"/>
                  </a:lnTo>
                  <a:cubicBezTo>
                    <a:pt x="891540" y="1670981"/>
                    <a:pt x="1065276" y="1348063"/>
                    <a:pt x="800100" y="1016000"/>
                  </a:cubicBezTo>
                  <a:lnTo>
                    <a:pt x="12700" y="1016000"/>
                  </a:lnTo>
                  <a:lnTo>
                    <a:pt x="2540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113" name="Freeform 112"/>
            <p:cNvSpPr>
              <a:spLocks/>
            </p:cNvSpPr>
            <p:nvPr/>
          </p:nvSpPr>
          <p:spPr bwMode="auto">
            <a:xfrm>
              <a:off x="5633078" y="4390257"/>
              <a:ext cx="1179576" cy="1179576"/>
            </a:xfrm>
            <a:custGeom>
              <a:avLst/>
              <a:gdLst>
                <a:gd name="connsiteX0" fmla="*/ 684374 w 1406526"/>
                <a:gd name="connsiteY0" fmla="*/ 106363 h 1406526"/>
                <a:gd name="connsiteX1" fmla="*/ 419925 w 1406526"/>
                <a:gd name="connsiteY1" fmla="*/ 174364 h 1406526"/>
                <a:gd name="connsiteX2" fmla="*/ 438814 w 1406526"/>
                <a:gd name="connsiteY2" fmla="*/ 208365 h 1406526"/>
                <a:gd name="connsiteX3" fmla="*/ 408591 w 1406526"/>
                <a:gd name="connsiteY3" fmla="*/ 227254 h 1406526"/>
                <a:gd name="connsiteX4" fmla="*/ 389702 w 1406526"/>
                <a:gd name="connsiteY4" fmla="*/ 193254 h 1406526"/>
                <a:gd name="connsiteX5" fmla="*/ 193254 w 1406526"/>
                <a:gd name="connsiteY5" fmla="*/ 389702 h 1406526"/>
                <a:gd name="connsiteX6" fmla="*/ 227254 w 1406526"/>
                <a:gd name="connsiteY6" fmla="*/ 404813 h 1406526"/>
                <a:gd name="connsiteX7" fmla="*/ 208365 w 1406526"/>
                <a:gd name="connsiteY7" fmla="*/ 438814 h 1406526"/>
                <a:gd name="connsiteX8" fmla="*/ 178142 w 1406526"/>
                <a:gd name="connsiteY8" fmla="*/ 419925 h 1406526"/>
                <a:gd name="connsiteX9" fmla="*/ 106363 w 1406526"/>
                <a:gd name="connsiteY9" fmla="*/ 684374 h 1406526"/>
                <a:gd name="connsiteX10" fmla="*/ 238588 w 1406526"/>
                <a:gd name="connsiteY10" fmla="*/ 684374 h 1406526"/>
                <a:gd name="connsiteX11" fmla="*/ 238588 w 1406526"/>
                <a:gd name="connsiteY11" fmla="*/ 718375 h 1406526"/>
                <a:gd name="connsiteX12" fmla="*/ 106363 w 1406526"/>
                <a:gd name="connsiteY12" fmla="*/ 718375 h 1406526"/>
                <a:gd name="connsiteX13" fmla="*/ 178142 w 1406526"/>
                <a:gd name="connsiteY13" fmla="*/ 986602 h 1406526"/>
                <a:gd name="connsiteX14" fmla="*/ 208365 w 1406526"/>
                <a:gd name="connsiteY14" fmla="*/ 967713 h 1406526"/>
                <a:gd name="connsiteX15" fmla="*/ 227254 w 1406526"/>
                <a:gd name="connsiteY15" fmla="*/ 997935 h 1406526"/>
                <a:gd name="connsiteX16" fmla="*/ 193254 w 1406526"/>
                <a:gd name="connsiteY16" fmla="*/ 1016825 h 1406526"/>
                <a:gd name="connsiteX17" fmla="*/ 389702 w 1406526"/>
                <a:gd name="connsiteY17" fmla="*/ 1209495 h 1406526"/>
                <a:gd name="connsiteX18" fmla="*/ 408591 w 1406526"/>
                <a:gd name="connsiteY18" fmla="*/ 1183050 h 1406526"/>
                <a:gd name="connsiteX19" fmla="*/ 438814 w 1406526"/>
                <a:gd name="connsiteY19" fmla="*/ 1198161 h 1406526"/>
                <a:gd name="connsiteX20" fmla="*/ 419925 w 1406526"/>
                <a:gd name="connsiteY20" fmla="*/ 1228384 h 1406526"/>
                <a:gd name="connsiteX21" fmla="*/ 684374 w 1406526"/>
                <a:gd name="connsiteY21" fmla="*/ 1300163 h 1406526"/>
                <a:gd name="connsiteX22" fmla="*/ 684374 w 1406526"/>
                <a:gd name="connsiteY22" fmla="*/ 1194383 h 1406526"/>
                <a:gd name="connsiteX23" fmla="*/ 722152 w 1406526"/>
                <a:gd name="connsiteY23" fmla="*/ 1194383 h 1406526"/>
                <a:gd name="connsiteX24" fmla="*/ 722152 w 1406526"/>
                <a:gd name="connsiteY24" fmla="*/ 1300163 h 1406526"/>
                <a:gd name="connsiteX25" fmla="*/ 986602 w 1406526"/>
                <a:gd name="connsiteY25" fmla="*/ 1228384 h 1406526"/>
                <a:gd name="connsiteX26" fmla="*/ 971490 w 1406526"/>
                <a:gd name="connsiteY26" fmla="*/ 1198161 h 1406526"/>
                <a:gd name="connsiteX27" fmla="*/ 997935 w 1406526"/>
                <a:gd name="connsiteY27" fmla="*/ 1183050 h 1406526"/>
                <a:gd name="connsiteX28" fmla="*/ 1016825 w 1406526"/>
                <a:gd name="connsiteY28" fmla="*/ 1209495 h 1406526"/>
                <a:gd name="connsiteX29" fmla="*/ 1209495 w 1406526"/>
                <a:gd name="connsiteY29" fmla="*/ 1016825 h 1406526"/>
                <a:gd name="connsiteX30" fmla="*/ 1183050 w 1406526"/>
                <a:gd name="connsiteY30" fmla="*/ 997935 h 1406526"/>
                <a:gd name="connsiteX31" fmla="*/ 1201939 w 1406526"/>
                <a:gd name="connsiteY31" fmla="*/ 967713 h 1406526"/>
                <a:gd name="connsiteX32" fmla="*/ 1228384 w 1406526"/>
                <a:gd name="connsiteY32" fmla="*/ 986602 h 1406526"/>
                <a:gd name="connsiteX33" fmla="*/ 1300163 w 1406526"/>
                <a:gd name="connsiteY33" fmla="*/ 718375 h 1406526"/>
                <a:gd name="connsiteX34" fmla="*/ 1194383 w 1406526"/>
                <a:gd name="connsiteY34" fmla="*/ 718375 h 1406526"/>
                <a:gd name="connsiteX35" fmla="*/ 1194383 w 1406526"/>
                <a:gd name="connsiteY35" fmla="*/ 684374 h 1406526"/>
                <a:gd name="connsiteX36" fmla="*/ 1300163 w 1406526"/>
                <a:gd name="connsiteY36" fmla="*/ 684374 h 1406526"/>
                <a:gd name="connsiteX37" fmla="*/ 1228384 w 1406526"/>
                <a:gd name="connsiteY37" fmla="*/ 419925 h 1406526"/>
                <a:gd name="connsiteX38" fmla="*/ 1201939 w 1406526"/>
                <a:gd name="connsiteY38" fmla="*/ 438814 h 1406526"/>
                <a:gd name="connsiteX39" fmla="*/ 1183050 w 1406526"/>
                <a:gd name="connsiteY39" fmla="*/ 404813 h 1406526"/>
                <a:gd name="connsiteX40" fmla="*/ 1209495 w 1406526"/>
                <a:gd name="connsiteY40" fmla="*/ 389702 h 1406526"/>
                <a:gd name="connsiteX41" fmla="*/ 1016825 w 1406526"/>
                <a:gd name="connsiteY41" fmla="*/ 193254 h 1406526"/>
                <a:gd name="connsiteX42" fmla="*/ 997935 w 1406526"/>
                <a:gd name="connsiteY42" fmla="*/ 227254 h 1406526"/>
                <a:gd name="connsiteX43" fmla="*/ 971490 w 1406526"/>
                <a:gd name="connsiteY43" fmla="*/ 208365 h 1406526"/>
                <a:gd name="connsiteX44" fmla="*/ 986602 w 1406526"/>
                <a:gd name="connsiteY44" fmla="*/ 174364 h 1406526"/>
                <a:gd name="connsiteX45" fmla="*/ 722152 w 1406526"/>
                <a:gd name="connsiteY45" fmla="*/ 106363 h 1406526"/>
                <a:gd name="connsiteX46" fmla="*/ 722152 w 1406526"/>
                <a:gd name="connsiteY46" fmla="*/ 212143 h 1406526"/>
                <a:gd name="connsiteX47" fmla="*/ 684374 w 1406526"/>
                <a:gd name="connsiteY47" fmla="*/ 212143 h 1406526"/>
                <a:gd name="connsiteX48" fmla="*/ 684374 w 1406526"/>
                <a:gd name="connsiteY48" fmla="*/ 106363 h 1406526"/>
                <a:gd name="connsiteX49" fmla="*/ 703263 w 1406526"/>
                <a:gd name="connsiteY49" fmla="*/ 0 h 1406526"/>
                <a:gd name="connsiteX50" fmla="*/ 1406526 w 1406526"/>
                <a:gd name="connsiteY50" fmla="*/ 703263 h 1406526"/>
                <a:gd name="connsiteX51" fmla="*/ 703263 w 1406526"/>
                <a:gd name="connsiteY51" fmla="*/ 1406526 h 1406526"/>
                <a:gd name="connsiteX52" fmla="*/ 0 w 1406526"/>
                <a:gd name="connsiteY52" fmla="*/ 703263 h 1406526"/>
                <a:gd name="connsiteX53" fmla="*/ 703263 w 1406526"/>
                <a:gd name="connsiteY53" fmla="*/ 0 h 1406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406526" h="1406526">
                  <a:moveTo>
                    <a:pt x="684374" y="106363"/>
                  </a:moveTo>
                  <a:cubicBezTo>
                    <a:pt x="589928" y="110141"/>
                    <a:pt x="499259" y="132808"/>
                    <a:pt x="419925" y="174364"/>
                  </a:cubicBezTo>
                  <a:cubicBezTo>
                    <a:pt x="419925" y="174364"/>
                    <a:pt x="419925" y="174364"/>
                    <a:pt x="438814" y="208365"/>
                  </a:cubicBezTo>
                  <a:cubicBezTo>
                    <a:pt x="438814" y="208365"/>
                    <a:pt x="438814" y="208365"/>
                    <a:pt x="408591" y="227254"/>
                  </a:cubicBezTo>
                  <a:cubicBezTo>
                    <a:pt x="408591" y="227254"/>
                    <a:pt x="408591" y="227254"/>
                    <a:pt x="389702" y="193254"/>
                  </a:cubicBezTo>
                  <a:cubicBezTo>
                    <a:pt x="310367" y="246144"/>
                    <a:pt x="246144" y="310367"/>
                    <a:pt x="193254" y="389702"/>
                  </a:cubicBezTo>
                  <a:cubicBezTo>
                    <a:pt x="193254" y="389702"/>
                    <a:pt x="193254" y="389702"/>
                    <a:pt x="227254" y="404813"/>
                  </a:cubicBezTo>
                  <a:cubicBezTo>
                    <a:pt x="227254" y="404813"/>
                    <a:pt x="227254" y="404813"/>
                    <a:pt x="208365" y="438814"/>
                  </a:cubicBezTo>
                  <a:cubicBezTo>
                    <a:pt x="208365" y="438814"/>
                    <a:pt x="208365" y="438814"/>
                    <a:pt x="178142" y="419925"/>
                  </a:cubicBezTo>
                  <a:cubicBezTo>
                    <a:pt x="132808" y="499259"/>
                    <a:pt x="110141" y="586150"/>
                    <a:pt x="106363" y="684374"/>
                  </a:cubicBezTo>
                  <a:cubicBezTo>
                    <a:pt x="106363" y="684374"/>
                    <a:pt x="106363" y="684374"/>
                    <a:pt x="238588" y="684374"/>
                  </a:cubicBezTo>
                  <a:cubicBezTo>
                    <a:pt x="238588" y="684374"/>
                    <a:pt x="238588" y="684374"/>
                    <a:pt x="238588" y="718375"/>
                  </a:cubicBezTo>
                  <a:cubicBezTo>
                    <a:pt x="238588" y="718375"/>
                    <a:pt x="238588" y="718375"/>
                    <a:pt x="106363" y="718375"/>
                  </a:cubicBezTo>
                  <a:cubicBezTo>
                    <a:pt x="110141" y="816599"/>
                    <a:pt x="132808" y="903489"/>
                    <a:pt x="178142" y="986602"/>
                  </a:cubicBezTo>
                  <a:cubicBezTo>
                    <a:pt x="178142" y="986602"/>
                    <a:pt x="178142" y="986602"/>
                    <a:pt x="208365" y="967713"/>
                  </a:cubicBezTo>
                  <a:cubicBezTo>
                    <a:pt x="208365" y="967713"/>
                    <a:pt x="208365" y="967713"/>
                    <a:pt x="227254" y="997935"/>
                  </a:cubicBezTo>
                  <a:cubicBezTo>
                    <a:pt x="227254" y="997935"/>
                    <a:pt x="227254" y="997935"/>
                    <a:pt x="193254" y="1016825"/>
                  </a:cubicBezTo>
                  <a:cubicBezTo>
                    <a:pt x="246144" y="1092382"/>
                    <a:pt x="310367" y="1164161"/>
                    <a:pt x="389702" y="1209495"/>
                  </a:cubicBezTo>
                  <a:cubicBezTo>
                    <a:pt x="389702" y="1209495"/>
                    <a:pt x="389702" y="1209495"/>
                    <a:pt x="408591" y="1183050"/>
                  </a:cubicBezTo>
                  <a:cubicBezTo>
                    <a:pt x="408591" y="1183050"/>
                    <a:pt x="408591" y="1183050"/>
                    <a:pt x="438814" y="1198161"/>
                  </a:cubicBezTo>
                  <a:cubicBezTo>
                    <a:pt x="438814" y="1198161"/>
                    <a:pt x="438814" y="1198161"/>
                    <a:pt x="419925" y="1228384"/>
                  </a:cubicBezTo>
                  <a:cubicBezTo>
                    <a:pt x="499259" y="1269940"/>
                    <a:pt x="589928" y="1292607"/>
                    <a:pt x="684374" y="1300163"/>
                  </a:cubicBezTo>
                  <a:cubicBezTo>
                    <a:pt x="684374" y="1300163"/>
                    <a:pt x="684374" y="1300163"/>
                    <a:pt x="684374" y="1194383"/>
                  </a:cubicBezTo>
                  <a:cubicBezTo>
                    <a:pt x="684374" y="1194383"/>
                    <a:pt x="684374" y="1194383"/>
                    <a:pt x="722152" y="1194383"/>
                  </a:cubicBezTo>
                  <a:cubicBezTo>
                    <a:pt x="722152" y="1194383"/>
                    <a:pt x="722152" y="1194383"/>
                    <a:pt x="722152" y="1300163"/>
                  </a:cubicBezTo>
                  <a:cubicBezTo>
                    <a:pt x="816599" y="1292607"/>
                    <a:pt x="907267" y="1269940"/>
                    <a:pt x="986602" y="1228384"/>
                  </a:cubicBezTo>
                  <a:cubicBezTo>
                    <a:pt x="986602" y="1228384"/>
                    <a:pt x="986602" y="1228384"/>
                    <a:pt x="971490" y="1198161"/>
                  </a:cubicBezTo>
                  <a:cubicBezTo>
                    <a:pt x="971490" y="1198161"/>
                    <a:pt x="971490" y="1198161"/>
                    <a:pt x="997935" y="1183050"/>
                  </a:cubicBezTo>
                  <a:cubicBezTo>
                    <a:pt x="997935" y="1183050"/>
                    <a:pt x="997935" y="1183050"/>
                    <a:pt x="1016825" y="1209495"/>
                  </a:cubicBezTo>
                  <a:cubicBezTo>
                    <a:pt x="1096159" y="1164161"/>
                    <a:pt x="1164161" y="1092382"/>
                    <a:pt x="1209495" y="1016825"/>
                  </a:cubicBezTo>
                  <a:cubicBezTo>
                    <a:pt x="1209495" y="1016825"/>
                    <a:pt x="1209495" y="1016825"/>
                    <a:pt x="1183050" y="997935"/>
                  </a:cubicBezTo>
                  <a:cubicBezTo>
                    <a:pt x="1183050" y="997935"/>
                    <a:pt x="1183050" y="997935"/>
                    <a:pt x="1201939" y="967713"/>
                  </a:cubicBezTo>
                  <a:cubicBezTo>
                    <a:pt x="1201939" y="967713"/>
                    <a:pt x="1201939" y="967713"/>
                    <a:pt x="1228384" y="986602"/>
                  </a:cubicBezTo>
                  <a:cubicBezTo>
                    <a:pt x="1269940" y="903489"/>
                    <a:pt x="1292607" y="816599"/>
                    <a:pt x="1300163" y="718375"/>
                  </a:cubicBezTo>
                  <a:cubicBezTo>
                    <a:pt x="1300163" y="718375"/>
                    <a:pt x="1300163" y="718375"/>
                    <a:pt x="1194383" y="718375"/>
                  </a:cubicBezTo>
                  <a:cubicBezTo>
                    <a:pt x="1194383" y="718375"/>
                    <a:pt x="1194383" y="718375"/>
                    <a:pt x="1194383" y="684374"/>
                  </a:cubicBezTo>
                  <a:cubicBezTo>
                    <a:pt x="1194383" y="684374"/>
                    <a:pt x="1194383" y="684374"/>
                    <a:pt x="1300163" y="684374"/>
                  </a:cubicBezTo>
                  <a:cubicBezTo>
                    <a:pt x="1300163" y="586150"/>
                    <a:pt x="1269940" y="499259"/>
                    <a:pt x="1228384" y="419925"/>
                  </a:cubicBezTo>
                  <a:cubicBezTo>
                    <a:pt x="1228384" y="419925"/>
                    <a:pt x="1228384" y="419925"/>
                    <a:pt x="1201939" y="438814"/>
                  </a:cubicBezTo>
                  <a:cubicBezTo>
                    <a:pt x="1201939" y="438814"/>
                    <a:pt x="1201939" y="438814"/>
                    <a:pt x="1183050" y="404813"/>
                  </a:cubicBezTo>
                  <a:cubicBezTo>
                    <a:pt x="1183050" y="404813"/>
                    <a:pt x="1183050" y="404813"/>
                    <a:pt x="1209495" y="389702"/>
                  </a:cubicBezTo>
                  <a:cubicBezTo>
                    <a:pt x="1164161" y="310367"/>
                    <a:pt x="1096159" y="246144"/>
                    <a:pt x="1016825" y="193254"/>
                  </a:cubicBezTo>
                  <a:cubicBezTo>
                    <a:pt x="1016825" y="193254"/>
                    <a:pt x="1016825" y="193254"/>
                    <a:pt x="997935" y="227254"/>
                  </a:cubicBezTo>
                  <a:cubicBezTo>
                    <a:pt x="997935" y="227254"/>
                    <a:pt x="997935" y="227254"/>
                    <a:pt x="971490" y="208365"/>
                  </a:cubicBezTo>
                  <a:cubicBezTo>
                    <a:pt x="971490" y="208365"/>
                    <a:pt x="971490" y="208365"/>
                    <a:pt x="986602" y="174364"/>
                  </a:cubicBezTo>
                  <a:cubicBezTo>
                    <a:pt x="907267" y="132808"/>
                    <a:pt x="816599" y="110141"/>
                    <a:pt x="722152" y="106363"/>
                  </a:cubicBezTo>
                  <a:cubicBezTo>
                    <a:pt x="722152" y="106363"/>
                    <a:pt x="722152" y="106363"/>
                    <a:pt x="722152" y="212143"/>
                  </a:cubicBezTo>
                  <a:cubicBezTo>
                    <a:pt x="722152" y="212143"/>
                    <a:pt x="722152" y="212143"/>
                    <a:pt x="684374" y="212143"/>
                  </a:cubicBezTo>
                  <a:cubicBezTo>
                    <a:pt x="684374" y="212143"/>
                    <a:pt x="684374" y="212143"/>
                    <a:pt x="684374" y="106363"/>
                  </a:cubicBezTo>
                  <a:close/>
                  <a:moveTo>
                    <a:pt x="703263" y="0"/>
                  </a:moveTo>
                  <a:cubicBezTo>
                    <a:pt x="1091664" y="0"/>
                    <a:pt x="1406526" y="314862"/>
                    <a:pt x="1406526" y="703263"/>
                  </a:cubicBezTo>
                  <a:cubicBezTo>
                    <a:pt x="1406526" y="1091664"/>
                    <a:pt x="1091664" y="1406526"/>
                    <a:pt x="703263" y="1406526"/>
                  </a:cubicBezTo>
                  <a:cubicBezTo>
                    <a:pt x="314862" y="1406526"/>
                    <a:pt x="0" y="1091664"/>
                    <a:pt x="0" y="703263"/>
                  </a:cubicBezTo>
                  <a:cubicBezTo>
                    <a:pt x="0" y="314862"/>
                    <a:pt x="314862" y="0"/>
                    <a:pt x="703263" y="0"/>
                  </a:cubicBezTo>
                  <a:close/>
                </a:path>
              </a:pathLst>
            </a:cu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noAutofit/>
            </a:bodyPr>
            <a:lstStyle/>
            <a:p>
              <a:endParaRPr lang="en-IN" dirty="0"/>
            </a:p>
          </p:txBody>
        </p:sp>
      </p:grpSp>
      <p:sp>
        <p:nvSpPr>
          <p:cNvPr id="3" name="Slide Number Placeholder 2"/>
          <p:cNvSpPr>
            <a:spLocks noGrp="1"/>
          </p:cNvSpPr>
          <p:nvPr>
            <p:ph type="sldNum" sz="quarter" idx="11"/>
          </p:nvPr>
        </p:nvSpPr>
        <p:spPr/>
        <p:txBody>
          <a:bodyPr/>
          <a:lstStyle/>
          <a:p>
            <a:fld id="{27258FFF-F925-446B-8502-81C933981705}" type="slidenum">
              <a:rPr lang="en-US" smtClean="0"/>
              <a:pPr/>
              <a:t>10</a:t>
            </a:fld>
            <a:endParaRPr lang="en-US" dirty="0"/>
          </a:p>
        </p:txBody>
      </p:sp>
      <p:grpSp>
        <p:nvGrpSpPr>
          <p:cNvPr id="49" name="Group 48"/>
          <p:cNvGrpSpPr/>
          <p:nvPr/>
        </p:nvGrpSpPr>
        <p:grpSpPr>
          <a:xfrm>
            <a:off x="11070579" y="297389"/>
            <a:ext cx="932340" cy="913874"/>
            <a:chOff x="11070579" y="297389"/>
            <a:chExt cx="932340" cy="913874"/>
          </a:xfrm>
        </p:grpSpPr>
        <p:sp>
          <p:nvSpPr>
            <p:cNvPr id="55" name="Rectangle 54"/>
            <p:cNvSpPr/>
            <p:nvPr/>
          </p:nvSpPr>
          <p:spPr bwMode="auto">
            <a:xfrm>
              <a:off x="11070579" y="297389"/>
              <a:ext cx="932340" cy="913874"/>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p>
              <a:pPr algn="l" defTabSz="932563" fontAlgn="auto">
                <a:spcAft>
                  <a:spcPts val="587"/>
                </a:spcAft>
              </a:pPr>
              <a:endParaRPr lang="en-US" sz="2200" dirty="0">
                <a:solidFill>
                  <a:schemeClr val="bg1"/>
                </a:solidFill>
                <a:latin typeface="+mj-lt"/>
                <a:cs typeface="Segoe UI Semibold" panose="020B0702040204020203" pitchFamily="34" charset="0"/>
              </a:endParaRPr>
            </a:p>
          </p:txBody>
        </p:sp>
        <p:sp>
          <p:nvSpPr>
            <p:cNvPr id="56" name="Rectangle 55"/>
            <p:cNvSpPr/>
            <p:nvPr/>
          </p:nvSpPr>
          <p:spPr>
            <a:xfrm>
              <a:off x="11070579" y="1137623"/>
              <a:ext cx="932340" cy="73640"/>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sp>
          <p:nvSpPr>
            <p:cNvPr id="57" name="Freeform 56"/>
            <p:cNvSpPr>
              <a:spLocks noChangeAspect="1" noEditPoints="1"/>
            </p:cNvSpPr>
            <p:nvPr/>
          </p:nvSpPr>
          <p:spPr bwMode="auto">
            <a:xfrm>
              <a:off x="11329733" y="456084"/>
              <a:ext cx="414032" cy="596484"/>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alpha val="22000"/>
              </a:schemeClr>
            </a:solidFill>
            <a:ln w="0">
              <a:noFill/>
              <a:prstDash val="solid"/>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grpSp>
    </p:spTree>
    <p:extLst>
      <p:ext uri="{BB962C8B-B14F-4D97-AF65-F5344CB8AC3E}">
        <p14:creationId xmlns:p14="http://schemas.microsoft.com/office/powerpoint/2010/main" val="56309784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1413"/>
                                        </p:tgtEl>
                                        <p:attrNameLst>
                                          <p:attrName>style.visibility</p:attrName>
                                        </p:attrNameLst>
                                      </p:cBhvr>
                                      <p:to>
                                        <p:strVal val="visible"/>
                                      </p:to>
                                    </p:set>
                                    <p:anim calcmode="lin" valueType="num">
                                      <p:cBhvr>
                                        <p:cTn id="11" dur="500" fill="hold"/>
                                        <p:tgtEl>
                                          <p:spTgt spid="1413"/>
                                        </p:tgtEl>
                                        <p:attrNameLst>
                                          <p:attrName>ppt_w</p:attrName>
                                        </p:attrNameLst>
                                      </p:cBhvr>
                                      <p:tavLst>
                                        <p:tav tm="0">
                                          <p:val>
                                            <p:fltVal val="0"/>
                                          </p:val>
                                        </p:tav>
                                        <p:tav tm="100000">
                                          <p:val>
                                            <p:strVal val="#ppt_w"/>
                                          </p:val>
                                        </p:tav>
                                      </p:tavLst>
                                    </p:anim>
                                    <p:anim calcmode="lin" valueType="num">
                                      <p:cBhvr>
                                        <p:cTn id="12" dur="500" fill="hold"/>
                                        <p:tgtEl>
                                          <p:spTgt spid="1413"/>
                                        </p:tgtEl>
                                        <p:attrNameLst>
                                          <p:attrName>ppt_h</p:attrName>
                                        </p:attrNameLst>
                                      </p:cBhvr>
                                      <p:tavLst>
                                        <p:tav tm="0">
                                          <p:val>
                                            <p:fltVal val="0"/>
                                          </p:val>
                                        </p:tav>
                                        <p:tav tm="100000">
                                          <p:val>
                                            <p:strVal val="#ppt_h"/>
                                          </p:val>
                                        </p:tav>
                                      </p:tavLst>
                                    </p:anim>
                                    <p:animEffect transition="in" filter="fade">
                                      <p:cBhvr>
                                        <p:cTn id="13" dur="500"/>
                                        <p:tgtEl>
                                          <p:spTgt spid="1413"/>
                                        </p:tgtEl>
                                      </p:cBhvr>
                                    </p:animEffect>
                                  </p:childTnLst>
                                </p:cTn>
                              </p:par>
                            </p:childTnLst>
                          </p:cTn>
                        </p:par>
                        <p:par>
                          <p:cTn id="14" fill="hold">
                            <p:stCondLst>
                              <p:cond delay="1000"/>
                            </p:stCondLst>
                            <p:childTnLst>
                              <p:par>
                                <p:cTn id="15" presetID="22" presetClass="entr" presetSubtype="8" fill="hold" nodeType="afterEffect">
                                  <p:stCondLst>
                                    <p:cond delay="0"/>
                                  </p:stCondLst>
                                  <p:childTnLst>
                                    <p:set>
                                      <p:cBhvr>
                                        <p:cTn id="16" dur="1" fill="hold">
                                          <p:stCondLst>
                                            <p:cond delay="0"/>
                                          </p:stCondLst>
                                        </p:cTn>
                                        <p:tgtEl>
                                          <p:spTgt spid="1414"/>
                                        </p:tgtEl>
                                        <p:attrNameLst>
                                          <p:attrName>style.visibility</p:attrName>
                                        </p:attrNameLst>
                                      </p:cBhvr>
                                      <p:to>
                                        <p:strVal val="visible"/>
                                      </p:to>
                                    </p:set>
                                    <p:animEffect transition="in" filter="wipe(left)">
                                      <p:cBhvr>
                                        <p:cTn id="17" dur="500"/>
                                        <p:tgtEl>
                                          <p:spTgt spid="1414"/>
                                        </p:tgtEl>
                                      </p:cBhvr>
                                    </p:animEffect>
                                  </p:childTnLst>
                                </p:cTn>
                              </p:par>
                              <p:par>
                                <p:cTn id="18" presetID="22" presetClass="entr" presetSubtype="2" fill="hold" nodeType="withEffect">
                                  <p:stCondLst>
                                    <p:cond delay="0"/>
                                  </p:stCondLst>
                                  <p:childTnLst>
                                    <p:set>
                                      <p:cBhvr>
                                        <p:cTn id="19" dur="1" fill="hold">
                                          <p:stCondLst>
                                            <p:cond delay="0"/>
                                          </p:stCondLst>
                                        </p:cTn>
                                        <p:tgtEl>
                                          <p:spTgt spid="1417"/>
                                        </p:tgtEl>
                                        <p:attrNameLst>
                                          <p:attrName>style.visibility</p:attrName>
                                        </p:attrNameLst>
                                      </p:cBhvr>
                                      <p:to>
                                        <p:strVal val="visible"/>
                                      </p:to>
                                    </p:set>
                                    <p:animEffect transition="in" filter="wipe(right)">
                                      <p:cBhvr>
                                        <p:cTn id="20" dur="500"/>
                                        <p:tgtEl>
                                          <p:spTgt spid="1417"/>
                                        </p:tgtEl>
                                      </p:cBhvr>
                                    </p:animEffect>
                                  </p:childTnLst>
                                </p:cTn>
                              </p:par>
                            </p:childTnLst>
                          </p:cTn>
                        </p:par>
                        <p:par>
                          <p:cTn id="21" fill="hold">
                            <p:stCondLst>
                              <p:cond delay="1500"/>
                            </p:stCondLst>
                            <p:childTnLst>
                              <p:par>
                                <p:cTn id="22" presetID="22" presetClass="entr" presetSubtype="8" fill="hold" nodeType="afterEffect">
                                  <p:stCondLst>
                                    <p:cond delay="0"/>
                                  </p:stCondLst>
                                  <p:childTnLst>
                                    <p:set>
                                      <p:cBhvr>
                                        <p:cTn id="23" dur="1" fill="hold">
                                          <p:stCondLst>
                                            <p:cond delay="0"/>
                                          </p:stCondLst>
                                        </p:cTn>
                                        <p:tgtEl>
                                          <p:spTgt spid="1415"/>
                                        </p:tgtEl>
                                        <p:attrNameLst>
                                          <p:attrName>style.visibility</p:attrName>
                                        </p:attrNameLst>
                                      </p:cBhvr>
                                      <p:to>
                                        <p:strVal val="visible"/>
                                      </p:to>
                                    </p:set>
                                    <p:animEffect transition="in" filter="wipe(left)">
                                      <p:cBhvr>
                                        <p:cTn id="24" dur="500"/>
                                        <p:tgtEl>
                                          <p:spTgt spid="1415"/>
                                        </p:tgtEl>
                                      </p:cBhvr>
                                    </p:animEffect>
                                  </p:childTnLst>
                                </p:cTn>
                              </p:par>
                              <p:par>
                                <p:cTn id="25" presetID="22" presetClass="entr" presetSubtype="2" fill="hold" nodeType="withEffect">
                                  <p:stCondLst>
                                    <p:cond delay="0"/>
                                  </p:stCondLst>
                                  <p:childTnLst>
                                    <p:set>
                                      <p:cBhvr>
                                        <p:cTn id="26" dur="1" fill="hold">
                                          <p:stCondLst>
                                            <p:cond delay="0"/>
                                          </p:stCondLst>
                                        </p:cTn>
                                        <p:tgtEl>
                                          <p:spTgt spid="1418"/>
                                        </p:tgtEl>
                                        <p:attrNameLst>
                                          <p:attrName>style.visibility</p:attrName>
                                        </p:attrNameLst>
                                      </p:cBhvr>
                                      <p:to>
                                        <p:strVal val="visible"/>
                                      </p:to>
                                    </p:set>
                                    <p:animEffect transition="in" filter="wipe(right)">
                                      <p:cBhvr>
                                        <p:cTn id="27" dur="500"/>
                                        <p:tgtEl>
                                          <p:spTgt spid="1418"/>
                                        </p:tgtEl>
                                      </p:cBhvr>
                                    </p:animEffect>
                                  </p:childTnLst>
                                </p:cTn>
                              </p:par>
                            </p:childTnLst>
                          </p:cTn>
                        </p:par>
                        <p:par>
                          <p:cTn id="28" fill="hold">
                            <p:stCondLst>
                              <p:cond delay="2000"/>
                            </p:stCondLst>
                            <p:childTnLst>
                              <p:par>
                                <p:cTn id="29" presetID="22" presetClass="entr" presetSubtype="8" fill="hold" nodeType="afterEffect">
                                  <p:stCondLst>
                                    <p:cond delay="0"/>
                                  </p:stCondLst>
                                  <p:childTnLst>
                                    <p:set>
                                      <p:cBhvr>
                                        <p:cTn id="30" dur="1" fill="hold">
                                          <p:stCondLst>
                                            <p:cond delay="0"/>
                                          </p:stCondLst>
                                        </p:cTn>
                                        <p:tgtEl>
                                          <p:spTgt spid="1416"/>
                                        </p:tgtEl>
                                        <p:attrNameLst>
                                          <p:attrName>style.visibility</p:attrName>
                                        </p:attrNameLst>
                                      </p:cBhvr>
                                      <p:to>
                                        <p:strVal val="visible"/>
                                      </p:to>
                                    </p:set>
                                    <p:animEffect transition="in" filter="wipe(left)">
                                      <p:cBhvr>
                                        <p:cTn id="31" dur="500"/>
                                        <p:tgtEl>
                                          <p:spTgt spid="1416"/>
                                        </p:tgtEl>
                                      </p:cBhvr>
                                    </p:animEffect>
                                  </p:childTnLst>
                                </p:cTn>
                              </p:par>
                              <p:par>
                                <p:cTn id="32" presetID="22" presetClass="entr" presetSubtype="2" fill="hold" nodeType="withEffect">
                                  <p:stCondLst>
                                    <p:cond delay="0"/>
                                  </p:stCondLst>
                                  <p:childTnLst>
                                    <p:set>
                                      <p:cBhvr>
                                        <p:cTn id="33" dur="1" fill="hold">
                                          <p:stCondLst>
                                            <p:cond delay="0"/>
                                          </p:stCondLst>
                                        </p:cTn>
                                        <p:tgtEl>
                                          <p:spTgt spid="1419"/>
                                        </p:tgtEl>
                                        <p:attrNameLst>
                                          <p:attrName>style.visibility</p:attrName>
                                        </p:attrNameLst>
                                      </p:cBhvr>
                                      <p:to>
                                        <p:strVal val="visible"/>
                                      </p:to>
                                    </p:set>
                                    <p:animEffect transition="in" filter="wipe(right)">
                                      <p:cBhvr>
                                        <p:cTn id="34" dur="500"/>
                                        <p:tgtEl>
                                          <p:spTgt spid="14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6934146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912"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0" name="Group 9"/>
          <p:cNvGrpSpPr/>
          <p:nvPr/>
        </p:nvGrpSpPr>
        <p:grpSpPr>
          <a:xfrm>
            <a:off x="585216" y="2424353"/>
            <a:ext cx="2779637" cy="2522538"/>
            <a:chOff x="585216" y="2424353"/>
            <a:chExt cx="2779637" cy="2522538"/>
          </a:xfrm>
        </p:grpSpPr>
        <p:sp>
          <p:nvSpPr>
            <p:cNvPr id="12" name="Rectangle 11"/>
            <p:cNvSpPr/>
            <p:nvPr/>
          </p:nvSpPr>
          <p:spPr bwMode="auto">
            <a:xfrm>
              <a:off x="585216" y="2424353"/>
              <a:ext cx="2779637" cy="2522538"/>
            </a:xfrm>
            <a:prstGeom prst="rect">
              <a:avLst/>
            </a:prstGeom>
            <a:solidFill>
              <a:schemeClr val="accent1">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91440" rIns="91440" bIns="91440" numCol="1" rtlCol="0" anchor="t" anchorCtr="0" compatLnSpc="1">
              <a:prstTxWarp prst="textNoShape">
                <a:avLst/>
              </a:prstTxWarp>
              <a:noAutofit/>
            </a:bodyPr>
            <a:lstStyle/>
            <a:p>
              <a:pPr defTabSz="932563">
                <a:spcAft>
                  <a:spcPts val="587"/>
                </a:spcAft>
              </a:pPr>
              <a:r>
                <a:rPr lang="en-IN" dirty="0">
                  <a:solidFill>
                    <a:schemeClr val="bg1"/>
                  </a:solidFill>
                  <a:latin typeface="Segoe UI Semibold" panose="020B0702040204020203" pitchFamily="34" charset="0"/>
                  <a:cs typeface="Segoe UI Semibold" panose="020B0702040204020203" pitchFamily="34" charset="0"/>
                </a:rPr>
                <a:t>Network isolation</a:t>
              </a:r>
              <a:r>
                <a:rPr lang="en-IN" dirty="0" smtClean="0">
                  <a:solidFill>
                    <a:schemeClr val="bg1"/>
                  </a:solidFill>
                  <a:latin typeface="Segoe UI Semibold" panose="020B0702040204020203" pitchFamily="34" charset="0"/>
                  <a:cs typeface="Segoe UI Semibold" panose="020B0702040204020203" pitchFamily="34" charset="0"/>
                </a:rPr>
                <a:t>: </a:t>
              </a:r>
              <a:r>
                <a:rPr lang="en-IN" sz="1600" dirty="0" smtClean="0">
                  <a:solidFill>
                    <a:schemeClr val="bg1"/>
                  </a:solidFill>
                  <a:cs typeface="Segoe UI Semibold" panose="020B0702040204020203" pitchFamily="34" charset="0"/>
                </a:rPr>
                <a:t>Blocks unauthorized </a:t>
              </a:r>
              <a:r>
                <a:rPr lang="en-IN" sz="1600" dirty="0">
                  <a:solidFill>
                    <a:schemeClr val="bg1"/>
                  </a:solidFill>
                  <a:cs typeface="Segoe UI Semibold" panose="020B0702040204020203" pitchFamily="34" charset="0"/>
                </a:rPr>
                <a:t>users from the </a:t>
              </a:r>
              <a:r>
                <a:rPr lang="en-IN" sz="1600" dirty="0" smtClean="0">
                  <a:solidFill>
                    <a:schemeClr val="bg1"/>
                  </a:solidFill>
                  <a:cs typeface="Segoe UI Semibold" panose="020B0702040204020203" pitchFamily="34" charset="0"/>
                </a:rPr>
                <a:t>network</a:t>
              </a:r>
              <a:r>
                <a:rPr lang="en-US" sz="1600" dirty="0" smtClean="0">
                  <a:solidFill>
                    <a:schemeClr val="bg1"/>
                  </a:solidFill>
                  <a:cs typeface="Segoe UI Semibold" panose="020B0702040204020203" pitchFamily="34" charset="0"/>
                </a:rPr>
                <a:t> using a distributed </a:t>
              </a:r>
              <a:r>
                <a:rPr lang="en-US" sz="1600" dirty="0">
                  <a:solidFill>
                    <a:schemeClr val="bg1"/>
                  </a:solidFill>
                  <a:cs typeface="Segoe UI Semibold" panose="020B0702040204020203" pitchFamily="34" charset="0"/>
                </a:rPr>
                <a:t>virtual </a:t>
              </a:r>
              <a:r>
                <a:rPr lang="en-US" sz="1600" dirty="0" smtClean="0">
                  <a:solidFill>
                    <a:schemeClr val="bg1"/>
                  </a:solidFill>
                  <a:cs typeface="Segoe UI Semibold" panose="020B0702040204020203" pitchFamily="34" charset="0"/>
                </a:rPr>
                <a:t>firewall</a:t>
              </a:r>
              <a:endParaRPr lang="en-IN" sz="1600" dirty="0">
                <a:solidFill>
                  <a:schemeClr val="bg1"/>
                </a:solidFill>
                <a:cs typeface="Segoe UI Semibold" panose="020B0702040204020203" pitchFamily="34" charset="0"/>
              </a:endParaRPr>
            </a:p>
          </p:txBody>
        </p:sp>
        <p:sp>
          <p:nvSpPr>
            <p:cNvPr id="17" name="Rectangle 16"/>
            <p:cNvSpPr/>
            <p:nvPr/>
          </p:nvSpPr>
          <p:spPr bwMode="auto">
            <a:xfrm>
              <a:off x="585216" y="4873739"/>
              <a:ext cx="2779637" cy="73152"/>
            </a:xfrm>
            <a:prstGeom prst="rect">
              <a:avLst/>
            </a:prstGeom>
            <a:solidFill>
              <a:schemeClr val="bg1">
                <a:alpha val="30000"/>
              </a:schemeClr>
            </a:solidFill>
          </p:spPr>
          <p:txBody>
            <a:bodyPr wrap="square" lIns="91440" tIns="91440" rIns="91440" bIns="91440" rtlCol="0" anchor="ctr">
              <a:noAutofit/>
            </a:bodyPr>
            <a:lstStyle/>
            <a:p>
              <a:pPr fontAlgn="base"/>
              <a:endParaRPr lang="en-IN" sz="2400" dirty="0">
                <a:solidFill>
                  <a:srgbClr val="FFFFFF"/>
                </a:solidFill>
                <a:cs typeface="Segoe UI Light"/>
              </a:endParaRPr>
            </a:p>
          </p:txBody>
        </p:sp>
      </p:grpSp>
      <p:grpSp>
        <p:nvGrpSpPr>
          <p:cNvPr id="193" name="Group 192"/>
          <p:cNvGrpSpPr/>
          <p:nvPr/>
        </p:nvGrpSpPr>
        <p:grpSpPr>
          <a:xfrm>
            <a:off x="3415944" y="2424353"/>
            <a:ext cx="2779637" cy="2522538"/>
            <a:chOff x="3415944" y="2424353"/>
            <a:chExt cx="2779637" cy="2522538"/>
          </a:xfrm>
        </p:grpSpPr>
        <p:sp>
          <p:nvSpPr>
            <p:cNvPr id="13" name="Rectangle 12"/>
            <p:cNvSpPr/>
            <p:nvPr/>
          </p:nvSpPr>
          <p:spPr bwMode="auto">
            <a:xfrm>
              <a:off x="3415944" y="2424353"/>
              <a:ext cx="2779637" cy="2522538"/>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91440" rIns="91440" bIns="91440" numCol="1" rtlCol="0" anchor="t" anchorCtr="0" compatLnSpc="1">
              <a:prstTxWarp prst="textNoShape">
                <a:avLst/>
              </a:prstTxWarp>
              <a:noAutofit/>
            </a:bodyPr>
            <a:lstStyle/>
            <a:p>
              <a:pPr defTabSz="932563">
                <a:spcAft>
                  <a:spcPts val="587"/>
                </a:spcAft>
              </a:pPr>
              <a:r>
                <a:rPr lang="en-IN" dirty="0">
                  <a:solidFill>
                    <a:schemeClr val="bg1"/>
                  </a:solidFill>
                  <a:latin typeface="Segoe UI Semibold" panose="020B0702040204020203" pitchFamily="34" charset="0"/>
                  <a:cs typeface="Segoe UI Semibold" panose="020B0702040204020203" pitchFamily="34" charset="0"/>
                </a:rPr>
                <a:t>Virtual networks: </a:t>
              </a:r>
              <a:r>
                <a:rPr lang="en-IN" sz="1600" dirty="0">
                  <a:solidFill>
                    <a:schemeClr val="bg1"/>
                  </a:solidFill>
                  <a:cs typeface="Segoe UI Semibold" panose="020B0702040204020203" pitchFamily="34" charset="0"/>
                </a:rPr>
                <a:t>Customers can connect one or more cloud services using private IP addresses.</a:t>
              </a:r>
            </a:p>
          </p:txBody>
        </p:sp>
        <p:sp>
          <p:nvSpPr>
            <p:cNvPr id="18" name="Rectangle 17"/>
            <p:cNvSpPr/>
            <p:nvPr/>
          </p:nvSpPr>
          <p:spPr bwMode="auto">
            <a:xfrm>
              <a:off x="3415944" y="4873739"/>
              <a:ext cx="2779637" cy="73152"/>
            </a:xfrm>
            <a:prstGeom prst="rect">
              <a:avLst/>
            </a:prstGeom>
            <a:solidFill>
              <a:schemeClr val="bg1">
                <a:alpha val="30000"/>
              </a:schemeClr>
            </a:solidFill>
          </p:spPr>
          <p:txBody>
            <a:bodyPr wrap="square" lIns="91440" tIns="91440" rIns="91440" bIns="91440" rtlCol="0" anchor="ctr">
              <a:noAutofit/>
            </a:bodyPr>
            <a:lstStyle/>
            <a:p>
              <a:pPr fontAlgn="base"/>
              <a:endParaRPr lang="en-IN" sz="2400" dirty="0">
                <a:solidFill>
                  <a:srgbClr val="FFFFFF"/>
                </a:solidFill>
                <a:cs typeface="Segoe UI Light"/>
              </a:endParaRPr>
            </a:p>
          </p:txBody>
        </p:sp>
      </p:grpSp>
      <p:grpSp>
        <p:nvGrpSpPr>
          <p:cNvPr id="194" name="Group 193"/>
          <p:cNvGrpSpPr/>
          <p:nvPr/>
        </p:nvGrpSpPr>
        <p:grpSpPr>
          <a:xfrm>
            <a:off x="6246673" y="2424353"/>
            <a:ext cx="2779637" cy="2522538"/>
            <a:chOff x="6246673" y="2424353"/>
            <a:chExt cx="2779637" cy="2522538"/>
          </a:xfrm>
        </p:grpSpPr>
        <p:sp>
          <p:nvSpPr>
            <p:cNvPr id="14" name="Rectangle 13"/>
            <p:cNvSpPr/>
            <p:nvPr/>
          </p:nvSpPr>
          <p:spPr bwMode="auto">
            <a:xfrm>
              <a:off x="6246673" y="2424353"/>
              <a:ext cx="2779637" cy="2522538"/>
            </a:xfrm>
            <a:prstGeom prst="rect">
              <a:avLst/>
            </a:prstGeom>
            <a:solidFill>
              <a:schemeClr val="accent1">
                <a:lumMod val="60000"/>
                <a:lumOff val="40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91440" rIns="91440" bIns="91440" numCol="1" rtlCol="0" anchor="t" anchorCtr="0" compatLnSpc="1">
              <a:prstTxWarp prst="textNoShape">
                <a:avLst/>
              </a:prstTxWarp>
              <a:noAutofit/>
            </a:bodyPr>
            <a:lstStyle/>
            <a:p>
              <a:pPr defTabSz="932563">
                <a:spcAft>
                  <a:spcPts val="587"/>
                </a:spcAft>
              </a:pPr>
              <a:r>
                <a:rPr lang="en-IN" dirty="0">
                  <a:solidFill>
                    <a:schemeClr val="bg1"/>
                  </a:solidFill>
                  <a:latin typeface="Segoe UI Semibold" panose="020B0702040204020203" pitchFamily="34" charset="0"/>
                  <a:cs typeface="Segoe UI Semibold" panose="020B0702040204020203" pitchFamily="34" charset="0"/>
                </a:rPr>
                <a:t>VPN and ExpressRoute: </a:t>
              </a:r>
              <a:r>
                <a:rPr lang="en-IN" sz="1600" dirty="0">
                  <a:solidFill>
                    <a:schemeClr val="bg1"/>
                  </a:solidFill>
                  <a:cs typeface="Segoe UI Semibold" panose="020B0702040204020203" pitchFamily="34" charset="0"/>
                </a:rPr>
                <a:t>Site-to-site and point-to-site VPNs </a:t>
              </a:r>
              <a:r>
                <a:rPr lang="en-IN" sz="1600" dirty="0" smtClean="0">
                  <a:solidFill>
                    <a:schemeClr val="bg1"/>
                  </a:solidFill>
                  <a:cs typeface="Segoe UI Semibold" panose="020B0702040204020203" pitchFamily="34" charset="0"/>
                </a:rPr>
                <a:t>help </a:t>
              </a:r>
              <a:r>
                <a:rPr lang="en-IN" sz="1600" dirty="0">
                  <a:solidFill>
                    <a:schemeClr val="bg1"/>
                  </a:solidFill>
                  <a:cs typeface="Segoe UI Semibold" panose="020B0702040204020203" pitchFamily="34" charset="0"/>
                </a:rPr>
                <a:t>enable secure </a:t>
              </a:r>
              <a:r>
                <a:rPr lang="en-IN" sz="1600" dirty="0" smtClean="0">
                  <a:solidFill>
                    <a:schemeClr val="bg1"/>
                  </a:solidFill>
                  <a:cs typeface="Segoe UI Semibold" panose="020B0702040204020203" pitchFamily="34" charset="0"/>
                </a:rPr>
                <a:t>connections.</a:t>
              </a:r>
              <a:endParaRPr lang="en-IN" sz="1600" dirty="0">
                <a:solidFill>
                  <a:schemeClr val="bg1"/>
                </a:solidFill>
                <a:cs typeface="Segoe UI Semibold" panose="020B0702040204020203" pitchFamily="34" charset="0"/>
              </a:endParaRPr>
            </a:p>
          </p:txBody>
        </p:sp>
        <p:sp>
          <p:nvSpPr>
            <p:cNvPr id="19" name="Rectangle 18"/>
            <p:cNvSpPr/>
            <p:nvPr/>
          </p:nvSpPr>
          <p:spPr bwMode="auto">
            <a:xfrm>
              <a:off x="6246673" y="4873739"/>
              <a:ext cx="2779637" cy="73152"/>
            </a:xfrm>
            <a:prstGeom prst="rect">
              <a:avLst/>
            </a:prstGeom>
            <a:solidFill>
              <a:schemeClr val="bg1">
                <a:alpha val="30000"/>
              </a:schemeClr>
            </a:solidFill>
          </p:spPr>
          <p:txBody>
            <a:bodyPr wrap="square" lIns="91440" tIns="91440" rIns="91440" bIns="91440" rtlCol="0" anchor="ctr">
              <a:noAutofit/>
            </a:bodyPr>
            <a:lstStyle/>
            <a:p>
              <a:pPr fontAlgn="base"/>
              <a:endParaRPr lang="en-IN" sz="2400" dirty="0">
                <a:solidFill>
                  <a:srgbClr val="FFFFFF"/>
                </a:solidFill>
                <a:cs typeface="Segoe UI Light"/>
              </a:endParaRPr>
            </a:p>
          </p:txBody>
        </p:sp>
      </p:grpSp>
      <p:grpSp>
        <p:nvGrpSpPr>
          <p:cNvPr id="195" name="Group 194"/>
          <p:cNvGrpSpPr/>
          <p:nvPr/>
        </p:nvGrpSpPr>
        <p:grpSpPr>
          <a:xfrm>
            <a:off x="9077401" y="2424353"/>
            <a:ext cx="2779637" cy="2522538"/>
            <a:chOff x="9077401" y="2424353"/>
            <a:chExt cx="2779637" cy="2522538"/>
          </a:xfrm>
        </p:grpSpPr>
        <p:sp>
          <p:nvSpPr>
            <p:cNvPr id="15" name="Rectangle 14"/>
            <p:cNvSpPr/>
            <p:nvPr/>
          </p:nvSpPr>
          <p:spPr bwMode="auto">
            <a:xfrm>
              <a:off x="9077401" y="2424353"/>
              <a:ext cx="2779637" cy="2522538"/>
            </a:xfrm>
            <a:prstGeom prst="rect">
              <a:avLst/>
            </a:prstGeom>
            <a:solidFill>
              <a:schemeClr val="accent1">
                <a:lumMod val="40000"/>
                <a:lumOff val="60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91440" rIns="91440" bIns="91440" numCol="1" rtlCol="0" anchor="t" anchorCtr="0" compatLnSpc="1">
              <a:prstTxWarp prst="textNoShape">
                <a:avLst/>
              </a:prstTxWarp>
              <a:noAutofit/>
            </a:bodyPr>
            <a:lstStyle/>
            <a:p>
              <a:pPr defTabSz="932563">
                <a:spcAft>
                  <a:spcPts val="587"/>
                </a:spcAft>
              </a:pPr>
              <a:r>
                <a:rPr lang="en-IN" dirty="0">
                  <a:solidFill>
                    <a:schemeClr val="bg1"/>
                  </a:solidFill>
                  <a:latin typeface="Segoe UI Semibold" panose="020B0702040204020203" pitchFamily="34" charset="0"/>
                  <a:cs typeface="Segoe UI Semibold" panose="020B0702040204020203" pitchFamily="34" charset="0"/>
                </a:rPr>
                <a:t>Encrypted communications: </a:t>
              </a:r>
              <a:r>
                <a:rPr lang="en-IN" b="1" dirty="0" smtClean="0">
                  <a:solidFill>
                    <a:schemeClr val="bg1"/>
                  </a:solidFill>
                  <a:latin typeface="Segoe UI Semibold" panose="020B0702040204020203" pitchFamily="34" charset="0"/>
                  <a:cs typeface="Segoe UI Semibold" panose="020B0702040204020203" pitchFamily="34" charset="0"/>
                </a:rPr>
                <a:t>E</a:t>
              </a:r>
              <a:r>
                <a:rPr lang="en-IN" sz="1600" dirty="0" smtClean="0">
                  <a:solidFill>
                    <a:schemeClr val="bg1"/>
                  </a:solidFill>
                  <a:cs typeface="Segoe UI Semibold" panose="020B0702040204020203" pitchFamily="34" charset="0"/>
                </a:rPr>
                <a:t>ncryption within </a:t>
              </a:r>
              <a:r>
                <a:rPr lang="en-IN" sz="1600" dirty="0">
                  <a:solidFill>
                    <a:schemeClr val="bg1"/>
                  </a:solidFill>
                  <a:cs typeface="Segoe UI Semibold" panose="020B0702040204020203" pitchFamily="34" charset="0"/>
                </a:rPr>
                <a:t>and between </a:t>
              </a:r>
              <a:r>
                <a:rPr lang="en-IN" sz="1600" dirty="0" smtClean="0">
                  <a:solidFill>
                    <a:schemeClr val="bg1"/>
                  </a:solidFill>
                  <a:cs typeface="Segoe UI Semibold" panose="020B0702040204020203" pitchFamily="34" charset="0"/>
                </a:rPr>
                <a:t>deployments, and </a:t>
              </a:r>
              <a:r>
                <a:rPr lang="en-IN" sz="1600" dirty="0">
                  <a:solidFill>
                    <a:schemeClr val="bg1"/>
                  </a:solidFill>
                  <a:cs typeface="Segoe UI Semibold" panose="020B0702040204020203" pitchFamily="34" charset="0"/>
                </a:rPr>
                <a:t>from Azure to on-premises </a:t>
              </a:r>
              <a:r>
                <a:rPr lang="en-IN" sz="1600" dirty="0" smtClean="0">
                  <a:solidFill>
                    <a:schemeClr val="bg1"/>
                  </a:solidFill>
                  <a:cs typeface="Segoe UI Semibold" panose="020B0702040204020203" pitchFamily="34" charset="0"/>
                </a:rPr>
                <a:t>datacenters</a:t>
              </a:r>
              <a:r>
                <a:rPr lang="en-IN" sz="1600" dirty="0">
                  <a:solidFill>
                    <a:schemeClr val="bg1"/>
                  </a:solidFill>
                  <a:cs typeface="Segoe UI Semibold" panose="020B0702040204020203" pitchFamily="34" charset="0"/>
                </a:rPr>
                <a:t> </a:t>
              </a:r>
              <a:r>
                <a:rPr lang="en-IN" sz="1600" dirty="0" smtClean="0">
                  <a:solidFill>
                    <a:schemeClr val="bg1"/>
                  </a:solidFill>
                  <a:cs typeface="Segoe UI Semibold" panose="020B0702040204020203" pitchFamily="34" charset="0"/>
                </a:rPr>
                <a:t>with TLS and Perfect Forward Secrecy. </a:t>
              </a:r>
              <a:endParaRPr lang="en-IN" sz="1600" dirty="0">
                <a:solidFill>
                  <a:schemeClr val="bg1"/>
                </a:solidFill>
                <a:cs typeface="Segoe UI Semibold" panose="020B0702040204020203" pitchFamily="34" charset="0"/>
              </a:endParaRPr>
            </a:p>
          </p:txBody>
        </p:sp>
        <p:sp>
          <p:nvSpPr>
            <p:cNvPr id="20" name="Rectangle 19"/>
            <p:cNvSpPr/>
            <p:nvPr/>
          </p:nvSpPr>
          <p:spPr bwMode="auto">
            <a:xfrm>
              <a:off x="9077401" y="4873739"/>
              <a:ext cx="2779637" cy="73152"/>
            </a:xfrm>
            <a:prstGeom prst="rect">
              <a:avLst/>
            </a:prstGeom>
            <a:solidFill>
              <a:schemeClr val="bg1">
                <a:alpha val="30000"/>
              </a:schemeClr>
            </a:solidFill>
          </p:spPr>
          <p:txBody>
            <a:bodyPr wrap="square" lIns="91440" tIns="91440" rIns="91440" bIns="91440" rtlCol="0" anchor="ctr">
              <a:noAutofit/>
            </a:bodyPr>
            <a:lstStyle/>
            <a:p>
              <a:pPr fontAlgn="base"/>
              <a:endParaRPr lang="en-IN" sz="2400" dirty="0">
                <a:solidFill>
                  <a:srgbClr val="FFFFFF"/>
                </a:solidFill>
                <a:cs typeface="Segoe UI Light"/>
              </a:endParaRPr>
            </a:p>
          </p:txBody>
        </p:sp>
      </p:grpSp>
      <p:sp>
        <p:nvSpPr>
          <p:cNvPr id="4" name="Title 3"/>
          <p:cNvSpPr>
            <a:spLocks noGrp="1"/>
          </p:cNvSpPr>
          <p:nvPr>
            <p:ph type="title"/>
          </p:nvPr>
        </p:nvSpPr>
        <p:spPr/>
        <p:txBody>
          <a:bodyPr/>
          <a:lstStyle/>
          <a:p>
            <a:r>
              <a:rPr lang="en-IN" dirty="0"/>
              <a:t>Network </a:t>
            </a:r>
            <a:r>
              <a:rPr lang="en-IN" dirty="0" smtClean="0"/>
              <a:t>protection</a:t>
            </a:r>
            <a:endParaRPr lang="en-IN" dirty="0"/>
          </a:p>
        </p:txBody>
      </p:sp>
      <p:sp>
        <p:nvSpPr>
          <p:cNvPr id="11" name="Text Placeholder 30"/>
          <p:cNvSpPr txBox="1">
            <a:spLocks/>
          </p:cNvSpPr>
          <p:nvPr/>
        </p:nvSpPr>
        <p:spPr>
          <a:xfrm>
            <a:off x="594181" y="1410920"/>
            <a:ext cx="11271822" cy="908539"/>
          </a:xfrm>
          <a:prstGeom prst="rect">
            <a:avLst/>
          </a:prstGeom>
        </p:spPr>
        <p:txBody>
          <a:bodyPr vert="horz" wrap="square" lIns="0" tIns="93260" rIns="0" bIns="9326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IN" sz="2600" dirty="0">
                <a:solidFill>
                  <a:schemeClr val="tx2"/>
                </a:solidFill>
              </a:rPr>
              <a:t>Azure networking provides the infrastructure necessary to securely connect VMs to one another and to connect on-premises data centers with Azure VMs.</a:t>
            </a:r>
          </a:p>
        </p:txBody>
      </p:sp>
      <p:sp>
        <p:nvSpPr>
          <p:cNvPr id="3" name="Rectangle 2"/>
          <p:cNvSpPr/>
          <p:nvPr/>
        </p:nvSpPr>
        <p:spPr bwMode="auto">
          <a:xfrm>
            <a:off x="0" y="4946891"/>
            <a:ext cx="12436475" cy="204763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7" name="Group 56"/>
          <p:cNvGrpSpPr/>
          <p:nvPr/>
        </p:nvGrpSpPr>
        <p:grpSpPr>
          <a:xfrm>
            <a:off x="0" y="5147910"/>
            <a:ext cx="12436475" cy="1846615"/>
            <a:chOff x="0" y="5147910"/>
            <a:chExt cx="12436475" cy="1846615"/>
          </a:xfrm>
        </p:grpSpPr>
        <p:grpSp>
          <p:nvGrpSpPr>
            <p:cNvPr id="58" name="Group 57"/>
            <p:cNvGrpSpPr/>
            <p:nvPr/>
          </p:nvGrpSpPr>
          <p:grpSpPr>
            <a:xfrm>
              <a:off x="0" y="5534025"/>
              <a:ext cx="12436475" cy="1460500"/>
              <a:chOff x="0" y="5534025"/>
              <a:chExt cx="12436475" cy="1460500"/>
            </a:xfrm>
          </p:grpSpPr>
          <p:sp>
            <p:nvSpPr>
              <p:cNvPr id="54" name="Rectangle 53"/>
              <p:cNvSpPr>
                <a:spLocks noChangeArrowheads="1"/>
              </p:cNvSpPr>
              <p:nvPr/>
            </p:nvSpPr>
            <p:spPr bwMode="auto">
              <a:xfrm>
                <a:off x="2029099" y="6923987"/>
                <a:ext cx="10407376" cy="7053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Freeform 23"/>
              <p:cNvSpPr>
                <a:spLocks/>
              </p:cNvSpPr>
              <p:nvPr/>
            </p:nvSpPr>
            <p:spPr bwMode="auto">
              <a:xfrm>
                <a:off x="634857" y="6279781"/>
                <a:ext cx="850079" cy="714744"/>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 name="Freeform 25"/>
              <p:cNvSpPr>
                <a:spLocks/>
              </p:cNvSpPr>
              <p:nvPr/>
            </p:nvSpPr>
            <p:spPr bwMode="auto">
              <a:xfrm>
                <a:off x="1525952" y="6279781"/>
                <a:ext cx="850079" cy="714744"/>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Freeform 26"/>
              <p:cNvSpPr>
                <a:spLocks/>
              </p:cNvSpPr>
              <p:nvPr/>
            </p:nvSpPr>
            <p:spPr bwMode="auto">
              <a:xfrm>
                <a:off x="186557" y="6279781"/>
                <a:ext cx="850079" cy="714744"/>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Rectangle 27"/>
              <p:cNvSpPr>
                <a:spLocks noChangeArrowheads="1"/>
              </p:cNvSpPr>
              <p:nvPr/>
            </p:nvSpPr>
            <p:spPr bwMode="auto">
              <a:xfrm>
                <a:off x="1217084" y="5999242"/>
                <a:ext cx="848669" cy="29605"/>
              </a:xfrm>
              <a:prstGeom prst="rect">
                <a:avLst/>
              </a:prstGeom>
              <a:solidFill>
                <a:srgbClr val="AB008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29" name="Group 28"/>
              <p:cNvGrpSpPr/>
              <p:nvPr/>
            </p:nvGrpSpPr>
            <p:grpSpPr>
              <a:xfrm>
                <a:off x="1255147" y="6028847"/>
                <a:ext cx="773952" cy="965678"/>
                <a:chOff x="2169720" y="5159816"/>
                <a:chExt cx="1075706" cy="1342184"/>
              </a:xfrm>
            </p:grpSpPr>
            <p:sp>
              <p:nvSpPr>
                <p:cNvPr id="30" name="Rectangle 29"/>
                <p:cNvSpPr>
                  <a:spLocks noChangeArrowheads="1"/>
                </p:cNvSpPr>
                <p:nvPr/>
              </p:nvSpPr>
              <p:spPr bwMode="auto">
                <a:xfrm>
                  <a:off x="2169720" y="5159816"/>
                  <a:ext cx="1075706" cy="1342184"/>
                </a:xfrm>
                <a:prstGeom prst="rect">
                  <a:avLst/>
                </a:prstGeom>
                <a:solidFill>
                  <a:srgbClr val="AB008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Rectangle 30"/>
                <p:cNvSpPr>
                  <a:spLocks noChangeArrowheads="1"/>
                </p:cNvSpPr>
                <p:nvPr/>
              </p:nvSpPr>
              <p:spPr bwMode="auto">
                <a:xfrm>
                  <a:off x="2761456" y="6229644"/>
                  <a:ext cx="139116" cy="272356"/>
                </a:xfrm>
                <a:prstGeom prst="rect">
                  <a:avLst/>
                </a:prstGeom>
                <a:solidFill>
                  <a:srgbClr val="AB0086">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 name="Rectangle 31"/>
                <p:cNvSpPr>
                  <a:spLocks noChangeArrowheads="1"/>
                </p:cNvSpPr>
                <p:nvPr/>
              </p:nvSpPr>
              <p:spPr bwMode="auto">
                <a:xfrm>
                  <a:off x="2518492" y="6229644"/>
                  <a:ext cx="141077" cy="272356"/>
                </a:xfrm>
                <a:prstGeom prst="rect">
                  <a:avLst/>
                </a:prstGeom>
                <a:solidFill>
                  <a:srgbClr val="AB0086">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 name="Rectangle 32"/>
                <p:cNvSpPr>
                  <a:spLocks noChangeArrowheads="1"/>
                </p:cNvSpPr>
                <p:nvPr/>
              </p:nvSpPr>
              <p:spPr bwMode="auto">
                <a:xfrm>
                  <a:off x="2277486" y="5281298"/>
                  <a:ext cx="866052" cy="139117"/>
                </a:xfrm>
                <a:prstGeom prst="rect">
                  <a:avLst/>
                </a:prstGeom>
                <a:solidFill>
                  <a:srgbClr val="AB0086">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 name="Rectangle 33"/>
                <p:cNvSpPr>
                  <a:spLocks noChangeArrowheads="1"/>
                </p:cNvSpPr>
                <p:nvPr/>
              </p:nvSpPr>
              <p:spPr bwMode="auto">
                <a:xfrm>
                  <a:off x="2277486" y="5522304"/>
                  <a:ext cx="866052" cy="141077"/>
                </a:xfrm>
                <a:prstGeom prst="rect">
                  <a:avLst/>
                </a:prstGeom>
                <a:solidFill>
                  <a:srgbClr val="AB0086">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 name="Rectangle 34"/>
                <p:cNvSpPr>
                  <a:spLocks noChangeArrowheads="1"/>
                </p:cNvSpPr>
                <p:nvPr/>
              </p:nvSpPr>
              <p:spPr bwMode="auto">
                <a:xfrm>
                  <a:off x="2277486" y="5763309"/>
                  <a:ext cx="866052" cy="141077"/>
                </a:xfrm>
                <a:prstGeom prst="rect">
                  <a:avLst/>
                </a:prstGeom>
                <a:solidFill>
                  <a:srgbClr val="AB0086">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 name="Rectangle 35"/>
                <p:cNvSpPr>
                  <a:spLocks noChangeArrowheads="1"/>
                </p:cNvSpPr>
                <p:nvPr/>
              </p:nvSpPr>
              <p:spPr bwMode="auto">
                <a:xfrm>
                  <a:off x="2277486" y="6004315"/>
                  <a:ext cx="866052" cy="141077"/>
                </a:xfrm>
                <a:prstGeom prst="rect">
                  <a:avLst/>
                </a:prstGeom>
                <a:solidFill>
                  <a:srgbClr val="AB0086">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37" name="Rectangle 36"/>
              <p:cNvSpPr>
                <a:spLocks noChangeArrowheads="1"/>
              </p:cNvSpPr>
              <p:nvPr/>
            </p:nvSpPr>
            <p:spPr bwMode="auto">
              <a:xfrm>
                <a:off x="104698" y="6778833"/>
                <a:ext cx="45112" cy="16494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Oval 37"/>
              <p:cNvSpPr>
                <a:spLocks noChangeArrowheads="1"/>
              </p:cNvSpPr>
              <p:nvPr/>
            </p:nvSpPr>
            <p:spPr bwMode="auto">
              <a:xfrm>
                <a:off x="18703" y="6632219"/>
                <a:ext cx="219921" cy="21992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Oval 38"/>
              <p:cNvSpPr>
                <a:spLocks noChangeArrowheads="1"/>
              </p:cNvSpPr>
              <p:nvPr/>
            </p:nvSpPr>
            <p:spPr bwMode="auto">
              <a:xfrm>
                <a:off x="46898" y="6519439"/>
                <a:ext cx="163531" cy="16071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Rectangle 39"/>
              <p:cNvSpPr>
                <a:spLocks noChangeArrowheads="1"/>
              </p:cNvSpPr>
              <p:nvPr/>
            </p:nvSpPr>
            <p:spPr bwMode="auto">
              <a:xfrm>
                <a:off x="1380614" y="5879414"/>
                <a:ext cx="300276" cy="119829"/>
              </a:xfrm>
              <a:prstGeom prst="rect">
                <a:avLst/>
              </a:pr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Rectangle 40"/>
              <p:cNvSpPr>
                <a:spLocks noChangeArrowheads="1"/>
              </p:cNvSpPr>
              <p:nvPr/>
            </p:nvSpPr>
            <p:spPr bwMode="auto">
              <a:xfrm>
                <a:off x="312025" y="5683459"/>
                <a:ext cx="772542" cy="1311066"/>
              </a:xfrm>
              <a:prstGeom prst="rect">
                <a:avLst/>
              </a:prstGeom>
              <a:solidFill>
                <a:srgbClr val="9B4F9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 name="Rectangle 41"/>
              <p:cNvSpPr>
                <a:spLocks noChangeArrowheads="1"/>
              </p:cNvSpPr>
              <p:nvPr/>
            </p:nvSpPr>
            <p:spPr bwMode="auto">
              <a:xfrm>
                <a:off x="272552" y="5655264"/>
                <a:ext cx="850079" cy="28195"/>
              </a:xfrm>
              <a:prstGeom prst="rect">
                <a:avLst/>
              </a:prstGeom>
              <a:solidFill>
                <a:srgbClr val="9B4F9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 name="Rectangle 42"/>
              <p:cNvSpPr>
                <a:spLocks noChangeArrowheads="1"/>
              </p:cNvSpPr>
              <p:nvPr/>
            </p:nvSpPr>
            <p:spPr bwMode="auto">
              <a:xfrm>
                <a:off x="736359" y="6798570"/>
                <a:ext cx="101502" cy="195955"/>
              </a:xfrm>
              <a:prstGeom prst="rect">
                <a:avLst/>
              </a:prstGeom>
              <a:solidFill>
                <a:srgbClr val="663300">
                  <a:lumMod val="75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 name="Rectangle 43"/>
              <p:cNvSpPr>
                <a:spLocks noChangeArrowheads="1"/>
              </p:cNvSpPr>
              <p:nvPr/>
            </p:nvSpPr>
            <p:spPr bwMode="auto">
              <a:xfrm>
                <a:off x="561551" y="6798570"/>
                <a:ext cx="100092" cy="195955"/>
              </a:xfrm>
              <a:prstGeom prst="rect">
                <a:avLst/>
              </a:prstGeom>
              <a:solidFill>
                <a:srgbClr val="663300">
                  <a:lumMod val="75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 name="Rectangle 44"/>
              <p:cNvSpPr>
                <a:spLocks noChangeArrowheads="1"/>
              </p:cNvSpPr>
              <p:nvPr/>
            </p:nvSpPr>
            <p:spPr bwMode="auto">
              <a:xfrm>
                <a:off x="386742" y="6116251"/>
                <a:ext cx="624518" cy="100092"/>
              </a:xfrm>
              <a:prstGeom prst="rect">
                <a:avLst/>
              </a:prstGeom>
              <a:solidFill>
                <a:srgbClr val="663300">
                  <a:lumMod val="75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 name="Rectangle 45"/>
              <p:cNvSpPr>
                <a:spLocks noChangeArrowheads="1"/>
              </p:cNvSpPr>
              <p:nvPr/>
            </p:nvSpPr>
            <p:spPr bwMode="auto">
              <a:xfrm>
                <a:off x="386742" y="6289650"/>
                <a:ext cx="624518" cy="101502"/>
              </a:xfrm>
              <a:prstGeom prst="rect">
                <a:avLst/>
              </a:prstGeom>
              <a:solidFill>
                <a:srgbClr val="663300">
                  <a:lumMod val="75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Rectangle 46"/>
              <p:cNvSpPr>
                <a:spLocks noChangeArrowheads="1"/>
              </p:cNvSpPr>
              <p:nvPr/>
            </p:nvSpPr>
            <p:spPr bwMode="auto">
              <a:xfrm>
                <a:off x="386742" y="6463049"/>
                <a:ext cx="624518" cy="101502"/>
              </a:xfrm>
              <a:prstGeom prst="rect">
                <a:avLst/>
              </a:prstGeom>
              <a:solidFill>
                <a:srgbClr val="663300">
                  <a:lumMod val="75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Rectangle 47"/>
              <p:cNvSpPr>
                <a:spLocks noChangeArrowheads="1"/>
              </p:cNvSpPr>
              <p:nvPr/>
            </p:nvSpPr>
            <p:spPr bwMode="auto">
              <a:xfrm>
                <a:off x="386742" y="6636449"/>
                <a:ext cx="624518" cy="101502"/>
              </a:xfrm>
              <a:prstGeom prst="rect">
                <a:avLst/>
              </a:prstGeom>
              <a:solidFill>
                <a:srgbClr val="663300">
                  <a:lumMod val="75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Rectangle 48"/>
              <p:cNvSpPr>
                <a:spLocks noChangeArrowheads="1"/>
              </p:cNvSpPr>
              <p:nvPr/>
            </p:nvSpPr>
            <p:spPr bwMode="auto">
              <a:xfrm>
                <a:off x="386742" y="5769453"/>
                <a:ext cx="624518" cy="100092"/>
              </a:xfrm>
              <a:prstGeom prst="rect">
                <a:avLst/>
              </a:prstGeom>
              <a:solidFill>
                <a:srgbClr val="663300">
                  <a:lumMod val="75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Rectangle 49"/>
              <p:cNvSpPr>
                <a:spLocks noChangeArrowheads="1"/>
              </p:cNvSpPr>
              <p:nvPr/>
            </p:nvSpPr>
            <p:spPr bwMode="auto">
              <a:xfrm>
                <a:off x="386742" y="5942852"/>
                <a:ext cx="624518" cy="100092"/>
              </a:xfrm>
              <a:prstGeom prst="rect">
                <a:avLst/>
              </a:prstGeom>
              <a:solidFill>
                <a:srgbClr val="663300">
                  <a:lumMod val="75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1" name="Rectangle 50"/>
              <p:cNvSpPr>
                <a:spLocks noChangeArrowheads="1"/>
              </p:cNvSpPr>
              <p:nvPr/>
            </p:nvSpPr>
            <p:spPr bwMode="auto">
              <a:xfrm>
                <a:off x="864646" y="5534025"/>
                <a:ext cx="93044" cy="121239"/>
              </a:xfrm>
              <a:prstGeom prst="rect">
                <a:avLst/>
              </a:pr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Rectangle 51"/>
              <p:cNvSpPr>
                <a:spLocks noChangeArrowheads="1"/>
              </p:cNvSpPr>
              <p:nvPr/>
            </p:nvSpPr>
            <p:spPr bwMode="auto">
              <a:xfrm>
                <a:off x="740588" y="5534025"/>
                <a:ext cx="91633" cy="121239"/>
              </a:xfrm>
              <a:prstGeom prst="rect">
                <a:avLst/>
              </a:pr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53" name="Freeform 52"/>
              <p:cNvSpPr>
                <a:spLocks/>
              </p:cNvSpPr>
              <p:nvPr/>
            </p:nvSpPr>
            <p:spPr bwMode="auto">
              <a:xfrm>
                <a:off x="1827505" y="5779322"/>
                <a:ext cx="201594" cy="219921"/>
              </a:xfrm>
              <a:custGeom>
                <a:avLst/>
                <a:gdLst>
                  <a:gd name="T0" fmla="*/ 71 w 143"/>
                  <a:gd name="T1" fmla="*/ 0 h 156"/>
                  <a:gd name="T2" fmla="*/ 71 w 143"/>
                  <a:gd name="T3" fmla="*/ 0 h 156"/>
                  <a:gd name="T4" fmla="*/ 0 w 143"/>
                  <a:gd name="T5" fmla="*/ 156 h 156"/>
                  <a:gd name="T6" fmla="*/ 143 w 143"/>
                  <a:gd name="T7" fmla="*/ 156 h 156"/>
                  <a:gd name="T8" fmla="*/ 71 w 143"/>
                  <a:gd name="T9" fmla="*/ 0 h 156"/>
                </a:gdLst>
                <a:ahLst/>
                <a:cxnLst>
                  <a:cxn ang="0">
                    <a:pos x="T0" y="T1"/>
                  </a:cxn>
                  <a:cxn ang="0">
                    <a:pos x="T2" y="T3"/>
                  </a:cxn>
                  <a:cxn ang="0">
                    <a:pos x="T4" y="T5"/>
                  </a:cxn>
                  <a:cxn ang="0">
                    <a:pos x="T6" y="T7"/>
                  </a:cxn>
                  <a:cxn ang="0">
                    <a:pos x="T8" y="T9"/>
                  </a:cxn>
                </a:cxnLst>
                <a:rect l="0" t="0" r="r" b="b"/>
                <a:pathLst>
                  <a:path w="143" h="156">
                    <a:moveTo>
                      <a:pt x="71" y="0"/>
                    </a:moveTo>
                    <a:lnTo>
                      <a:pt x="71" y="0"/>
                    </a:lnTo>
                    <a:lnTo>
                      <a:pt x="0" y="156"/>
                    </a:lnTo>
                    <a:lnTo>
                      <a:pt x="143" y="156"/>
                    </a:lnTo>
                    <a:lnTo>
                      <a:pt x="71" y="0"/>
                    </a:lnTo>
                    <a:close/>
                  </a:path>
                </a:pathLst>
              </a:custGeom>
              <a:solidFill>
                <a:srgbClr val="AB008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Rectangle 22"/>
              <p:cNvSpPr>
                <a:spLocks noChangeArrowheads="1"/>
              </p:cNvSpPr>
              <p:nvPr/>
            </p:nvSpPr>
            <p:spPr bwMode="auto">
              <a:xfrm>
                <a:off x="0" y="6923987"/>
                <a:ext cx="312025" cy="7053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Rectangle 24"/>
              <p:cNvSpPr>
                <a:spLocks noChangeArrowheads="1"/>
              </p:cNvSpPr>
              <p:nvPr/>
            </p:nvSpPr>
            <p:spPr bwMode="auto">
              <a:xfrm>
                <a:off x="1084567" y="6923987"/>
                <a:ext cx="170580" cy="7053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56" name="Group 55"/>
            <p:cNvGrpSpPr/>
            <p:nvPr/>
          </p:nvGrpSpPr>
          <p:grpSpPr>
            <a:xfrm>
              <a:off x="9960632" y="5147910"/>
              <a:ext cx="2048806" cy="1846614"/>
              <a:chOff x="9960632" y="5147910"/>
              <a:chExt cx="2048806" cy="1846614"/>
            </a:xfrm>
          </p:grpSpPr>
          <p:grpSp>
            <p:nvGrpSpPr>
              <p:cNvPr id="59" name="Group 58"/>
              <p:cNvGrpSpPr/>
              <p:nvPr/>
            </p:nvGrpSpPr>
            <p:grpSpPr>
              <a:xfrm>
                <a:off x="9960632" y="5769453"/>
                <a:ext cx="1013174" cy="1225071"/>
                <a:chOff x="-942184" y="831370"/>
                <a:chExt cx="2176247" cy="2631390"/>
              </a:xfrm>
            </p:grpSpPr>
            <p:sp>
              <p:nvSpPr>
                <p:cNvPr id="60" name="Rectangle 8"/>
                <p:cNvSpPr>
                  <a:spLocks noChangeArrowheads="1"/>
                </p:cNvSpPr>
                <p:nvPr/>
              </p:nvSpPr>
              <p:spPr bwMode="auto">
                <a:xfrm>
                  <a:off x="-371295" y="2657463"/>
                  <a:ext cx="128545" cy="80529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Rectangle 9"/>
                <p:cNvSpPr>
                  <a:spLocks noChangeArrowheads="1"/>
                </p:cNvSpPr>
                <p:nvPr/>
              </p:nvSpPr>
              <p:spPr bwMode="auto">
                <a:xfrm>
                  <a:off x="-371295" y="2657463"/>
                  <a:ext cx="128545" cy="805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Rectangle 10"/>
                <p:cNvSpPr>
                  <a:spLocks noChangeArrowheads="1"/>
                </p:cNvSpPr>
                <p:nvPr/>
              </p:nvSpPr>
              <p:spPr bwMode="auto">
                <a:xfrm>
                  <a:off x="-371295" y="2804911"/>
                  <a:ext cx="64273" cy="657847"/>
                </a:xfrm>
                <a:prstGeom prst="rect">
                  <a:avLst/>
                </a:prstGeom>
                <a:solidFill>
                  <a:srgbClr val="00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Rectangle 11"/>
                <p:cNvSpPr>
                  <a:spLocks noChangeArrowheads="1"/>
                </p:cNvSpPr>
                <p:nvPr/>
              </p:nvSpPr>
              <p:spPr bwMode="auto">
                <a:xfrm>
                  <a:off x="-371295" y="2804911"/>
                  <a:ext cx="64273" cy="657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Rectangle 12"/>
                <p:cNvSpPr>
                  <a:spLocks noChangeArrowheads="1"/>
                </p:cNvSpPr>
                <p:nvPr/>
              </p:nvSpPr>
              <p:spPr bwMode="auto">
                <a:xfrm>
                  <a:off x="-942184" y="1727404"/>
                  <a:ext cx="809077" cy="107750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Rectangle 13"/>
                <p:cNvSpPr>
                  <a:spLocks noChangeArrowheads="1"/>
                </p:cNvSpPr>
                <p:nvPr/>
              </p:nvSpPr>
              <p:spPr bwMode="auto">
                <a:xfrm>
                  <a:off x="-942184" y="1727404"/>
                  <a:ext cx="809077" cy="1077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Rectangle 14"/>
                <p:cNvSpPr>
                  <a:spLocks noChangeArrowheads="1"/>
                </p:cNvSpPr>
                <p:nvPr/>
              </p:nvSpPr>
              <p:spPr bwMode="auto">
                <a:xfrm>
                  <a:off x="-942184" y="2657463"/>
                  <a:ext cx="128545" cy="801514"/>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Rectangle 15"/>
                <p:cNvSpPr>
                  <a:spLocks noChangeArrowheads="1"/>
                </p:cNvSpPr>
                <p:nvPr/>
              </p:nvSpPr>
              <p:spPr bwMode="auto">
                <a:xfrm>
                  <a:off x="-942184" y="2657463"/>
                  <a:ext cx="128545" cy="801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6"/>
                <p:cNvSpPr>
                  <a:spLocks/>
                </p:cNvSpPr>
                <p:nvPr/>
              </p:nvSpPr>
              <p:spPr bwMode="auto">
                <a:xfrm>
                  <a:off x="-877912" y="2381469"/>
                  <a:ext cx="283556" cy="328924"/>
                </a:xfrm>
                <a:custGeom>
                  <a:avLst/>
                  <a:gdLst>
                    <a:gd name="T0" fmla="*/ 32 w 75"/>
                    <a:gd name="T1" fmla="*/ 0 h 87"/>
                    <a:gd name="T2" fmla="*/ 0 w 75"/>
                    <a:gd name="T3" fmla="*/ 21 h 87"/>
                    <a:gd name="T4" fmla="*/ 0 w 75"/>
                    <a:gd name="T5" fmla="*/ 73 h 87"/>
                    <a:gd name="T6" fmla="*/ 17 w 75"/>
                    <a:gd name="T7" fmla="*/ 73 h 87"/>
                    <a:gd name="T8" fmla="*/ 17 w 75"/>
                    <a:gd name="T9" fmla="*/ 87 h 87"/>
                    <a:gd name="T10" fmla="*/ 75 w 75"/>
                    <a:gd name="T11" fmla="*/ 87 h 87"/>
                    <a:gd name="T12" fmla="*/ 32 w 75"/>
                    <a:gd name="T13" fmla="*/ 87 h 87"/>
                    <a:gd name="T14" fmla="*/ 32 w 75"/>
                    <a:gd name="T15" fmla="*/ 87 h 87"/>
                    <a:gd name="T16" fmla="*/ 32 w 75"/>
                    <a:gd name="T17" fmla="*/ 41 h 87"/>
                    <a:gd name="T18" fmla="*/ 32 w 75"/>
                    <a:gd name="T19" fmla="*/ 41 h 87"/>
                    <a:gd name="T20" fmla="*/ 32 w 75"/>
                    <a:gd name="T2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87">
                      <a:moveTo>
                        <a:pt x="32" y="0"/>
                      </a:moveTo>
                      <a:lnTo>
                        <a:pt x="0" y="21"/>
                      </a:lnTo>
                      <a:lnTo>
                        <a:pt x="0" y="73"/>
                      </a:lnTo>
                      <a:lnTo>
                        <a:pt x="17" y="73"/>
                      </a:lnTo>
                      <a:lnTo>
                        <a:pt x="17" y="87"/>
                      </a:lnTo>
                      <a:lnTo>
                        <a:pt x="75" y="87"/>
                      </a:lnTo>
                      <a:lnTo>
                        <a:pt x="32" y="87"/>
                      </a:lnTo>
                      <a:lnTo>
                        <a:pt x="32" y="87"/>
                      </a:lnTo>
                      <a:lnTo>
                        <a:pt x="32" y="41"/>
                      </a:lnTo>
                      <a:lnTo>
                        <a:pt x="32" y="41"/>
                      </a:lnTo>
                      <a:lnTo>
                        <a:pt x="32" y="0"/>
                      </a:lnTo>
                      <a:close/>
                    </a:path>
                  </a:pathLst>
                </a:custGeom>
                <a:solidFill>
                  <a:srgbClr val="006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7"/>
                <p:cNvSpPr>
                  <a:spLocks/>
                </p:cNvSpPr>
                <p:nvPr/>
              </p:nvSpPr>
              <p:spPr bwMode="auto">
                <a:xfrm>
                  <a:off x="-877912" y="2381469"/>
                  <a:ext cx="283556" cy="328924"/>
                </a:xfrm>
                <a:custGeom>
                  <a:avLst/>
                  <a:gdLst>
                    <a:gd name="T0" fmla="*/ 32 w 75"/>
                    <a:gd name="T1" fmla="*/ 0 h 87"/>
                    <a:gd name="T2" fmla="*/ 0 w 75"/>
                    <a:gd name="T3" fmla="*/ 21 h 87"/>
                    <a:gd name="T4" fmla="*/ 0 w 75"/>
                    <a:gd name="T5" fmla="*/ 73 h 87"/>
                    <a:gd name="T6" fmla="*/ 17 w 75"/>
                    <a:gd name="T7" fmla="*/ 73 h 87"/>
                    <a:gd name="T8" fmla="*/ 17 w 75"/>
                    <a:gd name="T9" fmla="*/ 87 h 87"/>
                    <a:gd name="T10" fmla="*/ 75 w 75"/>
                    <a:gd name="T11" fmla="*/ 87 h 87"/>
                    <a:gd name="T12" fmla="*/ 32 w 75"/>
                    <a:gd name="T13" fmla="*/ 87 h 87"/>
                    <a:gd name="T14" fmla="*/ 32 w 75"/>
                    <a:gd name="T15" fmla="*/ 87 h 87"/>
                    <a:gd name="T16" fmla="*/ 32 w 75"/>
                    <a:gd name="T17" fmla="*/ 41 h 87"/>
                    <a:gd name="T18" fmla="*/ 32 w 75"/>
                    <a:gd name="T19" fmla="*/ 41 h 87"/>
                    <a:gd name="T20" fmla="*/ 32 w 75"/>
                    <a:gd name="T2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87">
                      <a:moveTo>
                        <a:pt x="32" y="0"/>
                      </a:moveTo>
                      <a:lnTo>
                        <a:pt x="0" y="21"/>
                      </a:lnTo>
                      <a:lnTo>
                        <a:pt x="0" y="73"/>
                      </a:lnTo>
                      <a:lnTo>
                        <a:pt x="17" y="73"/>
                      </a:lnTo>
                      <a:lnTo>
                        <a:pt x="17" y="87"/>
                      </a:lnTo>
                      <a:lnTo>
                        <a:pt x="75" y="87"/>
                      </a:lnTo>
                      <a:lnTo>
                        <a:pt x="32" y="87"/>
                      </a:lnTo>
                      <a:lnTo>
                        <a:pt x="32" y="87"/>
                      </a:lnTo>
                      <a:lnTo>
                        <a:pt x="32" y="41"/>
                      </a:lnTo>
                      <a:lnTo>
                        <a:pt x="32" y="41"/>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Rectangle 18"/>
                <p:cNvSpPr>
                  <a:spLocks noChangeArrowheads="1"/>
                </p:cNvSpPr>
                <p:nvPr/>
              </p:nvSpPr>
              <p:spPr bwMode="auto">
                <a:xfrm>
                  <a:off x="-877912" y="2657463"/>
                  <a:ext cx="64273" cy="52931"/>
                </a:xfrm>
                <a:prstGeom prst="rect">
                  <a:avLst/>
                </a:prstGeom>
                <a:solidFill>
                  <a:srgbClr val="00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Rectangle 19"/>
                <p:cNvSpPr>
                  <a:spLocks noChangeArrowheads="1"/>
                </p:cNvSpPr>
                <p:nvPr/>
              </p:nvSpPr>
              <p:spPr bwMode="auto">
                <a:xfrm>
                  <a:off x="-877912" y="2657463"/>
                  <a:ext cx="64273" cy="52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20"/>
                <p:cNvSpPr>
                  <a:spLocks/>
                </p:cNvSpPr>
                <p:nvPr/>
              </p:nvSpPr>
              <p:spPr bwMode="auto">
                <a:xfrm>
                  <a:off x="-813639" y="2804911"/>
                  <a:ext cx="3782" cy="548207"/>
                </a:xfrm>
                <a:custGeom>
                  <a:avLst/>
                  <a:gdLst>
                    <a:gd name="T0" fmla="*/ 1 w 1"/>
                    <a:gd name="T1" fmla="*/ 0 h 309"/>
                    <a:gd name="T2" fmla="*/ 0 w 1"/>
                    <a:gd name="T3" fmla="*/ 0 h 309"/>
                    <a:gd name="T4" fmla="*/ 0 w 1"/>
                    <a:gd name="T5" fmla="*/ 309 h 309"/>
                    <a:gd name="T6" fmla="*/ 1 w 1"/>
                    <a:gd name="T7" fmla="*/ 309 h 309"/>
                    <a:gd name="T8" fmla="*/ 1 w 1"/>
                    <a:gd name="T9" fmla="*/ 0 h 309"/>
                  </a:gdLst>
                  <a:ahLst/>
                  <a:cxnLst>
                    <a:cxn ang="0">
                      <a:pos x="T0" y="T1"/>
                    </a:cxn>
                    <a:cxn ang="0">
                      <a:pos x="T2" y="T3"/>
                    </a:cxn>
                    <a:cxn ang="0">
                      <a:pos x="T4" y="T5"/>
                    </a:cxn>
                    <a:cxn ang="0">
                      <a:pos x="T6" y="T7"/>
                    </a:cxn>
                    <a:cxn ang="0">
                      <a:pos x="T8" y="T9"/>
                    </a:cxn>
                  </a:cxnLst>
                  <a:rect l="0" t="0" r="r" b="b"/>
                  <a:pathLst>
                    <a:path w="1" h="309">
                      <a:moveTo>
                        <a:pt x="1" y="0"/>
                      </a:moveTo>
                      <a:cubicBezTo>
                        <a:pt x="0" y="0"/>
                        <a:pt x="0" y="0"/>
                        <a:pt x="0" y="0"/>
                      </a:cubicBezTo>
                      <a:cubicBezTo>
                        <a:pt x="0" y="309"/>
                        <a:pt x="0" y="309"/>
                        <a:pt x="0" y="309"/>
                      </a:cubicBezTo>
                      <a:cubicBezTo>
                        <a:pt x="1" y="309"/>
                        <a:pt x="1" y="309"/>
                        <a:pt x="1" y="309"/>
                      </a:cubicBezTo>
                      <a:cubicBezTo>
                        <a:pt x="1" y="0"/>
                        <a:pt x="1" y="0"/>
                        <a:pt x="1" y="0"/>
                      </a:cubicBezTo>
                    </a:path>
                  </a:pathLst>
                </a:custGeom>
                <a:solidFill>
                  <a:srgbClr val="48B4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21"/>
                <p:cNvSpPr>
                  <a:spLocks/>
                </p:cNvSpPr>
                <p:nvPr/>
              </p:nvSpPr>
              <p:spPr bwMode="auto">
                <a:xfrm>
                  <a:off x="-877912" y="3353117"/>
                  <a:ext cx="68053" cy="105860"/>
                </a:xfrm>
                <a:custGeom>
                  <a:avLst/>
                  <a:gdLst>
                    <a:gd name="T0" fmla="*/ 37 w 37"/>
                    <a:gd name="T1" fmla="*/ 0 h 59"/>
                    <a:gd name="T2" fmla="*/ 36 w 37"/>
                    <a:gd name="T3" fmla="*/ 0 h 59"/>
                    <a:gd name="T4" fmla="*/ 36 w 37"/>
                    <a:gd name="T5" fmla="*/ 59 h 59"/>
                    <a:gd name="T6" fmla="*/ 0 w 37"/>
                    <a:gd name="T7" fmla="*/ 59 h 59"/>
                    <a:gd name="T8" fmla="*/ 0 w 37"/>
                    <a:gd name="T9" fmla="*/ 59 h 59"/>
                    <a:gd name="T10" fmla="*/ 37 w 37"/>
                    <a:gd name="T11" fmla="*/ 59 h 59"/>
                    <a:gd name="T12" fmla="*/ 37 w 37"/>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37" h="59">
                      <a:moveTo>
                        <a:pt x="37" y="0"/>
                      </a:moveTo>
                      <a:cubicBezTo>
                        <a:pt x="37" y="0"/>
                        <a:pt x="37" y="0"/>
                        <a:pt x="36" y="0"/>
                      </a:cubicBezTo>
                      <a:cubicBezTo>
                        <a:pt x="36" y="59"/>
                        <a:pt x="36" y="59"/>
                        <a:pt x="36" y="59"/>
                      </a:cubicBezTo>
                      <a:cubicBezTo>
                        <a:pt x="0" y="59"/>
                        <a:pt x="0" y="59"/>
                        <a:pt x="0" y="59"/>
                      </a:cubicBezTo>
                      <a:cubicBezTo>
                        <a:pt x="0" y="59"/>
                        <a:pt x="0" y="59"/>
                        <a:pt x="0" y="59"/>
                      </a:cubicBezTo>
                      <a:cubicBezTo>
                        <a:pt x="37" y="59"/>
                        <a:pt x="37" y="59"/>
                        <a:pt x="37" y="59"/>
                      </a:cubicBezTo>
                      <a:cubicBezTo>
                        <a:pt x="37" y="0"/>
                        <a:pt x="37" y="0"/>
                        <a:pt x="37" y="0"/>
                      </a:cubicBezTo>
                    </a:path>
                  </a:pathLst>
                </a:custGeom>
                <a:solidFill>
                  <a:srgbClr val="41A2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Rectangle 22"/>
                <p:cNvSpPr>
                  <a:spLocks noChangeArrowheads="1"/>
                </p:cNvSpPr>
                <p:nvPr/>
              </p:nvSpPr>
              <p:spPr bwMode="auto">
                <a:xfrm>
                  <a:off x="-813639" y="2801131"/>
                  <a:ext cx="3782" cy="3782"/>
                </a:xfrm>
                <a:prstGeom prst="rect">
                  <a:avLst/>
                </a:prstGeom>
                <a:solidFill>
                  <a:srgbClr val="00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Rectangle 23"/>
                <p:cNvSpPr>
                  <a:spLocks noChangeArrowheads="1"/>
                </p:cNvSpPr>
                <p:nvPr/>
              </p:nvSpPr>
              <p:spPr bwMode="auto">
                <a:xfrm>
                  <a:off x="-813639" y="2801131"/>
                  <a:ext cx="3782" cy="3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24"/>
                <p:cNvSpPr>
                  <a:spLocks/>
                </p:cNvSpPr>
                <p:nvPr/>
              </p:nvSpPr>
              <p:spPr bwMode="auto">
                <a:xfrm>
                  <a:off x="-877912" y="2801131"/>
                  <a:ext cx="64273" cy="657847"/>
                </a:xfrm>
                <a:custGeom>
                  <a:avLst/>
                  <a:gdLst>
                    <a:gd name="T0" fmla="*/ 17 w 17"/>
                    <a:gd name="T1" fmla="*/ 0 h 174"/>
                    <a:gd name="T2" fmla="*/ 0 w 17"/>
                    <a:gd name="T3" fmla="*/ 0 h 174"/>
                    <a:gd name="T4" fmla="*/ 0 w 17"/>
                    <a:gd name="T5" fmla="*/ 174 h 174"/>
                    <a:gd name="T6" fmla="*/ 17 w 17"/>
                    <a:gd name="T7" fmla="*/ 174 h 174"/>
                    <a:gd name="T8" fmla="*/ 17 w 17"/>
                    <a:gd name="T9" fmla="*/ 146 h 174"/>
                    <a:gd name="T10" fmla="*/ 17 w 17"/>
                    <a:gd name="T11" fmla="*/ 1 h 174"/>
                    <a:gd name="T12" fmla="*/ 17 w 17"/>
                    <a:gd name="T13" fmla="*/ 0 h 174"/>
                  </a:gdLst>
                  <a:ahLst/>
                  <a:cxnLst>
                    <a:cxn ang="0">
                      <a:pos x="T0" y="T1"/>
                    </a:cxn>
                    <a:cxn ang="0">
                      <a:pos x="T2" y="T3"/>
                    </a:cxn>
                    <a:cxn ang="0">
                      <a:pos x="T4" y="T5"/>
                    </a:cxn>
                    <a:cxn ang="0">
                      <a:pos x="T6" y="T7"/>
                    </a:cxn>
                    <a:cxn ang="0">
                      <a:pos x="T8" y="T9"/>
                    </a:cxn>
                    <a:cxn ang="0">
                      <a:pos x="T10" y="T11"/>
                    </a:cxn>
                    <a:cxn ang="0">
                      <a:pos x="T12" y="T13"/>
                    </a:cxn>
                  </a:cxnLst>
                  <a:rect l="0" t="0" r="r" b="b"/>
                  <a:pathLst>
                    <a:path w="17" h="174">
                      <a:moveTo>
                        <a:pt x="17" y="0"/>
                      </a:moveTo>
                      <a:lnTo>
                        <a:pt x="0" y="0"/>
                      </a:lnTo>
                      <a:lnTo>
                        <a:pt x="0" y="174"/>
                      </a:lnTo>
                      <a:lnTo>
                        <a:pt x="17" y="174"/>
                      </a:lnTo>
                      <a:lnTo>
                        <a:pt x="17" y="146"/>
                      </a:lnTo>
                      <a:lnTo>
                        <a:pt x="17" y="1"/>
                      </a:lnTo>
                      <a:lnTo>
                        <a:pt x="17" y="0"/>
                      </a:lnTo>
                      <a:close/>
                    </a:path>
                  </a:pathLst>
                </a:custGeom>
                <a:solidFill>
                  <a:srgbClr val="0061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25"/>
                <p:cNvSpPr>
                  <a:spLocks/>
                </p:cNvSpPr>
                <p:nvPr/>
              </p:nvSpPr>
              <p:spPr bwMode="auto">
                <a:xfrm>
                  <a:off x="-877912" y="2801131"/>
                  <a:ext cx="64273" cy="657847"/>
                </a:xfrm>
                <a:custGeom>
                  <a:avLst/>
                  <a:gdLst>
                    <a:gd name="T0" fmla="*/ 17 w 17"/>
                    <a:gd name="T1" fmla="*/ 0 h 174"/>
                    <a:gd name="T2" fmla="*/ 0 w 17"/>
                    <a:gd name="T3" fmla="*/ 0 h 174"/>
                    <a:gd name="T4" fmla="*/ 0 w 17"/>
                    <a:gd name="T5" fmla="*/ 174 h 174"/>
                    <a:gd name="T6" fmla="*/ 17 w 17"/>
                    <a:gd name="T7" fmla="*/ 174 h 174"/>
                    <a:gd name="T8" fmla="*/ 17 w 17"/>
                    <a:gd name="T9" fmla="*/ 146 h 174"/>
                    <a:gd name="T10" fmla="*/ 17 w 17"/>
                    <a:gd name="T11" fmla="*/ 1 h 174"/>
                    <a:gd name="T12" fmla="*/ 17 w 17"/>
                    <a:gd name="T13" fmla="*/ 0 h 174"/>
                  </a:gdLst>
                  <a:ahLst/>
                  <a:cxnLst>
                    <a:cxn ang="0">
                      <a:pos x="T0" y="T1"/>
                    </a:cxn>
                    <a:cxn ang="0">
                      <a:pos x="T2" y="T3"/>
                    </a:cxn>
                    <a:cxn ang="0">
                      <a:pos x="T4" y="T5"/>
                    </a:cxn>
                    <a:cxn ang="0">
                      <a:pos x="T6" y="T7"/>
                    </a:cxn>
                    <a:cxn ang="0">
                      <a:pos x="T8" y="T9"/>
                    </a:cxn>
                    <a:cxn ang="0">
                      <a:pos x="T10" y="T11"/>
                    </a:cxn>
                    <a:cxn ang="0">
                      <a:pos x="T12" y="T13"/>
                    </a:cxn>
                  </a:cxnLst>
                  <a:rect l="0" t="0" r="r" b="b"/>
                  <a:pathLst>
                    <a:path w="17" h="174">
                      <a:moveTo>
                        <a:pt x="17" y="0"/>
                      </a:moveTo>
                      <a:lnTo>
                        <a:pt x="0" y="0"/>
                      </a:lnTo>
                      <a:lnTo>
                        <a:pt x="0" y="174"/>
                      </a:lnTo>
                      <a:lnTo>
                        <a:pt x="17" y="174"/>
                      </a:lnTo>
                      <a:lnTo>
                        <a:pt x="17" y="146"/>
                      </a:lnTo>
                      <a:lnTo>
                        <a:pt x="17" y="1"/>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34"/>
                <p:cNvSpPr>
                  <a:spLocks/>
                </p:cNvSpPr>
                <p:nvPr/>
              </p:nvSpPr>
              <p:spPr bwMode="auto">
                <a:xfrm>
                  <a:off x="-329705" y="1424946"/>
                  <a:ext cx="604918" cy="601137"/>
                </a:xfrm>
                <a:custGeom>
                  <a:avLst/>
                  <a:gdLst>
                    <a:gd name="T0" fmla="*/ 51 w 340"/>
                    <a:gd name="T1" fmla="*/ 167 h 338"/>
                    <a:gd name="T2" fmla="*/ 0 w 340"/>
                    <a:gd name="T3" fmla="*/ 0 h 338"/>
                    <a:gd name="T4" fmla="*/ 2 w 340"/>
                    <a:gd name="T5" fmla="*/ 2 h 338"/>
                    <a:gd name="T6" fmla="*/ 81 w 340"/>
                    <a:gd name="T7" fmla="*/ 0 h 338"/>
                    <a:gd name="T8" fmla="*/ 82 w 340"/>
                    <a:gd name="T9" fmla="*/ 7 h 338"/>
                    <a:gd name="T10" fmla="*/ 88 w 340"/>
                    <a:gd name="T11" fmla="*/ 38 h 338"/>
                    <a:gd name="T12" fmla="*/ 121 w 340"/>
                    <a:gd name="T13" fmla="*/ 130 h 338"/>
                    <a:gd name="T14" fmla="*/ 340 w 340"/>
                    <a:gd name="T15" fmla="*/ 259 h 338"/>
                    <a:gd name="T16" fmla="*/ 340 w 340"/>
                    <a:gd name="T17" fmla="*/ 338 h 338"/>
                    <a:gd name="T18" fmla="*/ 337 w 340"/>
                    <a:gd name="T19" fmla="*/ 338 h 338"/>
                    <a:gd name="T20" fmla="*/ 51 w 340"/>
                    <a:gd name="T21" fmla="*/ 16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0" h="338">
                      <a:moveTo>
                        <a:pt x="51" y="167"/>
                      </a:moveTo>
                      <a:cubicBezTo>
                        <a:pt x="7" y="84"/>
                        <a:pt x="0" y="3"/>
                        <a:pt x="0" y="0"/>
                      </a:cubicBezTo>
                      <a:cubicBezTo>
                        <a:pt x="2" y="2"/>
                        <a:pt x="2" y="2"/>
                        <a:pt x="2" y="2"/>
                      </a:cubicBezTo>
                      <a:cubicBezTo>
                        <a:pt x="81" y="0"/>
                        <a:pt x="81" y="0"/>
                        <a:pt x="81" y="0"/>
                      </a:cubicBezTo>
                      <a:cubicBezTo>
                        <a:pt x="81" y="0"/>
                        <a:pt x="81" y="0"/>
                        <a:pt x="82" y="7"/>
                      </a:cubicBezTo>
                      <a:cubicBezTo>
                        <a:pt x="83" y="14"/>
                        <a:pt x="85" y="25"/>
                        <a:pt x="88" y="38"/>
                      </a:cubicBezTo>
                      <a:cubicBezTo>
                        <a:pt x="93" y="63"/>
                        <a:pt x="103" y="97"/>
                        <a:pt x="121" y="130"/>
                      </a:cubicBezTo>
                      <a:cubicBezTo>
                        <a:pt x="158" y="197"/>
                        <a:pt x="216" y="258"/>
                        <a:pt x="340" y="259"/>
                      </a:cubicBezTo>
                      <a:cubicBezTo>
                        <a:pt x="340" y="338"/>
                        <a:pt x="340" y="338"/>
                        <a:pt x="340" y="338"/>
                      </a:cubicBezTo>
                      <a:cubicBezTo>
                        <a:pt x="339" y="338"/>
                        <a:pt x="338" y="338"/>
                        <a:pt x="337" y="338"/>
                      </a:cubicBezTo>
                      <a:cubicBezTo>
                        <a:pt x="184" y="338"/>
                        <a:pt x="94" y="250"/>
                        <a:pt x="51" y="167"/>
                      </a:cubicBezTo>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38"/>
                <p:cNvSpPr>
                  <a:spLocks/>
                </p:cNvSpPr>
                <p:nvPr/>
              </p:nvSpPr>
              <p:spPr bwMode="auto">
                <a:xfrm>
                  <a:off x="89955" y="3285064"/>
                  <a:ext cx="306241" cy="173913"/>
                </a:xfrm>
                <a:custGeom>
                  <a:avLst/>
                  <a:gdLst>
                    <a:gd name="T0" fmla="*/ 81 w 81"/>
                    <a:gd name="T1" fmla="*/ 35 h 46"/>
                    <a:gd name="T2" fmla="*/ 46 w 81"/>
                    <a:gd name="T3" fmla="*/ 0 h 46"/>
                    <a:gd name="T4" fmla="*/ 0 w 81"/>
                    <a:gd name="T5" fmla="*/ 0 h 46"/>
                    <a:gd name="T6" fmla="*/ 0 w 81"/>
                    <a:gd name="T7" fmla="*/ 46 h 46"/>
                    <a:gd name="T8" fmla="*/ 81 w 81"/>
                    <a:gd name="T9" fmla="*/ 46 h 46"/>
                    <a:gd name="T10" fmla="*/ 81 w 81"/>
                    <a:gd name="T11" fmla="*/ 35 h 46"/>
                  </a:gdLst>
                  <a:ahLst/>
                  <a:cxnLst>
                    <a:cxn ang="0">
                      <a:pos x="T0" y="T1"/>
                    </a:cxn>
                    <a:cxn ang="0">
                      <a:pos x="T2" y="T3"/>
                    </a:cxn>
                    <a:cxn ang="0">
                      <a:pos x="T4" y="T5"/>
                    </a:cxn>
                    <a:cxn ang="0">
                      <a:pos x="T6" y="T7"/>
                    </a:cxn>
                    <a:cxn ang="0">
                      <a:pos x="T8" y="T9"/>
                    </a:cxn>
                    <a:cxn ang="0">
                      <a:pos x="T10" y="T11"/>
                    </a:cxn>
                  </a:cxnLst>
                  <a:rect l="0" t="0" r="r" b="b"/>
                  <a:pathLst>
                    <a:path w="81" h="46">
                      <a:moveTo>
                        <a:pt x="81" y="35"/>
                      </a:moveTo>
                      <a:lnTo>
                        <a:pt x="46" y="0"/>
                      </a:lnTo>
                      <a:lnTo>
                        <a:pt x="0" y="0"/>
                      </a:lnTo>
                      <a:lnTo>
                        <a:pt x="0" y="46"/>
                      </a:lnTo>
                      <a:lnTo>
                        <a:pt x="81" y="46"/>
                      </a:lnTo>
                      <a:lnTo>
                        <a:pt x="81" y="3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39"/>
                <p:cNvSpPr>
                  <a:spLocks/>
                </p:cNvSpPr>
                <p:nvPr/>
              </p:nvSpPr>
              <p:spPr bwMode="auto">
                <a:xfrm>
                  <a:off x="89955" y="3285064"/>
                  <a:ext cx="306241" cy="173913"/>
                </a:xfrm>
                <a:custGeom>
                  <a:avLst/>
                  <a:gdLst>
                    <a:gd name="T0" fmla="*/ 81 w 81"/>
                    <a:gd name="T1" fmla="*/ 35 h 46"/>
                    <a:gd name="T2" fmla="*/ 46 w 81"/>
                    <a:gd name="T3" fmla="*/ 0 h 46"/>
                    <a:gd name="T4" fmla="*/ 0 w 81"/>
                    <a:gd name="T5" fmla="*/ 0 h 46"/>
                    <a:gd name="T6" fmla="*/ 0 w 81"/>
                    <a:gd name="T7" fmla="*/ 46 h 46"/>
                    <a:gd name="T8" fmla="*/ 81 w 81"/>
                    <a:gd name="T9" fmla="*/ 46 h 46"/>
                    <a:gd name="T10" fmla="*/ 81 w 81"/>
                    <a:gd name="T11" fmla="*/ 35 h 46"/>
                  </a:gdLst>
                  <a:ahLst/>
                  <a:cxnLst>
                    <a:cxn ang="0">
                      <a:pos x="T0" y="T1"/>
                    </a:cxn>
                    <a:cxn ang="0">
                      <a:pos x="T2" y="T3"/>
                    </a:cxn>
                    <a:cxn ang="0">
                      <a:pos x="T4" y="T5"/>
                    </a:cxn>
                    <a:cxn ang="0">
                      <a:pos x="T6" y="T7"/>
                    </a:cxn>
                    <a:cxn ang="0">
                      <a:pos x="T8" y="T9"/>
                    </a:cxn>
                    <a:cxn ang="0">
                      <a:pos x="T10" y="T11"/>
                    </a:cxn>
                  </a:cxnLst>
                  <a:rect l="0" t="0" r="r" b="b"/>
                  <a:pathLst>
                    <a:path w="81" h="46">
                      <a:moveTo>
                        <a:pt x="81" y="35"/>
                      </a:moveTo>
                      <a:lnTo>
                        <a:pt x="46" y="0"/>
                      </a:lnTo>
                      <a:lnTo>
                        <a:pt x="0" y="0"/>
                      </a:lnTo>
                      <a:lnTo>
                        <a:pt x="0" y="46"/>
                      </a:lnTo>
                      <a:lnTo>
                        <a:pt x="81" y="46"/>
                      </a:lnTo>
                      <a:lnTo>
                        <a:pt x="81"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40"/>
                <p:cNvSpPr>
                  <a:spLocks/>
                </p:cNvSpPr>
                <p:nvPr/>
              </p:nvSpPr>
              <p:spPr bwMode="auto">
                <a:xfrm>
                  <a:off x="-756930" y="2536480"/>
                  <a:ext cx="1020798" cy="748585"/>
                </a:xfrm>
                <a:custGeom>
                  <a:avLst/>
                  <a:gdLst>
                    <a:gd name="T0" fmla="*/ 0 w 270"/>
                    <a:gd name="T1" fmla="*/ 0 h 198"/>
                    <a:gd name="T2" fmla="*/ 0 w 270"/>
                    <a:gd name="T3" fmla="*/ 46 h 198"/>
                    <a:gd name="T4" fmla="*/ 225 w 270"/>
                    <a:gd name="T5" fmla="*/ 46 h 198"/>
                    <a:gd name="T6" fmla="*/ 225 w 270"/>
                    <a:gd name="T7" fmla="*/ 198 h 198"/>
                    <a:gd name="T8" fmla="*/ 270 w 270"/>
                    <a:gd name="T9" fmla="*/ 198 h 198"/>
                    <a:gd name="T10" fmla="*/ 270 w 270"/>
                    <a:gd name="T11" fmla="*/ 0 h 198"/>
                    <a:gd name="T12" fmla="*/ 0 w 270"/>
                    <a:gd name="T13" fmla="*/ 0 h 198"/>
                  </a:gdLst>
                  <a:ahLst/>
                  <a:cxnLst>
                    <a:cxn ang="0">
                      <a:pos x="T0" y="T1"/>
                    </a:cxn>
                    <a:cxn ang="0">
                      <a:pos x="T2" y="T3"/>
                    </a:cxn>
                    <a:cxn ang="0">
                      <a:pos x="T4" y="T5"/>
                    </a:cxn>
                    <a:cxn ang="0">
                      <a:pos x="T6" y="T7"/>
                    </a:cxn>
                    <a:cxn ang="0">
                      <a:pos x="T8" y="T9"/>
                    </a:cxn>
                    <a:cxn ang="0">
                      <a:pos x="T10" y="T11"/>
                    </a:cxn>
                    <a:cxn ang="0">
                      <a:pos x="T12" y="T13"/>
                    </a:cxn>
                  </a:cxnLst>
                  <a:rect l="0" t="0" r="r" b="b"/>
                  <a:pathLst>
                    <a:path w="270" h="198">
                      <a:moveTo>
                        <a:pt x="0" y="0"/>
                      </a:moveTo>
                      <a:lnTo>
                        <a:pt x="0" y="46"/>
                      </a:lnTo>
                      <a:lnTo>
                        <a:pt x="225" y="46"/>
                      </a:lnTo>
                      <a:lnTo>
                        <a:pt x="225" y="198"/>
                      </a:lnTo>
                      <a:lnTo>
                        <a:pt x="270" y="198"/>
                      </a:lnTo>
                      <a:lnTo>
                        <a:pt x="27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41"/>
                <p:cNvSpPr>
                  <a:spLocks/>
                </p:cNvSpPr>
                <p:nvPr/>
              </p:nvSpPr>
              <p:spPr bwMode="auto">
                <a:xfrm>
                  <a:off x="-756930" y="2536480"/>
                  <a:ext cx="1020798" cy="748585"/>
                </a:xfrm>
                <a:custGeom>
                  <a:avLst/>
                  <a:gdLst>
                    <a:gd name="T0" fmla="*/ 0 w 270"/>
                    <a:gd name="T1" fmla="*/ 0 h 198"/>
                    <a:gd name="T2" fmla="*/ 0 w 270"/>
                    <a:gd name="T3" fmla="*/ 46 h 198"/>
                    <a:gd name="T4" fmla="*/ 225 w 270"/>
                    <a:gd name="T5" fmla="*/ 46 h 198"/>
                    <a:gd name="T6" fmla="*/ 225 w 270"/>
                    <a:gd name="T7" fmla="*/ 198 h 198"/>
                    <a:gd name="T8" fmla="*/ 270 w 270"/>
                    <a:gd name="T9" fmla="*/ 198 h 198"/>
                    <a:gd name="T10" fmla="*/ 270 w 270"/>
                    <a:gd name="T11" fmla="*/ 0 h 198"/>
                    <a:gd name="T12" fmla="*/ 0 w 270"/>
                    <a:gd name="T13" fmla="*/ 0 h 198"/>
                  </a:gdLst>
                  <a:ahLst/>
                  <a:cxnLst>
                    <a:cxn ang="0">
                      <a:pos x="T0" y="T1"/>
                    </a:cxn>
                    <a:cxn ang="0">
                      <a:pos x="T2" y="T3"/>
                    </a:cxn>
                    <a:cxn ang="0">
                      <a:pos x="T4" y="T5"/>
                    </a:cxn>
                    <a:cxn ang="0">
                      <a:pos x="T6" y="T7"/>
                    </a:cxn>
                    <a:cxn ang="0">
                      <a:pos x="T8" y="T9"/>
                    </a:cxn>
                    <a:cxn ang="0">
                      <a:pos x="T10" y="T11"/>
                    </a:cxn>
                    <a:cxn ang="0">
                      <a:pos x="T12" y="T13"/>
                    </a:cxn>
                  </a:cxnLst>
                  <a:rect l="0" t="0" r="r" b="b"/>
                  <a:pathLst>
                    <a:path w="270" h="198">
                      <a:moveTo>
                        <a:pt x="0" y="0"/>
                      </a:moveTo>
                      <a:lnTo>
                        <a:pt x="0" y="46"/>
                      </a:lnTo>
                      <a:lnTo>
                        <a:pt x="225" y="46"/>
                      </a:lnTo>
                      <a:lnTo>
                        <a:pt x="225" y="198"/>
                      </a:lnTo>
                      <a:lnTo>
                        <a:pt x="270" y="198"/>
                      </a:lnTo>
                      <a:lnTo>
                        <a:pt x="27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Rectangle 42"/>
                <p:cNvSpPr>
                  <a:spLocks noChangeArrowheads="1"/>
                </p:cNvSpPr>
                <p:nvPr/>
              </p:nvSpPr>
              <p:spPr bwMode="auto">
                <a:xfrm>
                  <a:off x="-136889" y="2570506"/>
                  <a:ext cx="170134" cy="714559"/>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Rectangle 43"/>
                <p:cNvSpPr>
                  <a:spLocks noChangeArrowheads="1"/>
                </p:cNvSpPr>
                <p:nvPr/>
              </p:nvSpPr>
              <p:spPr bwMode="auto">
                <a:xfrm>
                  <a:off x="-136889" y="2570506"/>
                  <a:ext cx="170134" cy="714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Rectangle 45"/>
                <p:cNvSpPr>
                  <a:spLocks noChangeArrowheads="1"/>
                </p:cNvSpPr>
                <p:nvPr/>
              </p:nvSpPr>
              <p:spPr bwMode="auto">
                <a:xfrm>
                  <a:off x="142885" y="3285064"/>
                  <a:ext cx="41590" cy="173913"/>
                </a:xfrm>
                <a:prstGeom prst="rect">
                  <a:avLst/>
                </a:prstGeom>
                <a:solidFill>
                  <a:srgbClr val="001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Rectangle 46"/>
                <p:cNvSpPr>
                  <a:spLocks noChangeArrowheads="1"/>
                </p:cNvSpPr>
                <p:nvPr/>
              </p:nvSpPr>
              <p:spPr bwMode="auto">
                <a:xfrm>
                  <a:off x="142885" y="3285064"/>
                  <a:ext cx="41590" cy="17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Rectangle 47"/>
                <p:cNvSpPr>
                  <a:spLocks noChangeArrowheads="1"/>
                </p:cNvSpPr>
                <p:nvPr/>
              </p:nvSpPr>
              <p:spPr bwMode="auto">
                <a:xfrm>
                  <a:off x="142885" y="2627217"/>
                  <a:ext cx="41590" cy="657847"/>
                </a:xfrm>
                <a:prstGeom prst="rect">
                  <a:avLst/>
                </a:prstGeom>
                <a:solidFill>
                  <a:srgbClr val="00A0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Rectangle 48"/>
                <p:cNvSpPr>
                  <a:spLocks noChangeArrowheads="1"/>
                </p:cNvSpPr>
                <p:nvPr/>
              </p:nvSpPr>
              <p:spPr bwMode="auto">
                <a:xfrm>
                  <a:off x="142885" y="2627217"/>
                  <a:ext cx="41590" cy="657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49"/>
                <p:cNvSpPr>
                  <a:spLocks/>
                </p:cNvSpPr>
                <p:nvPr/>
              </p:nvSpPr>
              <p:spPr bwMode="auto">
                <a:xfrm>
                  <a:off x="-136889" y="3285064"/>
                  <a:ext cx="272212" cy="173913"/>
                </a:xfrm>
                <a:custGeom>
                  <a:avLst/>
                  <a:gdLst>
                    <a:gd name="T0" fmla="*/ 72 w 72"/>
                    <a:gd name="T1" fmla="*/ 35 h 46"/>
                    <a:gd name="T2" fmla="*/ 46 w 72"/>
                    <a:gd name="T3" fmla="*/ 0 h 46"/>
                    <a:gd name="T4" fmla="*/ 0 w 72"/>
                    <a:gd name="T5" fmla="*/ 0 h 46"/>
                    <a:gd name="T6" fmla="*/ 0 w 72"/>
                    <a:gd name="T7" fmla="*/ 46 h 46"/>
                    <a:gd name="T8" fmla="*/ 72 w 72"/>
                    <a:gd name="T9" fmla="*/ 46 h 46"/>
                    <a:gd name="T10" fmla="*/ 72 w 72"/>
                    <a:gd name="T11" fmla="*/ 35 h 46"/>
                  </a:gdLst>
                  <a:ahLst/>
                  <a:cxnLst>
                    <a:cxn ang="0">
                      <a:pos x="T0" y="T1"/>
                    </a:cxn>
                    <a:cxn ang="0">
                      <a:pos x="T2" y="T3"/>
                    </a:cxn>
                    <a:cxn ang="0">
                      <a:pos x="T4" y="T5"/>
                    </a:cxn>
                    <a:cxn ang="0">
                      <a:pos x="T6" y="T7"/>
                    </a:cxn>
                    <a:cxn ang="0">
                      <a:pos x="T8" y="T9"/>
                    </a:cxn>
                    <a:cxn ang="0">
                      <a:pos x="T10" y="T11"/>
                    </a:cxn>
                  </a:cxnLst>
                  <a:rect l="0" t="0" r="r" b="b"/>
                  <a:pathLst>
                    <a:path w="72" h="46">
                      <a:moveTo>
                        <a:pt x="72" y="35"/>
                      </a:moveTo>
                      <a:lnTo>
                        <a:pt x="46" y="0"/>
                      </a:lnTo>
                      <a:lnTo>
                        <a:pt x="0" y="0"/>
                      </a:lnTo>
                      <a:lnTo>
                        <a:pt x="0" y="46"/>
                      </a:lnTo>
                      <a:lnTo>
                        <a:pt x="72" y="46"/>
                      </a:lnTo>
                      <a:lnTo>
                        <a:pt x="72" y="3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50"/>
                <p:cNvSpPr>
                  <a:spLocks/>
                </p:cNvSpPr>
                <p:nvPr/>
              </p:nvSpPr>
              <p:spPr bwMode="auto">
                <a:xfrm>
                  <a:off x="-136889" y="3285064"/>
                  <a:ext cx="272212" cy="173913"/>
                </a:xfrm>
                <a:custGeom>
                  <a:avLst/>
                  <a:gdLst>
                    <a:gd name="T0" fmla="*/ 72 w 72"/>
                    <a:gd name="T1" fmla="*/ 35 h 46"/>
                    <a:gd name="T2" fmla="*/ 46 w 72"/>
                    <a:gd name="T3" fmla="*/ 0 h 46"/>
                    <a:gd name="T4" fmla="*/ 0 w 72"/>
                    <a:gd name="T5" fmla="*/ 0 h 46"/>
                    <a:gd name="T6" fmla="*/ 0 w 72"/>
                    <a:gd name="T7" fmla="*/ 46 h 46"/>
                    <a:gd name="T8" fmla="*/ 72 w 72"/>
                    <a:gd name="T9" fmla="*/ 46 h 46"/>
                    <a:gd name="T10" fmla="*/ 72 w 72"/>
                    <a:gd name="T11" fmla="*/ 35 h 46"/>
                  </a:gdLst>
                  <a:ahLst/>
                  <a:cxnLst>
                    <a:cxn ang="0">
                      <a:pos x="T0" y="T1"/>
                    </a:cxn>
                    <a:cxn ang="0">
                      <a:pos x="T2" y="T3"/>
                    </a:cxn>
                    <a:cxn ang="0">
                      <a:pos x="T4" y="T5"/>
                    </a:cxn>
                    <a:cxn ang="0">
                      <a:pos x="T6" y="T7"/>
                    </a:cxn>
                    <a:cxn ang="0">
                      <a:pos x="T8" y="T9"/>
                    </a:cxn>
                    <a:cxn ang="0">
                      <a:pos x="T10" y="T11"/>
                    </a:cxn>
                  </a:cxnLst>
                  <a:rect l="0" t="0" r="r" b="b"/>
                  <a:pathLst>
                    <a:path w="72" h="46">
                      <a:moveTo>
                        <a:pt x="72" y="35"/>
                      </a:moveTo>
                      <a:lnTo>
                        <a:pt x="46" y="0"/>
                      </a:lnTo>
                      <a:lnTo>
                        <a:pt x="0" y="0"/>
                      </a:lnTo>
                      <a:lnTo>
                        <a:pt x="0" y="46"/>
                      </a:lnTo>
                      <a:lnTo>
                        <a:pt x="72" y="46"/>
                      </a:lnTo>
                      <a:lnTo>
                        <a:pt x="72"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Rectangle 51"/>
                <p:cNvSpPr>
                  <a:spLocks noChangeArrowheads="1"/>
                </p:cNvSpPr>
                <p:nvPr/>
              </p:nvSpPr>
              <p:spPr bwMode="auto">
                <a:xfrm>
                  <a:off x="-189819" y="2710394"/>
                  <a:ext cx="52931" cy="3782"/>
                </a:xfrm>
                <a:prstGeom prst="rect">
                  <a:avLst/>
                </a:prstGeom>
                <a:solidFill>
                  <a:srgbClr val="00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Rectangle 52"/>
                <p:cNvSpPr>
                  <a:spLocks noChangeArrowheads="1"/>
                </p:cNvSpPr>
                <p:nvPr/>
              </p:nvSpPr>
              <p:spPr bwMode="auto">
                <a:xfrm>
                  <a:off x="-189819" y="2710394"/>
                  <a:ext cx="52931" cy="3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Rectangle 53"/>
                <p:cNvSpPr>
                  <a:spLocks noChangeArrowheads="1"/>
                </p:cNvSpPr>
                <p:nvPr/>
              </p:nvSpPr>
              <p:spPr bwMode="auto">
                <a:xfrm>
                  <a:off x="-473373" y="2710394"/>
                  <a:ext cx="283556" cy="3782"/>
                </a:xfrm>
                <a:prstGeom prst="rect">
                  <a:avLst/>
                </a:prstGeom>
                <a:solidFill>
                  <a:srgbClr val="0053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Rectangle 54"/>
                <p:cNvSpPr>
                  <a:spLocks noChangeArrowheads="1"/>
                </p:cNvSpPr>
                <p:nvPr/>
              </p:nvSpPr>
              <p:spPr bwMode="auto">
                <a:xfrm>
                  <a:off x="-473373" y="2710394"/>
                  <a:ext cx="283556" cy="3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55"/>
                <p:cNvSpPr>
                  <a:spLocks/>
                </p:cNvSpPr>
                <p:nvPr/>
              </p:nvSpPr>
              <p:spPr bwMode="auto">
                <a:xfrm>
                  <a:off x="-473373" y="2627217"/>
                  <a:ext cx="336487" cy="83177"/>
                </a:xfrm>
                <a:custGeom>
                  <a:avLst/>
                  <a:gdLst>
                    <a:gd name="T0" fmla="*/ 89 w 89"/>
                    <a:gd name="T1" fmla="*/ 0 h 22"/>
                    <a:gd name="T2" fmla="*/ 0 w 89"/>
                    <a:gd name="T3" fmla="*/ 0 h 22"/>
                    <a:gd name="T4" fmla="*/ 0 w 89"/>
                    <a:gd name="T5" fmla="*/ 22 h 22"/>
                    <a:gd name="T6" fmla="*/ 75 w 89"/>
                    <a:gd name="T7" fmla="*/ 22 h 22"/>
                    <a:gd name="T8" fmla="*/ 89 w 89"/>
                    <a:gd name="T9" fmla="*/ 22 h 22"/>
                    <a:gd name="T10" fmla="*/ 89 w 89"/>
                    <a:gd name="T11" fmla="*/ 0 h 22"/>
                  </a:gdLst>
                  <a:ahLst/>
                  <a:cxnLst>
                    <a:cxn ang="0">
                      <a:pos x="T0" y="T1"/>
                    </a:cxn>
                    <a:cxn ang="0">
                      <a:pos x="T2" y="T3"/>
                    </a:cxn>
                    <a:cxn ang="0">
                      <a:pos x="T4" y="T5"/>
                    </a:cxn>
                    <a:cxn ang="0">
                      <a:pos x="T6" y="T7"/>
                    </a:cxn>
                    <a:cxn ang="0">
                      <a:pos x="T8" y="T9"/>
                    </a:cxn>
                    <a:cxn ang="0">
                      <a:pos x="T10" y="T11"/>
                    </a:cxn>
                  </a:cxnLst>
                  <a:rect l="0" t="0" r="r" b="b"/>
                  <a:pathLst>
                    <a:path w="89" h="22">
                      <a:moveTo>
                        <a:pt x="89" y="0"/>
                      </a:moveTo>
                      <a:lnTo>
                        <a:pt x="0" y="0"/>
                      </a:lnTo>
                      <a:lnTo>
                        <a:pt x="0" y="22"/>
                      </a:lnTo>
                      <a:lnTo>
                        <a:pt x="75" y="22"/>
                      </a:lnTo>
                      <a:lnTo>
                        <a:pt x="89" y="22"/>
                      </a:lnTo>
                      <a:lnTo>
                        <a:pt x="89"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56"/>
                <p:cNvSpPr>
                  <a:spLocks/>
                </p:cNvSpPr>
                <p:nvPr/>
              </p:nvSpPr>
              <p:spPr bwMode="auto">
                <a:xfrm>
                  <a:off x="-473373" y="2627217"/>
                  <a:ext cx="336487" cy="83177"/>
                </a:xfrm>
                <a:custGeom>
                  <a:avLst/>
                  <a:gdLst>
                    <a:gd name="T0" fmla="*/ 89 w 89"/>
                    <a:gd name="T1" fmla="*/ 0 h 22"/>
                    <a:gd name="T2" fmla="*/ 0 w 89"/>
                    <a:gd name="T3" fmla="*/ 0 h 22"/>
                    <a:gd name="T4" fmla="*/ 0 w 89"/>
                    <a:gd name="T5" fmla="*/ 22 h 22"/>
                    <a:gd name="T6" fmla="*/ 75 w 89"/>
                    <a:gd name="T7" fmla="*/ 22 h 22"/>
                    <a:gd name="T8" fmla="*/ 89 w 89"/>
                    <a:gd name="T9" fmla="*/ 22 h 22"/>
                    <a:gd name="T10" fmla="*/ 89 w 89"/>
                    <a:gd name="T11" fmla="*/ 0 h 22"/>
                  </a:gdLst>
                  <a:ahLst/>
                  <a:cxnLst>
                    <a:cxn ang="0">
                      <a:pos x="T0" y="T1"/>
                    </a:cxn>
                    <a:cxn ang="0">
                      <a:pos x="T2" y="T3"/>
                    </a:cxn>
                    <a:cxn ang="0">
                      <a:pos x="T4" y="T5"/>
                    </a:cxn>
                    <a:cxn ang="0">
                      <a:pos x="T6" y="T7"/>
                    </a:cxn>
                    <a:cxn ang="0">
                      <a:pos x="T8" y="T9"/>
                    </a:cxn>
                    <a:cxn ang="0">
                      <a:pos x="T10" y="T11"/>
                    </a:cxn>
                  </a:cxnLst>
                  <a:rect l="0" t="0" r="r" b="b"/>
                  <a:pathLst>
                    <a:path w="89" h="22">
                      <a:moveTo>
                        <a:pt x="89" y="0"/>
                      </a:moveTo>
                      <a:lnTo>
                        <a:pt x="0" y="0"/>
                      </a:lnTo>
                      <a:lnTo>
                        <a:pt x="0" y="22"/>
                      </a:lnTo>
                      <a:lnTo>
                        <a:pt x="75" y="22"/>
                      </a:lnTo>
                      <a:lnTo>
                        <a:pt x="89" y="22"/>
                      </a:lnTo>
                      <a:lnTo>
                        <a:pt x="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57"/>
                <p:cNvSpPr>
                  <a:spLocks/>
                </p:cNvSpPr>
                <p:nvPr/>
              </p:nvSpPr>
              <p:spPr bwMode="auto">
                <a:xfrm>
                  <a:off x="-136889" y="2627217"/>
                  <a:ext cx="79397" cy="657847"/>
                </a:xfrm>
                <a:custGeom>
                  <a:avLst/>
                  <a:gdLst>
                    <a:gd name="T0" fmla="*/ 21 w 21"/>
                    <a:gd name="T1" fmla="*/ 0 h 174"/>
                    <a:gd name="T2" fmla="*/ 0 w 21"/>
                    <a:gd name="T3" fmla="*/ 0 h 174"/>
                    <a:gd name="T4" fmla="*/ 0 w 21"/>
                    <a:gd name="T5" fmla="*/ 22 h 174"/>
                    <a:gd name="T6" fmla="*/ 0 w 21"/>
                    <a:gd name="T7" fmla="*/ 22 h 174"/>
                    <a:gd name="T8" fmla="*/ 0 w 21"/>
                    <a:gd name="T9" fmla="*/ 174 h 174"/>
                    <a:gd name="T10" fmla="*/ 21 w 21"/>
                    <a:gd name="T11" fmla="*/ 174 h 174"/>
                    <a:gd name="T12" fmla="*/ 21 w 21"/>
                    <a:gd name="T13" fmla="*/ 3 h 174"/>
                    <a:gd name="T14" fmla="*/ 21 w 21"/>
                    <a:gd name="T15" fmla="*/ 3 h 174"/>
                    <a:gd name="T16" fmla="*/ 21 w 21"/>
                    <a:gd name="T17"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74">
                      <a:moveTo>
                        <a:pt x="21" y="0"/>
                      </a:moveTo>
                      <a:lnTo>
                        <a:pt x="0" y="0"/>
                      </a:lnTo>
                      <a:lnTo>
                        <a:pt x="0" y="22"/>
                      </a:lnTo>
                      <a:lnTo>
                        <a:pt x="0" y="22"/>
                      </a:lnTo>
                      <a:lnTo>
                        <a:pt x="0" y="174"/>
                      </a:lnTo>
                      <a:lnTo>
                        <a:pt x="21" y="174"/>
                      </a:lnTo>
                      <a:lnTo>
                        <a:pt x="21" y="3"/>
                      </a:lnTo>
                      <a:lnTo>
                        <a:pt x="21" y="3"/>
                      </a:lnTo>
                      <a:lnTo>
                        <a:pt x="21"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58"/>
                <p:cNvSpPr>
                  <a:spLocks/>
                </p:cNvSpPr>
                <p:nvPr/>
              </p:nvSpPr>
              <p:spPr bwMode="auto">
                <a:xfrm>
                  <a:off x="-136889" y="2627217"/>
                  <a:ext cx="79397" cy="657847"/>
                </a:xfrm>
                <a:custGeom>
                  <a:avLst/>
                  <a:gdLst>
                    <a:gd name="T0" fmla="*/ 21 w 21"/>
                    <a:gd name="T1" fmla="*/ 0 h 174"/>
                    <a:gd name="T2" fmla="*/ 0 w 21"/>
                    <a:gd name="T3" fmla="*/ 0 h 174"/>
                    <a:gd name="T4" fmla="*/ 0 w 21"/>
                    <a:gd name="T5" fmla="*/ 22 h 174"/>
                    <a:gd name="T6" fmla="*/ 0 w 21"/>
                    <a:gd name="T7" fmla="*/ 22 h 174"/>
                    <a:gd name="T8" fmla="*/ 0 w 21"/>
                    <a:gd name="T9" fmla="*/ 174 h 174"/>
                    <a:gd name="T10" fmla="*/ 21 w 21"/>
                    <a:gd name="T11" fmla="*/ 174 h 174"/>
                    <a:gd name="T12" fmla="*/ 21 w 21"/>
                    <a:gd name="T13" fmla="*/ 3 h 174"/>
                    <a:gd name="T14" fmla="*/ 21 w 21"/>
                    <a:gd name="T15" fmla="*/ 3 h 174"/>
                    <a:gd name="T16" fmla="*/ 21 w 21"/>
                    <a:gd name="T17"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74">
                      <a:moveTo>
                        <a:pt x="21" y="0"/>
                      </a:moveTo>
                      <a:lnTo>
                        <a:pt x="0" y="0"/>
                      </a:lnTo>
                      <a:lnTo>
                        <a:pt x="0" y="22"/>
                      </a:lnTo>
                      <a:lnTo>
                        <a:pt x="0" y="22"/>
                      </a:lnTo>
                      <a:lnTo>
                        <a:pt x="0" y="174"/>
                      </a:lnTo>
                      <a:lnTo>
                        <a:pt x="21" y="174"/>
                      </a:lnTo>
                      <a:lnTo>
                        <a:pt x="21" y="3"/>
                      </a:lnTo>
                      <a:lnTo>
                        <a:pt x="21"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Rectangle 59"/>
                <p:cNvSpPr>
                  <a:spLocks noChangeArrowheads="1"/>
                </p:cNvSpPr>
                <p:nvPr/>
              </p:nvSpPr>
              <p:spPr bwMode="auto">
                <a:xfrm>
                  <a:off x="-756930" y="2710394"/>
                  <a:ext cx="162573" cy="3782"/>
                </a:xfrm>
                <a:prstGeom prst="rect">
                  <a:avLst/>
                </a:prstGeom>
                <a:solidFill>
                  <a:srgbClr val="0053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Rectangle 60"/>
                <p:cNvSpPr>
                  <a:spLocks noChangeArrowheads="1"/>
                </p:cNvSpPr>
                <p:nvPr/>
              </p:nvSpPr>
              <p:spPr bwMode="auto">
                <a:xfrm>
                  <a:off x="-756930" y="2710394"/>
                  <a:ext cx="162573" cy="3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Rectangle 61"/>
                <p:cNvSpPr>
                  <a:spLocks noChangeArrowheads="1"/>
                </p:cNvSpPr>
                <p:nvPr/>
              </p:nvSpPr>
              <p:spPr bwMode="auto">
                <a:xfrm>
                  <a:off x="-756930" y="2627217"/>
                  <a:ext cx="162573" cy="83177"/>
                </a:xfrm>
                <a:prstGeom prst="rect">
                  <a:avLst/>
                </a:prstGeom>
                <a:solidFill>
                  <a:srgbClr val="00A0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Rectangle 62"/>
                <p:cNvSpPr>
                  <a:spLocks noChangeArrowheads="1"/>
                </p:cNvSpPr>
                <p:nvPr/>
              </p:nvSpPr>
              <p:spPr bwMode="auto">
                <a:xfrm>
                  <a:off x="-756930" y="2627217"/>
                  <a:ext cx="162573" cy="83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Rectangle 63"/>
                <p:cNvSpPr>
                  <a:spLocks noChangeArrowheads="1"/>
                </p:cNvSpPr>
                <p:nvPr/>
              </p:nvSpPr>
              <p:spPr bwMode="auto">
                <a:xfrm>
                  <a:off x="-136889" y="3285064"/>
                  <a:ext cx="79397" cy="173913"/>
                </a:xfrm>
                <a:prstGeom prst="rect">
                  <a:avLst/>
                </a:prstGeom>
                <a:solidFill>
                  <a:srgbClr val="001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Rectangle 64"/>
                <p:cNvSpPr>
                  <a:spLocks noChangeArrowheads="1"/>
                </p:cNvSpPr>
                <p:nvPr/>
              </p:nvSpPr>
              <p:spPr bwMode="auto">
                <a:xfrm>
                  <a:off x="-136889" y="3285064"/>
                  <a:ext cx="79397" cy="17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Rectangle 65"/>
                <p:cNvSpPr>
                  <a:spLocks noChangeArrowheads="1"/>
                </p:cNvSpPr>
                <p:nvPr/>
              </p:nvSpPr>
              <p:spPr bwMode="auto">
                <a:xfrm>
                  <a:off x="21902" y="2094133"/>
                  <a:ext cx="120984" cy="1364844"/>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Rectangle 66"/>
                <p:cNvSpPr>
                  <a:spLocks noChangeArrowheads="1"/>
                </p:cNvSpPr>
                <p:nvPr/>
              </p:nvSpPr>
              <p:spPr bwMode="auto">
                <a:xfrm>
                  <a:off x="21902" y="2094133"/>
                  <a:ext cx="120984" cy="1364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69"/>
                <p:cNvSpPr>
                  <a:spLocks/>
                </p:cNvSpPr>
                <p:nvPr/>
              </p:nvSpPr>
              <p:spPr bwMode="auto">
                <a:xfrm>
                  <a:off x="82393" y="2135723"/>
                  <a:ext cx="60492" cy="1323255"/>
                </a:xfrm>
                <a:custGeom>
                  <a:avLst/>
                  <a:gdLst>
                    <a:gd name="T0" fmla="*/ 16 w 16"/>
                    <a:gd name="T1" fmla="*/ 0 h 350"/>
                    <a:gd name="T2" fmla="*/ 0 w 16"/>
                    <a:gd name="T3" fmla="*/ 0 h 350"/>
                    <a:gd name="T4" fmla="*/ 0 w 16"/>
                    <a:gd name="T5" fmla="*/ 350 h 350"/>
                    <a:gd name="T6" fmla="*/ 16 w 16"/>
                    <a:gd name="T7" fmla="*/ 350 h 350"/>
                    <a:gd name="T8" fmla="*/ 16 w 16"/>
                    <a:gd name="T9" fmla="*/ 304 h 350"/>
                    <a:gd name="T10" fmla="*/ 16 w 16"/>
                    <a:gd name="T11" fmla="*/ 130 h 350"/>
                    <a:gd name="T12" fmla="*/ 16 w 16"/>
                    <a:gd name="T13" fmla="*/ 106 h 350"/>
                    <a:gd name="T14" fmla="*/ 16 w 16"/>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0">
                      <a:moveTo>
                        <a:pt x="16" y="0"/>
                      </a:moveTo>
                      <a:lnTo>
                        <a:pt x="0" y="0"/>
                      </a:lnTo>
                      <a:lnTo>
                        <a:pt x="0" y="350"/>
                      </a:lnTo>
                      <a:lnTo>
                        <a:pt x="16" y="350"/>
                      </a:lnTo>
                      <a:lnTo>
                        <a:pt x="16" y="304"/>
                      </a:lnTo>
                      <a:lnTo>
                        <a:pt x="16" y="130"/>
                      </a:lnTo>
                      <a:lnTo>
                        <a:pt x="16" y="106"/>
                      </a:lnTo>
                      <a:lnTo>
                        <a:pt x="16" y="0"/>
                      </a:lnTo>
                      <a:close/>
                    </a:path>
                  </a:pathLst>
                </a:custGeom>
                <a:solidFill>
                  <a:srgbClr val="006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70"/>
                <p:cNvSpPr>
                  <a:spLocks/>
                </p:cNvSpPr>
                <p:nvPr/>
              </p:nvSpPr>
              <p:spPr bwMode="auto">
                <a:xfrm>
                  <a:off x="82393" y="2135723"/>
                  <a:ext cx="60492" cy="1323255"/>
                </a:xfrm>
                <a:custGeom>
                  <a:avLst/>
                  <a:gdLst>
                    <a:gd name="T0" fmla="*/ 16 w 16"/>
                    <a:gd name="T1" fmla="*/ 0 h 350"/>
                    <a:gd name="T2" fmla="*/ 0 w 16"/>
                    <a:gd name="T3" fmla="*/ 0 h 350"/>
                    <a:gd name="T4" fmla="*/ 0 w 16"/>
                    <a:gd name="T5" fmla="*/ 350 h 350"/>
                    <a:gd name="T6" fmla="*/ 16 w 16"/>
                    <a:gd name="T7" fmla="*/ 350 h 350"/>
                    <a:gd name="T8" fmla="*/ 16 w 16"/>
                    <a:gd name="T9" fmla="*/ 304 h 350"/>
                    <a:gd name="T10" fmla="*/ 16 w 16"/>
                    <a:gd name="T11" fmla="*/ 130 h 350"/>
                    <a:gd name="T12" fmla="*/ 16 w 16"/>
                    <a:gd name="T13" fmla="*/ 106 h 350"/>
                    <a:gd name="T14" fmla="*/ 16 w 16"/>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0">
                      <a:moveTo>
                        <a:pt x="16" y="0"/>
                      </a:moveTo>
                      <a:lnTo>
                        <a:pt x="0" y="0"/>
                      </a:lnTo>
                      <a:lnTo>
                        <a:pt x="0" y="350"/>
                      </a:lnTo>
                      <a:lnTo>
                        <a:pt x="16" y="350"/>
                      </a:lnTo>
                      <a:lnTo>
                        <a:pt x="16" y="304"/>
                      </a:lnTo>
                      <a:lnTo>
                        <a:pt x="16" y="130"/>
                      </a:lnTo>
                      <a:lnTo>
                        <a:pt x="16" y="10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Rectangle 73"/>
                <p:cNvSpPr>
                  <a:spLocks noChangeArrowheads="1"/>
                </p:cNvSpPr>
                <p:nvPr/>
              </p:nvSpPr>
              <p:spPr bwMode="auto">
                <a:xfrm>
                  <a:off x="494495" y="2094133"/>
                  <a:ext cx="124765" cy="1364844"/>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Rectangle 74"/>
                <p:cNvSpPr>
                  <a:spLocks noChangeArrowheads="1"/>
                </p:cNvSpPr>
                <p:nvPr/>
              </p:nvSpPr>
              <p:spPr bwMode="auto">
                <a:xfrm>
                  <a:off x="494495" y="2094133"/>
                  <a:ext cx="124765" cy="1364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75"/>
                <p:cNvSpPr>
                  <a:spLocks/>
                </p:cNvSpPr>
                <p:nvPr/>
              </p:nvSpPr>
              <p:spPr bwMode="auto">
                <a:xfrm>
                  <a:off x="558766" y="2135723"/>
                  <a:ext cx="60492" cy="1323255"/>
                </a:xfrm>
                <a:custGeom>
                  <a:avLst/>
                  <a:gdLst>
                    <a:gd name="T0" fmla="*/ 16 w 16"/>
                    <a:gd name="T1" fmla="*/ 0 h 350"/>
                    <a:gd name="T2" fmla="*/ 0 w 16"/>
                    <a:gd name="T3" fmla="*/ 0 h 350"/>
                    <a:gd name="T4" fmla="*/ 0 w 16"/>
                    <a:gd name="T5" fmla="*/ 350 h 350"/>
                    <a:gd name="T6" fmla="*/ 16 w 16"/>
                    <a:gd name="T7" fmla="*/ 350 h 350"/>
                    <a:gd name="T8" fmla="*/ 16 w 16"/>
                    <a:gd name="T9" fmla="*/ 322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2"/>
                      </a:lnTo>
                      <a:lnTo>
                        <a:pt x="16" y="0"/>
                      </a:lnTo>
                      <a:close/>
                    </a:path>
                  </a:pathLst>
                </a:custGeom>
                <a:solidFill>
                  <a:srgbClr val="006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76"/>
                <p:cNvSpPr>
                  <a:spLocks/>
                </p:cNvSpPr>
                <p:nvPr/>
              </p:nvSpPr>
              <p:spPr bwMode="auto">
                <a:xfrm>
                  <a:off x="558766" y="2135723"/>
                  <a:ext cx="60492" cy="1323255"/>
                </a:xfrm>
                <a:custGeom>
                  <a:avLst/>
                  <a:gdLst>
                    <a:gd name="T0" fmla="*/ 16 w 16"/>
                    <a:gd name="T1" fmla="*/ 0 h 350"/>
                    <a:gd name="T2" fmla="*/ 0 w 16"/>
                    <a:gd name="T3" fmla="*/ 0 h 350"/>
                    <a:gd name="T4" fmla="*/ 0 w 16"/>
                    <a:gd name="T5" fmla="*/ 350 h 350"/>
                    <a:gd name="T6" fmla="*/ 16 w 16"/>
                    <a:gd name="T7" fmla="*/ 350 h 350"/>
                    <a:gd name="T8" fmla="*/ 16 w 16"/>
                    <a:gd name="T9" fmla="*/ 322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2"/>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Rectangle 77"/>
                <p:cNvSpPr>
                  <a:spLocks noChangeArrowheads="1"/>
                </p:cNvSpPr>
                <p:nvPr/>
              </p:nvSpPr>
              <p:spPr bwMode="auto">
                <a:xfrm>
                  <a:off x="-121766" y="2007178"/>
                  <a:ext cx="124765" cy="529302"/>
                </a:xfrm>
                <a:prstGeom prst="rect">
                  <a:avLst/>
                </a:prstGeom>
                <a:solidFill>
                  <a:srgbClr val="55D4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Rectangle 78"/>
                <p:cNvSpPr>
                  <a:spLocks noChangeArrowheads="1"/>
                </p:cNvSpPr>
                <p:nvPr/>
              </p:nvSpPr>
              <p:spPr bwMode="auto">
                <a:xfrm>
                  <a:off x="-121766" y="2007178"/>
                  <a:ext cx="124765" cy="529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Rectangle 79"/>
                <p:cNvSpPr>
                  <a:spLocks noChangeArrowheads="1"/>
                </p:cNvSpPr>
                <p:nvPr/>
              </p:nvSpPr>
              <p:spPr bwMode="auto">
                <a:xfrm>
                  <a:off x="-756930" y="1969371"/>
                  <a:ext cx="3782" cy="412101"/>
                </a:xfrm>
                <a:prstGeom prst="rect">
                  <a:avLst/>
                </a:prstGeom>
                <a:solidFill>
                  <a:srgbClr val="0061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80"/>
                <p:cNvSpPr>
                  <a:spLocks/>
                </p:cNvSpPr>
                <p:nvPr/>
              </p:nvSpPr>
              <p:spPr bwMode="auto">
                <a:xfrm>
                  <a:off x="-756930" y="1969371"/>
                  <a:ext cx="0" cy="412101"/>
                </a:xfrm>
                <a:custGeom>
                  <a:avLst/>
                  <a:gdLst>
                    <a:gd name="T0" fmla="*/ 0 h 109"/>
                    <a:gd name="T1" fmla="*/ 109 h 109"/>
                    <a:gd name="T2" fmla="*/ 109 h 109"/>
                    <a:gd name="T3" fmla="*/ 0 h 109"/>
                  </a:gdLst>
                  <a:ahLst/>
                  <a:cxnLst>
                    <a:cxn ang="0">
                      <a:pos x="0" y="T0"/>
                    </a:cxn>
                    <a:cxn ang="0">
                      <a:pos x="0" y="T1"/>
                    </a:cxn>
                    <a:cxn ang="0">
                      <a:pos x="0" y="T2"/>
                    </a:cxn>
                    <a:cxn ang="0">
                      <a:pos x="0" y="T3"/>
                    </a:cxn>
                  </a:cxnLst>
                  <a:rect l="0" t="0" r="r" b="b"/>
                  <a:pathLst>
                    <a:path h="109">
                      <a:moveTo>
                        <a:pt x="0" y="0"/>
                      </a:moveTo>
                      <a:lnTo>
                        <a:pt x="0" y="109"/>
                      </a:lnTo>
                      <a:lnTo>
                        <a:pt x="0" y="10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81"/>
                <p:cNvSpPr>
                  <a:spLocks/>
                </p:cNvSpPr>
                <p:nvPr/>
              </p:nvSpPr>
              <p:spPr bwMode="auto">
                <a:xfrm>
                  <a:off x="-756930" y="2381469"/>
                  <a:ext cx="0" cy="155011"/>
                </a:xfrm>
                <a:custGeom>
                  <a:avLst/>
                  <a:gdLst>
                    <a:gd name="T0" fmla="*/ 0 h 41"/>
                    <a:gd name="T1" fmla="*/ 0 h 41"/>
                    <a:gd name="T2" fmla="*/ 41 h 41"/>
                    <a:gd name="T3" fmla="*/ 41 h 41"/>
                    <a:gd name="T4" fmla="*/ 41 h 41"/>
                    <a:gd name="T5" fmla="*/ 0 h 41"/>
                  </a:gdLst>
                  <a:ahLst/>
                  <a:cxnLst>
                    <a:cxn ang="0">
                      <a:pos x="0" y="T0"/>
                    </a:cxn>
                    <a:cxn ang="0">
                      <a:pos x="0" y="T1"/>
                    </a:cxn>
                    <a:cxn ang="0">
                      <a:pos x="0" y="T2"/>
                    </a:cxn>
                    <a:cxn ang="0">
                      <a:pos x="0" y="T3"/>
                    </a:cxn>
                    <a:cxn ang="0">
                      <a:pos x="0" y="T4"/>
                    </a:cxn>
                    <a:cxn ang="0">
                      <a:pos x="0" y="T5"/>
                    </a:cxn>
                  </a:cxnLst>
                  <a:rect l="0" t="0" r="r" b="b"/>
                  <a:pathLst>
                    <a:path h="41">
                      <a:moveTo>
                        <a:pt x="0" y="0"/>
                      </a:moveTo>
                      <a:lnTo>
                        <a:pt x="0" y="0"/>
                      </a:lnTo>
                      <a:lnTo>
                        <a:pt x="0" y="41"/>
                      </a:lnTo>
                      <a:lnTo>
                        <a:pt x="0" y="41"/>
                      </a:lnTo>
                      <a:lnTo>
                        <a:pt x="0" y="41"/>
                      </a:lnTo>
                      <a:lnTo>
                        <a:pt x="0" y="0"/>
                      </a:lnTo>
                      <a:close/>
                    </a:path>
                  </a:pathLst>
                </a:custGeom>
                <a:solidFill>
                  <a:srgbClr val="0053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82"/>
                <p:cNvSpPr>
                  <a:spLocks/>
                </p:cNvSpPr>
                <p:nvPr/>
              </p:nvSpPr>
              <p:spPr bwMode="auto">
                <a:xfrm>
                  <a:off x="-756930" y="2381469"/>
                  <a:ext cx="0" cy="155011"/>
                </a:xfrm>
                <a:custGeom>
                  <a:avLst/>
                  <a:gdLst>
                    <a:gd name="T0" fmla="*/ 0 h 41"/>
                    <a:gd name="T1" fmla="*/ 0 h 41"/>
                    <a:gd name="T2" fmla="*/ 41 h 41"/>
                    <a:gd name="T3" fmla="*/ 41 h 41"/>
                    <a:gd name="T4" fmla="*/ 41 h 41"/>
                    <a:gd name="T5" fmla="*/ 0 h 41"/>
                  </a:gdLst>
                  <a:ahLst/>
                  <a:cxnLst>
                    <a:cxn ang="0">
                      <a:pos x="0" y="T0"/>
                    </a:cxn>
                    <a:cxn ang="0">
                      <a:pos x="0" y="T1"/>
                    </a:cxn>
                    <a:cxn ang="0">
                      <a:pos x="0" y="T2"/>
                    </a:cxn>
                    <a:cxn ang="0">
                      <a:pos x="0" y="T3"/>
                    </a:cxn>
                    <a:cxn ang="0">
                      <a:pos x="0" y="T4"/>
                    </a:cxn>
                    <a:cxn ang="0">
                      <a:pos x="0" y="T5"/>
                    </a:cxn>
                  </a:cxnLst>
                  <a:rect l="0" t="0" r="r" b="b"/>
                  <a:pathLst>
                    <a:path h="41">
                      <a:moveTo>
                        <a:pt x="0" y="0"/>
                      </a:moveTo>
                      <a:lnTo>
                        <a:pt x="0" y="0"/>
                      </a:lnTo>
                      <a:lnTo>
                        <a:pt x="0" y="41"/>
                      </a:lnTo>
                      <a:lnTo>
                        <a:pt x="0" y="41"/>
                      </a:lnTo>
                      <a:lnTo>
                        <a:pt x="0" y="4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9" name="Group 118"/>
                <p:cNvGrpSpPr/>
                <p:nvPr/>
              </p:nvGrpSpPr>
              <p:grpSpPr>
                <a:xfrm>
                  <a:off x="-756930" y="1390918"/>
                  <a:ext cx="547987" cy="1145562"/>
                  <a:chOff x="-756930" y="1390918"/>
                  <a:chExt cx="710778" cy="1145562"/>
                </a:xfrm>
              </p:grpSpPr>
              <p:sp>
                <p:nvSpPr>
                  <p:cNvPr id="174" name="Freeform 44"/>
                  <p:cNvSpPr>
                    <a:spLocks/>
                  </p:cNvSpPr>
                  <p:nvPr/>
                </p:nvSpPr>
                <p:spPr bwMode="auto">
                  <a:xfrm>
                    <a:off x="-756930" y="1390918"/>
                    <a:ext cx="710778" cy="1145562"/>
                  </a:xfrm>
                  <a:custGeom>
                    <a:avLst/>
                    <a:gdLst>
                      <a:gd name="T0" fmla="*/ 321 w 399"/>
                      <a:gd name="T1" fmla="*/ 18 h 645"/>
                      <a:gd name="T2" fmla="*/ 102 w 399"/>
                      <a:gd name="T3" fmla="*/ 18 h 645"/>
                      <a:gd name="T4" fmla="*/ 103 w 399"/>
                      <a:gd name="T5" fmla="*/ 19 h 645"/>
                      <a:gd name="T6" fmla="*/ 0 w 399"/>
                      <a:gd name="T7" fmla="*/ 147 h 645"/>
                      <a:gd name="T8" fmla="*/ 0 w 399"/>
                      <a:gd name="T9" fmla="*/ 645 h 645"/>
                      <a:gd name="T10" fmla="*/ 399 w 399"/>
                      <a:gd name="T11" fmla="*/ 645 h 645"/>
                      <a:gd name="T12" fmla="*/ 399 w 399"/>
                      <a:gd name="T13" fmla="*/ 153 h 645"/>
                      <a:gd name="T14" fmla="*/ 321 w 399"/>
                      <a:gd name="T15" fmla="*/ 18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9" h="645">
                        <a:moveTo>
                          <a:pt x="321" y="18"/>
                        </a:moveTo>
                        <a:cubicBezTo>
                          <a:pt x="102" y="18"/>
                          <a:pt x="102" y="18"/>
                          <a:pt x="102" y="18"/>
                        </a:cubicBezTo>
                        <a:cubicBezTo>
                          <a:pt x="103" y="19"/>
                          <a:pt x="103" y="19"/>
                          <a:pt x="103" y="19"/>
                        </a:cubicBezTo>
                        <a:cubicBezTo>
                          <a:pt x="103" y="19"/>
                          <a:pt x="0" y="0"/>
                          <a:pt x="0" y="147"/>
                        </a:cubicBezTo>
                        <a:cubicBezTo>
                          <a:pt x="0" y="645"/>
                          <a:pt x="0" y="645"/>
                          <a:pt x="0" y="645"/>
                        </a:cubicBezTo>
                        <a:cubicBezTo>
                          <a:pt x="399" y="645"/>
                          <a:pt x="399" y="645"/>
                          <a:pt x="399" y="645"/>
                        </a:cubicBezTo>
                        <a:cubicBezTo>
                          <a:pt x="399" y="153"/>
                          <a:pt x="399" y="153"/>
                          <a:pt x="399" y="153"/>
                        </a:cubicBezTo>
                        <a:cubicBezTo>
                          <a:pt x="399" y="39"/>
                          <a:pt x="342" y="21"/>
                          <a:pt x="321" y="18"/>
                        </a:cubicBezTo>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Freeform 83"/>
                  <p:cNvSpPr>
                    <a:spLocks noEditPoints="1"/>
                  </p:cNvSpPr>
                  <p:nvPr/>
                </p:nvSpPr>
                <p:spPr bwMode="auto">
                  <a:xfrm>
                    <a:off x="-756930" y="1969371"/>
                    <a:ext cx="635163" cy="567109"/>
                  </a:xfrm>
                  <a:custGeom>
                    <a:avLst/>
                    <a:gdLst>
                      <a:gd name="T0" fmla="*/ 76 w 168"/>
                      <a:gd name="T1" fmla="*/ 44 h 150"/>
                      <a:gd name="T2" fmla="*/ 75 w 168"/>
                      <a:gd name="T3" fmla="*/ 44 h 150"/>
                      <a:gd name="T4" fmla="*/ 75 w 168"/>
                      <a:gd name="T5" fmla="*/ 150 h 150"/>
                      <a:gd name="T6" fmla="*/ 168 w 168"/>
                      <a:gd name="T7" fmla="*/ 150 h 150"/>
                      <a:gd name="T8" fmla="*/ 168 w 168"/>
                      <a:gd name="T9" fmla="*/ 98 h 150"/>
                      <a:gd name="T10" fmla="*/ 76 w 168"/>
                      <a:gd name="T11" fmla="*/ 44 h 150"/>
                      <a:gd name="T12" fmla="*/ 0 w 168"/>
                      <a:gd name="T13" fmla="*/ 0 h 150"/>
                      <a:gd name="T14" fmla="*/ 0 w 168"/>
                      <a:gd name="T15" fmla="*/ 0 h 150"/>
                      <a:gd name="T16" fmla="*/ 0 w 168"/>
                      <a:gd name="T17" fmla="*/ 109 h 150"/>
                      <a:gd name="T18" fmla="*/ 0 w 168"/>
                      <a:gd name="T19" fmla="*/ 150 h 150"/>
                      <a:gd name="T20" fmla="*/ 0 w 168"/>
                      <a:gd name="T21" fmla="*/ 150 h 150"/>
                      <a:gd name="T22" fmla="*/ 43 w 168"/>
                      <a:gd name="T23" fmla="*/ 150 h 150"/>
                      <a:gd name="T24" fmla="*/ 43 w 168"/>
                      <a:gd name="T25" fmla="*/ 44 h 150"/>
                      <a:gd name="T26" fmla="*/ 43 w 168"/>
                      <a:gd name="T27" fmla="*/ 24 h 150"/>
                      <a:gd name="T28" fmla="*/ 0 w 168"/>
                      <a:gd name="T2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8" h="150">
                        <a:moveTo>
                          <a:pt x="76" y="44"/>
                        </a:moveTo>
                        <a:lnTo>
                          <a:pt x="75" y="44"/>
                        </a:lnTo>
                        <a:lnTo>
                          <a:pt x="75" y="150"/>
                        </a:lnTo>
                        <a:lnTo>
                          <a:pt x="168" y="150"/>
                        </a:lnTo>
                        <a:lnTo>
                          <a:pt x="168" y="98"/>
                        </a:lnTo>
                        <a:lnTo>
                          <a:pt x="76" y="44"/>
                        </a:lnTo>
                        <a:close/>
                        <a:moveTo>
                          <a:pt x="0" y="0"/>
                        </a:moveTo>
                        <a:lnTo>
                          <a:pt x="0" y="0"/>
                        </a:lnTo>
                        <a:lnTo>
                          <a:pt x="0" y="109"/>
                        </a:lnTo>
                        <a:lnTo>
                          <a:pt x="0" y="150"/>
                        </a:lnTo>
                        <a:lnTo>
                          <a:pt x="0" y="150"/>
                        </a:lnTo>
                        <a:lnTo>
                          <a:pt x="43" y="150"/>
                        </a:lnTo>
                        <a:lnTo>
                          <a:pt x="43" y="44"/>
                        </a:lnTo>
                        <a:lnTo>
                          <a:pt x="43" y="24"/>
                        </a:lnTo>
                        <a:lnTo>
                          <a:pt x="0" y="0"/>
                        </a:lnTo>
                        <a:close/>
                      </a:path>
                    </a:pathLst>
                  </a:custGeom>
                  <a:solidFill>
                    <a:srgbClr val="C900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0" name="Freeform 84"/>
                <p:cNvSpPr>
                  <a:spLocks noEditPoints="1"/>
                </p:cNvSpPr>
                <p:nvPr/>
              </p:nvSpPr>
              <p:spPr bwMode="auto">
                <a:xfrm>
                  <a:off x="-756930" y="1969371"/>
                  <a:ext cx="635163" cy="567109"/>
                </a:xfrm>
                <a:custGeom>
                  <a:avLst/>
                  <a:gdLst>
                    <a:gd name="T0" fmla="*/ 76 w 168"/>
                    <a:gd name="T1" fmla="*/ 44 h 150"/>
                    <a:gd name="T2" fmla="*/ 75 w 168"/>
                    <a:gd name="T3" fmla="*/ 44 h 150"/>
                    <a:gd name="T4" fmla="*/ 75 w 168"/>
                    <a:gd name="T5" fmla="*/ 150 h 150"/>
                    <a:gd name="T6" fmla="*/ 168 w 168"/>
                    <a:gd name="T7" fmla="*/ 150 h 150"/>
                    <a:gd name="T8" fmla="*/ 168 w 168"/>
                    <a:gd name="T9" fmla="*/ 98 h 150"/>
                    <a:gd name="T10" fmla="*/ 76 w 168"/>
                    <a:gd name="T11" fmla="*/ 44 h 150"/>
                    <a:gd name="T12" fmla="*/ 0 w 168"/>
                    <a:gd name="T13" fmla="*/ 0 h 150"/>
                    <a:gd name="T14" fmla="*/ 0 w 168"/>
                    <a:gd name="T15" fmla="*/ 0 h 150"/>
                    <a:gd name="T16" fmla="*/ 0 w 168"/>
                    <a:gd name="T17" fmla="*/ 109 h 150"/>
                    <a:gd name="T18" fmla="*/ 0 w 168"/>
                    <a:gd name="T19" fmla="*/ 150 h 150"/>
                    <a:gd name="T20" fmla="*/ 0 w 168"/>
                    <a:gd name="T21" fmla="*/ 150 h 150"/>
                    <a:gd name="T22" fmla="*/ 43 w 168"/>
                    <a:gd name="T23" fmla="*/ 150 h 150"/>
                    <a:gd name="T24" fmla="*/ 43 w 168"/>
                    <a:gd name="T25" fmla="*/ 44 h 150"/>
                    <a:gd name="T26" fmla="*/ 43 w 168"/>
                    <a:gd name="T27" fmla="*/ 24 h 150"/>
                    <a:gd name="T28" fmla="*/ 0 w 168"/>
                    <a:gd name="T2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8" h="150">
                      <a:moveTo>
                        <a:pt x="76" y="44"/>
                      </a:moveTo>
                      <a:lnTo>
                        <a:pt x="75" y="44"/>
                      </a:lnTo>
                      <a:lnTo>
                        <a:pt x="75" y="150"/>
                      </a:lnTo>
                      <a:lnTo>
                        <a:pt x="168" y="150"/>
                      </a:lnTo>
                      <a:lnTo>
                        <a:pt x="168" y="98"/>
                      </a:lnTo>
                      <a:lnTo>
                        <a:pt x="76" y="44"/>
                      </a:lnTo>
                      <a:moveTo>
                        <a:pt x="0" y="0"/>
                      </a:moveTo>
                      <a:lnTo>
                        <a:pt x="0" y="0"/>
                      </a:lnTo>
                      <a:lnTo>
                        <a:pt x="0" y="109"/>
                      </a:lnTo>
                      <a:lnTo>
                        <a:pt x="0" y="150"/>
                      </a:lnTo>
                      <a:lnTo>
                        <a:pt x="0" y="150"/>
                      </a:lnTo>
                      <a:lnTo>
                        <a:pt x="43" y="150"/>
                      </a:lnTo>
                      <a:lnTo>
                        <a:pt x="43" y="44"/>
                      </a:lnTo>
                      <a:lnTo>
                        <a:pt x="43" y="2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85"/>
                <p:cNvSpPr>
                  <a:spLocks/>
                </p:cNvSpPr>
                <p:nvPr/>
              </p:nvSpPr>
              <p:spPr bwMode="auto">
                <a:xfrm>
                  <a:off x="-308912" y="1734964"/>
                  <a:ext cx="215503" cy="215503"/>
                </a:xfrm>
                <a:custGeom>
                  <a:avLst/>
                  <a:gdLst>
                    <a:gd name="T0" fmla="*/ 104 w 121"/>
                    <a:gd name="T1" fmla="*/ 22 h 121"/>
                    <a:gd name="T2" fmla="*/ 38 w 121"/>
                    <a:gd name="T3" fmla="*/ 17 h 121"/>
                    <a:gd name="T4" fmla="*/ 36 w 121"/>
                    <a:gd name="T5" fmla="*/ 18 h 121"/>
                    <a:gd name="T6" fmla="*/ 36 w 121"/>
                    <a:gd name="T7" fmla="*/ 18 h 121"/>
                    <a:gd name="T8" fmla="*/ 0 w 121"/>
                    <a:gd name="T9" fmla="*/ 50 h 121"/>
                    <a:gd name="T10" fmla="*/ 61 w 121"/>
                    <a:gd name="T11" fmla="*/ 121 h 121"/>
                    <a:gd name="T12" fmla="*/ 97 w 121"/>
                    <a:gd name="T13" fmla="*/ 89 h 121"/>
                    <a:gd name="T14" fmla="*/ 97 w 121"/>
                    <a:gd name="T15" fmla="*/ 89 h 121"/>
                    <a:gd name="T16" fmla="*/ 99 w 121"/>
                    <a:gd name="T17" fmla="*/ 88 h 121"/>
                    <a:gd name="T18" fmla="*/ 104 w 121"/>
                    <a:gd name="T19" fmla="*/ 2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21">
                      <a:moveTo>
                        <a:pt x="104" y="22"/>
                      </a:moveTo>
                      <a:cubicBezTo>
                        <a:pt x="87" y="2"/>
                        <a:pt x="57" y="0"/>
                        <a:pt x="38" y="17"/>
                      </a:cubicBezTo>
                      <a:cubicBezTo>
                        <a:pt x="37" y="17"/>
                        <a:pt x="37" y="18"/>
                        <a:pt x="36" y="18"/>
                      </a:cubicBezTo>
                      <a:cubicBezTo>
                        <a:pt x="36" y="18"/>
                        <a:pt x="36" y="18"/>
                        <a:pt x="36" y="18"/>
                      </a:cubicBezTo>
                      <a:cubicBezTo>
                        <a:pt x="0" y="50"/>
                        <a:pt x="0" y="50"/>
                        <a:pt x="0" y="50"/>
                      </a:cubicBezTo>
                      <a:cubicBezTo>
                        <a:pt x="61" y="121"/>
                        <a:pt x="61" y="121"/>
                        <a:pt x="61" y="121"/>
                      </a:cubicBezTo>
                      <a:cubicBezTo>
                        <a:pt x="97" y="89"/>
                        <a:pt x="97" y="89"/>
                        <a:pt x="97" y="89"/>
                      </a:cubicBezTo>
                      <a:cubicBezTo>
                        <a:pt x="97" y="89"/>
                        <a:pt x="97" y="89"/>
                        <a:pt x="97" y="89"/>
                      </a:cubicBezTo>
                      <a:cubicBezTo>
                        <a:pt x="98" y="88"/>
                        <a:pt x="98" y="88"/>
                        <a:pt x="99" y="88"/>
                      </a:cubicBezTo>
                      <a:cubicBezTo>
                        <a:pt x="118" y="71"/>
                        <a:pt x="121" y="41"/>
                        <a:pt x="104" y="22"/>
                      </a:cubicBezTo>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2" name="Rectangle 86"/>
                <p:cNvSpPr>
                  <a:spLocks noChangeArrowheads="1"/>
                </p:cNvSpPr>
                <p:nvPr/>
              </p:nvSpPr>
              <p:spPr bwMode="auto">
                <a:xfrm>
                  <a:off x="-594356" y="1995834"/>
                  <a:ext cx="1826095" cy="13988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Rectangle 87"/>
                <p:cNvSpPr>
                  <a:spLocks noChangeArrowheads="1"/>
                </p:cNvSpPr>
                <p:nvPr/>
              </p:nvSpPr>
              <p:spPr bwMode="auto">
                <a:xfrm>
                  <a:off x="-594356" y="1995834"/>
                  <a:ext cx="1826095" cy="139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88"/>
                <p:cNvSpPr>
                  <a:spLocks/>
                </p:cNvSpPr>
                <p:nvPr/>
              </p:nvSpPr>
              <p:spPr bwMode="auto">
                <a:xfrm>
                  <a:off x="82393" y="1995834"/>
                  <a:ext cx="1149343" cy="139889"/>
                </a:xfrm>
                <a:custGeom>
                  <a:avLst/>
                  <a:gdLst>
                    <a:gd name="T0" fmla="*/ 304 w 304"/>
                    <a:gd name="T1" fmla="*/ 0 h 37"/>
                    <a:gd name="T2" fmla="*/ 49 w 304"/>
                    <a:gd name="T3" fmla="*/ 0 h 37"/>
                    <a:gd name="T4" fmla="*/ 0 w 304"/>
                    <a:gd name="T5" fmla="*/ 0 h 37"/>
                    <a:gd name="T6" fmla="*/ 0 w 304"/>
                    <a:gd name="T7" fmla="*/ 37 h 37"/>
                    <a:gd name="T8" fmla="*/ 304 w 304"/>
                    <a:gd name="T9" fmla="*/ 37 h 37"/>
                    <a:gd name="T10" fmla="*/ 304 w 304"/>
                    <a:gd name="T11" fmla="*/ 0 h 37"/>
                  </a:gdLst>
                  <a:ahLst/>
                  <a:cxnLst>
                    <a:cxn ang="0">
                      <a:pos x="T0" y="T1"/>
                    </a:cxn>
                    <a:cxn ang="0">
                      <a:pos x="T2" y="T3"/>
                    </a:cxn>
                    <a:cxn ang="0">
                      <a:pos x="T4" y="T5"/>
                    </a:cxn>
                    <a:cxn ang="0">
                      <a:pos x="T6" y="T7"/>
                    </a:cxn>
                    <a:cxn ang="0">
                      <a:pos x="T8" y="T9"/>
                    </a:cxn>
                    <a:cxn ang="0">
                      <a:pos x="T10" y="T11"/>
                    </a:cxn>
                  </a:cxnLst>
                  <a:rect l="0" t="0" r="r" b="b"/>
                  <a:pathLst>
                    <a:path w="304" h="37">
                      <a:moveTo>
                        <a:pt x="304" y="0"/>
                      </a:moveTo>
                      <a:lnTo>
                        <a:pt x="49" y="0"/>
                      </a:lnTo>
                      <a:lnTo>
                        <a:pt x="0" y="0"/>
                      </a:lnTo>
                      <a:lnTo>
                        <a:pt x="0" y="37"/>
                      </a:lnTo>
                      <a:lnTo>
                        <a:pt x="304" y="37"/>
                      </a:lnTo>
                      <a:lnTo>
                        <a:pt x="304" y="0"/>
                      </a:lnTo>
                      <a:close/>
                    </a:path>
                  </a:pathLst>
                </a:custGeom>
                <a:solidFill>
                  <a:srgbClr val="006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89"/>
                <p:cNvSpPr>
                  <a:spLocks/>
                </p:cNvSpPr>
                <p:nvPr/>
              </p:nvSpPr>
              <p:spPr bwMode="auto">
                <a:xfrm>
                  <a:off x="82393" y="1995834"/>
                  <a:ext cx="1149343" cy="139889"/>
                </a:xfrm>
                <a:custGeom>
                  <a:avLst/>
                  <a:gdLst>
                    <a:gd name="T0" fmla="*/ 304 w 304"/>
                    <a:gd name="T1" fmla="*/ 0 h 37"/>
                    <a:gd name="T2" fmla="*/ 49 w 304"/>
                    <a:gd name="T3" fmla="*/ 0 h 37"/>
                    <a:gd name="T4" fmla="*/ 0 w 304"/>
                    <a:gd name="T5" fmla="*/ 0 h 37"/>
                    <a:gd name="T6" fmla="*/ 0 w 304"/>
                    <a:gd name="T7" fmla="*/ 37 h 37"/>
                    <a:gd name="T8" fmla="*/ 304 w 304"/>
                    <a:gd name="T9" fmla="*/ 37 h 37"/>
                    <a:gd name="T10" fmla="*/ 304 w 304"/>
                    <a:gd name="T11" fmla="*/ 0 h 37"/>
                  </a:gdLst>
                  <a:ahLst/>
                  <a:cxnLst>
                    <a:cxn ang="0">
                      <a:pos x="T0" y="T1"/>
                    </a:cxn>
                    <a:cxn ang="0">
                      <a:pos x="T2" y="T3"/>
                    </a:cxn>
                    <a:cxn ang="0">
                      <a:pos x="T4" y="T5"/>
                    </a:cxn>
                    <a:cxn ang="0">
                      <a:pos x="T6" y="T7"/>
                    </a:cxn>
                    <a:cxn ang="0">
                      <a:pos x="T8" y="T9"/>
                    </a:cxn>
                    <a:cxn ang="0">
                      <a:pos x="T10" y="T11"/>
                    </a:cxn>
                  </a:cxnLst>
                  <a:rect l="0" t="0" r="r" b="b"/>
                  <a:pathLst>
                    <a:path w="304" h="37">
                      <a:moveTo>
                        <a:pt x="304" y="0"/>
                      </a:moveTo>
                      <a:lnTo>
                        <a:pt x="49" y="0"/>
                      </a:lnTo>
                      <a:lnTo>
                        <a:pt x="0" y="0"/>
                      </a:lnTo>
                      <a:lnTo>
                        <a:pt x="0" y="37"/>
                      </a:lnTo>
                      <a:lnTo>
                        <a:pt x="304" y="37"/>
                      </a:lnTo>
                      <a:lnTo>
                        <a:pt x="3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Rectangle 91"/>
                <p:cNvSpPr>
                  <a:spLocks noChangeArrowheads="1"/>
                </p:cNvSpPr>
                <p:nvPr/>
              </p:nvSpPr>
              <p:spPr bwMode="auto">
                <a:xfrm>
                  <a:off x="-163353" y="1912659"/>
                  <a:ext cx="688093" cy="83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96"/>
                <p:cNvSpPr>
                  <a:spLocks/>
                </p:cNvSpPr>
                <p:nvPr/>
              </p:nvSpPr>
              <p:spPr bwMode="auto">
                <a:xfrm>
                  <a:off x="-499840" y="1424946"/>
                  <a:ext cx="223064" cy="86958"/>
                </a:xfrm>
                <a:custGeom>
                  <a:avLst/>
                  <a:gdLst>
                    <a:gd name="T0" fmla="*/ 0 w 127"/>
                    <a:gd name="T1" fmla="*/ 0 h 50"/>
                    <a:gd name="T2" fmla="*/ 64 w 127"/>
                    <a:gd name="T3" fmla="*/ 50 h 50"/>
                    <a:gd name="T4" fmla="*/ 127 w 127"/>
                    <a:gd name="T5" fmla="*/ 0 h 50"/>
                    <a:gd name="T6" fmla="*/ 0 w 127"/>
                    <a:gd name="T7" fmla="*/ 0 h 50"/>
                  </a:gdLst>
                  <a:ahLst/>
                  <a:cxnLst>
                    <a:cxn ang="0">
                      <a:pos x="T0" y="T1"/>
                    </a:cxn>
                    <a:cxn ang="0">
                      <a:pos x="T2" y="T3"/>
                    </a:cxn>
                    <a:cxn ang="0">
                      <a:pos x="T4" y="T5"/>
                    </a:cxn>
                    <a:cxn ang="0">
                      <a:pos x="T6" y="T7"/>
                    </a:cxn>
                  </a:cxnLst>
                  <a:rect l="0" t="0" r="r" b="b"/>
                  <a:pathLst>
                    <a:path w="127" h="50">
                      <a:moveTo>
                        <a:pt x="0" y="0"/>
                      </a:moveTo>
                      <a:cubicBezTo>
                        <a:pt x="7" y="28"/>
                        <a:pt x="33" y="50"/>
                        <a:pt x="64" y="50"/>
                      </a:cubicBezTo>
                      <a:cubicBezTo>
                        <a:pt x="94" y="50"/>
                        <a:pt x="120" y="28"/>
                        <a:pt x="127" y="0"/>
                      </a:cubicBezTo>
                      <a:lnTo>
                        <a:pt x="0" y="0"/>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97"/>
                <p:cNvSpPr>
                  <a:spLocks/>
                </p:cNvSpPr>
                <p:nvPr/>
              </p:nvSpPr>
              <p:spPr bwMode="auto">
                <a:xfrm>
                  <a:off x="-454470" y="1213225"/>
                  <a:ext cx="173913" cy="219283"/>
                </a:xfrm>
                <a:custGeom>
                  <a:avLst/>
                  <a:gdLst>
                    <a:gd name="T0" fmla="*/ 99 w 99"/>
                    <a:gd name="T1" fmla="*/ 11 h 124"/>
                    <a:gd name="T2" fmla="*/ 68 w 99"/>
                    <a:gd name="T3" fmla="*/ 0 h 124"/>
                    <a:gd name="T4" fmla="*/ 57 w 99"/>
                    <a:gd name="T5" fmla="*/ 26 h 124"/>
                    <a:gd name="T6" fmla="*/ 0 w 99"/>
                    <a:gd name="T7" fmla="*/ 26 h 124"/>
                    <a:gd name="T8" fmla="*/ 0 w 99"/>
                    <a:gd name="T9" fmla="*/ 124 h 124"/>
                    <a:gd name="T10" fmla="*/ 68 w 99"/>
                    <a:gd name="T11" fmla="*/ 124 h 124"/>
                    <a:gd name="T12" fmla="*/ 68 w 99"/>
                    <a:gd name="T13" fmla="*/ 66 h 124"/>
                    <a:gd name="T14" fmla="*/ 99 w 99"/>
                    <a:gd name="T15" fmla="*/ 11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24">
                      <a:moveTo>
                        <a:pt x="99" y="11"/>
                      </a:moveTo>
                      <a:cubicBezTo>
                        <a:pt x="68" y="0"/>
                        <a:pt x="68" y="0"/>
                        <a:pt x="68" y="0"/>
                      </a:cubicBezTo>
                      <a:cubicBezTo>
                        <a:pt x="57" y="26"/>
                        <a:pt x="57" y="26"/>
                        <a:pt x="57" y="26"/>
                      </a:cubicBezTo>
                      <a:cubicBezTo>
                        <a:pt x="0" y="26"/>
                        <a:pt x="0" y="26"/>
                        <a:pt x="0" y="26"/>
                      </a:cubicBezTo>
                      <a:cubicBezTo>
                        <a:pt x="0" y="124"/>
                        <a:pt x="0" y="124"/>
                        <a:pt x="0" y="124"/>
                      </a:cubicBezTo>
                      <a:cubicBezTo>
                        <a:pt x="68" y="124"/>
                        <a:pt x="68" y="124"/>
                        <a:pt x="68" y="124"/>
                      </a:cubicBezTo>
                      <a:cubicBezTo>
                        <a:pt x="68" y="66"/>
                        <a:pt x="68" y="66"/>
                        <a:pt x="68" y="66"/>
                      </a:cubicBezTo>
                      <a:cubicBezTo>
                        <a:pt x="69" y="48"/>
                        <a:pt x="74" y="19"/>
                        <a:pt x="99" y="11"/>
                      </a:cubicBez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98"/>
                <p:cNvSpPr>
                  <a:spLocks/>
                </p:cNvSpPr>
                <p:nvPr/>
              </p:nvSpPr>
              <p:spPr bwMode="auto">
                <a:xfrm>
                  <a:off x="-242750" y="1130049"/>
                  <a:ext cx="26466" cy="30246"/>
                </a:xfrm>
                <a:custGeom>
                  <a:avLst/>
                  <a:gdLst>
                    <a:gd name="T0" fmla="*/ 14 w 15"/>
                    <a:gd name="T1" fmla="*/ 9 h 16"/>
                    <a:gd name="T2" fmla="*/ 6 w 15"/>
                    <a:gd name="T3" fmla="*/ 15 h 16"/>
                    <a:gd name="T4" fmla="*/ 0 w 15"/>
                    <a:gd name="T5" fmla="*/ 7 h 16"/>
                    <a:gd name="T6" fmla="*/ 9 w 15"/>
                    <a:gd name="T7" fmla="*/ 1 h 16"/>
                    <a:gd name="T8" fmla="*/ 14 w 15"/>
                    <a:gd name="T9" fmla="*/ 9 h 16"/>
                  </a:gdLst>
                  <a:ahLst/>
                  <a:cxnLst>
                    <a:cxn ang="0">
                      <a:pos x="T0" y="T1"/>
                    </a:cxn>
                    <a:cxn ang="0">
                      <a:pos x="T2" y="T3"/>
                    </a:cxn>
                    <a:cxn ang="0">
                      <a:pos x="T4" y="T5"/>
                    </a:cxn>
                    <a:cxn ang="0">
                      <a:pos x="T6" y="T7"/>
                    </a:cxn>
                    <a:cxn ang="0">
                      <a:pos x="T8" y="T9"/>
                    </a:cxn>
                  </a:cxnLst>
                  <a:rect l="0" t="0" r="r" b="b"/>
                  <a:pathLst>
                    <a:path w="15" h="16">
                      <a:moveTo>
                        <a:pt x="14" y="9"/>
                      </a:moveTo>
                      <a:cubicBezTo>
                        <a:pt x="14" y="13"/>
                        <a:pt x="10" y="16"/>
                        <a:pt x="6" y="15"/>
                      </a:cubicBezTo>
                      <a:cubicBezTo>
                        <a:pt x="2" y="14"/>
                        <a:pt x="0" y="11"/>
                        <a:pt x="0" y="7"/>
                      </a:cubicBezTo>
                      <a:cubicBezTo>
                        <a:pt x="1" y="3"/>
                        <a:pt x="5" y="0"/>
                        <a:pt x="9" y="1"/>
                      </a:cubicBezTo>
                      <a:cubicBezTo>
                        <a:pt x="12" y="2"/>
                        <a:pt x="15" y="5"/>
                        <a:pt x="14" y="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99"/>
                <p:cNvSpPr>
                  <a:spLocks/>
                </p:cNvSpPr>
                <p:nvPr/>
              </p:nvSpPr>
              <p:spPr bwMode="auto">
                <a:xfrm>
                  <a:off x="-197380" y="1088460"/>
                  <a:ext cx="75614" cy="147450"/>
                </a:xfrm>
                <a:custGeom>
                  <a:avLst/>
                  <a:gdLst>
                    <a:gd name="T0" fmla="*/ 16 w 20"/>
                    <a:gd name="T1" fmla="*/ 0 h 39"/>
                    <a:gd name="T2" fmla="*/ 20 w 20"/>
                    <a:gd name="T3" fmla="*/ 39 h 39"/>
                    <a:gd name="T4" fmla="*/ 0 w 20"/>
                    <a:gd name="T5" fmla="*/ 35 h 39"/>
                    <a:gd name="T6" fmla="*/ 16 w 20"/>
                    <a:gd name="T7" fmla="*/ 0 h 39"/>
                  </a:gdLst>
                  <a:ahLst/>
                  <a:cxnLst>
                    <a:cxn ang="0">
                      <a:pos x="T0" y="T1"/>
                    </a:cxn>
                    <a:cxn ang="0">
                      <a:pos x="T2" y="T3"/>
                    </a:cxn>
                    <a:cxn ang="0">
                      <a:pos x="T4" y="T5"/>
                    </a:cxn>
                    <a:cxn ang="0">
                      <a:pos x="T6" y="T7"/>
                    </a:cxn>
                  </a:cxnLst>
                  <a:rect l="0" t="0" r="r" b="b"/>
                  <a:pathLst>
                    <a:path w="20" h="39">
                      <a:moveTo>
                        <a:pt x="16" y="0"/>
                      </a:moveTo>
                      <a:lnTo>
                        <a:pt x="20" y="39"/>
                      </a:lnTo>
                      <a:lnTo>
                        <a:pt x="0" y="35"/>
                      </a:lnTo>
                      <a:lnTo>
                        <a:pt x="16" y="0"/>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100"/>
                <p:cNvSpPr>
                  <a:spLocks/>
                </p:cNvSpPr>
                <p:nvPr/>
              </p:nvSpPr>
              <p:spPr bwMode="auto">
                <a:xfrm>
                  <a:off x="-469594" y="941013"/>
                  <a:ext cx="351609" cy="434785"/>
                </a:xfrm>
                <a:custGeom>
                  <a:avLst/>
                  <a:gdLst>
                    <a:gd name="T0" fmla="*/ 23 w 199"/>
                    <a:gd name="T1" fmla="*/ 0 h 245"/>
                    <a:gd name="T2" fmla="*/ 1 w 199"/>
                    <a:gd name="T3" fmla="*/ 124 h 245"/>
                    <a:gd name="T4" fmla="*/ 1 w 199"/>
                    <a:gd name="T5" fmla="*/ 125 h 245"/>
                    <a:gd name="T6" fmla="*/ 0 w 199"/>
                    <a:gd name="T7" fmla="*/ 143 h 245"/>
                    <a:gd name="T8" fmla="*/ 32 w 199"/>
                    <a:gd name="T9" fmla="*/ 138 h 245"/>
                    <a:gd name="T10" fmla="*/ 48 w 199"/>
                    <a:gd name="T11" fmla="*/ 190 h 245"/>
                    <a:gd name="T12" fmla="*/ 161 w 199"/>
                    <a:gd name="T13" fmla="*/ 245 h 245"/>
                    <a:gd name="T14" fmla="*/ 170 w 199"/>
                    <a:gd name="T15" fmla="*/ 197 h 245"/>
                    <a:gd name="T16" fmla="*/ 185 w 199"/>
                    <a:gd name="T17" fmla="*/ 109 h 245"/>
                    <a:gd name="T18" fmla="*/ 199 w 199"/>
                    <a:gd name="T19" fmla="*/ 31 h 245"/>
                    <a:gd name="T20" fmla="*/ 23 w 199"/>
                    <a:gd name="T2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 h="245">
                      <a:moveTo>
                        <a:pt x="23" y="0"/>
                      </a:moveTo>
                      <a:cubicBezTo>
                        <a:pt x="1" y="124"/>
                        <a:pt x="1" y="124"/>
                        <a:pt x="1" y="124"/>
                      </a:cubicBezTo>
                      <a:cubicBezTo>
                        <a:pt x="1" y="125"/>
                        <a:pt x="1" y="125"/>
                        <a:pt x="1" y="125"/>
                      </a:cubicBezTo>
                      <a:cubicBezTo>
                        <a:pt x="0" y="131"/>
                        <a:pt x="0" y="137"/>
                        <a:pt x="0" y="143"/>
                      </a:cubicBezTo>
                      <a:cubicBezTo>
                        <a:pt x="32" y="138"/>
                        <a:pt x="32" y="138"/>
                        <a:pt x="32" y="138"/>
                      </a:cubicBezTo>
                      <a:cubicBezTo>
                        <a:pt x="35" y="158"/>
                        <a:pt x="41" y="176"/>
                        <a:pt x="48" y="190"/>
                      </a:cubicBezTo>
                      <a:cubicBezTo>
                        <a:pt x="64" y="215"/>
                        <a:pt x="96" y="241"/>
                        <a:pt x="161" y="245"/>
                      </a:cubicBezTo>
                      <a:cubicBezTo>
                        <a:pt x="170" y="197"/>
                        <a:pt x="170" y="197"/>
                        <a:pt x="170" y="197"/>
                      </a:cubicBezTo>
                      <a:cubicBezTo>
                        <a:pt x="185" y="109"/>
                        <a:pt x="185" y="109"/>
                        <a:pt x="185" y="109"/>
                      </a:cubicBezTo>
                      <a:cubicBezTo>
                        <a:pt x="199" y="31"/>
                        <a:pt x="199" y="31"/>
                        <a:pt x="199" y="31"/>
                      </a:cubicBezTo>
                      <a:cubicBezTo>
                        <a:pt x="23" y="0"/>
                        <a:pt x="23" y="0"/>
                        <a:pt x="23" y="0"/>
                      </a:cubicBezTo>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102"/>
                <p:cNvSpPr>
                  <a:spLocks/>
                </p:cNvSpPr>
                <p:nvPr/>
              </p:nvSpPr>
              <p:spPr bwMode="auto">
                <a:xfrm>
                  <a:off x="-722901" y="1247251"/>
                  <a:ext cx="325143" cy="328924"/>
                </a:xfrm>
                <a:custGeom>
                  <a:avLst/>
                  <a:gdLst>
                    <a:gd name="T0" fmla="*/ 169 w 184"/>
                    <a:gd name="T1" fmla="*/ 0 h 184"/>
                    <a:gd name="T2" fmla="*/ 15 w 184"/>
                    <a:gd name="T3" fmla="*/ 184 h 184"/>
                    <a:gd name="T4" fmla="*/ 169 w 184"/>
                    <a:gd name="T5" fmla="*/ 0 h 184"/>
                  </a:gdLst>
                  <a:ahLst/>
                  <a:cxnLst>
                    <a:cxn ang="0">
                      <a:pos x="T0" y="T1"/>
                    </a:cxn>
                    <a:cxn ang="0">
                      <a:pos x="T2" y="T3"/>
                    </a:cxn>
                    <a:cxn ang="0">
                      <a:pos x="T4" y="T5"/>
                    </a:cxn>
                  </a:cxnLst>
                  <a:rect l="0" t="0" r="r" b="b"/>
                  <a:pathLst>
                    <a:path w="184" h="184">
                      <a:moveTo>
                        <a:pt x="169" y="0"/>
                      </a:moveTo>
                      <a:cubicBezTo>
                        <a:pt x="169" y="0"/>
                        <a:pt x="0" y="15"/>
                        <a:pt x="15" y="184"/>
                      </a:cubicBezTo>
                      <a:cubicBezTo>
                        <a:pt x="15" y="184"/>
                        <a:pt x="184" y="169"/>
                        <a:pt x="169" y="0"/>
                      </a:cubicBezTo>
                      <a:close/>
                    </a:path>
                  </a:pathLst>
                </a:custGeom>
                <a:solidFill>
                  <a:srgbClr val="AB0086"/>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3" name="Rectangle 107"/>
                <p:cNvSpPr>
                  <a:spLocks noChangeArrowheads="1"/>
                </p:cNvSpPr>
                <p:nvPr/>
              </p:nvSpPr>
              <p:spPr bwMode="auto">
                <a:xfrm>
                  <a:off x="-594356" y="2063887"/>
                  <a:ext cx="120984" cy="1398870"/>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Rectangle 108"/>
                <p:cNvSpPr>
                  <a:spLocks noChangeArrowheads="1"/>
                </p:cNvSpPr>
                <p:nvPr/>
              </p:nvSpPr>
              <p:spPr bwMode="auto">
                <a:xfrm>
                  <a:off x="-594356" y="2063887"/>
                  <a:ext cx="120984" cy="1398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109"/>
                <p:cNvSpPr>
                  <a:spLocks/>
                </p:cNvSpPr>
                <p:nvPr/>
              </p:nvSpPr>
              <p:spPr bwMode="auto">
                <a:xfrm>
                  <a:off x="-533864" y="2135723"/>
                  <a:ext cx="60492" cy="1327037"/>
                </a:xfrm>
                <a:custGeom>
                  <a:avLst/>
                  <a:gdLst>
                    <a:gd name="T0" fmla="*/ 16 w 16"/>
                    <a:gd name="T1" fmla="*/ 0 h 351"/>
                    <a:gd name="T2" fmla="*/ 0 w 16"/>
                    <a:gd name="T3" fmla="*/ 0 h 351"/>
                    <a:gd name="T4" fmla="*/ 0 w 16"/>
                    <a:gd name="T5" fmla="*/ 351 h 351"/>
                    <a:gd name="T6" fmla="*/ 16 w 16"/>
                    <a:gd name="T7" fmla="*/ 351 h 351"/>
                    <a:gd name="T8" fmla="*/ 16 w 16"/>
                    <a:gd name="T9" fmla="*/ 322 h 351"/>
                    <a:gd name="T10" fmla="*/ 16 w 16"/>
                    <a:gd name="T11" fmla="*/ 152 h 351"/>
                    <a:gd name="T12" fmla="*/ 16 w 16"/>
                    <a:gd name="T13" fmla="*/ 130 h 351"/>
                    <a:gd name="T14" fmla="*/ 16 w 16"/>
                    <a:gd name="T15" fmla="*/ 0 h 3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1">
                      <a:moveTo>
                        <a:pt x="16" y="0"/>
                      </a:moveTo>
                      <a:lnTo>
                        <a:pt x="0" y="0"/>
                      </a:lnTo>
                      <a:lnTo>
                        <a:pt x="0" y="351"/>
                      </a:lnTo>
                      <a:lnTo>
                        <a:pt x="16" y="351"/>
                      </a:lnTo>
                      <a:lnTo>
                        <a:pt x="16" y="322"/>
                      </a:lnTo>
                      <a:lnTo>
                        <a:pt x="16" y="152"/>
                      </a:lnTo>
                      <a:lnTo>
                        <a:pt x="16" y="130"/>
                      </a:lnTo>
                      <a:lnTo>
                        <a:pt x="16" y="0"/>
                      </a:lnTo>
                      <a:close/>
                    </a:path>
                  </a:pathLst>
                </a:custGeom>
                <a:solidFill>
                  <a:srgbClr val="006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110"/>
                <p:cNvSpPr>
                  <a:spLocks/>
                </p:cNvSpPr>
                <p:nvPr/>
              </p:nvSpPr>
              <p:spPr bwMode="auto">
                <a:xfrm>
                  <a:off x="-533864" y="2135723"/>
                  <a:ext cx="60492" cy="1327037"/>
                </a:xfrm>
                <a:custGeom>
                  <a:avLst/>
                  <a:gdLst>
                    <a:gd name="T0" fmla="*/ 16 w 16"/>
                    <a:gd name="T1" fmla="*/ 0 h 351"/>
                    <a:gd name="T2" fmla="*/ 0 w 16"/>
                    <a:gd name="T3" fmla="*/ 0 h 351"/>
                    <a:gd name="T4" fmla="*/ 0 w 16"/>
                    <a:gd name="T5" fmla="*/ 351 h 351"/>
                    <a:gd name="T6" fmla="*/ 16 w 16"/>
                    <a:gd name="T7" fmla="*/ 351 h 351"/>
                    <a:gd name="T8" fmla="*/ 16 w 16"/>
                    <a:gd name="T9" fmla="*/ 322 h 351"/>
                    <a:gd name="T10" fmla="*/ 16 w 16"/>
                    <a:gd name="T11" fmla="*/ 152 h 351"/>
                    <a:gd name="T12" fmla="*/ 16 w 16"/>
                    <a:gd name="T13" fmla="*/ 130 h 351"/>
                    <a:gd name="T14" fmla="*/ 16 w 16"/>
                    <a:gd name="T15" fmla="*/ 0 h 3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51">
                      <a:moveTo>
                        <a:pt x="16" y="0"/>
                      </a:moveTo>
                      <a:lnTo>
                        <a:pt x="0" y="0"/>
                      </a:lnTo>
                      <a:lnTo>
                        <a:pt x="0" y="351"/>
                      </a:lnTo>
                      <a:lnTo>
                        <a:pt x="16" y="351"/>
                      </a:lnTo>
                      <a:lnTo>
                        <a:pt x="16" y="322"/>
                      </a:lnTo>
                      <a:lnTo>
                        <a:pt x="16" y="152"/>
                      </a:lnTo>
                      <a:lnTo>
                        <a:pt x="16" y="13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111"/>
                <p:cNvSpPr>
                  <a:spLocks/>
                </p:cNvSpPr>
                <p:nvPr/>
              </p:nvSpPr>
              <p:spPr bwMode="auto">
                <a:xfrm>
                  <a:off x="-560332" y="831370"/>
                  <a:ext cx="457470" cy="480154"/>
                </a:xfrm>
                <a:custGeom>
                  <a:avLst/>
                  <a:gdLst>
                    <a:gd name="T0" fmla="*/ 250 w 258"/>
                    <a:gd name="T1" fmla="*/ 91 h 271"/>
                    <a:gd name="T2" fmla="*/ 163 w 258"/>
                    <a:gd name="T3" fmla="*/ 15 h 271"/>
                    <a:gd name="T4" fmla="*/ 128 w 258"/>
                    <a:gd name="T5" fmla="*/ 18 h 271"/>
                    <a:gd name="T6" fmla="*/ 98 w 258"/>
                    <a:gd name="T7" fmla="*/ 20 h 271"/>
                    <a:gd name="T8" fmla="*/ 76 w 258"/>
                    <a:gd name="T9" fmla="*/ 55 h 271"/>
                    <a:gd name="T10" fmla="*/ 32 w 258"/>
                    <a:gd name="T11" fmla="*/ 99 h 271"/>
                    <a:gd name="T12" fmla="*/ 94 w 258"/>
                    <a:gd name="T13" fmla="*/ 241 h 271"/>
                    <a:gd name="T14" fmla="*/ 87 w 258"/>
                    <a:gd name="T15" fmla="*/ 193 h 271"/>
                    <a:gd name="T16" fmla="*/ 86 w 258"/>
                    <a:gd name="T17" fmla="*/ 193 h 271"/>
                    <a:gd name="T18" fmla="*/ 115 w 258"/>
                    <a:gd name="T19" fmla="*/ 129 h 271"/>
                    <a:gd name="T20" fmla="*/ 119 w 258"/>
                    <a:gd name="T21" fmla="*/ 126 h 271"/>
                    <a:gd name="T22" fmla="*/ 168 w 258"/>
                    <a:gd name="T23" fmla="*/ 123 h 271"/>
                    <a:gd name="T24" fmla="*/ 249 w 258"/>
                    <a:gd name="T25" fmla="*/ 92 h 271"/>
                    <a:gd name="T26" fmla="*/ 250 w 258"/>
                    <a:gd name="T27" fmla="*/ 92 h 271"/>
                    <a:gd name="T28" fmla="*/ 250 w 258"/>
                    <a:gd name="T29" fmla="*/ 91 h 271"/>
                    <a:gd name="T30" fmla="*/ 250 w 258"/>
                    <a:gd name="T31" fmla="*/ 91 h 271"/>
                    <a:gd name="T32" fmla="*/ 250 w 258"/>
                    <a:gd name="T33" fmla="*/ 9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8" h="271">
                      <a:moveTo>
                        <a:pt x="250" y="91"/>
                      </a:moveTo>
                      <a:cubicBezTo>
                        <a:pt x="258" y="45"/>
                        <a:pt x="204" y="0"/>
                        <a:pt x="163" y="15"/>
                      </a:cubicBezTo>
                      <a:cubicBezTo>
                        <a:pt x="151" y="20"/>
                        <a:pt x="142" y="21"/>
                        <a:pt x="128" y="18"/>
                      </a:cubicBezTo>
                      <a:cubicBezTo>
                        <a:pt x="117" y="16"/>
                        <a:pt x="109" y="16"/>
                        <a:pt x="98" y="20"/>
                      </a:cubicBezTo>
                      <a:cubicBezTo>
                        <a:pt x="88" y="24"/>
                        <a:pt x="78" y="40"/>
                        <a:pt x="76" y="55"/>
                      </a:cubicBezTo>
                      <a:cubicBezTo>
                        <a:pt x="46" y="62"/>
                        <a:pt x="32" y="99"/>
                        <a:pt x="32" y="99"/>
                      </a:cubicBezTo>
                      <a:cubicBezTo>
                        <a:pt x="0" y="271"/>
                        <a:pt x="94" y="241"/>
                        <a:pt x="94" y="241"/>
                      </a:cubicBezTo>
                      <a:cubicBezTo>
                        <a:pt x="90" y="231"/>
                        <a:pt x="87" y="193"/>
                        <a:pt x="87" y="193"/>
                      </a:cubicBezTo>
                      <a:cubicBezTo>
                        <a:pt x="86" y="193"/>
                        <a:pt x="86" y="193"/>
                        <a:pt x="86" y="193"/>
                      </a:cubicBezTo>
                      <a:cubicBezTo>
                        <a:pt x="103" y="172"/>
                        <a:pt x="111" y="145"/>
                        <a:pt x="115" y="129"/>
                      </a:cubicBezTo>
                      <a:cubicBezTo>
                        <a:pt x="116" y="128"/>
                        <a:pt x="118" y="127"/>
                        <a:pt x="119" y="126"/>
                      </a:cubicBezTo>
                      <a:cubicBezTo>
                        <a:pt x="137" y="114"/>
                        <a:pt x="147" y="120"/>
                        <a:pt x="168" y="123"/>
                      </a:cubicBezTo>
                      <a:cubicBezTo>
                        <a:pt x="193" y="126"/>
                        <a:pt x="236" y="117"/>
                        <a:pt x="249" y="92"/>
                      </a:cubicBezTo>
                      <a:cubicBezTo>
                        <a:pt x="250" y="92"/>
                        <a:pt x="250" y="92"/>
                        <a:pt x="250" y="92"/>
                      </a:cubicBezTo>
                      <a:cubicBezTo>
                        <a:pt x="250" y="92"/>
                        <a:pt x="250" y="91"/>
                        <a:pt x="250" y="91"/>
                      </a:cubicBezTo>
                      <a:cubicBezTo>
                        <a:pt x="250" y="91"/>
                        <a:pt x="250" y="91"/>
                        <a:pt x="250" y="91"/>
                      </a:cubicBezTo>
                      <a:cubicBezTo>
                        <a:pt x="250" y="91"/>
                        <a:pt x="250" y="91"/>
                        <a:pt x="250" y="91"/>
                      </a:cubicBezTo>
                    </a:path>
                  </a:pathLst>
                </a:custGeom>
                <a:solidFill>
                  <a:srgbClr val="AB0086"/>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112"/>
                <p:cNvSpPr>
                  <a:spLocks/>
                </p:cNvSpPr>
                <p:nvPr/>
              </p:nvSpPr>
              <p:spPr bwMode="auto">
                <a:xfrm>
                  <a:off x="-435565" y="1054434"/>
                  <a:ext cx="79397" cy="132326"/>
                </a:xfrm>
                <a:custGeom>
                  <a:avLst/>
                  <a:gdLst>
                    <a:gd name="T0" fmla="*/ 45 w 45"/>
                    <a:gd name="T1" fmla="*/ 4 h 75"/>
                    <a:gd name="T2" fmla="*/ 4 w 45"/>
                    <a:gd name="T3" fmla="*/ 33 h 75"/>
                    <a:gd name="T4" fmla="*/ 33 w 45"/>
                    <a:gd name="T5" fmla="*/ 75 h 75"/>
                    <a:gd name="T6" fmla="*/ 45 w 45"/>
                    <a:gd name="T7" fmla="*/ 4 h 75"/>
                  </a:gdLst>
                  <a:ahLst/>
                  <a:cxnLst>
                    <a:cxn ang="0">
                      <a:pos x="T0" y="T1"/>
                    </a:cxn>
                    <a:cxn ang="0">
                      <a:pos x="T2" y="T3"/>
                    </a:cxn>
                    <a:cxn ang="0">
                      <a:pos x="T4" y="T5"/>
                    </a:cxn>
                    <a:cxn ang="0">
                      <a:pos x="T6" y="T7"/>
                    </a:cxn>
                  </a:cxnLst>
                  <a:rect l="0" t="0" r="r" b="b"/>
                  <a:pathLst>
                    <a:path w="45" h="75">
                      <a:moveTo>
                        <a:pt x="45" y="4"/>
                      </a:moveTo>
                      <a:cubicBezTo>
                        <a:pt x="26" y="0"/>
                        <a:pt x="7" y="14"/>
                        <a:pt x="4" y="33"/>
                      </a:cubicBezTo>
                      <a:cubicBezTo>
                        <a:pt x="0" y="53"/>
                        <a:pt x="13" y="72"/>
                        <a:pt x="33" y="75"/>
                      </a:cubicBezTo>
                      <a:cubicBezTo>
                        <a:pt x="45" y="4"/>
                        <a:pt x="45" y="4"/>
                        <a:pt x="45" y="4"/>
                      </a:cubicBezTo>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113"/>
                <p:cNvSpPr>
                  <a:spLocks/>
                </p:cNvSpPr>
                <p:nvPr/>
              </p:nvSpPr>
              <p:spPr bwMode="auto">
                <a:xfrm>
                  <a:off x="-371295" y="1092241"/>
                  <a:ext cx="7561" cy="64273"/>
                </a:xfrm>
                <a:custGeom>
                  <a:avLst/>
                  <a:gdLst>
                    <a:gd name="T0" fmla="*/ 6 w 6"/>
                    <a:gd name="T1" fmla="*/ 0 h 35"/>
                    <a:gd name="T2" fmla="*/ 0 w 6"/>
                    <a:gd name="T3" fmla="*/ 35 h 35"/>
                    <a:gd name="T4" fmla="*/ 0 w 6"/>
                    <a:gd name="T5" fmla="*/ 35 h 35"/>
                    <a:gd name="T6" fmla="*/ 6 w 6"/>
                    <a:gd name="T7" fmla="*/ 0 h 35"/>
                    <a:gd name="T8" fmla="*/ 6 w 6"/>
                    <a:gd name="T9" fmla="*/ 0 h 35"/>
                  </a:gdLst>
                  <a:ahLst/>
                  <a:cxnLst>
                    <a:cxn ang="0">
                      <a:pos x="T0" y="T1"/>
                    </a:cxn>
                    <a:cxn ang="0">
                      <a:pos x="T2" y="T3"/>
                    </a:cxn>
                    <a:cxn ang="0">
                      <a:pos x="T4" y="T5"/>
                    </a:cxn>
                    <a:cxn ang="0">
                      <a:pos x="T6" y="T7"/>
                    </a:cxn>
                    <a:cxn ang="0">
                      <a:pos x="T8" y="T9"/>
                    </a:cxn>
                  </a:cxnLst>
                  <a:rect l="0" t="0" r="r" b="b"/>
                  <a:pathLst>
                    <a:path w="6" h="35">
                      <a:moveTo>
                        <a:pt x="6" y="0"/>
                      </a:moveTo>
                      <a:cubicBezTo>
                        <a:pt x="0" y="35"/>
                        <a:pt x="0" y="35"/>
                        <a:pt x="0" y="35"/>
                      </a:cubicBezTo>
                      <a:cubicBezTo>
                        <a:pt x="0" y="35"/>
                        <a:pt x="0" y="35"/>
                        <a:pt x="0" y="35"/>
                      </a:cubicBezTo>
                      <a:cubicBezTo>
                        <a:pt x="6" y="0"/>
                        <a:pt x="6" y="0"/>
                        <a:pt x="6" y="0"/>
                      </a:cubicBezTo>
                      <a:cubicBezTo>
                        <a:pt x="6" y="0"/>
                        <a:pt x="6" y="0"/>
                        <a:pt x="6"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Rectangle 73"/>
                <p:cNvSpPr>
                  <a:spLocks noChangeArrowheads="1"/>
                </p:cNvSpPr>
                <p:nvPr/>
              </p:nvSpPr>
              <p:spPr bwMode="auto">
                <a:xfrm>
                  <a:off x="1109298" y="2094133"/>
                  <a:ext cx="124765" cy="1364844"/>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Rectangle 74"/>
                <p:cNvSpPr>
                  <a:spLocks noChangeArrowheads="1"/>
                </p:cNvSpPr>
                <p:nvPr/>
              </p:nvSpPr>
              <p:spPr bwMode="auto">
                <a:xfrm>
                  <a:off x="1109298" y="2094133"/>
                  <a:ext cx="124765" cy="1364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75"/>
                <p:cNvSpPr>
                  <a:spLocks/>
                </p:cNvSpPr>
                <p:nvPr/>
              </p:nvSpPr>
              <p:spPr bwMode="auto">
                <a:xfrm>
                  <a:off x="1173569" y="2135723"/>
                  <a:ext cx="60492" cy="1323255"/>
                </a:xfrm>
                <a:custGeom>
                  <a:avLst/>
                  <a:gdLst>
                    <a:gd name="T0" fmla="*/ 16 w 16"/>
                    <a:gd name="T1" fmla="*/ 0 h 350"/>
                    <a:gd name="T2" fmla="*/ 0 w 16"/>
                    <a:gd name="T3" fmla="*/ 0 h 350"/>
                    <a:gd name="T4" fmla="*/ 0 w 16"/>
                    <a:gd name="T5" fmla="*/ 350 h 350"/>
                    <a:gd name="T6" fmla="*/ 16 w 16"/>
                    <a:gd name="T7" fmla="*/ 350 h 350"/>
                    <a:gd name="T8" fmla="*/ 16 w 16"/>
                    <a:gd name="T9" fmla="*/ 322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2"/>
                      </a:lnTo>
                      <a:lnTo>
                        <a:pt x="16" y="0"/>
                      </a:lnTo>
                      <a:close/>
                    </a:path>
                  </a:pathLst>
                </a:custGeom>
                <a:solidFill>
                  <a:srgbClr val="006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76"/>
                <p:cNvSpPr>
                  <a:spLocks/>
                </p:cNvSpPr>
                <p:nvPr/>
              </p:nvSpPr>
              <p:spPr bwMode="auto">
                <a:xfrm>
                  <a:off x="1173569" y="2135723"/>
                  <a:ext cx="60492" cy="1323255"/>
                </a:xfrm>
                <a:custGeom>
                  <a:avLst/>
                  <a:gdLst>
                    <a:gd name="T0" fmla="*/ 16 w 16"/>
                    <a:gd name="T1" fmla="*/ 0 h 350"/>
                    <a:gd name="T2" fmla="*/ 0 w 16"/>
                    <a:gd name="T3" fmla="*/ 0 h 350"/>
                    <a:gd name="T4" fmla="*/ 0 w 16"/>
                    <a:gd name="T5" fmla="*/ 350 h 350"/>
                    <a:gd name="T6" fmla="*/ 16 w 16"/>
                    <a:gd name="T7" fmla="*/ 350 h 350"/>
                    <a:gd name="T8" fmla="*/ 16 w 16"/>
                    <a:gd name="T9" fmla="*/ 322 h 350"/>
                    <a:gd name="T10" fmla="*/ 16 w 16"/>
                    <a:gd name="T11" fmla="*/ 0 h 350"/>
                  </a:gdLst>
                  <a:ahLst/>
                  <a:cxnLst>
                    <a:cxn ang="0">
                      <a:pos x="T0" y="T1"/>
                    </a:cxn>
                    <a:cxn ang="0">
                      <a:pos x="T2" y="T3"/>
                    </a:cxn>
                    <a:cxn ang="0">
                      <a:pos x="T4" y="T5"/>
                    </a:cxn>
                    <a:cxn ang="0">
                      <a:pos x="T6" y="T7"/>
                    </a:cxn>
                    <a:cxn ang="0">
                      <a:pos x="T8" y="T9"/>
                    </a:cxn>
                    <a:cxn ang="0">
                      <a:pos x="T10" y="T11"/>
                    </a:cxn>
                  </a:cxnLst>
                  <a:rect l="0" t="0" r="r" b="b"/>
                  <a:pathLst>
                    <a:path w="16" h="350">
                      <a:moveTo>
                        <a:pt x="16" y="0"/>
                      </a:moveTo>
                      <a:lnTo>
                        <a:pt x="0" y="0"/>
                      </a:lnTo>
                      <a:lnTo>
                        <a:pt x="0" y="350"/>
                      </a:lnTo>
                      <a:lnTo>
                        <a:pt x="16" y="350"/>
                      </a:lnTo>
                      <a:lnTo>
                        <a:pt x="16" y="322"/>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44" name="Group 143"/>
                <p:cNvGrpSpPr/>
                <p:nvPr/>
              </p:nvGrpSpPr>
              <p:grpSpPr>
                <a:xfrm flipH="1">
                  <a:off x="-28523" y="1441478"/>
                  <a:ext cx="1037714" cy="550595"/>
                  <a:chOff x="-2508250" y="3690938"/>
                  <a:chExt cx="635000" cy="260350"/>
                </a:xfrm>
              </p:grpSpPr>
              <p:sp>
                <p:nvSpPr>
                  <p:cNvPr id="145" name="Freeform 186"/>
                  <p:cNvSpPr>
                    <a:spLocks/>
                  </p:cNvSpPr>
                  <p:nvPr/>
                </p:nvSpPr>
                <p:spPr bwMode="auto">
                  <a:xfrm>
                    <a:off x="-2508250" y="3781425"/>
                    <a:ext cx="200025" cy="169863"/>
                  </a:xfrm>
                  <a:custGeom>
                    <a:avLst/>
                    <a:gdLst>
                      <a:gd name="T0" fmla="*/ 60 w 71"/>
                      <a:gd name="T1" fmla="*/ 46 h 49"/>
                      <a:gd name="T2" fmla="*/ 55 w 71"/>
                      <a:gd name="T3" fmla="*/ 49 h 49"/>
                      <a:gd name="T4" fmla="*/ 3 w 71"/>
                      <a:gd name="T5" fmla="*/ 49 h 49"/>
                      <a:gd name="T6" fmla="*/ 0 w 71"/>
                      <a:gd name="T7" fmla="*/ 46 h 49"/>
                      <a:gd name="T8" fmla="*/ 11 w 71"/>
                      <a:gd name="T9" fmla="*/ 4 h 49"/>
                      <a:gd name="T10" fmla="*/ 16 w 71"/>
                      <a:gd name="T11" fmla="*/ 0 h 49"/>
                      <a:gd name="T12" fmla="*/ 68 w 71"/>
                      <a:gd name="T13" fmla="*/ 0 h 49"/>
                      <a:gd name="T14" fmla="*/ 71 w 71"/>
                      <a:gd name="T15" fmla="*/ 4 h 49"/>
                      <a:gd name="T16" fmla="*/ 60 w 71"/>
                      <a:gd name="T17"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49">
                        <a:moveTo>
                          <a:pt x="60" y="46"/>
                        </a:moveTo>
                        <a:cubicBezTo>
                          <a:pt x="60" y="48"/>
                          <a:pt x="57" y="49"/>
                          <a:pt x="55" y="49"/>
                        </a:cubicBezTo>
                        <a:cubicBezTo>
                          <a:pt x="3" y="49"/>
                          <a:pt x="3" y="49"/>
                          <a:pt x="3" y="49"/>
                        </a:cubicBezTo>
                        <a:cubicBezTo>
                          <a:pt x="1" y="49"/>
                          <a:pt x="0" y="48"/>
                          <a:pt x="0" y="46"/>
                        </a:cubicBezTo>
                        <a:cubicBezTo>
                          <a:pt x="11" y="4"/>
                          <a:pt x="11" y="4"/>
                          <a:pt x="11" y="4"/>
                        </a:cubicBezTo>
                        <a:cubicBezTo>
                          <a:pt x="12" y="1"/>
                          <a:pt x="14" y="0"/>
                          <a:pt x="16" y="0"/>
                        </a:cubicBezTo>
                        <a:cubicBezTo>
                          <a:pt x="68" y="0"/>
                          <a:pt x="68" y="0"/>
                          <a:pt x="68" y="0"/>
                        </a:cubicBezTo>
                        <a:cubicBezTo>
                          <a:pt x="70" y="0"/>
                          <a:pt x="71" y="1"/>
                          <a:pt x="71" y="4"/>
                        </a:cubicBezTo>
                        <a:lnTo>
                          <a:pt x="60" y="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187"/>
                  <p:cNvSpPr>
                    <a:spLocks/>
                  </p:cNvSpPr>
                  <p:nvPr/>
                </p:nvSpPr>
                <p:spPr bwMode="auto">
                  <a:xfrm>
                    <a:off x="-2503488" y="3690938"/>
                    <a:ext cx="458788" cy="246063"/>
                  </a:xfrm>
                  <a:custGeom>
                    <a:avLst/>
                    <a:gdLst>
                      <a:gd name="T0" fmla="*/ 161 w 162"/>
                      <a:gd name="T1" fmla="*/ 85 h 87"/>
                      <a:gd name="T2" fmla="*/ 160 w 162"/>
                      <a:gd name="T3" fmla="*/ 87 h 87"/>
                      <a:gd name="T4" fmla="*/ 24 w 162"/>
                      <a:gd name="T5" fmla="*/ 87 h 87"/>
                      <a:gd name="T6" fmla="*/ 21 w 162"/>
                      <a:gd name="T7" fmla="*/ 85 h 87"/>
                      <a:gd name="T8" fmla="*/ 0 w 162"/>
                      <a:gd name="T9" fmla="*/ 2 h 87"/>
                      <a:gd name="T10" fmla="*/ 2 w 162"/>
                      <a:gd name="T11" fmla="*/ 0 h 87"/>
                      <a:gd name="T12" fmla="*/ 138 w 162"/>
                      <a:gd name="T13" fmla="*/ 0 h 87"/>
                      <a:gd name="T14" fmla="*/ 140 w 162"/>
                      <a:gd name="T15" fmla="*/ 2 h 87"/>
                      <a:gd name="T16" fmla="*/ 161 w 162"/>
                      <a:gd name="T17" fmla="*/ 8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87">
                        <a:moveTo>
                          <a:pt x="161" y="85"/>
                        </a:moveTo>
                        <a:cubicBezTo>
                          <a:pt x="162" y="86"/>
                          <a:pt x="161" y="87"/>
                          <a:pt x="160" y="87"/>
                        </a:cubicBezTo>
                        <a:cubicBezTo>
                          <a:pt x="24" y="87"/>
                          <a:pt x="24" y="87"/>
                          <a:pt x="24" y="87"/>
                        </a:cubicBezTo>
                        <a:cubicBezTo>
                          <a:pt x="22" y="87"/>
                          <a:pt x="21" y="86"/>
                          <a:pt x="21" y="85"/>
                        </a:cubicBezTo>
                        <a:cubicBezTo>
                          <a:pt x="0" y="2"/>
                          <a:pt x="0" y="2"/>
                          <a:pt x="0" y="2"/>
                        </a:cubicBezTo>
                        <a:cubicBezTo>
                          <a:pt x="0" y="1"/>
                          <a:pt x="1" y="0"/>
                          <a:pt x="2" y="0"/>
                        </a:cubicBezTo>
                        <a:cubicBezTo>
                          <a:pt x="138" y="0"/>
                          <a:pt x="138" y="0"/>
                          <a:pt x="138" y="0"/>
                        </a:cubicBezTo>
                        <a:cubicBezTo>
                          <a:pt x="139" y="0"/>
                          <a:pt x="140" y="1"/>
                          <a:pt x="140" y="2"/>
                        </a:cubicBezTo>
                        <a:lnTo>
                          <a:pt x="161" y="85"/>
                        </a:lnTo>
                        <a:close/>
                      </a:path>
                    </a:pathLst>
                  </a:custGeom>
                  <a:solidFill>
                    <a:schemeClr val="tx1">
                      <a:lumMod val="75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88"/>
                  <p:cNvSpPr>
                    <a:spLocks/>
                  </p:cNvSpPr>
                  <p:nvPr/>
                </p:nvSpPr>
                <p:spPr bwMode="auto">
                  <a:xfrm>
                    <a:off x="-2466975" y="3717923"/>
                    <a:ext cx="382588" cy="187325"/>
                  </a:xfrm>
                  <a:custGeom>
                    <a:avLst/>
                    <a:gdLst>
                      <a:gd name="T0" fmla="*/ 135 w 135"/>
                      <a:gd name="T1" fmla="*/ 64 h 66"/>
                      <a:gd name="T2" fmla="*/ 133 w 135"/>
                      <a:gd name="T3" fmla="*/ 66 h 66"/>
                      <a:gd name="T4" fmla="*/ 18 w 135"/>
                      <a:gd name="T5" fmla="*/ 66 h 66"/>
                      <a:gd name="T6" fmla="*/ 16 w 135"/>
                      <a:gd name="T7" fmla="*/ 64 h 66"/>
                      <a:gd name="T8" fmla="*/ 1 w 135"/>
                      <a:gd name="T9" fmla="*/ 2 h 66"/>
                      <a:gd name="T10" fmla="*/ 2 w 135"/>
                      <a:gd name="T11" fmla="*/ 0 h 66"/>
                      <a:gd name="T12" fmla="*/ 117 w 135"/>
                      <a:gd name="T13" fmla="*/ 0 h 66"/>
                      <a:gd name="T14" fmla="*/ 119 w 135"/>
                      <a:gd name="T15" fmla="*/ 2 h 66"/>
                      <a:gd name="T16" fmla="*/ 135 w 135"/>
                      <a:gd name="T17" fmla="*/ 6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66">
                        <a:moveTo>
                          <a:pt x="135" y="64"/>
                        </a:moveTo>
                        <a:cubicBezTo>
                          <a:pt x="135" y="65"/>
                          <a:pt x="134" y="66"/>
                          <a:pt x="133" y="66"/>
                        </a:cubicBezTo>
                        <a:cubicBezTo>
                          <a:pt x="18" y="66"/>
                          <a:pt x="18" y="66"/>
                          <a:pt x="18" y="66"/>
                        </a:cubicBezTo>
                        <a:cubicBezTo>
                          <a:pt x="17" y="66"/>
                          <a:pt x="16" y="65"/>
                          <a:pt x="16" y="64"/>
                        </a:cubicBezTo>
                        <a:cubicBezTo>
                          <a:pt x="1" y="2"/>
                          <a:pt x="1" y="2"/>
                          <a:pt x="1" y="2"/>
                        </a:cubicBezTo>
                        <a:cubicBezTo>
                          <a:pt x="0" y="1"/>
                          <a:pt x="1" y="0"/>
                          <a:pt x="2" y="0"/>
                        </a:cubicBezTo>
                        <a:cubicBezTo>
                          <a:pt x="117" y="0"/>
                          <a:pt x="117" y="0"/>
                          <a:pt x="117" y="0"/>
                        </a:cubicBezTo>
                        <a:cubicBezTo>
                          <a:pt x="118" y="0"/>
                          <a:pt x="119" y="1"/>
                          <a:pt x="119" y="2"/>
                        </a:cubicBezTo>
                        <a:lnTo>
                          <a:pt x="135" y="64"/>
                        </a:lnTo>
                        <a:close/>
                      </a:path>
                    </a:pathLst>
                  </a:custGeom>
                  <a:solidFill>
                    <a:schemeClr val="accent1"/>
                  </a:solidFill>
                  <a:ln w="9525">
                    <a:solidFill>
                      <a:schemeClr val="tx1">
                        <a:lumMod val="5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9"/>
                  <p:cNvSpPr>
                    <a:spLocks/>
                  </p:cNvSpPr>
                  <p:nvPr/>
                </p:nvSpPr>
                <p:spPr bwMode="auto">
                  <a:xfrm flipV="1">
                    <a:off x="-2428875" y="3760788"/>
                    <a:ext cx="87313" cy="36513"/>
                  </a:xfrm>
                  <a:prstGeom prst="parallelogram">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Freeform 190"/>
                  <p:cNvSpPr>
                    <a:spLocks/>
                  </p:cNvSpPr>
                  <p:nvPr/>
                </p:nvSpPr>
                <p:spPr bwMode="auto">
                  <a:xfrm flipV="1">
                    <a:off x="-2347913" y="3760788"/>
                    <a:ext cx="87313" cy="36513"/>
                  </a:xfrm>
                  <a:prstGeom prst="parallelogram">
                    <a:avLst/>
                  </a:pr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191"/>
                  <p:cNvSpPr>
                    <a:spLocks/>
                  </p:cNvSpPr>
                  <p:nvPr/>
                </p:nvSpPr>
                <p:spPr bwMode="auto">
                  <a:xfrm flipV="1">
                    <a:off x="-2267387" y="3760788"/>
                    <a:ext cx="46474" cy="36513"/>
                  </a:xfrm>
                  <a:prstGeom prst="parallelogram">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192"/>
                  <p:cNvSpPr>
                    <a:spLocks/>
                  </p:cNvSpPr>
                  <p:nvPr/>
                </p:nvSpPr>
                <p:spPr bwMode="auto">
                  <a:xfrm flipV="1">
                    <a:off x="-2228000" y="3760788"/>
                    <a:ext cx="46775" cy="36513"/>
                  </a:xfrm>
                  <a:prstGeom prst="parallelogram">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193"/>
                  <p:cNvSpPr>
                    <a:spLocks/>
                  </p:cNvSpPr>
                  <p:nvPr/>
                </p:nvSpPr>
                <p:spPr bwMode="auto">
                  <a:xfrm flipV="1">
                    <a:off x="-2257425" y="3800475"/>
                    <a:ext cx="46038" cy="36513"/>
                  </a:xfrm>
                  <a:prstGeom prst="parallelogram">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197"/>
                  <p:cNvSpPr>
                    <a:spLocks/>
                  </p:cNvSpPr>
                  <p:nvPr/>
                </p:nvSpPr>
                <p:spPr bwMode="auto">
                  <a:xfrm flipV="1">
                    <a:off x="-2337791" y="3800475"/>
                    <a:ext cx="87001" cy="37050"/>
                  </a:xfrm>
                  <a:prstGeom prst="parallelogram">
                    <a:avLst/>
                  </a:prstGeom>
                  <a:solidFill>
                    <a:srgbClr val="F9F7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Freeform 198"/>
                  <p:cNvSpPr>
                    <a:spLocks/>
                  </p:cNvSpPr>
                  <p:nvPr/>
                </p:nvSpPr>
                <p:spPr bwMode="auto">
                  <a:xfrm flipV="1">
                    <a:off x="-2327870" y="3840163"/>
                    <a:ext cx="87313" cy="39688"/>
                  </a:xfrm>
                  <a:prstGeom prst="parallelogram">
                    <a:avLst/>
                  </a:pr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Freeform 199"/>
                  <p:cNvSpPr>
                    <a:spLocks/>
                  </p:cNvSpPr>
                  <p:nvPr/>
                </p:nvSpPr>
                <p:spPr bwMode="auto">
                  <a:xfrm flipV="1">
                    <a:off x="-2240657" y="3865563"/>
                    <a:ext cx="80168" cy="14288"/>
                  </a:xfrm>
                  <a:prstGeom prst="parallelogram">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200"/>
                  <p:cNvSpPr>
                    <a:spLocks/>
                  </p:cNvSpPr>
                  <p:nvPr/>
                </p:nvSpPr>
                <p:spPr bwMode="auto">
                  <a:xfrm flipV="1">
                    <a:off x="-2247084" y="3840163"/>
                    <a:ext cx="83007" cy="25400"/>
                  </a:xfrm>
                  <a:prstGeom prst="parallelogram">
                    <a:avLst/>
                  </a:prstGeom>
                  <a:solidFill>
                    <a:srgbClr val="F9F7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201"/>
                  <p:cNvSpPr>
                    <a:spLocks/>
                  </p:cNvSpPr>
                  <p:nvPr/>
                </p:nvSpPr>
                <p:spPr bwMode="auto">
                  <a:xfrm flipV="1">
                    <a:off x="-2217738" y="3800475"/>
                    <a:ext cx="46038" cy="36513"/>
                  </a:xfrm>
                  <a:prstGeom prst="parallelogram">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202"/>
                  <p:cNvSpPr>
                    <a:spLocks/>
                  </p:cNvSpPr>
                  <p:nvPr/>
                </p:nvSpPr>
                <p:spPr bwMode="auto">
                  <a:xfrm flipV="1">
                    <a:off x="-2163763" y="3800475"/>
                    <a:ext cx="46461" cy="36513"/>
                  </a:xfrm>
                  <a:prstGeom prst="parallelogram">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203"/>
                  <p:cNvSpPr>
                    <a:spLocks/>
                  </p:cNvSpPr>
                  <p:nvPr/>
                </p:nvSpPr>
                <p:spPr bwMode="auto">
                  <a:xfrm flipV="1">
                    <a:off x="-2153833" y="3840163"/>
                    <a:ext cx="46626" cy="36513"/>
                  </a:xfrm>
                  <a:prstGeom prst="parallelogram">
                    <a:avLst/>
                  </a:prstGeom>
                  <a:solidFill>
                    <a:srgbClr val="DA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205"/>
                  <p:cNvSpPr>
                    <a:spLocks/>
                  </p:cNvSpPr>
                  <p:nvPr/>
                </p:nvSpPr>
                <p:spPr bwMode="auto">
                  <a:xfrm flipV="1">
                    <a:off x="-2114783" y="3840162"/>
                    <a:ext cx="24045" cy="36514"/>
                  </a:xfrm>
                  <a:prstGeom prst="parallelogram">
                    <a:avLst>
                      <a:gd name="adj" fmla="val 38967"/>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206"/>
                  <p:cNvSpPr>
                    <a:spLocks/>
                  </p:cNvSpPr>
                  <p:nvPr/>
                </p:nvSpPr>
                <p:spPr bwMode="auto">
                  <a:xfrm flipV="1">
                    <a:off x="-2173875" y="3760788"/>
                    <a:ext cx="63294" cy="36513"/>
                  </a:xfrm>
                  <a:prstGeom prst="parallelogram">
                    <a:avLst/>
                  </a:prstGeom>
                  <a:solidFill>
                    <a:srgbClr val="F69A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207"/>
                  <p:cNvSpPr>
                    <a:spLocks/>
                  </p:cNvSpPr>
                  <p:nvPr/>
                </p:nvSpPr>
                <p:spPr bwMode="auto">
                  <a:xfrm flipV="1">
                    <a:off x="-2377948" y="3800475"/>
                    <a:ext cx="46475" cy="37005"/>
                  </a:xfrm>
                  <a:prstGeom prst="parallelogram">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208"/>
                  <p:cNvSpPr>
                    <a:spLocks/>
                  </p:cNvSpPr>
                  <p:nvPr/>
                </p:nvSpPr>
                <p:spPr bwMode="auto">
                  <a:xfrm>
                    <a:off x="-2432050" y="3732213"/>
                    <a:ext cx="4763" cy="11113"/>
                  </a:xfrm>
                  <a:custGeom>
                    <a:avLst/>
                    <a:gdLst>
                      <a:gd name="T0" fmla="*/ 0 w 2"/>
                      <a:gd name="T1" fmla="*/ 4 h 4"/>
                      <a:gd name="T2" fmla="*/ 0 w 2"/>
                      <a:gd name="T3" fmla="*/ 3 h 4"/>
                      <a:gd name="T4" fmla="*/ 1 w 2"/>
                      <a:gd name="T5" fmla="*/ 4 h 4"/>
                      <a:gd name="T6" fmla="*/ 1 w 2"/>
                      <a:gd name="T7" fmla="*/ 3 h 4"/>
                      <a:gd name="T8" fmla="*/ 2 w 2"/>
                      <a:gd name="T9" fmla="*/ 3 h 4"/>
                      <a:gd name="T10" fmla="*/ 1 w 2"/>
                      <a:gd name="T11" fmla="*/ 3 h 4"/>
                      <a:gd name="T12" fmla="*/ 1 w 2"/>
                      <a:gd name="T13" fmla="*/ 2 h 4"/>
                      <a:gd name="T14" fmla="*/ 0 w 2"/>
                      <a:gd name="T15" fmla="*/ 2 h 4"/>
                      <a:gd name="T16" fmla="*/ 0 w 2"/>
                      <a:gd name="T17" fmla="*/ 1 h 4"/>
                      <a:gd name="T18" fmla="*/ 0 w 2"/>
                      <a:gd name="T19" fmla="*/ 1 h 4"/>
                      <a:gd name="T20" fmla="*/ 0 w 2"/>
                      <a:gd name="T21" fmla="*/ 0 h 4"/>
                      <a:gd name="T22" fmla="*/ 0 w 2"/>
                      <a:gd name="T23" fmla="*/ 0 h 4"/>
                      <a:gd name="T24" fmla="*/ 1 w 2"/>
                      <a:gd name="T25" fmla="*/ 0 h 4"/>
                      <a:gd name="T26" fmla="*/ 1 w 2"/>
                      <a:gd name="T27" fmla="*/ 1 h 4"/>
                      <a:gd name="T28" fmla="*/ 0 w 2"/>
                      <a:gd name="T29" fmla="*/ 1 h 4"/>
                      <a:gd name="T30" fmla="*/ 0 w 2"/>
                      <a:gd name="T31" fmla="*/ 1 h 4"/>
                      <a:gd name="T32" fmla="*/ 0 w 2"/>
                      <a:gd name="T33" fmla="*/ 1 h 4"/>
                      <a:gd name="T34" fmla="*/ 0 w 2"/>
                      <a:gd name="T35" fmla="*/ 1 h 4"/>
                      <a:gd name="T36" fmla="*/ 0 w 2"/>
                      <a:gd name="T37" fmla="*/ 2 h 4"/>
                      <a:gd name="T38" fmla="*/ 1 w 2"/>
                      <a:gd name="T39" fmla="*/ 2 h 4"/>
                      <a:gd name="T40" fmla="*/ 1 w 2"/>
                      <a:gd name="T41" fmla="*/ 2 h 4"/>
                      <a:gd name="T42" fmla="*/ 2 w 2"/>
                      <a:gd name="T43" fmla="*/ 3 h 4"/>
                      <a:gd name="T44" fmla="*/ 2 w 2"/>
                      <a:gd name="T45" fmla="*/ 3 h 4"/>
                      <a:gd name="T46" fmla="*/ 2 w 2"/>
                      <a:gd name="T47" fmla="*/ 4 h 4"/>
                      <a:gd name="T48" fmla="*/ 1 w 2"/>
                      <a:gd name="T49" fmla="*/ 4 h 4"/>
                      <a:gd name="T50" fmla="*/ 1 w 2"/>
                      <a:gd name="T51" fmla="*/ 4 h 4"/>
                      <a:gd name="T52" fmla="*/ 0 w 2"/>
                      <a:gd name="T5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 h="4">
                        <a:moveTo>
                          <a:pt x="0" y="4"/>
                        </a:moveTo>
                        <a:cubicBezTo>
                          <a:pt x="0" y="3"/>
                          <a:pt x="0" y="3"/>
                          <a:pt x="0" y="3"/>
                        </a:cubicBezTo>
                        <a:cubicBezTo>
                          <a:pt x="0" y="4"/>
                          <a:pt x="1" y="4"/>
                          <a:pt x="1" y="4"/>
                        </a:cubicBezTo>
                        <a:cubicBezTo>
                          <a:pt x="1" y="4"/>
                          <a:pt x="1" y="4"/>
                          <a:pt x="1" y="3"/>
                        </a:cubicBezTo>
                        <a:cubicBezTo>
                          <a:pt x="2" y="3"/>
                          <a:pt x="2" y="3"/>
                          <a:pt x="2" y="3"/>
                        </a:cubicBezTo>
                        <a:cubicBezTo>
                          <a:pt x="2" y="3"/>
                          <a:pt x="1" y="3"/>
                          <a:pt x="1" y="3"/>
                        </a:cubicBezTo>
                        <a:cubicBezTo>
                          <a:pt x="1" y="2"/>
                          <a:pt x="1" y="2"/>
                          <a:pt x="1" y="2"/>
                        </a:cubicBezTo>
                        <a:cubicBezTo>
                          <a:pt x="0" y="2"/>
                          <a:pt x="0" y="2"/>
                          <a:pt x="0" y="2"/>
                        </a:cubicBezTo>
                        <a:cubicBezTo>
                          <a:pt x="0" y="2"/>
                          <a:pt x="0" y="1"/>
                          <a:pt x="0" y="1"/>
                        </a:cubicBezTo>
                        <a:cubicBezTo>
                          <a:pt x="0" y="1"/>
                          <a:pt x="0" y="1"/>
                          <a:pt x="0" y="1"/>
                        </a:cubicBezTo>
                        <a:cubicBezTo>
                          <a:pt x="0" y="1"/>
                          <a:pt x="0" y="0"/>
                          <a:pt x="0" y="0"/>
                        </a:cubicBezTo>
                        <a:cubicBezTo>
                          <a:pt x="0" y="0"/>
                          <a:pt x="0" y="0"/>
                          <a:pt x="0" y="0"/>
                        </a:cubicBezTo>
                        <a:cubicBezTo>
                          <a:pt x="1" y="0"/>
                          <a:pt x="1" y="0"/>
                          <a:pt x="1" y="0"/>
                        </a:cubicBezTo>
                        <a:cubicBezTo>
                          <a:pt x="1" y="1"/>
                          <a:pt x="1" y="1"/>
                          <a:pt x="1" y="1"/>
                        </a:cubicBezTo>
                        <a:cubicBezTo>
                          <a:pt x="1" y="1"/>
                          <a:pt x="1" y="1"/>
                          <a:pt x="0" y="1"/>
                        </a:cubicBezTo>
                        <a:cubicBezTo>
                          <a:pt x="0" y="1"/>
                          <a:pt x="0" y="1"/>
                          <a:pt x="0" y="1"/>
                        </a:cubicBezTo>
                        <a:cubicBezTo>
                          <a:pt x="0" y="1"/>
                          <a:pt x="0" y="1"/>
                          <a:pt x="0" y="1"/>
                        </a:cubicBezTo>
                        <a:cubicBezTo>
                          <a:pt x="0" y="1"/>
                          <a:pt x="0" y="1"/>
                          <a:pt x="0" y="1"/>
                        </a:cubicBezTo>
                        <a:cubicBezTo>
                          <a:pt x="0" y="1"/>
                          <a:pt x="0" y="2"/>
                          <a:pt x="0" y="2"/>
                        </a:cubicBezTo>
                        <a:cubicBezTo>
                          <a:pt x="0" y="2"/>
                          <a:pt x="0" y="2"/>
                          <a:pt x="1" y="2"/>
                        </a:cubicBezTo>
                        <a:cubicBezTo>
                          <a:pt x="1" y="2"/>
                          <a:pt x="1" y="2"/>
                          <a:pt x="1" y="2"/>
                        </a:cubicBezTo>
                        <a:cubicBezTo>
                          <a:pt x="1" y="2"/>
                          <a:pt x="2" y="2"/>
                          <a:pt x="2" y="3"/>
                        </a:cubicBezTo>
                        <a:cubicBezTo>
                          <a:pt x="2" y="3"/>
                          <a:pt x="2" y="3"/>
                          <a:pt x="2" y="3"/>
                        </a:cubicBezTo>
                        <a:cubicBezTo>
                          <a:pt x="2" y="3"/>
                          <a:pt x="2" y="3"/>
                          <a:pt x="2" y="4"/>
                        </a:cubicBezTo>
                        <a:cubicBezTo>
                          <a:pt x="2" y="4"/>
                          <a:pt x="1" y="4"/>
                          <a:pt x="1" y="4"/>
                        </a:cubicBezTo>
                        <a:cubicBezTo>
                          <a:pt x="1" y="4"/>
                          <a:pt x="1" y="4"/>
                          <a:pt x="1" y="4"/>
                        </a:cubicBezTo>
                        <a:cubicBezTo>
                          <a:pt x="0" y="4"/>
                          <a:pt x="0" y="4"/>
                          <a:pt x="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209"/>
                  <p:cNvSpPr>
                    <a:spLocks/>
                  </p:cNvSpPr>
                  <p:nvPr/>
                </p:nvSpPr>
                <p:spPr bwMode="auto">
                  <a:xfrm>
                    <a:off x="-2427288" y="3735388"/>
                    <a:ext cx="6350" cy="7938"/>
                  </a:xfrm>
                  <a:custGeom>
                    <a:avLst/>
                    <a:gdLst>
                      <a:gd name="T0" fmla="*/ 2 w 2"/>
                      <a:gd name="T1" fmla="*/ 3 h 3"/>
                      <a:gd name="T2" fmla="*/ 1 w 2"/>
                      <a:gd name="T3" fmla="*/ 3 h 3"/>
                      <a:gd name="T4" fmla="*/ 1 w 2"/>
                      <a:gd name="T5" fmla="*/ 2 h 3"/>
                      <a:gd name="T6" fmla="*/ 0 w 2"/>
                      <a:gd name="T7" fmla="*/ 1 h 3"/>
                      <a:gd name="T8" fmla="*/ 0 w 2"/>
                      <a:gd name="T9" fmla="*/ 1 h 3"/>
                      <a:gd name="T10" fmla="*/ 0 w 2"/>
                      <a:gd name="T11" fmla="*/ 0 h 3"/>
                      <a:gd name="T12" fmla="*/ 0 w 2"/>
                      <a:gd name="T13" fmla="*/ 0 h 3"/>
                      <a:gd name="T14" fmla="*/ 0 w 2"/>
                      <a:gd name="T15" fmla="*/ 0 h 3"/>
                      <a:gd name="T16" fmla="*/ 0 w 2"/>
                      <a:gd name="T17" fmla="*/ 0 h 3"/>
                      <a:gd name="T18" fmla="*/ 0 w 2"/>
                      <a:gd name="T19" fmla="*/ 0 h 3"/>
                      <a:gd name="T20" fmla="*/ 1 w 2"/>
                      <a:gd name="T21" fmla="*/ 0 h 3"/>
                      <a:gd name="T22" fmla="*/ 1 w 2"/>
                      <a:gd name="T23" fmla="*/ 1 h 3"/>
                      <a:gd name="T24" fmla="*/ 0 w 2"/>
                      <a:gd name="T25" fmla="*/ 1 h 3"/>
                      <a:gd name="T26" fmla="*/ 1 w 2"/>
                      <a:gd name="T27" fmla="*/ 2 h 3"/>
                      <a:gd name="T28" fmla="*/ 1 w 2"/>
                      <a:gd name="T29" fmla="*/ 2 h 3"/>
                      <a:gd name="T30" fmla="*/ 1 w 2"/>
                      <a:gd name="T31" fmla="*/ 3 h 3"/>
                      <a:gd name="T32" fmla="*/ 2 w 2"/>
                      <a:gd name="T33" fmla="*/ 2 h 3"/>
                      <a:gd name="T34" fmla="*/ 2 w 2"/>
                      <a:gd name="T3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3">
                        <a:moveTo>
                          <a:pt x="2" y="3"/>
                        </a:moveTo>
                        <a:cubicBezTo>
                          <a:pt x="1" y="3"/>
                          <a:pt x="1" y="3"/>
                          <a:pt x="1" y="3"/>
                        </a:cubicBezTo>
                        <a:cubicBezTo>
                          <a:pt x="1" y="3"/>
                          <a:pt x="1" y="3"/>
                          <a:pt x="1" y="2"/>
                        </a:cubicBez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1"/>
                          <a:pt x="1" y="1"/>
                          <a:pt x="1" y="1"/>
                        </a:cubicBezTo>
                        <a:cubicBezTo>
                          <a:pt x="0" y="1"/>
                          <a:pt x="0" y="1"/>
                          <a:pt x="0" y="1"/>
                        </a:cubicBezTo>
                        <a:cubicBezTo>
                          <a:pt x="1" y="2"/>
                          <a:pt x="1" y="2"/>
                          <a:pt x="1" y="2"/>
                        </a:cubicBezTo>
                        <a:cubicBezTo>
                          <a:pt x="1" y="2"/>
                          <a:pt x="1" y="2"/>
                          <a:pt x="1" y="2"/>
                        </a:cubicBezTo>
                        <a:cubicBezTo>
                          <a:pt x="1" y="3"/>
                          <a:pt x="1" y="3"/>
                          <a:pt x="1" y="3"/>
                        </a:cubicBezTo>
                        <a:cubicBezTo>
                          <a:pt x="1" y="3"/>
                          <a:pt x="1" y="3"/>
                          <a:pt x="2" y="2"/>
                        </a:cubicBezTo>
                        <a:lnTo>
                          <a:pt x="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210"/>
                  <p:cNvSpPr>
                    <a:spLocks noEditPoints="1"/>
                  </p:cNvSpPr>
                  <p:nvPr/>
                </p:nvSpPr>
                <p:spPr bwMode="auto">
                  <a:xfrm>
                    <a:off x="-2420938" y="3735388"/>
                    <a:ext cx="4763" cy="7938"/>
                  </a:xfrm>
                  <a:custGeom>
                    <a:avLst/>
                    <a:gdLst>
                      <a:gd name="T0" fmla="*/ 2 w 2"/>
                      <a:gd name="T1" fmla="*/ 3 h 3"/>
                      <a:gd name="T2" fmla="*/ 2 w 2"/>
                      <a:gd name="T3" fmla="*/ 2 h 3"/>
                      <a:gd name="T4" fmla="*/ 2 w 2"/>
                      <a:gd name="T5" fmla="*/ 2 h 3"/>
                      <a:gd name="T6" fmla="*/ 1 w 2"/>
                      <a:gd name="T7" fmla="*/ 3 h 3"/>
                      <a:gd name="T8" fmla="*/ 1 w 2"/>
                      <a:gd name="T9" fmla="*/ 3 h 3"/>
                      <a:gd name="T10" fmla="*/ 0 w 2"/>
                      <a:gd name="T11" fmla="*/ 3 h 3"/>
                      <a:gd name="T12" fmla="*/ 0 w 2"/>
                      <a:gd name="T13" fmla="*/ 2 h 3"/>
                      <a:gd name="T14" fmla="*/ 1 w 2"/>
                      <a:gd name="T15" fmla="*/ 1 h 3"/>
                      <a:gd name="T16" fmla="*/ 1 w 2"/>
                      <a:gd name="T17" fmla="*/ 1 h 3"/>
                      <a:gd name="T18" fmla="*/ 0 w 2"/>
                      <a:gd name="T19" fmla="*/ 0 h 3"/>
                      <a:gd name="T20" fmla="*/ 0 w 2"/>
                      <a:gd name="T21" fmla="*/ 1 h 3"/>
                      <a:gd name="T22" fmla="*/ 0 w 2"/>
                      <a:gd name="T23" fmla="*/ 1 h 3"/>
                      <a:gd name="T24" fmla="*/ 0 w 2"/>
                      <a:gd name="T25" fmla="*/ 0 h 3"/>
                      <a:gd name="T26" fmla="*/ 0 w 2"/>
                      <a:gd name="T27" fmla="*/ 0 h 3"/>
                      <a:gd name="T28" fmla="*/ 1 w 2"/>
                      <a:gd name="T29" fmla="*/ 0 h 3"/>
                      <a:gd name="T30" fmla="*/ 1 w 2"/>
                      <a:gd name="T31" fmla="*/ 1 h 3"/>
                      <a:gd name="T32" fmla="*/ 2 w 2"/>
                      <a:gd name="T33" fmla="*/ 3 h 3"/>
                      <a:gd name="T34" fmla="*/ 0 w 2"/>
                      <a:gd name="T35" fmla="*/ 2 h 3"/>
                      <a:gd name="T36" fmla="*/ 0 w 2"/>
                      <a:gd name="T37" fmla="*/ 2 h 3"/>
                      <a:gd name="T38" fmla="*/ 1 w 2"/>
                      <a:gd name="T39" fmla="*/ 3 h 3"/>
                      <a:gd name="T40" fmla="*/ 1 w 2"/>
                      <a:gd name="T41" fmla="*/ 2 h 3"/>
                      <a:gd name="T42" fmla="*/ 1 w 2"/>
                      <a:gd name="T43" fmla="*/ 2 h 3"/>
                      <a:gd name="T44" fmla="*/ 1 w 2"/>
                      <a:gd name="T45" fmla="*/ 1 h 3"/>
                      <a:gd name="T46" fmla="*/ 1 w 2"/>
                      <a:gd name="T47" fmla="*/ 2 h 3"/>
                      <a:gd name="T48" fmla="*/ 0 w 2"/>
                      <a:gd name="T49" fmla="*/ 2 h 3"/>
                      <a:gd name="T50" fmla="*/ 0 w 2"/>
                      <a:gd name="T5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 h="3">
                        <a:moveTo>
                          <a:pt x="2" y="3"/>
                        </a:moveTo>
                        <a:cubicBezTo>
                          <a:pt x="2" y="2"/>
                          <a:pt x="2" y="2"/>
                          <a:pt x="2" y="2"/>
                        </a:cubicBezTo>
                        <a:cubicBezTo>
                          <a:pt x="2" y="2"/>
                          <a:pt x="2" y="2"/>
                          <a:pt x="2" y="2"/>
                        </a:cubicBezTo>
                        <a:cubicBezTo>
                          <a:pt x="1" y="2"/>
                          <a:pt x="1" y="3"/>
                          <a:pt x="1" y="3"/>
                        </a:cubicBezTo>
                        <a:cubicBezTo>
                          <a:pt x="1" y="3"/>
                          <a:pt x="1" y="3"/>
                          <a:pt x="1" y="3"/>
                        </a:cubicBezTo>
                        <a:cubicBezTo>
                          <a:pt x="1" y="3"/>
                          <a:pt x="0" y="3"/>
                          <a:pt x="0" y="3"/>
                        </a:cubicBezTo>
                        <a:cubicBezTo>
                          <a:pt x="0" y="2"/>
                          <a:pt x="0" y="2"/>
                          <a:pt x="0" y="2"/>
                        </a:cubicBezTo>
                        <a:cubicBezTo>
                          <a:pt x="0" y="2"/>
                          <a:pt x="0" y="1"/>
                          <a:pt x="1" y="1"/>
                        </a:cubicBezTo>
                        <a:cubicBezTo>
                          <a:pt x="1" y="1"/>
                          <a:pt x="1" y="1"/>
                          <a:pt x="1" y="1"/>
                        </a:cubicBezTo>
                        <a:cubicBezTo>
                          <a:pt x="1" y="1"/>
                          <a:pt x="1" y="0"/>
                          <a:pt x="0" y="0"/>
                        </a:cubicBezTo>
                        <a:cubicBezTo>
                          <a:pt x="0" y="0"/>
                          <a:pt x="0" y="1"/>
                          <a:pt x="0" y="1"/>
                        </a:cubicBezTo>
                        <a:cubicBezTo>
                          <a:pt x="0" y="1"/>
                          <a:pt x="0" y="1"/>
                          <a:pt x="0" y="1"/>
                        </a:cubicBezTo>
                        <a:cubicBezTo>
                          <a:pt x="0" y="0"/>
                          <a:pt x="0" y="0"/>
                          <a:pt x="0" y="0"/>
                        </a:cubicBezTo>
                        <a:cubicBezTo>
                          <a:pt x="0" y="0"/>
                          <a:pt x="0" y="0"/>
                          <a:pt x="0" y="0"/>
                        </a:cubicBezTo>
                        <a:cubicBezTo>
                          <a:pt x="1" y="0"/>
                          <a:pt x="1" y="0"/>
                          <a:pt x="1" y="0"/>
                        </a:cubicBezTo>
                        <a:cubicBezTo>
                          <a:pt x="1" y="1"/>
                          <a:pt x="1" y="1"/>
                          <a:pt x="1" y="1"/>
                        </a:cubicBezTo>
                        <a:cubicBezTo>
                          <a:pt x="2" y="3"/>
                          <a:pt x="2" y="3"/>
                          <a:pt x="2" y="3"/>
                        </a:cubicBezTo>
                        <a:close/>
                        <a:moveTo>
                          <a:pt x="0" y="2"/>
                        </a:moveTo>
                        <a:cubicBezTo>
                          <a:pt x="0" y="2"/>
                          <a:pt x="0" y="2"/>
                          <a:pt x="0" y="2"/>
                        </a:cubicBezTo>
                        <a:cubicBezTo>
                          <a:pt x="1" y="3"/>
                          <a:pt x="1" y="3"/>
                          <a:pt x="1" y="3"/>
                        </a:cubicBezTo>
                        <a:cubicBezTo>
                          <a:pt x="1" y="3"/>
                          <a:pt x="1" y="3"/>
                          <a:pt x="1" y="2"/>
                        </a:cubicBezTo>
                        <a:cubicBezTo>
                          <a:pt x="1" y="2"/>
                          <a:pt x="1" y="2"/>
                          <a:pt x="1" y="2"/>
                        </a:cubicBezTo>
                        <a:cubicBezTo>
                          <a:pt x="1" y="1"/>
                          <a:pt x="1" y="1"/>
                          <a:pt x="1" y="1"/>
                        </a:cubicBezTo>
                        <a:cubicBezTo>
                          <a:pt x="1" y="2"/>
                          <a:pt x="1" y="2"/>
                          <a:pt x="1" y="2"/>
                        </a:cubicBezTo>
                        <a:cubicBezTo>
                          <a:pt x="0" y="2"/>
                          <a:pt x="0" y="2"/>
                          <a:pt x="0" y="2"/>
                        </a:cubicBezTo>
                        <a:cubicBezTo>
                          <a:pt x="0" y="2"/>
                          <a:pt x="0" y="2"/>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211"/>
                  <p:cNvSpPr>
                    <a:spLocks/>
                  </p:cNvSpPr>
                  <p:nvPr/>
                </p:nvSpPr>
                <p:spPr bwMode="auto">
                  <a:xfrm>
                    <a:off x="-2416175" y="3735388"/>
                    <a:ext cx="3175" cy="7938"/>
                  </a:xfrm>
                  <a:custGeom>
                    <a:avLst/>
                    <a:gdLst>
                      <a:gd name="T0" fmla="*/ 1 w 1"/>
                      <a:gd name="T1" fmla="*/ 1 h 3"/>
                      <a:gd name="T2" fmla="*/ 1 w 1"/>
                      <a:gd name="T3" fmla="*/ 0 h 3"/>
                      <a:gd name="T4" fmla="*/ 1 w 1"/>
                      <a:gd name="T5" fmla="*/ 1 h 3"/>
                      <a:gd name="T6" fmla="*/ 1 w 1"/>
                      <a:gd name="T7" fmla="*/ 1 h 3"/>
                      <a:gd name="T8" fmla="*/ 1 w 1"/>
                      <a:gd name="T9" fmla="*/ 2 h 3"/>
                      <a:gd name="T10" fmla="*/ 1 w 1"/>
                      <a:gd name="T11" fmla="*/ 3 h 3"/>
                      <a:gd name="T12" fmla="*/ 1 w 1"/>
                      <a:gd name="T13" fmla="*/ 3 h 3"/>
                      <a:gd name="T14" fmla="*/ 0 w 1"/>
                      <a:gd name="T15" fmla="*/ 0 h 3"/>
                      <a:gd name="T16" fmla="*/ 0 w 1"/>
                      <a:gd name="T17" fmla="*/ 0 h 3"/>
                      <a:gd name="T18" fmla="*/ 0 w 1"/>
                      <a:gd name="T19" fmla="*/ 1 h 3"/>
                      <a:gd name="T20" fmla="*/ 0 w 1"/>
                      <a:gd name="T21" fmla="*/ 1 h 3"/>
                      <a:gd name="T22" fmla="*/ 1 w 1"/>
                      <a:gd name="T23" fmla="*/ 0 h 3"/>
                      <a:gd name="T24" fmla="*/ 1 w 1"/>
                      <a:gd name="T25" fmla="*/ 0 h 3"/>
                      <a:gd name="T26" fmla="*/ 1 w 1"/>
                      <a:gd name="T27" fmla="*/ 0 h 3"/>
                      <a:gd name="T28" fmla="*/ 1 w 1"/>
                      <a:gd name="T2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 h="3">
                        <a:moveTo>
                          <a:pt x="1" y="1"/>
                        </a:moveTo>
                        <a:cubicBezTo>
                          <a:pt x="1" y="1"/>
                          <a:pt x="1" y="0"/>
                          <a:pt x="1" y="0"/>
                        </a:cubicBezTo>
                        <a:cubicBezTo>
                          <a:pt x="1" y="0"/>
                          <a:pt x="1" y="1"/>
                          <a:pt x="1" y="1"/>
                        </a:cubicBezTo>
                        <a:cubicBezTo>
                          <a:pt x="1" y="1"/>
                          <a:pt x="1" y="1"/>
                          <a:pt x="1" y="1"/>
                        </a:cubicBezTo>
                        <a:cubicBezTo>
                          <a:pt x="1" y="1"/>
                          <a:pt x="1" y="1"/>
                          <a:pt x="1" y="2"/>
                        </a:cubicBezTo>
                        <a:cubicBezTo>
                          <a:pt x="1" y="3"/>
                          <a:pt x="1" y="3"/>
                          <a:pt x="1" y="3"/>
                        </a:cubicBezTo>
                        <a:cubicBezTo>
                          <a:pt x="1" y="3"/>
                          <a:pt x="1" y="3"/>
                          <a:pt x="1" y="3"/>
                        </a:cubicBezTo>
                        <a:cubicBezTo>
                          <a:pt x="0" y="0"/>
                          <a:pt x="0" y="0"/>
                          <a:pt x="0" y="0"/>
                        </a:cubicBezTo>
                        <a:cubicBezTo>
                          <a:pt x="0" y="0"/>
                          <a:pt x="0" y="0"/>
                          <a:pt x="0" y="0"/>
                        </a:cubicBezTo>
                        <a:cubicBezTo>
                          <a:pt x="0" y="1"/>
                          <a:pt x="0" y="1"/>
                          <a:pt x="0" y="1"/>
                        </a:cubicBezTo>
                        <a:cubicBezTo>
                          <a:pt x="0" y="1"/>
                          <a:pt x="0" y="1"/>
                          <a:pt x="0" y="1"/>
                        </a:cubicBezTo>
                        <a:cubicBezTo>
                          <a:pt x="0" y="1"/>
                          <a:pt x="0" y="1"/>
                          <a:pt x="1" y="0"/>
                        </a:cubicBezTo>
                        <a:cubicBezTo>
                          <a:pt x="1" y="0"/>
                          <a:pt x="1" y="0"/>
                          <a:pt x="1" y="0"/>
                        </a:cubicBezTo>
                        <a:cubicBezTo>
                          <a:pt x="1" y="0"/>
                          <a:pt x="1" y="0"/>
                          <a:pt x="1" y="0"/>
                        </a:cubicBezTo>
                        <a:lnTo>
                          <a:pt x="1"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212"/>
                  <p:cNvSpPr>
                    <a:spLocks/>
                  </p:cNvSpPr>
                  <p:nvPr/>
                </p:nvSpPr>
                <p:spPr bwMode="auto">
                  <a:xfrm>
                    <a:off x="-2409825" y="3735388"/>
                    <a:ext cx="3175" cy="7938"/>
                  </a:xfrm>
                  <a:custGeom>
                    <a:avLst/>
                    <a:gdLst>
                      <a:gd name="T0" fmla="*/ 1 w 1"/>
                      <a:gd name="T1" fmla="*/ 3 h 3"/>
                      <a:gd name="T2" fmla="*/ 1 w 1"/>
                      <a:gd name="T3" fmla="*/ 3 h 3"/>
                      <a:gd name="T4" fmla="*/ 0 w 1"/>
                      <a:gd name="T5" fmla="*/ 2 h 3"/>
                      <a:gd name="T6" fmla="*/ 0 w 1"/>
                      <a:gd name="T7" fmla="*/ 1 h 3"/>
                      <a:gd name="T8" fmla="*/ 0 w 1"/>
                      <a:gd name="T9" fmla="*/ 1 h 3"/>
                      <a:gd name="T10" fmla="*/ 0 w 1"/>
                      <a:gd name="T11" fmla="*/ 0 h 3"/>
                      <a:gd name="T12" fmla="*/ 0 w 1"/>
                      <a:gd name="T13" fmla="*/ 0 h 3"/>
                      <a:gd name="T14" fmla="*/ 0 w 1"/>
                      <a:gd name="T15" fmla="*/ 0 h 3"/>
                      <a:gd name="T16" fmla="*/ 0 w 1"/>
                      <a:gd name="T17" fmla="*/ 0 h 3"/>
                      <a:gd name="T18" fmla="*/ 0 w 1"/>
                      <a:gd name="T19" fmla="*/ 0 h 3"/>
                      <a:gd name="T20" fmla="*/ 1 w 1"/>
                      <a:gd name="T21" fmla="*/ 0 h 3"/>
                      <a:gd name="T22" fmla="*/ 1 w 1"/>
                      <a:gd name="T23" fmla="*/ 1 h 3"/>
                      <a:gd name="T24" fmla="*/ 0 w 1"/>
                      <a:gd name="T25" fmla="*/ 1 h 3"/>
                      <a:gd name="T26" fmla="*/ 1 w 1"/>
                      <a:gd name="T27" fmla="*/ 2 h 3"/>
                      <a:gd name="T28" fmla="*/ 1 w 1"/>
                      <a:gd name="T29" fmla="*/ 2 h 3"/>
                      <a:gd name="T30" fmla="*/ 1 w 1"/>
                      <a:gd name="T31" fmla="*/ 3 h 3"/>
                      <a:gd name="T32" fmla="*/ 1 w 1"/>
                      <a:gd name="T33" fmla="*/ 2 h 3"/>
                      <a:gd name="T34" fmla="*/ 1 w 1"/>
                      <a:gd name="T3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 h="3">
                        <a:moveTo>
                          <a:pt x="1" y="3"/>
                        </a:moveTo>
                        <a:cubicBezTo>
                          <a:pt x="1" y="3"/>
                          <a:pt x="1" y="3"/>
                          <a:pt x="1" y="3"/>
                        </a:cubicBezTo>
                        <a:cubicBezTo>
                          <a:pt x="1" y="3"/>
                          <a:pt x="1" y="3"/>
                          <a:pt x="0" y="2"/>
                        </a:cubicBez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1"/>
                          <a:pt x="1" y="1"/>
                          <a:pt x="1" y="1"/>
                        </a:cubicBezTo>
                        <a:cubicBezTo>
                          <a:pt x="0" y="1"/>
                          <a:pt x="0" y="1"/>
                          <a:pt x="0" y="1"/>
                        </a:cubicBezTo>
                        <a:cubicBezTo>
                          <a:pt x="1" y="2"/>
                          <a:pt x="1" y="2"/>
                          <a:pt x="1" y="2"/>
                        </a:cubicBezTo>
                        <a:cubicBezTo>
                          <a:pt x="1" y="2"/>
                          <a:pt x="1" y="2"/>
                          <a:pt x="1" y="2"/>
                        </a:cubicBezTo>
                        <a:cubicBezTo>
                          <a:pt x="1" y="3"/>
                          <a:pt x="1" y="3"/>
                          <a:pt x="1" y="3"/>
                        </a:cubicBezTo>
                        <a:cubicBezTo>
                          <a:pt x="1" y="3"/>
                          <a:pt x="1" y="3"/>
                          <a:pt x="1" y="2"/>
                        </a:cubicBezTo>
                        <a:lnTo>
                          <a:pt x="1"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213"/>
                  <p:cNvSpPr>
                    <a:spLocks/>
                  </p:cNvSpPr>
                  <p:nvPr/>
                </p:nvSpPr>
                <p:spPr bwMode="auto">
                  <a:xfrm>
                    <a:off x="-2409825" y="3937000"/>
                    <a:ext cx="536575" cy="14288"/>
                  </a:xfrm>
                  <a:custGeom>
                    <a:avLst/>
                    <a:gdLst>
                      <a:gd name="T0" fmla="*/ 190 w 190"/>
                      <a:gd name="T1" fmla="*/ 3 h 5"/>
                      <a:gd name="T2" fmla="*/ 187 w 190"/>
                      <a:gd name="T3" fmla="*/ 5 h 5"/>
                      <a:gd name="T4" fmla="*/ 2 w 190"/>
                      <a:gd name="T5" fmla="*/ 5 h 5"/>
                      <a:gd name="T6" fmla="*/ 0 w 190"/>
                      <a:gd name="T7" fmla="*/ 3 h 5"/>
                      <a:gd name="T8" fmla="*/ 0 w 190"/>
                      <a:gd name="T9" fmla="*/ 3 h 5"/>
                      <a:gd name="T10" fmla="*/ 2 w 190"/>
                      <a:gd name="T11" fmla="*/ 0 h 5"/>
                      <a:gd name="T12" fmla="*/ 187 w 190"/>
                      <a:gd name="T13" fmla="*/ 0 h 5"/>
                      <a:gd name="T14" fmla="*/ 190 w 190"/>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 h="5">
                        <a:moveTo>
                          <a:pt x="190" y="3"/>
                        </a:moveTo>
                        <a:cubicBezTo>
                          <a:pt x="190" y="4"/>
                          <a:pt x="189" y="5"/>
                          <a:pt x="187" y="5"/>
                        </a:cubicBezTo>
                        <a:cubicBezTo>
                          <a:pt x="2" y="5"/>
                          <a:pt x="2" y="5"/>
                          <a:pt x="2" y="5"/>
                        </a:cubicBezTo>
                        <a:cubicBezTo>
                          <a:pt x="1" y="5"/>
                          <a:pt x="0" y="4"/>
                          <a:pt x="0" y="3"/>
                        </a:cubicBezTo>
                        <a:cubicBezTo>
                          <a:pt x="0" y="3"/>
                          <a:pt x="0" y="3"/>
                          <a:pt x="0" y="3"/>
                        </a:cubicBezTo>
                        <a:cubicBezTo>
                          <a:pt x="0" y="1"/>
                          <a:pt x="1" y="0"/>
                          <a:pt x="2" y="0"/>
                        </a:cubicBezTo>
                        <a:cubicBezTo>
                          <a:pt x="187" y="0"/>
                          <a:pt x="187" y="0"/>
                          <a:pt x="187" y="0"/>
                        </a:cubicBezTo>
                        <a:cubicBezTo>
                          <a:pt x="189" y="0"/>
                          <a:pt x="190" y="1"/>
                          <a:pt x="190" y="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214"/>
                  <p:cNvSpPr>
                    <a:spLocks/>
                  </p:cNvSpPr>
                  <p:nvPr/>
                </p:nvSpPr>
                <p:spPr bwMode="auto">
                  <a:xfrm>
                    <a:off x="-2441575" y="3937000"/>
                    <a:ext cx="209550" cy="14288"/>
                  </a:xfrm>
                  <a:custGeom>
                    <a:avLst/>
                    <a:gdLst>
                      <a:gd name="T0" fmla="*/ 72 w 74"/>
                      <a:gd name="T1" fmla="*/ 0 h 5"/>
                      <a:gd name="T2" fmla="*/ 14 w 74"/>
                      <a:gd name="T3" fmla="*/ 0 h 5"/>
                      <a:gd name="T4" fmla="*/ 11 w 74"/>
                      <a:gd name="T5" fmla="*/ 2 h 5"/>
                      <a:gd name="T6" fmla="*/ 9 w 74"/>
                      <a:gd name="T7" fmla="*/ 2 h 5"/>
                      <a:gd name="T8" fmla="*/ 6 w 74"/>
                      <a:gd name="T9" fmla="*/ 0 h 5"/>
                      <a:gd name="T10" fmla="*/ 3 w 74"/>
                      <a:gd name="T11" fmla="*/ 0 h 5"/>
                      <a:gd name="T12" fmla="*/ 0 w 74"/>
                      <a:gd name="T13" fmla="*/ 3 h 5"/>
                      <a:gd name="T14" fmla="*/ 3 w 74"/>
                      <a:gd name="T15" fmla="*/ 5 h 5"/>
                      <a:gd name="T16" fmla="*/ 6 w 74"/>
                      <a:gd name="T17" fmla="*/ 5 h 5"/>
                      <a:gd name="T18" fmla="*/ 9 w 74"/>
                      <a:gd name="T19" fmla="*/ 4 h 5"/>
                      <a:gd name="T20" fmla="*/ 11 w 74"/>
                      <a:gd name="T21" fmla="*/ 4 h 5"/>
                      <a:gd name="T22" fmla="*/ 14 w 74"/>
                      <a:gd name="T23" fmla="*/ 5 h 5"/>
                      <a:gd name="T24" fmla="*/ 72 w 74"/>
                      <a:gd name="T25" fmla="*/ 5 h 5"/>
                      <a:gd name="T26" fmla="*/ 74 w 74"/>
                      <a:gd name="T27" fmla="*/ 3 h 5"/>
                      <a:gd name="T28" fmla="*/ 72 w 74"/>
                      <a:gd name="T2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5">
                        <a:moveTo>
                          <a:pt x="72" y="0"/>
                        </a:moveTo>
                        <a:cubicBezTo>
                          <a:pt x="14" y="0"/>
                          <a:pt x="14" y="0"/>
                          <a:pt x="14" y="0"/>
                        </a:cubicBezTo>
                        <a:cubicBezTo>
                          <a:pt x="12" y="0"/>
                          <a:pt x="11" y="1"/>
                          <a:pt x="11" y="2"/>
                        </a:cubicBezTo>
                        <a:cubicBezTo>
                          <a:pt x="9" y="2"/>
                          <a:pt x="9" y="2"/>
                          <a:pt x="9" y="2"/>
                        </a:cubicBezTo>
                        <a:cubicBezTo>
                          <a:pt x="9" y="1"/>
                          <a:pt x="8" y="0"/>
                          <a:pt x="6" y="0"/>
                        </a:cubicBezTo>
                        <a:cubicBezTo>
                          <a:pt x="3" y="0"/>
                          <a:pt x="3" y="0"/>
                          <a:pt x="3" y="0"/>
                        </a:cubicBezTo>
                        <a:cubicBezTo>
                          <a:pt x="1" y="0"/>
                          <a:pt x="0" y="1"/>
                          <a:pt x="0" y="3"/>
                        </a:cubicBezTo>
                        <a:cubicBezTo>
                          <a:pt x="0" y="4"/>
                          <a:pt x="1" y="5"/>
                          <a:pt x="3" y="5"/>
                        </a:cubicBezTo>
                        <a:cubicBezTo>
                          <a:pt x="6" y="5"/>
                          <a:pt x="6" y="5"/>
                          <a:pt x="6" y="5"/>
                        </a:cubicBezTo>
                        <a:cubicBezTo>
                          <a:pt x="8" y="5"/>
                          <a:pt x="9" y="5"/>
                          <a:pt x="9" y="4"/>
                        </a:cubicBezTo>
                        <a:cubicBezTo>
                          <a:pt x="11" y="4"/>
                          <a:pt x="11" y="4"/>
                          <a:pt x="11" y="4"/>
                        </a:cubicBezTo>
                        <a:cubicBezTo>
                          <a:pt x="11" y="5"/>
                          <a:pt x="12" y="5"/>
                          <a:pt x="14" y="5"/>
                        </a:cubicBezTo>
                        <a:cubicBezTo>
                          <a:pt x="72" y="5"/>
                          <a:pt x="72" y="5"/>
                          <a:pt x="72" y="5"/>
                        </a:cubicBezTo>
                        <a:cubicBezTo>
                          <a:pt x="73" y="5"/>
                          <a:pt x="74" y="4"/>
                          <a:pt x="74" y="3"/>
                        </a:cubicBezTo>
                        <a:cubicBezTo>
                          <a:pt x="74" y="1"/>
                          <a:pt x="73" y="0"/>
                          <a:pt x="72" y="0"/>
                        </a:cubicBezTo>
                        <a:close/>
                      </a:path>
                    </a:pathLst>
                  </a:custGeom>
                  <a:solidFill>
                    <a:srgbClr val="199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205"/>
                  <p:cNvSpPr>
                    <a:spLocks/>
                  </p:cNvSpPr>
                  <p:nvPr/>
                </p:nvSpPr>
                <p:spPr bwMode="auto">
                  <a:xfrm flipV="1">
                    <a:off x="-2124823" y="3800305"/>
                    <a:ext cx="24045" cy="36683"/>
                  </a:xfrm>
                  <a:prstGeom prst="parallelogram">
                    <a:avLst>
                      <a:gd name="adj" fmla="val 38967"/>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207"/>
                  <p:cNvSpPr>
                    <a:spLocks/>
                  </p:cNvSpPr>
                  <p:nvPr/>
                </p:nvSpPr>
                <p:spPr bwMode="auto">
                  <a:xfrm flipV="1">
                    <a:off x="-2418857" y="3800475"/>
                    <a:ext cx="47576" cy="37005"/>
                  </a:xfrm>
                  <a:prstGeom prst="parallelogram">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Freeform 207"/>
                  <p:cNvSpPr>
                    <a:spLocks/>
                  </p:cNvSpPr>
                  <p:nvPr/>
                </p:nvSpPr>
                <p:spPr bwMode="auto">
                  <a:xfrm flipV="1">
                    <a:off x="-2368183" y="3840219"/>
                    <a:ext cx="47458" cy="39632"/>
                  </a:xfrm>
                  <a:prstGeom prst="parallelogram">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207"/>
                  <p:cNvSpPr>
                    <a:spLocks/>
                  </p:cNvSpPr>
                  <p:nvPr/>
                </p:nvSpPr>
                <p:spPr bwMode="auto">
                  <a:xfrm flipV="1">
                    <a:off x="-2409092" y="3840219"/>
                    <a:ext cx="48739" cy="39632"/>
                  </a:xfrm>
                  <a:prstGeom prst="parallelogram">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83" name="Group 182"/>
              <p:cNvGrpSpPr/>
              <p:nvPr/>
            </p:nvGrpSpPr>
            <p:grpSpPr>
              <a:xfrm>
                <a:off x="11255389" y="5147910"/>
                <a:ext cx="754049" cy="614142"/>
                <a:chOff x="3304867" y="5071694"/>
                <a:chExt cx="2228850" cy="1815306"/>
              </a:xfrm>
            </p:grpSpPr>
            <p:sp>
              <p:nvSpPr>
                <p:cNvPr id="176" name="Freeform 83"/>
                <p:cNvSpPr>
                  <a:spLocks/>
                </p:cNvSpPr>
                <p:nvPr/>
              </p:nvSpPr>
              <p:spPr bwMode="auto">
                <a:xfrm flipH="1">
                  <a:off x="3304867" y="5071694"/>
                  <a:ext cx="1835150" cy="1208087"/>
                </a:xfrm>
                <a:custGeom>
                  <a:avLst/>
                  <a:gdLst>
                    <a:gd name="T0" fmla="*/ 208 w 247"/>
                    <a:gd name="T1" fmla="*/ 72 h 163"/>
                    <a:gd name="T2" fmla="*/ 208 w 247"/>
                    <a:gd name="T3" fmla="*/ 69 h 163"/>
                    <a:gd name="T4" fmla="*/ 140 w 247"/>
                    <a:gd name="T5" fmla="*/ 0 h 163"/>
                    <a:gd name="T6" fmla="*/ 83 w 247"/>
                    <a:gd name="T7" fmla="*/ 31 h 163"/>
                    <a:gd name="T8" fmla="*/ 64 w 247"/>
                    <a:gd name="T9" fmla="*/ 26 h 163"/>
                    <a:gd name="T10" fmla="*/ 42 w 247"/>
                    <a:gd name="T11" fmla="*/ 32 h 163"/>
                    <a:gd name="T12" fmla="*/ 24 w 247"/>
                    <a:gd name="T13" fmla="*/ 64 h 163"/>
                    <a:gd name="T14" fmla="*/ 0 w 247"/>
                    <a:gd name="T15" fmla="*/ 109 h 163"/>
                    <a:gd name="T16" fmla="*/ 48 w 247"/>
                    <a:gd name="T17" fmla="*/ 163 h 163"/>
                    <a:gd name="T18" fmla="*/ 54 w 247"/>
                    <a:gd name="T19" fmla="*/ 163 h 163"/>
                    <a:gd name="T20" fmla="*/ 59 w 247"/>
                    <a:gd name="T21" fmla="*/ 163 h 163"/>
                    <a:gd name="T22" fmla="*/ 170 w 247"/>
                    <a:gd name="T23" fmla="*/ 163 h 163"/>
                    <a:gd name="T24" fmla="*/ 173 w 247"/>
                    <a:gd name="T25" fmla="*/ 163 h 163"/>
                    <a:gd name="T26" fmla="*/ 175 w 247"/>
                    <a:gd name="T27" fmla="*/ 163 h 163"/>
                    <a:gd name="T28" fmla="*/ 184 w 247"/>
                    <a:gd name="T29" fmla="*/ 163 h 163"/>
                    <a:gd name="T30" fmla="*/ 201 w 247"/>
                    <a:gd name="T31" fmla="*/ 163 h 163"/>
                    <a:gd name="T32" fmla="*/ 247 w 247"/>
                    <a:gd name="T33" fmla="*/ 117 h 163"/>
                    <a:gd name="T34" fmla="*/ 208 w 247"/>
                    <a:gd name="T35" fmla="*/ 7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7" h="163">
                      <a:moveTo>
                        <a:pt x="208" y="72"/>
                      </a:moveTo>
                      <a:cubicBezTo>
                        <a:pt x="208" y="71"/>
                        <a:pt x="208" y="69"/>
                        <a:pt x="208" y="69"/>
                      </a:cubicBezTo>
                      <a:cubicBezTo>
                        <a:pt x="208" y="31"/>
                        <a:pt x="177" y="0"/>
                        <a:pt x="140" y="0"/>
                      </a:cubicBezTo>
                      <a:cubicBezTo>
                        <a:pt x="116" y="0"/>
                        <a:pt x="95" y="13"/>
                        <a:pt x="83" y="31"/>
                      </a:cubicBezTo>
                      <a:cubicBezTo>
                        <a:pt x="77" y="28"/>
                        <a:pt x="71" y="26"/>
                        <a:pt x="64" y="26"/>
                      </a:cubicBezTo>
                      <a:cubicBezTo>
                        <a:pt x="56" y="26"/>
                        <a:pt x="48" y="28"/>
                        <a:pt x="42" y="32"/>
                      </a:cubicBezTo>
                      <a:cubicBezTo>
                        <a:pt x="32" y="39"/>
                        <a:pt x="25" y="51"/>
                        <a:pt x="24" y="64"/>
                      </a:cubicBezTo>
                      <a:cubicBezTo>
                        <a:pt x="10" y="74"/>
                        <a:pt x="0" y="91"/>
                        <a:pt x="0" y="109"/>
                      </a:cubicBezTo>
                      <a:cubicBezTo>
                        <a:pt x="0" y="137"/>
                        <a:pt x="21" y="160"/>
                        <a:pt x="48" y="163"/>
                      </a:cubicBezTo>
                      <a:cubicBezTo>
                        <a:pt x="49" y="163"/>
                        <a:pt x="52" y="163"/>
                        <a:pt x="54" y="163"/>
                      </a:cubicBezTo>
                      <a:cubicBezTo>
                        <a:pt x="55" y="163"/>
                        <a:pt x="57" y="163"/>
                        <a:pt x="59" y="163"/>
                      </a:cubicBezTo>
                      <a:cubicBezTo>
                        <a:pt x="84" y="163"/>
                        <a:pt x="143" y="163"/>
                        <a:pt x="170" y="163"/>
                      </a:cubicBezTo>
                      <a:cubicBezTo>
                        <a:pt x="171" y="163"/>
                        <a:pt x="172" y="163"/>
                        <a:pt x="173" y="163"/>
                      </a:cubicBezTo>
                      <a:cubicBezTo>
                        <a:pt x="175" y="163"/>
                        <a:pt x="175" y="163"/>
                        <a:pt x="175" y="163"/>
                      </a:cubicBezTo>
                      <a:cubicBezTo>
                        <a:pt x="177" y="163"/>
                        <a:pt x="181" y="163"/>
                        <a:pt x="184" y="163"/>
                      </a:cubicBezTo>
                      <a:cubicBezTo>
                        <a:pt x="201" y="163"/>
                        <a:pt x="201" y="163"/>
                        <a:pt x="201" y="163"/>
                      </a:cubicBezTo>
                      <a:cubicBezTo>
                        <a:pt x="227" y="163"/>
                        <a:pt x="247" y="142"/>
                        <a:pt x="247" y="117"/>
                      </a:cubicBezTo>
                      <a:cubicBezTo>
                        <a:pt x="247" y="94"/>
                        <a:pt x="230" y="75"/>
                        <a:pt x="208" y="72"/>
                      </a:cubicBezTo>
                      <a:close/>
                    </a:path>
                  </a:pathLst>
                </a:custGeom>
                <a:solidFill>
                  <a:schemeClr val="accent6">
                    <a:lumMod val="40000"/>
                    <a:lumOff val="6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77" name="Freeform 84"/>
                <p:cNvSpPr>
                  <a:spLocks/>
                </p:cNvSpPr>
                <p:nvPr/>
              </p:nvSpPr>
              <p:spPr bwMode="auto">
                <a:xfrm flipH="1">
                  <a:off x="5020954" y="5190756"/>
                  <a:ext cx="512763" cy="333375"/>
                </a:xfrm>
                <a:custGeom>
                  <a:avLst/>
                  <a:gdLst>
                    <a:gd name="T0" fmla="*/ 58 w 69"/>
                    <a:gd name="T1" fmla="*/ 20 h 45"/>
                    <a:gd name="T2" fmla="*/ 58 w 69"/>
                    <a:gd name="T3" fmla="*/ 19 h 45"/>
                    <a:gd name="T4" fmla="*/ 39 w 69"/>
                    <a:gd name="T5" fmla="*/ 0 h 45"/>
                    <a:gd name="T6" fmla="*/ 23 w 69"/>
                    <a:gd name="T7" fmla="*/ 9 h 45"/>
                    <a:gd name="T8" fmla="*/ 18 w 69"/>
                    <a:gd name="T9" fmla="*/ 7 h 45"/>
                    <a:gd name="T10" fmla="*/ 12 w 69"/>
                    <a:gd name="T11" fmla="*/ 9 h 45"/>
                    <a:gd name="T12" fmla="*/ 7 w 69"/>
                    <a:gd name="T13" fmla="*/ 18 h 45"/>
                    <a:gd name="T14" fmla="*/ 0 w 69"/>
                    <a:gd name="T15" fmla="*/ 30 h 45"/>
                    <a:gd name="T16" fmla="*/ 13 w 69"/>
                    <a:gd name="T17" fmla="*/ 45 h 45"/>
                    <a:gd name="T18" fmla="*/ 15 w 69"/>
                    <a:gd name="T19" fmla="*/ 45 h 45"/>
                    <a:gd name="T20" fmla="*/ 16 w 69"/>
                    <a:gd name="T21" fmla="*/ 45 h 45"/>
                    <a:gd name="T22" fmla="*/ 47 w 69"/>
                    <a:gd name="T23" fmla="*/ 45 h 45"/>
                    <a:gd name="T24" fmla="*/ 48 w 69"/>
                    <a:gd name="T25" fmla="*/ 45 h 45"/>
                    <a:gd name="T26" fmla="*/ 49 w 69"/>
                    <a:gd name="T27" fmla="*/ 45 h 45"/>
                    <a:gd name="T28" fmla="*/ 51 w 69"/>
                    <a:gd name="T29" fmla="*/ 45 h 45"/>
                    <a:gd name="T30" fmla="*/ 56 w 69"/>
                    <a:gd name="T31" fmla="*/ 45 h 45"/>
                    <a:gd name="T32" fmla="*/ 69 w 69"/>
                    <a:gd name="T33" fmla="*/ 33 h 45"/>
                    <a:gd name="T34" fmla="*/ 58 w 69"/>
                    <a:gd name="T35" fmla="*/ 2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45">
                      <a:moveTo>
                        <a:pt x="58" y="20"/>
                      </a:moveTo>
                      <a:cubicBezTo>
                        <a:pt x="58" y="20"/>
                        <a:pt x="58" y="19"/>
                        <a:pt x="58" y="19"/>
                      </a:cubicBezTo>
                      <a:cubicBezTo>
                        <a:pt x="58" y="9"/>
                        <a:pt x="49" y="0"/>
                        <a:pt x="39" y="0"/>
                      </a:cubicBezTo>
                      <a:cubicBezTo>
                        <a:pt x="32" y="0"/>
                        <a:pt x="26" y="3"/>
                        <a:pt x="23" y="9"/>
                      </a:cubicBezTo>
                      <a:cubicBezTo>
                        <a:pt x="21" y="8"/>
                        <a:pt x="20" y="7"/>
                        <a:pt x="18" y="7"/>
                      </a:cubicBezTo>
                      <a:cubicBezTo>
                        <a:pt x="15" y="7"/>
                        <a:pt x="13" y="8"/>
                        <a:pt x="12" y="9"/>
                      </a:cubicBezTo>
                      <a:cubicBezTo>
                        <a:pt x="9" y="11"/>
                        <a:pt x="7" y="14"/>
                        <a:pt x="7" y="18"/>
                      </a:cubicBezTo>
                      <a:cubicBezTo>
                        <a:pt x="3" y="21"/>
                        <a:pt x="0" y="25"/>
                        <a:pt x="0" y="30"/>
                      </a:cubicBezTo>
                      <a:cubicBezTo>
                        <a:pt x="0" y="38"/>
                        <a:pt x="6" y="45"/>
                        <a:pt x="13" y="45"/>
                      </a:cubicBezTo>
                      <a:cubicBezTo>
                        <a:pt x="14" y="45"/>
                        <a:pt x="14" y="45"/>
                        <a:pt x="15" y="45"/>
                      </a:cubicBezTo>
                      <a:cubicBezTo>
                        <a:pt x="15" y="45"/>
                        <a:pt x="16" y="45"/>
                        <a:pt x="16" y="45"/>
                      </a:cubicBezTo>
                      <a:cubicBezTo>
                        <a:pt x="23" y="45"/>
                        <a:pt x="40" y="45"/>
                        <a:pt x="47" y="45"/>
                      </a:cubicBezTo>
                      <a:cubicBezTo>
                        <a:pt x="48" y="45"/>
                        <a:pt x="48" y="45"/>
                        <a:pt x="48" y="45"/>
                      </a:cubicBezTo>
                      <a:cubicBezTo>
                        <a:pt x="49" y="45"/>
                        <a:pt x="49" y="45"/>
                        <a:pt x="49" y="45"/>
                      </a:cubicBezTo>
                      <a:cubicBezTo>
                        <a:pt x="49" y="45"/>
                        <a:pt x="50" y="45"/>
                        <a:pt x="51" y="45"/>
                      </a:cubicBezTo>
                      <a:cubicBezTo>
                        <a:pt x="56" y="45"/>
                        <a:pt x="56" y="45"/>
                        <a:pt x="56" y="45"/>
                      </a:cubicBezTo>
                      <a:cubicBezTo>
                        <a:pt x="63" y="45"/>
                        <a:pt x="69" y="40"/>
                        <a:pt x="69" y="33"/>
                      </a:cubicBezTo>
                      <a:cubicBezTo>
                        <a:pt x="69" y="26"/>
                        <a:pt x="64" y="21"/>
                        <a:pt x="58" y="20"/>
                      </a:cubicBezTo>
                      <a:close/>
                    </a:path>
                  </a:pathLst>
                </a:custGeom>
                <a:solidFill>
                  <a:schemeClr val="accent6">
                    <a:lumMod val="20000"/>
                    <a:lumOff val="8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nvGrpSpPr>
                <p:cNvPr id="178" name="Group 177"/>
                <p:cNvGrpSpPr/>
                <p:nvPr/>
              </p:nvGrpSpPr>
              <p:grpSpPr>
                <a:xfrm>
                  <a:off x="3825567" y="5569376"/>
                  <a:ext cx="817563" cy="1317624"/>
                  <a:chOff x="7608888" y="1916113"/>
                  <a:chExt cx="817563" cy="1317624"/>
                </a:xfrm>
              </p:grpSpPr>
              <p:sp>
                <p:nvSpPr>
                  <p:cNvPr id="179" name="Freeform 79"/>
                  <p:cNvSpPr>
                    <a:spLocks/>
                  </p:cNvSpPr>
                  <p:nvPr/>
                </p:nvSpPr>
                <p:spPr bwMode="auto">
                  <a:xfrm>
                    <a:off x="7764463" y="1916113"/>
                    <a:ext cx="504825" cy="576262"/>
                  </a:xfrm>
                  <a:custGeom>
                    <a:avLst/>
                    <a:gdLst>
                      <a:gd name="T0" fmla="*/ 68 w 68"/>
                      <a:gd name="T1" fmla="*/ 78 h 78"/>
                      <a:gd name="T2" fmla="*/ 53 w 68"/>
                      <a:gd name="T3" fmla="*/ 78 h 78"/>
                      <a:gd name="T4" fmla="*/ 53 w 68"/>
                      <a:gd name="T5" fmla="*/ 34 h 78"/>
                      <a:gd name="T6" fmla="*/ 34 w 68"/>
                      <a:gd name="T7" fmla="*/ 15 h 78"/>
                      <a:gd name="T8" fmla="*/ 15 w 68"/>
                      <a:gd name="T9" fmla="*/ 34 h 78"/>
                      <a:gd name="T10" fmla="*/ 15 w 68"/>
                      <a:gd name="T11" fmla="*/ 78 h 78"/>
                      <a:gd name="T12" fmla="*/ 0 w 68"/>
                      <a:gd name="T13" fmla="*/ 78 h 78"/>
                      <a:gd name="T14" fmla="*/ 0 w 68"/>
                      <a:gd name="T15" fmla="*/ 34 h 78"/>
                      <a:gd name="T16" fmla="*/ 34 w 68"/>
                      <a:gd name="T17" fmla="*/ 0 h 78"/>
                      <a:gd name="T18" fmla="*/ 68 w 68"/>
                      <a:gd name="T19" fmla="*/ 34 h 78"/>
                      <a:gd name="T20" fmla="*/ 68 w 68"/>
                      <a:gd name="T2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78">
                        <a:moveTo>
                          <a:pt x="68" y="78"/>
                        </a:moveTo>
                        <a:cubicBezTo>
                          <a:pt x="53" y="78"/>
                          <a:pt x="53" y="78"/>
                          <a:pt x="53" y="78"/>
                        </a:cubicBezTo>
                        <a:cubicBezTo>
                          <a:pt x="53" y="34"/>
                          <a:pt x="53" y="34"/>
                          <a:pt x="53" y="34"/>
                        </a:cubicBezTo>
                        <a:cubicBezTo>
                          <a:pt x="53" y="23"/>
                          <a:pt x="44" y="15"/>
                          <a:pt x="34" y="15"/>
                        </a:cubicBezTo>
                        <a:cubicBezTo>
                          <a:pt x="23" y="15"/>
                          <a:pt x="15" y="23"/>
                          <a:pt x="15" y="34"/>
                        </a:cubicBezTo>
                        <a:cubicBezTo>
                          <a:pt x="15" y="78"/>
                          <a:pt x="15" y="78"/>
                          <a:pt x="15" y="78"/>
                        </a:cubicBezTo>
                        <a:cubicBezTo>
                          <a:pt x="0" y="78"/>
                          <a:pt x="0" y="78"/>
                          <a:pt x="0" y="78"/>
                        </a:cubicBezTo>
                        <a:cubicBezTo>
                          <a:pt x="0" y="34"/>
                          <a:pt x="0" y="34"/>
                          <a:pt x="0" y="34"/>
                        </a:cubicBezTo>
                        <a:cubicBezTo>
                          <a:pt x="0" y="15"/>
                          <a:pt x="15" y="0"/>
                          <a:pt x="34" y="0"/>
                        </a:cubicBezTo>
                        <a:cubicBezTo>
                          <a:pt x="53" y="0"/>
                          <a:pt x="68" y="15"/>
                          <a:pt x="68" y="34"/>
                        </a:cubicBezTo>
                        <a:lnTo>
                          <a:pt x="68" y="78"/>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80" name="Rectangle 80"/>
                  <p:cNvSpPr>
                    <a:spLocks noChangeArrowheads="1"/>
                  </p:cNvSpPr>
                  <p:nvPr/>
                </p:nvSpPr>
                <p:spPr bwMode="auto">
                  <a:xfrm>
                    <a:off x="7608888" y="2470150"/>
                    <a:ext cx="817563" cy="763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81" name="Rectangle 81"/>
                  <p:cNvSpPr>
                    <a:spLocks noChangeArrowheads="1"/>
                  </p:cNvSpPr>
                  <p:nvPr/>
                </p:nvSpPr>
                <p:spPr bwMode="auto">
                  <a:xfrm>
                    <a:off x="7608888" y="2470150"/>
                    <a:ext cx="215900" cy="76358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82" name="Freeform 82"/>
                  <p:cNvSpPr>
                    <a:spLocks/>
                  </p:cNvSpPr>
                  <p:nvPr/>
                </p:nvSpPr>
                <p:spPr bwMode="auto">
                  <a:xfrm>
                    <a:off x="7935913" y="2714625"/>
                    <a:ext cx="163513" cy="296862"/>
                  </a:xfrm>
                  <a:custGeom>
                    <a:avLst/>
                    <a:gdLst>
                      <a:gd name="T0" fmla="*/ 22 w 22"/>
                      <a:gd name="T1" fmla="*/ 11 h 40"/>
                      <a:gd name="T2" fmla="*/ 11 w 22"/>
                      <a:gd name="T3" fmla="*/ 0 h 40"/>
                      <a:gd name="T4" fmla="*/ 0 w 22"/>
                      <a:gd name="T5" fmla="*/ 11 h 40"/>
                      <a:gd name="T6" fmla="*/ 7 w 22"/>
                      <a:gd name="T7" fmla="*/ 22 h 40"/>
                      <a:gd name="T8" fmla="*/ 7 w 22"/>
                      <a:gd name="T9" fmla="*/ 40 h 40"/>
                      <a:gd name="T10" fmla="*/ 15 w 22"/>
                      <a:gd name="T11" fmla="*/ 40 h 40"/>
                      <a:gd name="T12" fmla="*/ 15 w 22"/>
                      <a:gd name="T13" fmla="*/ 22 h 40"/>
                      <a:gd name="T14" fmla="*/ 22 w 22"/>
                      <a:gd name="T15" fmla="*/ 11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0">
                        <a:moveTo>
                          <a:pt x="22" y="11"/>
                        </a:moveTo>
                        <a:cubicBezTo>
                          <a:pt x="22" y="5"/>
                          <a:pt x="17" y="0"/>
                          <a:pt x="11" y="0"/>
                        </a:cubicBezTo>
                        <a:cubicBezTo>
                          <a:pt x="5" y="0"/>
                          <a:pt x="0" y="5"/>
                          <a:pt x="0" y="11"/>
                        </a:cubicBezTo>
                        <a:cubicBezTo>
                          <a:pt x="0" y="16"/>
                          <a:pt x="3" y="20"/>
                          <a:pt x="7" y="22"/>
                        </a:cubicBezTo>
                        <a:cubicBezTo>
                          <a:pt x="7" y="40"/>
                          <a:pt x="7" y="40"/>
                          <a:pt x="7" y="40"/>
                        </a:cubicBezTo>
                        <a:cubicBezTo>
                          <a:pt x="15" y="40"/>
                          <a:pt x="15" y="40"/>
                          <a:pt x="15" y="40"/>
                        </a:cubicBezTo>
                        <a:cubicBezTo>
                          <a:pt x="15" y="22"/>
                          <a:pt x="15" y="22"/>
                          <a:pt x="15" y="22"/>
                        </a:cubicBezTo>
                        <a:cubicBezTo>
                          <a:pt x="19" y="20"/>
                          <a:pt x="22" y="16"/>
                          <a:pt x="22"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sp>
            <p:nvSpPr>
              <p:cNvPr id="184" name="Freeform 183"/>
              <p:cNvSpPr/>
              <p:nvPr/>
            </p:nvSpPr>
            <p:spPr>
              <a:xfrm>
                <a:off x="10873945" y="5627647"/>
                <a:ext cx="480365" cy="463238"/>
              </a:xfrm>
              <a:custGeom>
                <a:avLst/>
                <a:gdLst>
                  <a:gd name="connsiteX0" fmla="*/ 147901 w 547492"/>
                  <a:gd name="connsiteY0" fmla="*/ 159 h 547027"/>
                  <a:gd name="connsiteX1" fmla="*/ 164790 w 547492"/>
                  <a:gd name="connsiteY1" fmla="*/ 17385 h 547027"/>
                  <a:gd name="connsiteX2" fmla="*/ 257543 w 547492"/>
                  <a:gd name="connsiteY2" fmla="*/ 261873 h 547027"/>
                  <a:gd name="connsiteX3" fmla="*/ 531263 w 547492"/>
                  <a:gd name="connsiteY3" fmla="*/ 383096 h 547027"/>
                  <a:gd name="connsiteX4" fmla="*/ 533050 w 547492"/>
                  <a:gd name="connsiteY4" fmla="*/ 419093 h 547027"/>
                  <a:gd name="connsiteX5" fmla="*/ 234902 w 547492"/>
                  <a:gd name="connsiteY5" fmla="*/ 291210 h 547027"/>
                  <a:gd name="connsiteX6" fmla="*/ 130118 w 547492"/>
                  <a:gd name="connsiteY6" fmla="*/ 16219 h 547027"/>
                  <a:gd name="connsiteX7" fmla="*/ 147901 w 547492"/>
                  <a:gd name="connsiteY7" fmla="*/ 159 h 547027"/>
                  <a:gd name="connsiteX8" fmla="*/ 258593 w 547492"/>
                  <a:gd name="connsiteY8" fmla="*/ 83 h 547027"/>
                  <a:gd name="connsiteX9" fmla="*/ 276870 w 547492"/>
                  <a:gd name="connsiteY9" fmla="*/ 19473 h 547027"/>
                  <a:gd name="connsiteX10" fmla="*/ 342477 w 547492"/>
                  <a:gd name="connsiteY10" fmla="*/ 185830 h 547027"/>
                  <a:gd name="connsiteX11" fmla="*/ 529533 w 547492"/>
                  <a:gd name="connsiteY11" fmla="*/ 271534 h 547027"/>
                  <a:gd name="connsiteX12" fmla="*/ 529010 w 547492"/>
                  <a:gd name="connsiteY12" fmla="*/ 308769 h 547027"/>
                  <a:gd name="connsiteX13" fmla="*/ 319908 w 547492"/>
                  <a:gd name="connsiteY13" fmla="*/ 218161 h 547027"/>
                  <a:gd name="connsiteX14" fmla="*/ 241025 w 547492"/>
                  <a:gd name="connsiteY14" fmla="*/ 18615 h 547027"/>
                  <a:gd name="connsiteX15" fmla="*/ 258593 w 547492"/>
                  <a:gd name="connsiteY15" fmla="*/ 83 h 547027"/>
                  <a:gd name="connsiteX16" fmla="*/ 18843 w 547492"/>
                  <a:gd name="connsiteY16" fmla="*/ 10 h 547027"/>
                  <a:gd name="connsiteX17" fmla="*/ 37685 w 547492"/>
                  <a:gd name="connsiteY17" fmla="*/ 16302 h 547027"/>
                  <a:gd name="connsiteX18" fmla="*/ 164891 w 547492"/>
                  <a:gd name="connsiteY18" fmla="*/ 345340 h 547027"/>
                  <a:gd name="connsiteX19" fmla="*/ 531167 w 547492"/>
                  <a:gd name="connsiteY19" fmla="*/ 510082 h 547027"/>
                  <a:gd name="connsiteX20" fmla="*/ 528039 w 547492"/>
                  <a:gd name="connsiteY20" fmla="*/ 547022 h 547027"/>
                  <a:gd name="connsiteX21" fmla="*/ 139867 w 547492"/>
                  <a:gd name="connsiteY21" fmla="*/ 375130 h 547027"/>
                  <a:gd name="connsiteX22" fmla="*/ 0 w 547492"/>
                  <a:gd name="connsiteY22" fmla="*/ 15557 h 547027"/>
                  <a:gd name="connsiteX23" fmla="*/ 18843 w 547492"/>
                  <a:gd name="connsiteY23" fmla="*/ 10 h 547027"/>
                  <a:gd name="connsiteX24" fmla="*/ 361357 w 547492"/>
                  <a:gd name="connsiteY24" fmla="*/ 3 h 547027"/>
                  <a:gd name="connsiteX25" fmla="*/ 379427 w 547492"/>
                  <a:gd name="connsiteY25" fmla="*/ 22811 h 547027"/>
                  <a:gd name="connsiteX26" fmla="*/ 416799 w 547492"/>
                  <a:gd name="connsiteY26" fmla="*/ 121134 h 547027"/>
                  <a:gd name="connsiteX27" fmla="*/ 530986 w 547492"/>
                  <a:gd name="connsiteY27" fmla="*/ 167238 h 547027"/>
                  <a:gd name="connsiteX28" fmla="*/ 528863 w 547492"/>
                  <a:gd name="connsiteY28" fmla="*/ 205554 h 547027"/>
                  <a:gd name="connsiteX29" fmla="*/ 395749 w 547492"/>
                  <a:gd name="connsiteY29" fmla="*/ 150171 h 547027"/>
                  <a:gd name="connsiteX30" fmla="*/ 342870 w 547492"/>
                  <a:gd name="connsiteY30" fmla="*/ 38961 h 547027"/>
                  <a:gd name="connsiteX31" fmla="*/ 343296 w 547492"/>
                  <a:gd name="connsiteY31" fmla="*/ 21634 h 547027"/>
                  <a:gd name="connsiteX32" fmla="*/ 361357 w 547492"/>
                  <a:gd name="connsiteY32" fmla="*/ 3 h 54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7492" h="547027">
                    <a:moveTo>
                      <a:pt x="147901" y="159"/>
                    </a:moveTo>
                    <a:cubicBezTo>
                      <a:pt x="156233" y="1247"/>
                      <a:pt x="164417" y="7883"/>
                      <a:pt x="164790" y="17385"/>
                    </a:cubicBezTo>
                    <a:cubicBezTo>
                      <a:pt x="163504" y="123250"/>
                      <a:pt x="210481" y="208637"/>
                      <a:pt x="257543" y="261873"/>
                    </a:cubicBezTo>
                    <a:cubicBezTo>
                      <a:pt x="329801" y="345790"/>
                      <a:pt x="450493" y="385299"/>
                      <a:pt x="531263" y="383096"/>
                    </a:cubicBezTo>
                    <a:cubicBezTo>
                      <a:pt x="554755" y="384136"/>
                      <a:pt x="550415" y="419245"/>
                      <a:pt x="533050" y="419093"/>
                    </a:cubicBezTo>
                    <a:cubicBezTo>
                      <a:pt x="450691" y="419472"/>
                      <a:pt x="338455" y="398909"/>
                      <a:pt x="234902" y="291210"/>
                    </a:cubicBezTo>
                    <a:cubicBezTo>
                      <a:pt x="193363" y="241274"/>
                      <a:pt x="128927" y="167539"/>
                      <a:pt x="130118" y="16219"/>
                    </a:cubicBezTo>
                    <a:cubicBezTo>
                      <a:pt x="131087" y="3530"/>
                      <a:pt x="139569" y="-930"/>
                      <a:pt x="147901" y="159"/>
                    </a:cubicBezTo>
                    <a:close/>
                    <a:moveTo>
                      <a:pt x="258593" y="83"/>
                    </a:moveTo>
                    <a:cubicBezTo>
                      <a:pt x="267391" y="-753"/>
                      <a:pt x="276308" y="4730"/>
                      <a:pt x="276870" y="19473"/>
                    </a:cubicBezTo>
                    <a:cubicBezTo>
                      <a:pt x="277152" y="95057"/>
                      <a:pt x="309784" y="144239"/>
                      <a:pt x="342477" y="185830"/>
                    </a:cubicBezTo>
                    <a:cubicBezTo>
                      <a:pt x="395970" y="243463"/>
                      <a:pt x="472402" y="273156"/>
                      <a:pt x="529533" y="271534"/>
                    </a:cubicBezTo>
                    <a:cubicBezTo>
                      <a:pt x="554491" y="271108"/>
                      <a:pt x="552612" y="307689"/>
                      <a:pt x="529010" y="308769"/>
                    </a:cubicBezTo>
                    <a:cubicBezTo>
                      <a:pt x="463605" y="309049"/>
                      <a:pt x="394346" y="293904"/>
                      <a:pt x="319908" y="218161"/>
                    </a:cubicBezTo>
                    <a:cubicBezTo>
                      <a:pt x="290526" y="181384"/>
                      <a:pt x="240182" y="130058"/>
                      <a:pt x="241025" y="18615"/>
                    </a:cubicBezTo>
                    <a:cubicBezTo>
                      <a:pt x="241115" y="8077"/>
                      <a:pt x="249795" y="920"/>
                      <a:pt x="258593" y="83"/>
                    </a:cubicBezTo>
                    <a:close/>
                    <a:moveTo>
                      <a:pt x="18843" y="10"/>
                    </a:moveTo>
                    <a:cubicBezTo>
                      <a:pt x="28214" y="265"/>
                      <a:pt x="37586" y="5826"/>
                      <a:pt x="37685" y="16302"/>
                    </a:cubicBezTo>
                    <a:cubicBezTo>
                      <a:pt x="35997" y="154729"/>
                      <a:pt x="103125" y="275729"/>
                      <a:pt x="164891" y="345340"/>
                    </a:cubicBezTo>
                    <a:cubicBezTo>
                      <a:pt x="259725" y="455069"/>
                      <a:pt x="425162" y="512962"/>
                      <a:pt x="531167" y="510082"/>
                    </a:cubicBezTo>
                    <a:cubicBezTo>
                      <a:pt x="555744" y="509883"/>
                      <a:pt x="550829" y="547221"/>
                      <a:pt x="528039" y="547022"/>
                    </a:cubicBezTo>
                    <a:cubicBezTo>
                      <a:pt x="419949" y="547519"/>
                      <a:pt x="273429" y="516735"/>
                      <a:pt x="139867" y="375130"/>
                    </a:cubicBezTo>
                    <a:cubicBezTo>
                      <a:pt x="85350" y="312173"/>
                      <a:pt x="0" y="200955"/>
                      <a:pt x="0" y="15557"/>
                    </a:cubicBezTo>
                    <a:cubicBezTo>
                      <a:pt x="99" y="4808"/>
                      <a:pt x="9471" y="-244"/>
                      <a:pt x="18843" y="10"/>
                    </a:cubicBezTo>
                    <a:close/>
                    <a:moveTo>
                      <a:pt x="361357" y="3"/>
                    </a:moveTo>
                    <a:cubicBezTo>
                      <a:pt x="370360" y="-117"/>
                      <a:pt x="379364" y="7170"/>
                      <a:pt x="379427" y="22811"/>
                    </a:cubicBezTo>
                    <a:cubicBezTo>
                      <a:pt x="379608" y="73981"/>
                      <a:pt x="395801" y="92977"/>
                      <a:pt x="416799" y="121134"/>
                    </a:cubicBezTo>
                    <a:cubicBezTo>
                      <a:pt x="452945" y="158363"/>
                      <a:pt x="498462" y="168336"/>
                      <a:pt x="530986" y="167238"/>
                    </a:cubicBezTo>
                    <a:cubicBezTo>
                      <a:pt x="549400" y="166950"/>
                      <a:pt x="557131" y="203036"/>
                      <a:pt x="528863" y="205554"/>
                    </a:cubicBezTo>
                    <a:cubicBezTo>
                      <a:pt x="486854" y="205743"/>
                      <a:pt x="443561" y="201449"/>
                      <a:pt x="395749" y="150171"/>
                    </a:cubicBezTo>
                    <a:cubicBezTo>
                      <a:pt x="351991" y="102452"/>
                      <a:pt x="343809" y="62263"/>
                      <a:pt x="342870" y="38961"/>
                    </a:cubicBezTo>
                    <a:cubicBezTo>
                      <a:pt x="342557" y="31194"/>
                      <a:pt x="343049" y="25303"/>
                      <a:pt x="343296" y="21634"/>
                    </a:cubicBezTo>
                    <a:cubicBezTo>
                      <a:pt x="343354" y="7649"/>
                      <a:pt x="352355" y="122"/>
                      <a:pt x="361357" y="3"/>
                    </a:cubicBezTo>
                    <a:close/>
                  </a:path>
                </a:pathLst>
              </a:custGeom>
              <a:solidFill>
                <a:schemeClr val="accent1">
                  <a:lumMod val="20000"/>
                  <a:lumOff val="8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32316"/>
                <a:endParaRPr lang="en-US" sz="1200" dirty="0">
                  <a:solidFill>
                    <a:srgbClr val="FFFFFF"/>
                  </a:solidFill>
                </a:endParaRPr>
              </a:p>
            </p:txBody>
          </p:sp>
        </p:grpSp>
      </p:grpSp>
      <p:sp>
        <p:nvSpPr>
          <p:cNvPr id="2" name="Slide Number Placeholder 1"/>
          <p:cNvSpPr>
            <a:spLocks noGrp="1"/>
          </p:cNvSpPr>
          <p:nvPr>
            <p:ph type="sldNum" sz="quarter" idx="11"/>
          </p:nvPr>
        </p:nvSpPr>
        <p:spPr/>
        <p:txBody>
          <a:bodyPr/>
          <a:lstStyle/>
          <a:p>
            <a:fld id="{27258FFF-F925-446B-8502-81C933981705}" type="slidenum">
              <a:rPr lang="en-US" smtClean="0"/>
              <a:pPr/>
              <a:t>11</a:t>
            </a:fld>
            <a:endParaRPr lang="en-US" dirty="0"/>
          </a:p>
        </p:txBody>
      </p:sp>
      <p:grpSp>
        <p:nvGrpSpPr>
          <p:cNvPr id="185" name="Group 184"/>
          <p:cNvGrpSpPr/>
          <p:nvPr/>
        </p:nvGrpSpPr>
        <p:grpSpPr>
          <a:xfrm>
            <a:off x="11070579" y="297389"/>
            <a:ext cx="932340" cy="913874"/>
            <a:chOff x="11070579" y="297389"/>
            <a:chExt cx="932340" cy="913874"/>
          </a:xfrm>
        </p:grpSpPr>
        <p:sp>
          <p:nvSpPr>
            <p:cNvPr id="186" name="Rectangle 185"/>
            <p:cNvSpPr/>
            <p:nvPr/>
          </p:nvSpPr>
          <p:spPr bwMode="auto">
            <a:xfrm>
              <a:off x="11070579" y="297389"/>
              <a:ext cx="932340" cy="913874"/>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p>
              <a:pPr algn="l" defTabSz="932563" fontAlgn="auto">
                <a:spcAft>
                  <a:spcPts val="587"/>
                </a:spcAft>
              </a:pPr>
              <a:endParaRPr lang="en-US" sz="2200" dirty="0">
                <a:solidFill>
                  <a:schemeClr val="bg1"/>
                </a:solidFill>
                <a:latin typeface="+mj-lt"/>
                <a:cs typeface="Segoe UI Semibold" panose="020B0702040204020203" pitchFamily="34" charset="0"/>
              </a:endParaRPr>
            </a:p>
          </p:txBody>
        </p:sp>
        <p:sp>
          <p:nvSpPr>
            <p:cNvPr id="187" name="Rectangle 186"/>
            <p:cNvSpPr/>
            <p:nvPr/>
          </p:nvSpPr>
          <p:spPr>
            <a:xfrm>
              <a:off x="11070579" y="1137623"/>
              <a:ext cx="932340" cy="73640"/>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sp>
          <p:nvSpPr>
            <p:cNvPr id="188" name="Freeform 187"/>
            <p:cNvSpPr>
              <a:spLocks noChangeAspect="1" noEditPoints="1"/>
            </p:cNvSpPr>
            <p:nvPr/>
          </p:nvSpPr>
          <p:spPr bwMode="auto">
            <a:xfrm>
              <a:off x="11329733" y="456084"/>
              <a:ext cx="414032" cy="596484"/>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alpha val="22000"/>
              </a:schemeClr>
            </a:solidFill>
            <a:ln w="0">
              <a:noFill/>
              <a:prstDash val="solid"/>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grpSp>
    </p:spTree>
    <p:extLst>
      <p:ext uri="{BB962C8B-B14F-4D97-AF65-F5344CB8AC3E}">
        <p14:creationId xmlns:p14="http://schemas.microsoft.com/office/powerpoint/2010/main" val="339667315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75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1250"/>
                            </p:stCondLst>
                            <p:childTnLst>
                              <p:par>
                                <p:cTn id="9" presetID="2" presetClass="entr" presetSubtype="4"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750" fill="hold"/>
                                        <p:tgtEl>
                                          <p:spTgt spid="10"/>
                                        </p:tgtEl>
                                        <p:attrNameLst>
                                          <p:attrName>ppt_x</p:attrName>
                                        </p:attrNameLst>
                                      </p:cBhvr>
                                      <p:tavLst>
                                        <p:tav tm="0">
                                          <p:val>
                                            <p:strVal val="#ppt_x"/>
                                          </p:val>
                                        </p:tav>
                                        <p:tav tm="100000">
                                          <p:val>
                                            <p:strVal val="#ppt_x"/>
                                          </p:val>
                                        </p:tav>
                                      </p:tavLst>
                                    </p:anim>
                                    <p:anim calcmode="lin" valueType="num">
                                      <p:cBhvr additive="base">
                                        <p:cTn id="12" dur="75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250"/>
                                  </p:stCondLst>
                                  <p:childTnLst>
                                    <p:set>
                                      <p:cBhvr>
                                        <p:cTn id="14" dur="1" fill="hold">
                                          <p:stCondLst>
                                            <p:cond delay="0"/>
                                          </p:stCondLst>
                                        </p:cTn>
                                        <p:tgtEl>
                                          <p:spTgt spid="193"/>
                                        </p:tgtEl>
                                        <p:attrNameLst>
                                          <p:attrName>style.visibility</p:attrName>
                                        </p:attrNameLst>
                                      </p:cBhvr>
                                      <p:to>
                                        <p:strVal val="visible"/>
                                      </p:to>
                                    </p:set>
                                    <p:anim calcmode="lin" valueType="num">
                                      <p:cBhvr additive="base">
                                        <p:cTn id="15" dur="750" fill="hold"/>
                                        <p:tgtEl>
                                          <p:spTgt spid="193"/>
                                        </p:tgtEl>
                                        <p:attrNameLst>
                                          <p:attrName>ppt_x</p:attrName>
                                        </p:attrNameLst>
                                      </p:cBhvr>
                                      <p:tavLst>
                                        <p:tav tm="0">
                                          <p:val>
                                            <p:strVal val="#ppt_x"/>
                                          </p:val>
                                        </p:tav>
                                        <p:tav tm="100000">
                                          <p:val>
                                            <p:strVal val="#ppt_x"/>
                                          </p:val>
                                        </p:tav>
                                      </p:tavLst>
                                    </p:anim>
                                    <p:anim calcmode="lin" valueType="num">
                                      <p:cBhvr additive="base">
                                        <p:cTn id="16" dur="750" fill="hold"/>
                                        <p:tgtEl>
                                          <p:spTgt spid="193"/>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500"/>
                                  </p:stCondLst>
                                  <p:childTnLst>
                                    <p:set>
                                      <p:cBhvr>
                                        <p:cTn id="18" dur="1" fill="hold">
                                          <p:stCondLst>
                                            <p:cond delay="0"/>
                                          </p:stCondLst>
                                        </p:cTn>
                                        <p:tgtEl>
                                          <p:spTgt spid="194"/>
                                        </p:tgtEl>
                                        <p:attrNameLst>
                                          <p:attrName>style.visibility</p:attrName>
                                        </p:attrNameLst>
                                      </p:cBhvr>
                                      <p:to>
                                        <p:strVal val="visible"/>
                                      </p:to>
                                    </p:set>
                                    <p:anim calcmode="lin" valueType="num">
                                      <p:cBhvr additive="base">
                                        <p:cTn id="19" dur="750" fill="hold"/>
                                        <p:tgtEl>
                                          <p:spTgt spid="194"/>
                                        </p:tgtEl>
                                        <p:attrNameLst>
                                          <p:attrName>ppt_x</p:attrName>
                                        </p:attrNameLst>
                                      </p:cBhvr>
                                      <p:tavLst>
                                        <p:tav tm="0">
                                          <p:val>
                                            <p:strVal val="#ppt_x"/>
                                          </p:val>
                                        </p:tav>
                                        <p:tav tm="100000">
                                          <p:val>
                                            <p:strVal val="#ppt_x"/>
                                          </p:val>
                                        </p:tav>
                                      </p:tavLst>
                                    </p:anim>
                                    <p:anim calcmode="lin" valueType="num">
                                      <p:cBhvr additive="base">
                                        <p:cTn id="20" dur="750" fill="hold"/>
                                        <p:tgtEl>
                                          <p:spTgt spid="194"/>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750"/>
                                  </p:stCondLst>
                                  <p:childTnLst>
                                    <p:set>
                                      <p:cBhvr>
                                        <p:cTn id="22" dur="1" fill="hold">
                                          <p:stCondLst>
                                            <p:cond delay="0"/>
                                          </p:stCondLst>
                                        </p:cTn>
                                        <p:tgtEl>
                                          <p:spTgt spid="195"/>
                                        </p:tgtEl>
                                        <p:attrNameLst>
                                          <p:attrName>style.visibility</p:attrName>
                                        </p:attrNameLst>
                                      </p:cBhvr>
                                      <p:to>
                                        <p:strVal val="visible"/>
                                      </p:to>
                                    </p:set>
                                    <p:anim calcmode="lin" valueType="num">
                                      <p:cBhvr additive="base">
                                        <p:cTn id="23" dur="750" fill="hold"/>
                                        <p:tgtEl>
                                          <p:spTgt spid="195"/>
                                        </p:tgtEl>
                                        <p:attrNameLst>
                                          <p:attrName>ppt_x</p:attrName>
                                        </p:attrNameLst>
                                      </p:cBhvr>
                                      <p:tavLst>
                                        <p:tav tm="0">
                                          <p:val>
                                            <p:strVal val="#ppt_x"/>
                                          </p:val>
                                        </p:tav>
                                        <p:tav tm="100000">
                                          <p:val>
                                            <p:strVal val="#ppt_x"/>
                                          </p:val>
                                        </p:tav>
                                      </p:tavLst>
                                    </p:anim>
                                    <p:anim calcmode="lin" valueType="num">
                                      <p:cBhvr additive="base">
                                        <p:cTn id="24" dur="750" fill="hold"/>
                                        <p:tgtEl>
                                          <p:spTgt spid="195"/>
                                        </p:tgtEl>
                                        <p:attrNameLst>
                                          <p:attrName>ppt_y</p:attrName>
                                        </p:attrNameLst>
                                      </p:cBhvr>
                                      <p:tavLst>
                                        <p:tav tm="0">
                                          <p:val>
                                            <p:strVal val="1+#ppt_h/2"/>
                                          </p:val>
                                        </p:tav>
                                        <p:tav tm="100000">
                                          <p:val>
                                            <p:strVal val="#ppt_y"/>
                                          </p:val>
                                        </p:tav>
                                      </p:tavLst>
                                    </p:anim>
                                  </p:childTnLst>
                                </p:cTn>
                              </p:par>
                            </p:childTnLst>
                          </p:cTn>
                        </p:par>
                        <p:par>
                          <p:cTn id="25" fill="hold">
                            <p:stCondLst>
                              <p:cond delay="2750"/>
                            </p:stCondLst>
                            <p:childTnLst>
                              <p:par>
                                <p:cTn id="26" presetID="2" presetClass="entr" presetSubtype="4" decel="100000" fill="hold" nodeType="afterEffect">
                                  <p:stCondLst>
                                    <p:cond delay="0"/>
                                  </p:stCondLst>
                                  <p:childTnLst>
                                    <p:set>
                                      <p:cBhvr>
                                        <p:cTn id="27" dur="1" fill="hold">
                                          <p:stCondLst>
                                            <p:cond delay="0"/>
                                          </p:stCondLst>
                                        </p:cTn>
                                        <p:tgtEl>
                                          <p:spTgt spid="57"/>
                                        </p:tgtEl>
                                        <p:attrNameLst>
                                          <p:attrName>style.visibility</p:attrName>
                                        </p:attrNameLst>
                                      </p:cBhvr>
                                      <p:to>
                                        <p:strVal val="visible"/>
                                      </p:to>
                                    </p:set>
                                    <p:anim calcmode="lin" valueType="num">
                                      <p:cBhvr additive="base">
                                        <p:cTn id="28" dur="750" fill="hold"/>
                                        <p:tgtEl>
                                          <p:spTgt spid="57"/>
                                        </p:tgtEl>
                                        <p:attrNameLst>
                                          <p:attrName>ppt_x</p:attrName>
                                        </p:attrNameLst>
                                      </p:cBhvr>
                                      <p:tavLst>
                                        <p:tav tm="0">
                                          <p:val>
                                            <p:strVal val="#ppt_x"/>
                                          </p:val>
                                        </p:tav>
                                        <p:tav tm="100000">
                                          <p:val>
                                            <p:strVal val="#ppt_x"/>
                                          </p:val>
                                        </p:tav>
                                      </p:tavLst>
                                    </p:anim>
                                    <p:anim calcmode="lin" valueType="num">
                                      <p:cBhvr additive="base">
                                        <p:cTn id="29" dur="750" fill="hold"/>
                                        <p:tgtEl>
                                          <p:spTgt spid="5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374590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8534"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IN" dirty="0" smtClean="0"/>
              <a:t>Identity &amp; access control</a:t>
            </a:r>
            <a:endParaRPr lang="en-IN" dirty="0"/>
          </a:p>
        </p:txBody>
      </p:sp>
      <p:sp>
        <p:nvSpPr>
          <p:cNvPr id="217" name="Text Placeholder 30"/>
          <p:cNvSpPr txBox="1">
            <a:spLocks/>
          </p:cNvSpPr>
          <p:nvPr/>
        </p:nvSpPr>
        <p:spPr>
          <a:xfrm>
            <a:off x="594181" y="1517549"/>
            <a:ext cx="11271822" cy="400110"/>
          </a:xfrm>
          <a:prstGeom prst="rect">
            <a:avLst/>
          </a:prstGeom>
        </p:spPr>
        <p:txBody>
          <a:bodyPr vert="horz" wrap="square" lIns="0" tIns="0" rIns="0" bIns="0" rtlCol="0" anchor="ct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nSpc>
                <a:spcPct val="100000"/>
              </a:lnSpc>
              <a:spcBef>
                <a:spcPts val="0"/>
              </a:spcBef>
              <a:buNone/>
            </a:pPr>
            <a:r>
              <a:rPr lang="en-IN" sz="2600" dirty="0">
                <a:solidFill>
                  <a:schemeClr val="tx2"/>
                </a:solidFill>
              </a:rPr>
              <a:t>Azure enables customers </a:t>
            </a:r>
            <a:r>
              <a:rPr lang="en-IN" sz="2600" dirty="0" smtClean="0">
                <a:solidFill>
                  <a:schemeClr val="tx2"/>
                </a:solidFill>
              </a:rPr>
              <a:t>to better control </a:t>
            </a:r>
            <a:r>
              <a:rPr lang="en-IN" sz="2600" dirty="0">
                <a:solidFill>
                  <a:schemeClr val="tx2"/>
                </a:solidFill>
              </a:rPr>
              <a:t>access </a:t>
            </a:r>
            <a:r>
              <a:rPr lang="en-IN" sz="2600" dirty="0" smtClean="0">
                <a:solidFill>
                  <a:schemeClr val="tx2"/>
                </a:solidFill>
              </a:rPr>
              <a:t>in a multi-tenant environment</a:t>
            </a:r>
            <a:endParaRPr lang="en-IN" sz="2600" dirty="0">
              <a:solidFill>
                <a:schemeClr val="tx2"/>
              </a:solidFill>
            </a:endParaRPr>
          </a:p>
        </p:txBody>
      </p:sp>
      <p:grpSp>
        <p:nvGrpSpPr>
          <p:cNvPr id="25" name="Group 24"/>
          <p:cNvGrpSpPr/>
          <p:nvPr/>
        </p:nvGrpSpPr>
        <p:grpSpPr>
          <a:xfrm>
            <a:off x="0" y="2745599"/>
            <a:ext cx="12436475" cy="4248926"/>
            <a:chOff x="0" y="2745599"/>
            <a:chExt cx="12436475" cy="4248926"/>
          </a:xfrm>
        </p:grpSpPr>
        <p:grpSp>
          <p:nvGrpSpPr>
            <p:cNvPr id="211" name="Group 210"/>
            <p:cNvGrpSpPr/>
            <p:nvPr/>
          </p:nvGrpSpPr>
          <p:grpSpPr>
            <a:xfrm>
              <a:off x="9580213" y="2745599"/>
              <a:ext cx="2856262" cy="4178388"/>
              <a:chOff x="1977331" y="477662"/>
              <a:chExt cx="4128276" cy="6039201"/>
            </a:xfrm>
          </p:grpSpPr>
          <p:sp>
            <p:nvSpPr>
              <p:cNvPr id="62" name="Freeform 118"/>
              <p:cNvSpPr>
                <a:spLocks/>
              </p:cNvSpPr>
              <p:nvPr/>
            </p:nvSpPr>
            <p:spPr bwMode="auto">
              <a:xfrm flipH="1">
                <a:off x="2926897" y="477662"/>
                <a:ext cx="2430762" cy="1597789"/>
              </a:xfrm>
              <a:custGeom>
                <a:avLst/>
                <a:gdLst>
                  <a:gd name="T0" fmla="*/ 132 w 157"/>
                  <a:gd name="T1" fmla="*/ 45 h 103"/>
                  <a:gd name="T2" fmla="*/ 132 w 157"/>
                  <a:gd name="T3" fmla="*/ 43 h 103"/>
                  <a:gd name="T4" fmla="*/ 88 w 157"/>
                  <a:gd name="T5" fmla="*/ 0 h 103"/>
                  <a:gd name="T6" fmla="*/ 52 w 157"/>
                  <a:gd name="T7" fmla="*/ 19 h 103"/>
                  <a:gd name="T8" fmla="*/ 41 w 157"/>
                  <a:gd name="T9" fmla="*/ 16 h 103"/>
                  <a:gd name="T10" fmla="*/ 27 w 157"/>
                  <a:gd name="T11" fmla="*/ 20 h 103"/>
                  <a:gd name="T12" fmla="*/ 15 w 157"/>
                  <a:gd name="T13" fmla="*/ 40 h 103"/>
                  <a:gd name="T14" fmla="*/ 0 w 157"/>
                  <a:gd name="T15" fmla="*/ 69 h 103"/>
                  <a:gd name="T16" fmla="*/ 30 w 157"/>
                  <a:gd name="T17" fmla="*/ 103 h 103"/>
                  <a:gd name="T18" fmla="*/ 34 w 157"/>
                  <a:gd name="T19" fmla="*/ 103 h 103"/>
                  <a:gd name="T20" fmla="*/ 37 w 157"/>
                  <a:gd name="T21" fmla="*/ 103 h 103"/>
                  <a:gd name="T22" fmla="*/ 108 w 157"/>
                  <a:gd name="T23" fmla="*/ 103 h 103"/>
                  <a:gd name="T24" fmla="*/ 109 w 157"/>
                  <a:gd name="T25" fmla="*/ 103 h 103"/>
                  <a:gd name="T26" fmla="*/ 111 w 157"/>
                  <a:gd name="T27" fmla="*/ 103 h 103"/>
                  <a:gd name="T28" fmla="*/ 116 w 157"/>
                  <a:gd name="T29" fmla="*/ 103 h 103"/>
                  <a:gd name="T30" fmla="*/ 128 w 157"/>
                  <a:gd name="T31" fmla="*/ 103 h 103"/>
                  <a:gd name="T32" fmla="*/ 157 w 157"/>
                  <a:gd name="T33" fmla="*/ 74 h 103"/>
                  <a:gd name="T34" fmla="*/ 132 w 157"/>
                  <a:gd name="T35" fmla="*/ 4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103">
                    <a:moveTo>
                      <a:pt x="132" y="45"/>
                    </a:moveTo>
                    <a:cubicBezTo>
                      <a:pt x="132" y="44"/>
                      <a:pt x="132" y="44"/>
                      <a:pt x="132" y="43"/>
                    </a:cubicBezTo>
                    <a:cubicBezTo>
                      <a:pt x="132" y="19"/>
                      <a:pt x="112" y="0"/>
                      <a:pt x="88" y="0"/>
                    </a:cubicBezTo>
                    <a:cubicBezTo>
                      <a:pt x="73" y="0"/>
                      <a:pt x="60" y="8"/>
                      <a:pt x="52" y="19"/>
                    </a:cubicBezTo>
                    <a:cubicBezTo>
                      <a:pt x="49" y="17"/>
                      <a:pt x="45" y="16"/>
                      <a:pt x="41" y="16"/>
                    </a:cubicBezTo>
                    <a:cubicBezTo>
                      <a:pt x="35" y="16"/>
                      <a:pt x="31" y="18"/>
                      <a:pt x="27" y="20"/>
                    </a:cubicBezTo>
                    <a:cubicBezTo>
                      <a:pt x="20" y="25"/>
                      <a:pt x="16" y="32"/>
                      <a:pt x="15" y="40"/>
                    </a:cubicBezTo>
                    <a:cubicBezTo>
                      <a:pt x="6" y="46"/>
                      <a:pt x="0" y="57"/>
                      <a:pt x="0" y="69"/>
                    </a:cubicBezTo>
                    <a:cubicBezTo>
                      <a:pt x="0" y="87"/>
                      <a:pt x="13" y="101"/>
                      <a:pt x="30" y="103"/>
                    </a:cubicBezTo>
                    <a:cubicBezTo>
                      <a:pt x="31" y="103"/>
                      <a:pt x="33" y="103"/>
                      <a:pt x="34" y="103"/>
                    </a:cubicBezTo>
                    <a:cubicBezTo>
                      <a:pt x="35" y="103"/>
                      <a:pt x="36" y="103"/>
                      <a:pt x="37" y="103"/>
                    </a:cubicBezTo>
                    <a:cubicBezTo>
                      <a:pt x="53" y="103"/>
                      <a:pt x="90" y="103"/>
                      <a:pt x="108" y="103"/>
                    </a:cubicBezTo>
                    <a:cubicBezTo>
                      <a:pt x="109" y="103"/>
                      <a:pt x="109" y="103"/>
                      <a:pt x="109" y="103"/>
                    </a:cubicBezTo>
                    <a:cubicBezTo>
                      <a:pt x="111" y="103"/>
                      <a:pt x="111" y="103"/>
                      <a:pt x="111" y="103"/>
                    </a:cubicBezTo>
                    <a:cubicBezTo>
                      <a:pt x="112" y="103"/>
                      <a:pt x="115" y="103"/>
                      <a:pt x="116" y="103"/>
                    </a:cubicBezTo>
                    <a:cubicBezTo>
                      <a:pt x="128" y="103"/>
                      <a:pt x="128" y="103"/>
                      <a:pt x="128" y="103"/>
                    </a:cubicBezTo>
                    <a:cubicBezTo>
                      <a:pt x="144" y="103"/>
                      <a:pt x="157" y="90"/>
                      <a:pt x="157" y="74"/>
                    </a:cubicBezTo>
                    <a:cubicBezTo>
                      <a:pt x="157" y="59"/>
                      <a:pt x="146" y="47"/>
                      <a:pt x="132" y="45"/>
                    </a:cubicBezTo>
                    <a:close/>
                  </a:path>
                </a:pathLst>
              </a:custGeom>
              <a:solidFill>
                <a:schemeClr val="accent6">
                  <a:lumMod val="40000"/>
                  <a:lumOff val="6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nvGrpSpPr>
              <p:cNvPr id="63" name="Group 62"/>
              <p:cNvGrpSpPr/>
              <p:nvPr/>
            </p:nvGrpSpPr>
            <p:grpSpPr>
              <a:xfrm flipH="1">
                <a:off x="5094208" y="4056192"/>
                <a:ext cx="218262" cy="918885"/>
                <a:chOff x="6437822" y="1926236"/>
                <a:chExt cx="238124" cy="1002506"/>
              </a:xfrm>
              <a:solidFill>
                <a:srgbClr val="AB0086"/>
              </a:solidFill>
            </p:grpSpPr>
            <p:sp>
              <p:nvSpPr>
                <p:cNvPr id="64" name="Rounded Rectangle 63"/>
                <p:cNvSpPr/>
                <p:nvPr/>
              </p:nvSpPr>
              <p:spPr bwMode="auto">
                <a:xfrm>
                  <a:off x="6552349" y="2757292"/>
                  <a:ext cx="106928" cy="171450"/>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5" name="Freeform 64"/>
                <p:cNvSpPr/>
                <p:nvPr/>
              </p:nvSpPr>
              <p:spPr bwMode="auto">
                <a:xfrm>
                  <a:off x="6437822" y="1926236"/>
                  <a:ext cx="238124" cy="895350"/>
                </a:xfrm>
                <a:custGeom>
                  <a:avLst/>
                  <a:gdLst>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33338 w 238125"/>
                    <a:gd name="connsiteY0" fmla="*/ 0 h 895350"/>
                    <a:gd name="connsiteX1" fmla="*/ 238125 w 238125"/>
                    <a:gd name="connsiteY1" fmla="*/ 895350 h 895350"/>
                    <a:gd name="connsiteX2" fmla="*/ 109537 w 238125"/>
                    <a:gd name="connsiteY2" fmla="*/ 895350 h 895350"/>
                    <a:gd name="connsiteX3" fmla="*/ 0 w 238125"/>
                    <a:gd name="connsiteY3" fmla="*/ 423863 h 895350"/>
                    <a:gd name="connsiteX4" fmla="*/ 33338 w 238125"/>
                    <a:gd name="connsiteY4" fmla="*/ 0 h 895350"/>
                    <a:gd name="connsiteX0" fmla="*/ 9525 w 214312"/>
                    <a:gd name="connsiteY0" fmla="*/ 0 h 895350"/>
                    <a:gd name="connsiteX1" fmla="*/ 214312 w 214312"/>
                    <a:gd name="connsiteY1" fmla="*/ 895350 h 895350"/>
                    <a:gd name="connsiteX2" fmla="*/ 85724 w 214312"/>
                    <a:gd name="connsiteY2" fmla="*/ 895350 h 895350"/>
                    <a:gd name="connsiteX3" fmla="*/ 0 w 214312"/>
                    <a:gd name="connsiteY3" fmla="*/ 350045 h 895350"/>
                    <a:gd name="connsiteX4" fmla="*/ 9525 w 214312"/>
                    <a:gd name="connsiteY4" fmla="*/ 0 h 895350"/>
                    <a:gd name="connsiteX0" fmla="*/ 33337 w 238124"/>
                    <a:gd name="connsiteY0" fmla="*/ 0 h 895350"/>
                    <a:gd name="connsiteX1" fmla="*/ 238124 w 238124"/>
                    <a:gd name="connsiteY1" fmla="*/ 895350 h 895350"/>
                    <a:gd name="connsiteX2" fmla="*/ 109536 w 238124"/>
                    <a:gd name="connsiteY2" fmla="*/ 895350 h 895350"/>
                    <a:gd name="connsiteX3" fmla="*/ 0 w 238124"/>
                    <a:gd name="connsiteY3" fmla="*/ 350045 h 895350"/>
                    <a:gd name="connsiteX4" fmla="*/ 33337 w 238124"/>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4" h="895350">
                      <a:moveTo>
                        <a:pt x="33337" y="0"/>
                      </a:moveTo>
                      <a:cubicBezTo>
                        <a:pt x="129381" y="253999"/>
                        <a:pt x="215899" y="558007"/>
                        <a:pt x="238124" y="895350"/>
                      </a:cubicBezTo>
                      <a:lnTo>
                        <a:pt x="109536" y="895350"/>
                      </a:lnTo>
                      <a:cubicBezTo>
                        <a:pt x="94456" y="776289"/>
                        <a:pt x="74612" y="504826"/>
                        <a:pt x="0" y="350045"/>
                      </a:cubicBezTo>
                      <a:lnTo>
                        <a:pt x="33337"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66" name="Freeform 65"/>
              <p:cNvSpPr/>
              <p:nvPr/>
            </p:nvSpPr>
            <p:spPr bwMode="auto">
              <a:xfrm flipH="1">
                <a:off x="5276327" y="4857655"/>
                <a:ext cx="481433" cy="1049403"/>
              </a:xfrm>
              <a:custGeom>
                <a:avLst/>
                <a:gdLst>
                  <a:gd name="connsiteX0" fmla="*/ 525245 w 525245"/>
                  <a:gd name="connsiteY0" fmla="*/ 0 h 1144902"/>
                  <a:gd name="connsiteX1" fmla="*/ 312606 w 525245"/>
                  <a:gd name="connsiteY1" fmla="*/ 0 h 1144902"/>
                  <a:gd name="connsiteX2" fmla="*/ 312606 w 525245"/>
                  <a:gd name="connsiteY2" fmla="*/ 33054 h 1144902"/>
                  <a:gd name="connsiteX3" fmla="*/ 198983 w 525245"/>
                  <a:gd name="connsiteY3" fmla="*/ 33054 h 1144902"/>
                  <a:gd name="connsiteX4" fmla="*/ 198983 w 525245"/>
                  <a:gd name="connsiteY4" fmla="*/ 0 h 1144902"/>
                  <a:gd name="connsiteX5" fmla="*/ 0 w 525245"/>
                  <a:gd name="connsiteY5" fmla="*/ 0 h 1144902"/>
                  <a:gd name="connsiteX6" fmla="*/ 0 w 525245"/>
                  <a:gd name="connsiteY6" fmla="*/ 45719 h 1144902"/>
                  <a:gd name="connsiteX7" fmla="*/ 20739 w 525245"/>
                  <a:gd name="connsiteY7" fmla="*/ 45719 h 1144902"/>
                  <a:gd name="connsiteX8" fmla="*/ 73857 w 525245"/>
                  <a:gd name="connsiteY8" fmla="*/ 1144902 h 1144902"/>
                  <a:gd name="connsiteX9" fmla="*/ 223876 w 525245"/>
                  <a:gd name="connsiteY9" fmla="*/ 1142521 h 1144902"/>
                  <a:gd name="connsiteX10" fmla="*/ 263646 w 525245"/>
                  <a:gd name="connsiteY10" fmla="*/ 218443 h 1144902"/>
                  <a:gd name="connsiteX11" fmla="*/ 267345 w 525245"/>
                  <a:gd name="connsiteY11" fmla="*/ 217759 h 1144902"/>
                  <a:gd name="connsiteX12" fmla="*/ 302458 w 525245"/>
                  <a:gd name="connsiteY12" fmla="*/ 1135377 h 1144902"/>
                  <a:gd name="connsiteX13" fmla="*/ 454857 w 525245"/>
                  <a:gd name="connsiteY13" fmla="*/ 1132996 h 1144902"/>
                  <a:gd name="connsiteX14" fmla="*/ 500546 w 525245"/>
                  <a:gd name="connsiteY14" fmla="*/ 45719 h 1144902"/>
                  <a:gd name="connsiteX15" fmla="*/ 525245 w 525245"/>
                  <a:gd name="connsiteY15" fmla="*/ 45719 h 114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5245" h="1144902">
                    <a:moveTo>
                      <a:pt x="525245" y="0"/>
                    </a:moveTo>
                    <a:lnTo>
                      <a:pt x="312606" y="0"/>
                    </a:lnTo>
                    <a:lnTo>
                      <a:pt x="312606" y="33054"/>
                    </a:lnTo>
                    <a:lnTo>
                      <a:pt x="198983" y="33054"/>
                    </a:lnTo>
                    <a:lnTo>
                      <a:pt x="198983" y="0"/>
                    </a:lnTo>
                    <a:lnTo>
                      <a:pt x="0" y="0"/>
                    </a:lnTo>
                    <a:lnTo>
                      <a:pt x="0" y="45719"/>
                    </a:lnTo>
                    <a:lnTo>
                      <a:pt x="20739" y="45719"/>
                    </a:lnTo>
                    <a:lnTo>
                      <a:pt x="73857" y="1144902"/>
                    </a:lnTo>
                    <a:cubicBezTo>
                      <a:pt x="126244" y="1144902"/>
                      <a:pt x="171489" y="1142521"/>
                      <a:pt x="223876" y="1142521"/>
                    </a:cubicBezTo>
                    <a:lnTo>
                      <a:pt x="263646" y="218443"/>
                    </a:lnTo>
                    <a:lnTo>
                      <a:pt x="267345" y="217759"/>
                    </a:lnTo>
                    <a:lnTo>
                      <a:pt x="302458" y="1135377"/>
                    </a:lnTo>
                    <a:lnTo>
                      <a:pt x="454857" y="1132996"/>
                    </a:lnTo>
                    <a:lnTo>
                      <a:pt x="500546" y="45719"/>
                    </a:lnTo>
                    <a:lnTo>
                      <a:pt x="525245" y="45719"/>
                    </a:ln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7" name="Freeform 66"/>
              <p:cNvSpPr/>
              <p:nvPr/>
            </p:nvSpPr>
            <p:spPr bwMode="auto">
              <a:xfrm>
                <a:off x="5538920" y="5890325"/>
                <a:ext cx="172056" cy="85294"/>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8" name="Freeform 67"/>
              <p:cNvSpPr/>
              <p:nvPr/>
            </p:nvSpPr>
            <p:spPr bwMode="auto">
              <a:xfrm>
                <a:off x="5322840" y="5881594"/>
                <a:ext cx="172056" cy="85294"/>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9" name="Group 68"/>
              <p:cNvGrpSpPr/>
              <p:nvPr/>
            </p:nvGrpSpPr>
            <p:grpSpPr>
              <a:xfrm>
                <a:off x="5727169" y="4056192"/>
                <a:ext cx="218262" cy="918885"/>
                <a:chOff x="6437822" y="1926236"/>
                <a:chExt cx="238124" cy="1002506"/>
              </a:xfrm>
              <a:solidFill>
                <a:srgbClr val="AB0086"/>
              </a:solidFill>
            </p:grpSpPr>
            <p:sp>
              <p:nvSpPr>
                <p:cNvPr id="70" name="Rounded Rectangle 69"/>
                <p:cNvSpPr/>
                <p:nvPr/>
              </p:nvSpPr>
              <p:spPr bwMode="auto">
                <a:xfrm>
                  <a:off x="6552349" y="2757292"/>
                  <a:ext cx="106928" cy="171450"/>
                </a:xfrm>
                <a:prstGeom prst="roundRect">
                  <a:avLst>
                    <a:gd name="adj"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70"/>
                <p:cNvSpPr/>
                <p:nvPr/>
              </p:nvSpPr>
              <p:spPr bwMode="auto">
                <a:xfrm>
                  <a:off x="6437822" y="1926236"/>
                  <a:ext cx="238124" cy="895350"/>
                </a:xfrm>
                <a:custGeom>
                  <a:avLst/>
                  <a:gdLst>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33338 w 238125"/>
                    <a:gd name="connsiteY0" fmla="*/ 0 h 895350"/>
                    <a:gd name="connsiteX1" fmla="*/ 238125 w 238125"/>
                    <a:gd name="connsiteY1" fmla="*/ 895350 h 895350"/>
                    <a:gd name="connsiteX2" fmla="*/ 109537 w 238125"/>
                    <a:gd name="connsiteY2" fmla="*/ 895350 h 895350"/>
                    <a:gd name="connsiteX3" fmla="*/ 0 w 238125"/>
                    <a:gd name="connsiteY3" fmla="*/ 423863 h 895350"/>
                    <a:gd name="connsiteX4" fmla="*/ 33338 w 238125"/>
                    <a:gd name="connsiteY4" fmla="*/ 0 h 895350"/>
                    <a:gd name="connsiteX0" fmla="*/ 9525 w 214312"/>
                    <a:gd name="connsiteY0" fmla="*/ 0 h 895350"/>
                    <a:gd name="connsiteX1" fmla="*/ 214312 w 214312"/>
                    <a:gd name="connsiteY1" fmla="*/ 895350 h 895350"/>
                    <a:gd name="connsiteX2" fmla="*/ 85724 w 214312"/>
                    <a:gd name="connsiteY2" fmla="*/ 895350 h 895350"/>
                    <a:gd name="connsiteX3" fmla="*/ 0 w 214312"/>
                    <a:gd name="connsiteY3" fmla="*/ 350045 h 895350"/>
                    <a:gd name="connsiteX4" fmla="*/ 9525 w 214312"/>
                    <a:gd name="connsiteY4" fmla="*/ 0 h 895350"/>
                    <a:gd name="connsiteX0" fmla="*/ 33337 w 238124"/>
                    <a:gd name="connsiteY0" fmla="*/ 0 h 895350"/>
                    <a:gd name="connsiteX1" fmla="*/ 238124 w 238124"/>
                    <a:gd name="connsiteY1" fmla="*/ 895350 h 895350"/>
                    <a:gd name="connsiteX2" fmla="*/ 109536 w 238124"/>
                    <a:gd name="connsiteY2" fmla="*/ 895350 h 895350"/>
                    <a:gd name="connsiteX3" fmla="*/ 0 w 238124"/>
                    <a:gd name="connsiteY3" fmla="*/ 350045 h 895350"/>
                    <a:gd name="connsiteX4" fmla="*/ 33337 w 238124"/>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4" h="895350">
                      <a:moveTo>
                        <a:pt x="33337" y="0"/>
                      </a:moveTo>
                      <a:cubicBezTo>
                        <a:pt x="129381" y="253999"/>
                        <a:pt x="215899" y="558007"/>
                        <a:pt x="238124" y="895350"/>
                      </a:cubicBezTo>
                      <a:lnTo>
                        <a:pt x="109536" y="895350"/>
                      </a:lnTo>
                      <a:cubicBezTo>
                        <a:pt x="94456" y="776289"/>
                        <a:pt x="74612" y="504826"/>
                        <a:pt x="0" y="350045"/>
                      </a:cubicBezTo>
                      <a:lnTo>
                        <a:pt x="33337"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72" name="Rectangle 109"/>
              <p:cNvSpPr/>
              <p:nvPr/>
            </p:nvSpPr>
            <p:spPr bwMode="auto">
              <a:xfrm>
                <a:off x="5337467" y="3999623"/>
                <a:ext cx="359254" cy="301202"/>
              </a:xfrm>
              <a:custGeom>
                <a:avLst/>
                <a:gdLst>
                  <a:gd name="connsiteX0" fmla="*/ 0 w 390296"/>
                  <a:gd name="connsiteY0" fmla="*/ 0 h 571500"/>
                  <a:gd name="connsiteX1" fmla="*/ 390296 w 390296"/>
                  <a:gd name="connsiteY1" fmla="*/ 0 h 571500"/>
                  <a:gd name="connsiteX2" fmla="*/ 390296 w 390296"/>
                  <a:gd name="connsiteY2" fmla="*/ 571500 h 571500"/>
                  <a:gd name="connsiteX3" fmla="*/ 0 w 390296"/>
                  <a:gd name="connsiteY3" fmla="*/ 571500 h 571500"/>
                  <a:gd name="connsiteX4" fmla="*/ 0 w 390296"/>
                  <a:gd name="connsiteY4" fmla="*/ 0 h 571500"/>
                  <a:gd name="connsiteX0" fmla="*/ 0 w 390296"/>
                  <a:gd name="connsiteY0" fmla="*/ 2833 h 574333"/>
                  <a:gd name="connsiteX1" fmla="*/ 193612 w 390296"/>
                  <a:gd name="connsiteY1" fmla="*/ 0 h 574333"/>
                  <a:gd name="connsiteX2" fmla="*/ 390296 w 390296"/>
                  <a:gd name="connsiteY2" fmla="*/ 2833 h 574333"/>
                  <a:gd name="connsiteX3" fmla="*/ 390296 w 390296"/>
                  <a:gd name="connsiteY3" fmla="*/ 574333 h 574333"/>
                  <a:gd name="connsiteX4" fmla="*/ 0 w 390296"/>
                  <a:gd name="connsiteY4" fmla="*/ 574333 h 574333"/>
                  <a:gd name="connsiteX5" fmla="*/ 0 w 390296"/>
                  <a:gd name="connsiteY5" fmla="*/ 2833 h 574333"/>
                  <a:gd name="connsiteX0" fmla="*/ 0 w 390296"/>
                  <a:gd name="connsiteY0" fmla="*/ 57601 h 629101"/>
                  <a:gd name="connsiteX1" fmla="*/ 188850 w 390296"/>
                  <a:gd name="connsiteY1" fmla="*/ 0 h 629101"/>
                  <a:gd name="connsiteX2" fmla="*/ 390296 w 390296"/>
                  <a:gd name="connsiteY2" fmla="*/ 57601 h 629101"/>
                  <a:gd name="connsiteX3" fmla="*/ 390296 w 390296"/>
                  <a:gd name="connsiteY3" fmla="*/ 629101 h 629101"/>
                  <a:gd name="connsiteX4" fmla="*/ 0 w 390296"/>
                  <a:gd name="connsiteY4" fmla="*/ 629101 h 629101"/>
                  <a:gd name="connsiteX5" fmla="*/ 0 w 390296"/>
                  <a:gd name="connsiteY5" fmla="*/ 57601 h 629101"/>
                  <a:gd name="connsiteX0" fmla="*/ 0 w 390296"/>
                  <a:gd name="connsiteY0" fmla="*/ 57601 h 629101"/>
                  <a:gd name="connsiteX1" fmla="*/ 188850 w 390296"/>
                  <a:gd name="connsiteY1" fmla="*/ 0 h 629101"/>
                  <a:gd name="connsiteX2" fmla="*/ 390296 w 390296"/>
                  <a:gd name="connsiteY2" fmla="*/ 57601 h 629101"/>
                  <a:gd name="connsiteX3" fmla="*/ 388874 w 390296"/>
                  <a:gd name="connsiteY3" fmla="*/ 328612 h 629101"/>
                  <a:gd name="connsiteX4" fmla="*/ 390296 w 390296"/>
                  <a:gd name="connsiteY4" fmla="*/ 629101 h 629101"/>
                  <a:gd name="connsiteX5" fmla="*/ 0 w 390296"/>
                  <a:gd name="connsiteY5" fmla="*/ 629101 h 629101"/>
                  <a:gd name="connsiteX6" fmla="*/ 0 w 390296"/>
                  <a:gd name="connsiteY6" fmla="*/ 57601 h 629101"/>
                  <a:gd name="connsiteX0" fmla="*/ 1651 w 391947"/>
                  <a:gd name="connsiteY0" fmla="*/ 57601 h 629101"/>
                  <a:gd name="connsiteX1" fmla="*/ 190501 w 391947"/>
                  <a:gd name="connsiteY1" fmla="*/ 0 h 629101"/>
                  <a:gd name="connsiteX2" fmla="*/ 391947 w 391947"/>
                  <a:gd name="connsiteY2" fmla="*/ 57601 h 629101"/>
                  <a:gd name="connsiteX3" fmla="*/ 390525 w 391947"/>
                  <a:gd name="connsiteY3" fmla="*/ 328612 h 629101"/>
                  <a:gd name="connsiteX4" fmla="*/ 391947 w 391947"/>
                  <a:gd name="connsiteY4" fmla="*/ 629101 h 629101"/>
                  <a:gd name="connsiteX5" fmla="*/ 1651 w 391947"/>
                  <a:gd name="connsiteY5" fmla="*/ 629101 h 629101"/>
                  <a:gd name="connsiteX6" fmla="*/ 0 w 391947"/>
                  <a:gd name="connsiteY6" fmla="*/ 311944 h 629101"/>
                  <a:gd name="connsiteX7" fmla="*/ 1651 w 391947"/>
                  <a:gd name="connsiteY7" fmla="*/ 57601 h 629101"/>
                  <a:gd name="connsiteX0" fmla="*/ 1651 w 391947"/>
                  <a:gd name="connsiteY0" fmla="*/ 57601 h 629101"/>
                  <a:gd name="connsiteX1" fmla="*/ 190501 w 391947"/>
                  <a:gd name="connsiteY1" fmla="*/ 0 h 629101"/>
                  <a:gd name="connsiteX2" fmla="*/ 391947 w 391947"/>
                  <a:gd name="connsiteY2" fmla="*/ 57601 h 629101"/>
                  <a:gd name="connsiteX3" fmla="*/ 390525 w 391947"/>
                  <a:gd name="connsiteY3" fmla="*/ 328612 h 629101"/>
                  <a:gd name="connsiteX4" fmla="*/ 391947 w 391947"/>
                  <a:gd name="connsiteY4" fmla="*/ 629101 h 629101"/>
                  <a:gd name="connsiteX5" fmla="*/ 0 w 391947"/>
                  <a:gd name="connsiteY5" fmla="*/ 311944 h 629101"/>
                  <a:gd name="connsiteX6" fmla="*/ 1651 w 391947"/>
                  <a:gd name="connsiteY6" fmla="*/ 57601 h 629101"/>
                  <a:gd name="connsiteX0" fmla="*/ 1651 w 391947"/>
                  <a:gd name="connsiteY0" fmla="*/ 57601 h 328612"/>
                  <a:gd name="connsiteX1" fmla="*/ 190501 w 391947"/>
                  <a:gd name="connsiteY1" fmla="*/ 0 h 328612"/>
                  <a:gd name="connsiteX2" fmla="*/ 391947 w 391947"/>
                  <a:gd name="connsiteY2" fmla="*/ 57601 h 328612"/>
                  <a:gd name="connsiteX3" fmla="*/ 390525 w 391947"/>
                  <a:gd name="connsiteY3" fmla="*/ 328612 h 328612"/>
                  <a:gd name="connsiteX4" fmla="*/ 0 w 391947"/>
                  <a:gd name="connsiteY4" fmla="*/ 311944 h 328612"/>
                  <a:gd name="connsiteX5" fmla="*/ 1651 w 391947"/>
                  <a:gd name="connsiteY5" fmla="*/ 57601 h 32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947" h="328612">
                    <a:moveTo>
                      <a:pt x="1651" y="57601"/>
                    </a:moveTo>
                    <a:lnTo>
                      <a:pt x="190501" y="0"/>
                    </a:lnTo>
                    <a:lnTo>
                      <a:pt x="391947" y="57601"/>
                    </a:lnTo>
                    <a:lnTo>
                      <a:pt x="390525" y="328612"/>
                    </a:lnTo>
                    <a:lnTo>
                      <a:pt x="0" y="311944"/>
                    </a:lnTo>
                    <a:cubicBezTo>
                      <a:pt x="550" y="227163"/>
                      <a:pt x="1101" y="142382"/>
                      <a:pt x="1651" y="576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3" name="Freeform 72"/>
              <p:cNvSpPr/>
              <p:nvPr/>
            </p:nvSpPr>
            <p:spPr bwMode="auto">
              <a:xfrm>
                <a:off x="5278280" y="4027818"/>
                <a:ext cx="481627" cy="831579"/>
              </a:xfrm>
              <a:custGeom>
                <a:avLst/>
                <a:gdLst>
                  <a:gd name="connsiteX0" fmla="*/ 0 w 608801"/>
                  <a:gd name="connsiteY0" fmla="*/ 0 h 1019175"/>
                  <a:gd name="connsiteX1" fmla="*/ 225692 w 608801"/>
                  <a:gd name="connsiteY1" fmla="*/ 0 h 1019175"/>
                  <a:gd name="connsiteX2" fmla="*/ 225420 w 608801"/>
                  <a:gd name="connsiteY2" fmla="*/ 2381 h 1019175"/>
                  <a:gd name="connsiteX3" fmla="*/ 306382 w 608801"/>
                  <a:gd name="connsiteY3" fmla="*/ 569119 h 1019175"/>
                  <a:gd name="connsiteX4" fmla="*/ 347756 w 608801"/>
                  <a:gd name="connsiteY4" fmla="*/ 283964 h 1019175"/>
                  <a:gd name="connsiteX5" fmla="*/ 379666 w 608801"/>
                  <a:gd name="connsiteY5" fmla="*/ 0 h 1019175"/>
                  <a:gd name="connsiteX6" fmla="*/ 608801 w 608801"/>
                  <a:gd name="connsiteY6" fmla="*/ 0 h 1019175"/>
                  <a:gd name="connsiteX7" fmla="*/ 608801 w 608801"/>
                  <a:gd name="connsiteY7" fmla="*/ 1019175 h 1019175"/>
                  <a:gd name="connsiteX8" fmla="*/ 0 w 608801"/>
                  <a:gd name="connsiteY8" fmla="*/ 1019175 h 1019175"/>
                  <a:gd name="connsiteX0" fmla="*/ 0 w 608801"/>
                  <a:gd name="connsiteY0" fmla="*/ 0 h 1019175"/>
                  <a:gd name="connsiteX1" fmla="*/ 225692 w 608801"/>
                  <a:gd name="connsiteY1" fmla="*/ 0 h 1019175"/>
                  <a:gd name="connsiteX2" fmla="*/ 225420 w 608801"/>
                  <a:gd name="connsiteY2" fmla="*/ 2381 h 1019175"/>
                  <a:gd name="connsiteX3" fmla="*/ 306382 w 608801"/>
                  <a:gd name="connsiteY3" fmla="*/ 569119 h 1019175"/>
                  <a:gd name="connsiteX4" fmla="*/ 347756 w 608801"/>
                  <a:gd name="connsiteY4" fmla="*/ 283964 h 1019175"/>
                  <a:gd name="connsiteX5" fmla="*/ 379666 w 608801"/>
                  <a:gd name="connsiteY5" fmla="*/ 0 h 1019175"/>
                  <a:gd name="connsiteX6" fmla="*/ 608801 w 608801"/>
                  <a:gd name="connsiteY6" fmla="*/ 0 h 1019175"/>
                  <a:gd name="connsiteX7" fmla="*/ 608801 w 608801"/>
                  <a:gd name="connsiteY7" fmla="*/ 1019175 h 1019175"/>
                  <a:gd name="connsiteX8" fmla="*/ 0 w 608801"/>
                  <a:gd name="connsiteY8" fmla="*/ 1019175 h 1019175"/>
                  <a:gd name="connsiteX9" fmla="*/ 0 w 608801"/>
                  <a:gd name="connsiteY9" fmla="*/ 0 h 1019175"/>
                  <a:gd name="connsiteX0" fmla="*/ 0 w 608801"/>
                  <a:gd name="connsiteY0" fmla="*/ 28575 h 1047750"/>
                  <a:gd name="connsiteX1" fmla="*/ 225692 w 608801"/>
                  <a:gd name="connsiteY1" fmla="*/ 28575 h 1047750"/>
                  <a:gd name="connsiteX2" fmla="*/ 225420 w 608801"/>
                  <a:gd name="connsiteY2" fmla="*/ 30956 h 1047750"/>
                  <a:gd name="connsiteX3" fmla="*/ 306382 w 608801"/>
                  <a:gd name="connsiteY3" fmla="*/ 597694 h 1047750"/>
                  <a:gd name="connsiteX4" fmla="*/ 347756 w 608801"/>
                  <a:gd name="connsiteY4" fmla="*/ 312539 h 1047750"/>
                  <a:gd name="connsiteX5" fmla="*/ 432054 w 608801"/>
                  <a:gd name="connsiteY5" fmla="*/ 0 h 1047750"/>
                  <a:gd name="connsiteX6" fmla="*/ 608801 w 608801"/>
                  <a:gd name="connsiteY6" fmla="*/ 28575 h 1047750"/>
                  <a:gd name="connsiteX7" fmla="*/ 608801 w 608801"/>
                  <a:gd name="connsiteY7" fmla="*/ 1047750 h 1047750"/>
                  <a:gd name="connsiteX8" fmla="*/ 0 w 608801"/>
                  <a:gd name="connsiteY8" fmla="*/ 1047750 h 1047750"/>
                  <a:gd name="connsiteX9" fmla="*/ 0 w 608801"/>
                  <a:gd name="connsiteY9" fmla="*/ 28575 h 1047750"/>
                  <a:gd name="connsiteX0" fmla="*/ 0 w 608801"/>
                  <a:gd name="connsiteY0" fmla="*/ 28575 h 1047750"/>
                  <a:gd name="connsiteX1" fmla="*/ 225692 w 608801"/>
                  <a:gd name="connsiteY1" fmla="*/ 28575 h 1047750"/>
                  <a:gd name="connsiteX2" fmla="*/ 306382 w 608801"/>
                  <a:gd name="connsiteY2" fmla="*/ 597694 h 1047750"/>
                  <a:gd name="connsiteX3" fmla="*/ 347756 w 608801"/>
                  <a:gd name="connsiteY3" fmla="*/ 312539 h 1047750"/>
                  <a:gd name="connsiteX4" fmla="*/ 432054 w 608801"/>
                  <a:gd name="connsiteY4" fmla="*/ 0 h 1047750"/>
                  <a:gd name="connsiteX5" fmla="*/ 608801 w 608801"/>
                  <a:gd name="connsiteY5" fmla="*/ 28575 h 1047750"/>
                  <a:gd name="connsiteX6" fmla="*/ 608801 w 608801"/>
                  <a:gd name="connsiteY6" fmla="*/ 1047750 h 1047750"/>
                  <a:gd name="connsiteX7" fmla="*/ 0 w 608801"/>
                  <a:gd name="connsiteY7" fmla="*/ 1047750 h 1047750"/>
                  <a:gd name="connsiteX8" fmla="*/ 0 w 608801"/>
                  <a:gd name="connsiteY8" fmla="*/ 28575 h 1047750"/>
                  <a:gd name="connsiteX0" fmla="*/ 0 w 608801"/>
                  <a:gd name="connsiteY0" fmla="*/ 30956 h 1050131"/>
                  <a:gd name="connsiteX1" fmla="*/ 213786 w 608801"/>
                  <a:gd name="connsiteY1" fmla="*/ 0 h 1050131"/>
                  <a:gd name="connsiteX2" fmla="*/ 306382 w 608801"/>
                  <a:gd name="connsiteY2" fmla="*/ 600075 h 1050131"/>
                  <a:gd name="connsiteX3" fmla="*/ 347756 w 608801"/>
                  <a:gd name="connsiteY3" fmla="*/ 314920 h 1050131"/>
                  <a:gd name="connsiteX4" fmla="*/ 432054 w 608801"/>
                  <a:gd name="connsiteY4" fmla="*/ 2381 h 1050131"/>
                  <a:gd name="connsiteX5" fmla="*/ 608801 w 608801"/>
                  <a:gd name="connsiteY5" fmla="*/ 30956 h 1050131"/>
                  <a:gd name="connsiteX6" fmla="*/ 608801 w 608801"/>
                  <a:gd name="connsiteY6" fmla="*/ 1050131 h 1050131"/>
                  <a:gd name="connsiteX7" fmla="*/ 0 w 608801"/>
                  <a:gd name="connsiteY7" fmla="*/ 1050131 h 1050131"/>
                  <a:gd name="connsiteX8" fmla="*/ 0 w 608801"/>
                  <a:gd name="connsiteY8" fmla="*/ 30956 h 1050131"/>
                  <a:gd name="connsiteX0" fmla="*/ 0 w 608801"/>
                  <a:gd name="connsiteY0" fmla="*/ 30956 h 1050131"/>
                  <a:gd name="connsiteX1" fmla="*/ 213786 w 608801"/>
                  <a:gd name="connsiteY1" fmla="*/ 0 h 1050131"/>
                  <a:gd name="connsiteX2" fmla="*/ 306382 w 608801"/>
                  <a:gd name="connsiteY2" fmla="*/ 600075 h 1050131"/>
                  <a:gd name="connsiteX3" fmla="*/ 347756 w 608801"/>
                  <a:gd name="connsiteY3" fmla="*/ 314920 h 1050131"/>
                  <a:gd name="connsiteX4" fmla="*/ 432054 w 608801"/>
                  <a:gd name="connsiteY4" fmla="*/ 2381 h 1050131"/>
                  <a:gd name="connsiteX5" fmla="*/ 589751 w 608801"/>
                  <a:gd name="connsiteY5" fmla="*/ 26194 h 1050131"/>
                  <a:gd name="connsiteX6" fmla="*/ 608801 w 608801"/>
                  <a:gd name="connsiteY6" fmla="*/ 1050131 h 1050131"/>
                  <a:gd name="connsiteX7" fmla="*/ 0 w 608801"/>
                  <a:gd name="connsiteY7" fmla="*/ 1050131 h 1050131"/>
                  <a:gd name="connsiteX8" fmla="*/ 0 w 608801"/>
                  <a:gd name="connsiteY8" fmla="*/ 30956 h 1050131"/>
                  <a:gd name="connsiteX0" fmla="*/ 64294 w 608801"/>
                  <a:gd name="connsiteY0" fmla="*/ 26193 h 1050131"/>
                  <a:gd name="connsiteX1" fmla="*/ 213786 w 608801"/>
                  <a:gd name="connsiteY1" fmla="*/ 0 h 1050131"/>
                  <a:gd name="connsiteX2" fmla="*/ 306382 w 608801"/>
                  <a:gd name="connsiteY2" fmla="*/ 600075 h 1050131"/>
                  <a:gd name="connsiteX3" fmla="*/ 347756 w 608801"/>
                  <a:gd name="connsiteY3" fmla="*/ 314920 h 1050131"/>
                  <a:gd name="connsiteX4" fmla="*/ 432054 w 608801"/>
                  <a:gd name="connsiteY4" fmla="*/ 2381 h 1050131"/>
                  <a:gd name="connsiteX5" fmla="*/ 589751 w 608801"/>
                  <a:gd name="connsiteY5" fmla="*/ 26194 h 1050131"/>
                  <a:gd name="connsiteX6" fmla="*/ 608801 w 608801"/>
                  <a:gd name="connsiteY6" fmla="*/ 1050131 h 1050131"/>
                  <a:gd name="connsiteX7" fmla="*/ 0 w 608801"/>
                  <a:gd name="connsiteY7" fmla="*/ 1050131 h 1050131"/>
                  <a:gd name="connsiteX8" fmla="*/ 64294 w 608801"/>
                  <a:gd name="connsiteY8" fmla="*/ 26193 h 1050131"/>
                  <a:gd name="connsiteX0" fmla="*/ 0 w 544507"/>
                  <a:gd name="connsiteY0" fmla="*/ 26193 h 1050131"/>
                  <a:gd name="connsiteX1" fmla="*/ 149492 w 544507"/>
                  <a:gd name="connsiteY1" fmla="*/ 0 h 1050131"/>
                  <a:gd name="connsiteX2" fmla="*/ 242088 w 544507"/>
                  <a:gd name="connsiteY2" fmla="*/ 600075 h 1050131"/>
                  <a:gd name="connsiteX3" fmla="*/ 283462 w 544507"/>
                  <a:gd name="connsiteY3" fmla="*/ 314920 h 1050131"/>
                  <a:gd name="connsiteX4" fmla="*/ 367760 w 544507"/>
                  <a:gd name="connsiteY4" fmla="*/ 2381 h 1050131"/>
                  <a:gd name="connsiteX5" fmla="*/ 525457 w 544507"/>
                  <a:gd name="connsiteY5" fmla="*/ 26194 h 1050131"/>
                  <a:gd name="connsiteX6" fmla="*/ 544507 w 544507"/>
                  <a:gd name="connsiteY6" fmla="*/ 1050131 h 1050131"/>
                  <a:gd name="connsiteX7" fmla="*/ 14287 w 544507"/>
                  <a:gd name="connsiteY7" fmla="*/ 900112 h 1050131"/>
                  <a:gd name="connsiteX8" fmla="*/ 0 w 544507"/>
                  <a:gd name="connsiteY8" fmla="*/ 26193 h 1050131"/>
                  <a:gd name="connsiteX0" fmla="*/ 0 w 525457"/>
                  <a:gd name="connsiteY0" fmla="*/ 26193 h 902493"/>
                  <a:gd name="connsiteX1" fmla="*/ 149492 w 525457"/>
                  <a:gd name="connsiteY1" fmla="*/ 0 h 902493"/>
                  <a:gd name="connsiteX2" fmla="*/ 242088 w 525457"/>
                  <a:gd name="connsiteY2" fmla="*/ 600075 h 902493"/>
                  <a:gd name="connsiteX3" fmla="*/ 283462 w 525457"/>
                  <a:gd name="connsiteY3" fmla="*/ 314920 h 902493"/>
                  <a:gd name="connsiteX4" fmla="*/ 367760 w 525457"/>
                  <a:gd name="connsiteY4" fmla="*/ 2381 h 902493"/>
                  <a:gd name="connsiteX5" fmla="*/ 525457 w 525457"/>
                  <a:gd name="connsiteY5" fmla="*/ 26194 h 902493"/>
                  <a:gd name="connsiteX6" fmla="*/ 511169 w 525457"/>
                  <a:gd name="connsiteY6" fmla="*/ 902493 h 902493"/>
                  <a:gd name="connsiteX7" fmla="*/ 14287 w 525457"/>
                  <a:gd name="connsiteY7" fmla="*/ 900112 h 902493"/>
                  <a:gd name="connsiteX8" fmla="*/ 0 w 525457"/>
                  <a:gd name="connsiteY8" fmla="*/ 26193 h 902493"/>
                  <a:gd name="connsiteX0" fmla="*/ 0 w 525457"/>
                  <a:gd name="connsiteY0" fmla="*/ 26193 h 902493"/>
                  <a:gd name="connsiteX1" fmla="*/ 149492 w 525457"/>
                  <a:gd name="connsiteY1" fmla="*/ 0 h 902493"/>
                  <a:gd name="connsiteX2" fmla="*/ 283462 w 525457"/>
                  <a:gd name="connsiteY2" fmla="*/ 314920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64412 w 525457"/>
                  <a:gd name="connsiteY2" fmla="*/ 172045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64412 w 525457"/>
                  <a:gd name="connsiteY2" fmla="*/ 172045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57268 w 525457"/>
                  <a:gd name="connsiteY2" fmla="*/ 174427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57268 w 525457"/>
                  <a:gd name="connsiteY2" fmla="*/ 174427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30955 h 907255"/>
                  <a:gd name="connsiteX1" fmla="*/ 149492 w 525457"/>
                  <a:gd name="connsiteY1" fmla="*/ 0 h 907255"/>
                  <a:gd name="connsiteX2" fmla="*/ 257268 w 525457"/>
                  <a:gd name="connsiteY2" fmla="*/ 179189 h 907255"/>
                  <a:gd name="connsiteX3" fmla="*/ 367760 w 525457"/>
                  <a:gd name="connsiteY3" fmla="*/ 7143 h 907255"/>
                  <a:gd name="connsiteX4" fmla="*/ 525457 w 525457"/>
                  <a:gd name="connsiteY4" fmla="*/ 30956 h 907255"/>
                  <a:gd name="connsiteX5" fmla="*/ 511169 w 525457"/>
                  <a:gd name="connsiteY5" fmla="*/ 907255 h 907255"/>
                  <a:gd name="connsiteX6" fmla="*/ 14287 w 525457"/>
                  <a:gd name="connsiteY6" fmla="*/ 904874 h 907255"/>
                  <a:gd name="connsiteX7" fmla="*/ 0 w 525457"/>
                  <a:gd name="connsiteY7" fmla="*/ 30955 h 907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457" h="907255">
                    <a:moveTo>
                      <a:pt x="0" y="30955"/>
                    </a:moveTo>
                    <a:lnTo>
                      <a:pt x="149492" y="0"/>
                    </a:lnTo>
                    <a:cubicBezTo>
                      <a:pt x="196736" y="48121"/>
                      <a:pt x="199808" y="93166"/>
                      <a:pt x="257268" y="179189"/>
                    </a:cubicBezTo>
                    <a:lnTo>
                      <a:pt x="367760" y="7143"/>
                    </a:lnTo>
                    <a:lnTo>
                      <a:pt x="525457" y="30956"/>
                    </a:lnTo>
                    <a:lnTo>
                      <a:pt x="511169" y="907255"/>
                    </a:lnTo>
                    <a:lnTo>
                      <a:pt x="14287" y="904874"/>
                    </a:lnTo>
                    <a:lnTo>
                      <a:pt x="0" y="30955"/>
                    </a:lnTo>
                    <a:close/>
                  </a:path>
                </a:pathLst>
              </a:custGeom>
              <a:solidFill>
                <a:srgbClr val="AB0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73"/>
              <p:cNvSpPr/>
              <p:nvPr/>
            </p:nvSpPr>
            <p:spPr bwMode="auto">
              <a:xfrm rot="5400000">
                <a:off x="5337203" y="3699646"/>
                <a:ext cx="360131" cy="283741"/>
              </a:xfrm>
              <a:custGeom>
                <a:avLst/>
                <a:gdLst>
                  <a:gd name="connsiteX0" fmla="*/ 0 w 392904"/>
                  <a:gd name="connsiteY0" fmla="*/ 184191 h 309562"/>
                  <a:gd name="connsiteX1" fmla="*/ 0 w 392904"/>
                  <a:gd name="connsiteY1" fmla="*/ 125371 h 309562"/>
                  <a:gd name="connsiteX2" fmla="*/ 95323 w 392904"/>
                  <a:gd name="connsiteY2" fmla="*/ 30048 h 309562"/>
                  <a:gd name="connsiteX3" fmla="*/ 107911 w 392904"/>
                  <a:gd name="connsiteY3" fmla="*/ 30048 h 309562"/>
                  <a:gd name="connsiteX4" fmla="*/ 116458 w 392904"/>
                  <a:gd name="connsiteY4" fmla="*/ 9416 h 309562"/>
                  <a:gd name="connsiteX5" fmla="*/ 139189 w 392904"/>
                  <a:gd name="connsiteY5" fmla="*/ 0 h 309562"/>
                  <a:gd name="connsiteX6" fmla="*/ 182279 w 392904"/>
                  <a:gd name="connsiteY6" fmla="*/ 0 h 309562"/>
                  <a:gd name="connsiteX7" fmla="*/ 205010 w 392904"/>
                  <a:gd name="connsiteY7" fmla="*/ 9416 h 309562"/>
                  <a:gd name="connsiteX8" fmla="*/ 213557 w 392904"/>
                  <a:gd name="connsiteY8" fmla="*/ 30048 h 309562"/>
                  <a:gd name="connsiteX9" fmla="*/ 252339 w 392904"/>
                  <a:gd name="connsiteY9" fmla="*/ 30048 h 309562"/>
                  <a:gd name="connsiteX10" fmla="*/ 319742 w 392904"/>
                  <a:gd name="connsiteY10" fmla="*/ 57968 h 309562"/>
                  <a:gd name="connsiteX11" fmla="*/ 336441 w 392904"/>
                  <a:gd name="connsiteY11" fmla="*/ 82735 h 309562"/>
                  <a:gd name="connsiteX12" fmla="*/ 357186 w 392904"/>
                  <a:gd name="connsiteY12" fmla="*/ 80848 h 309562"/>
                  <a:gd name="connsiteX13" fmla="*/ 392904 w 392904"/>
                  <a:gd name="connsiteY13" fmla="*/ 152286 h 309562"/>
                  <a:gd name="connsiteX14" fmla="*/ 357186 w 392904"/>
                  <a:gd name="connsiteY14" fmla="*/ 235629 h 309562"/>
                  <a:gd name="connsiteX15" fmla="*/ 330992 w 392904"/>
                  <a:gd name="connsiteY15" fmla="*/ 235629 h 309562"/>
                  <a:gd name="connsiteX16" fmla="*/ 330992 w 392904"/>
                  <a:gd name="connsiteY16" fmla="*/ 234909 h 309562"/>
                  <a:gd name="connsiteX17" fmla="*/ 319742 w 392904"/>
                  <a:gd name="connsiteY17" fmla="*/ 251594 h 309562"/>
                  <a:gd name="connsiteX18" fmla="*/ 252339 w 392904"/>
                  <a:gd name="connsiteY18" fmla="*/ 279514 h 309562"/>
                  <a:gd name="connsiteX19" fmla="*/ 213557 w 392904"/>
                  <a:gd name="connsiteY19" fmla="*/ 279514 h 309562"/>
                  <a:gd name="connsiteX20" fmla="*/ 205010 w 392904"/>
                  <a:gd name="connsiteY20" fmla="*/ 300146 h 309562"/>
                  <a:gd name="connsiteX21" fmla="*/ 182279 w 392904"/>
                  <a:gd name="connsiteY21" fmla="*/ 309562 h 309562"/>
                  <a:gd name="connsiteX22" fmla="*/ 139189 w 392904"/>
                  <a:gd name="connsiteY22" fmla="*/ 309562 h 309562"/>
                  <a:gd name="connsiteX23" fmla="*/ 116458 w 392904"/>
                  <a:gd name="connsiteY23" fmla="*/ 300146 h 309562"/>
                  <a:gd name="connsiteX24" fmla="*/ 107911 w 392904"/>
                  <a:gd name="connsiteY24" fmla="*/ 279514 h 309562"/>
                  <a:gd name="connsiteX25" fmla="*/ 95323 w 392904"/>
                  <a:gd name="connsiteY25" fmla="*/ 279514 h 309562"/>
                  <a:gd name="connsiteX26" fmla="*/ 0 w 392904"/>
                  <a:gd name="connsiteY26" fmla="*/ 184191 h 30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904" h="309562">
                    <a:moveTo>
                      <a:pt x="0" y="184191"/>
                    </a:moveTo>
                    <a:lnTo>
                      <a:pt x="0" y="125371"/>
                    </a:lnTo>
                    <a:cubicBezTo>
                      <a:pt x="0" y="72726"/>
                      <a:pt x="42678" y="30048"/>
                      <a:pt x="95323" y="30048"/>
                    </a:cubicBezTo>
                    <a:lnTo>
                      <a:pt x="107911" y="30048"/>
                    </a:lnTo>
                    <a:lnTo>
                      <a:pt x="116458" y="9416"/>
                    </a:lnTo>
                    <a:cubicBezTo>
                      <a:pt x="122275" y="3598"/>
                      <a:pt x="130312" y="0"/>
                      <a:pt x="139189" y="0"/>
                    </a:cubicBezTo>
                    <a:lnTo>
                      <a:pt x="182279" y="0"/>
                    </a:lnTo>
                    <a:cubicBezTo>
                      <a:pt x="191156" y="0"/>
                      <a:pt x="199193" y="3598"/>
                      <a:pt x="205010" y="9416"/>
                    </a:cubicBezTo>
                    <a:lnTo>
                      <a:pt x="213557" y="30048"/>
                    </a:lnTo>
                    <a:lnTo>
                      <a:pt x="252339" y="30048"/>
                    </a:lnTo>
                    <a:cubicBezTo>
                      <a:pt x="278662" y="30048"/>
                      <a:pt x="302492" y="40718"/>
                      <a:pt x="319742" y="57968"/>
                    </a:cubicBezTo>
                    <a:lnTo>
                      <a:pt x="336441" y="82735"/>
                    </a:lnTo>
                    <a:lnTo>
                      <a:pt x="357186" y="80848"/>
                    </a:lnTo>
                    <a:lnTo>
                      <a:pt x="392904" y="152286"/>
                    </a:lnTo>
                    <a:lnTo>
                      <a:pt x="357186" y="235629"/>
                    </a:lnTo>
                    <a:lnTo>
                      <a:pt x="330992" y="235629"/>
                    </a:lnTo>
                    <a:lnTo>
                      <a:pt x="330992" y="234909"/>
                    </a:lnTo>
                    <a:lnTo>
                      <a:pt x="319742" y="251594"/>
                    </a:lnTo>
                    <a:cubicBezTo>
                      <a:pt x="302492" y="268845"/>
                      <a:pt x="278662" y="279514"/>
                      <a:pt x="252339" y="279514"/>
                    </a:cubicBezTo>
                    <a:lnTo>
                      <a:pt x="213557" y="279514"/>
                    </a:lnTo>
                    <a:lnTo>
                      <a:pt x="205010" y="300146"/>
                    </a:lnTo>
                    <a:cubicBezTo>
                      <a:pt x="199193" y="305964"/>
                      <a:pt x="191156" y="309562"/>
                      <a:pt x="182279" y="309562"/>
                    </a:cubicBezTo>
                    <a:lnTo>
                      <a:pt x="139189" y="309562"/>
                    </a:lnTo>
                    <a:cubicBezTo>
                      <a:pt x="130312" y="309562"/>
                      <a:pt x="122275" y="305964"/>
                      <a:pt x="116458" y="300146"/>
                    </a:cubicBezTo>
                    <a:lnTo>
                      <a:pt x="107911" y="279514"/>
                    </a:lnTo>
                    <a:lnTo>
                      <a:pt x="95323" y="279514"/>
                    </a:lnTo>
                    <a:cubicBezTo>
                      <a:pt x="42678" y="279514"/>
                      <a:pt x="0" y="236836"/>
                      <a:pt x="0" y="184191"/>
                    </a:cubicBezTo>
                    <a:close/>
                  </a:path>
                </a:pathLst>
              </a:cu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5" name="Freeform 74"/>
              <p:cNvSpPr/>
              <p:nvPr/>
            </p:nvSpPr>
            <p:spPr bwMode="auto">
              <a:xfrm>
                <a:off x="5377277" y="3610879"/>
                <a:ext cx="276723" cy="179344"/>
              </a:xfrm>
              <a:custGeom>
                <a:avLst/>
                <a:gdLst>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1649"/>
                  <a:gd name="connsiteY0" fmla="*/ 190500 h 190500"/>
                  <a:gd name="connsiteX1" fmla="*/ 271463 w 301649"/>
                  <a:gd name="connsiteY1" fmla="*/ 116681 h 190500"/>
                  <a:gd name="connsiteX2" fmla="*/ 195263 w 301649"/>
                  <a:gd name="connsiteY2" fmla="*/ 107156 h 190500"/>
                  <a:gd name="connsiteX3" fmla="*/ 52388 w 301649"/>
                  <a:gd name="connsiteY3" fmla="*/ 100012 h 190500"/>
                  <a:gd name="connsiteX4" fmla="*/ 21431 w 301649"/>
                  <a:gd name="connsiteY4" fmla="*/ 119062 h 190500"/>
                  <a:gd name="connsiteX5" fmla="*/ 23813 w 301649"/>
                  <a:gd name="connsiteY5" fmla="*/ 164306 h 190500"/>
                  <a:gd name="connsiteX6" fmla="*/ 0 w 301649"/>
                  <a:gd name="connsiteY6" fmla="*/ 171450 h 190500"/>
                  <a:gd name="connsiteX7" fmla="*/ 97631 w 301649"/>
                  <a:gd name="connsiteY7" fmla="*/ 0 h 190500"/>
                  <a:gd name="connsiteX8" fmla="*/ 214313 w 301649"/>
                  <a:gd name="connsiteY8" fmla="*/ 40481 h 190500"/>
                  <a:gd name="connsiteX9" fmla="*/ 300038 w 301649"/>
                  <a:gd name="connsiteY9" fmla="*/ 190500 h 190500"/>
                  <a:gd name="connsiteX0" fmla="*/ 300038 w 301649"/>
                  <a:gd name="connsiteY0" fmla="*/ 194507 h 194507"/>
                  <a:gd name="connsiteX1" fmla="*/ 271463 w 301649"/>
                  <a:gd name="connsiteY1" fmla="*/ 120688 h 194507"/>
                  <a:gd name="connsiteX2" fmla="*/ 195263 w 301649"/>
                  <a:gd name="connsiteY2" fmla="*/ 111163 h 194507"/>
                  <a:gd name="connsiteX3" fmla="*/ 52388 w 301649"/>
                  <a:gd name="connsiteY3" fmla="*/ 104019 h 194507"/>
                  <a:gd name="connsiteX4" fmla="*/ 21431 w 301649"/>
                  <a:gd name="connsiteY4" fmla="*/ 123069 h 194507"/>
                  <a:gd name="connsiteX5" fmla="*/ 23813 w 301649"/>
                  <a:gd name="connsiteY5" fmla="*/ 168313 h 194507"/>
                  <a:gd name="connsiteX6" fmla="*/ 0 w 301649"/>
                  <a:gd name="connsiteY6" fmla="*/ 175457 h 194507"/>
                  <a:gd name="connsiteX7" fmla="*/ 97631 w 301649"/>
                  <a:gd name="connsiteY7" fmla="*/ 4007 h 194507"/>
                  <a:gd name="connsiteX8" fmla="*/ 214313 w 301649"/>
                  <a:gd name="connsiteY8" fmla="*/ 44488 h 194507"/>
                  <a:gd name="connsiteX9" fmla="*/ 300038 w 301649"/>
                  <a:gd name="connsiteY9" fmla="*/ 194507 h 194507"/>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21431 w 301649"/>
                  <a:gd name="connsiteY4" fmla="*/ 124227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45243 w 301649"/>
                  <a:gd name="connsiteY4" fmla="*/ 150420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4258 w 302094"/>
                  <a:gd name="connsiteY5" fmla="*/ 1694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1906" h="195665">
                    <a:moveTo>
                      <a:pt x="300483" y="195665"/>
                    </a:moveTo>
                    <a:cubicBezTo>
                      <a:pt x="231426" y="159153"/>
                      <a:pt x="281433" y="146452"/>
                      <a:pt x="271908" y="121846"/>
                    </a:cubicBezTo>
                    <a:cubicBezTo>
                      <a:pt x="246508" y="130578"/>
                      <a:pt x="221108" y="115496"/>
                      <a:pt x="195708" y="112321"/>
                    </a:cubicBezTo>
                    <a:cubicBezTo>
                      <a:pt x="117127" y="138515"/>
                      <a:pt x="86170" y="124227"/>
                      <a:pt x="52833" y="105177"/>
                    </a:cubicBezTo>
                    <a:lnTo>
                      <a:pt x="43307" y="126608"/>
                    </a:lnTo>
                    <a:cubicBezTo>
                      <a:pt x="32989" y="141689"/>
                      <a:pt x="32195" y="178203"/>
                      <a:pt x="12352" y="171852"/>
                    </a:cubicBezTo>
                    <a:lnTo>
                      <a:pt x="445" y="176615"/>
                    </a:lnTo>
                    <a:cubicBezTo>
                      <a:pt x="-2730" y="105177"/>
                      <a:pt x="9176" y="22627"/>
                      <a:pt x="98076" y="5165"/>
                    </a:cubicBezTo>
                    <a:cubicBezTo>
                      <a:pt x="186976" y="-12297"/>
                      <a:pt x="204439" y="17864"/>
                      <a:pt x="214758" y="45646"/>
                    </a:cubicBezTo>
                    <a:cubicBezTo>
                      <a:pt x="302864" y="31358"/>
                      <a:pt x="305246" y="133753"/>
                      <a:pt x="300483" y="19566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6" name="Rectangle 75"/>
              <p:cNvSpPr/>
              <p:nvPr/>
            </p:nvSpPr>
            <p:spPr bwMode="auto">
              <a:xfrm>
                <a:off x="4934032" y="4338409"/>
                <a:ext cx="1171575" cy="64029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7" name="Freeform 76"/>
              <p:cNvSpPr/>
              <p:nvPr/>
            </p:nvSpPr>
            <p:spPr>
              <a:xfrm rot="16200000">
                <a:off x="5199263" y="4113553"/>
                <a:ext cx="642086" cy="1088346"/>
              </a:xfrm>
              <a:custGeom>
                <a:avLst/>
                <a:gdLst>
                  <a:gd name="connsiteX0" fmla="*/ 50516 w 642086"/>
                  <a:gd name="connsiteY0" fmla="*/ 544173 h 1088346"/>
                  <a:gd name="connsiteX1" fmla="*/ 32228 w 642086"/>
                  <a:gd name="connsiteY1" fmla="*/ 525885 h 1088346"/>
                  <a:gd name="connsiteX2" fmla="*/ 13940 w 642086"/>
                  <a:gd name="connsiteY2" fmla="*/ 544173 h 1088346"/>
                  <a:gd name="connsiteX3" fmla="*/ 32228 w 642086"/>
                  <a:gd name="connsiteY3" fmla="*/ 562461 h 1088346"/>
                  <a:gd name="connsiteX4" fmla="*/ 50516 w 642086"/>
                  <a:gd name="connsiteY4" fmla="*/ 544173 h 1088346"/>
                  <a:gd name="connsiteX5" fmla="*/ 642086 w 642086"/>
                  <a:gd name="connsiteY5" fmla="*/ 40342 h 1088346"/>
                  <a:gd name="connsiteX6" fmla="*/ 642086 w 642086"/>
                  <a:gd name="connsiteY6" fmla="*/ 1048004 h 1088346"/>
                  <a:gd name="connsiteX7" fmla="*/ 601744 w 642086"/>
                  <a:gd name="connsiteY7" fmla="*/ 1088346 h 1088346"/>
                  <a:gd name="connsiteX8" fmla="*/ 40342 w 642086"/>
                  <a:gd name="connsiteY8" fmla="*/ 1088346 h 1088346"/>
                  <a:gd name="connsiteX9" fmla="*/ 0 w 642086"/>
                  <a:gd name="connsiteY9" fmla="*/ 1048004 h 1088346"/>
                  <a:gd name="connsiteX10" fmla="*/ 0 w 642086"/>
                  <a:gd name="connsiteY10" fmla="*/ 40342 h 1088346"/>
                  <a:gd name="connsiteX11" fmla="*/ 40342 w 642086"/>
                  <a:gd name="connsiteY11" fmla="*/ 0 h 1088346"/>
                  <a:gd name="connsiteX12" fmla="*/ 601744 w 642086"/>
                  <a:gd name="connsiteY12" fmla="*/ 0 h 1088346"/>
                  <a:gd name="connsiteX13" fmla="*/ 642086 w 642086"/>
                  <a:gd name="connsiteY13" fmla="*/ 40342 h 1088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2086" h="1088346">
                    <a:moveTo>
                      <a:pt x="50516" y="544173"/>
                    </a:moveTo>
                    <a:cubicBezTo>
                      <a:pt x="50516" y="534073"/>
                      <a:pt x="42328" y="525885"/>
                      <a:pt x="32228" y="525885"/>
                    </a:cubicBezTo>
                    <a:cubicBezTo>
                      <a:pt x="22128" y="525885"/>
                      <a:pt x="13940" y="534073"/>
                      <a:pt x="13940" y="544173"/>
                    </a:cubicBezTo>
                    <a:cubicBezTo>
                      <a:pt x="13940" y="554273"/>
                      <a:pt x="22128" y="562461"/>
                      <a:pt x="32228" y="562461"/>
                    </a:cubicBezTo>
                    <a:cubicBezTo>
                      <a:pt x="42328" y="562461"/>
                      <a:pt x="50516" y="554273"/>
                      <a:pt x="50516" y="544173"/>
                    </a:cubicBezTo>
                    <a:close/>
                    <a:moveTo>
                      <a:pt x="642086" y="40342"/>
                    </a:moveTo>
                    <a:lnTo>
                      <a:pt x="642086" y="1048004"/>
                    </a:lnTo>
                    <a:cubicBezTo>
                      <a:pt x="642086" y="1070284"/>
                      <a:pt x="624024" y="1088346"/>
                      <a:pt x="601744" y="1088346"/>
                    </a:cubicBezTo>
                    <a:lnTo>
                      <a:pt x="40342" y="1088346"/>
                    </a:lnTo>
                    <a:cubicBezTo>
                      <a:pt x="18062" y="1088346"/>
                      <a:pt x="0" y="1070284"/>
                      <a:pt x="0" y="1048004"/>
                    </a:cubicBezTo>
                    <a:lnTo>
                      <a:pt x="0" y="40342"/>
                    </a:lnTo>
                    <a:cubicBezTo>
                      <a:pt x="0" y="18062"/>
                      <a:pt x="18062" y="0"/>
                      <a:pt x="40342" y="0"/>
                    </a:cubicBezTo>
                    <a:lnTo>
                      <a:pt x="601744" y="0"/>
                    </a:lnTo>
                    <a:cubicBezTo>
                      <a:pt x="624024" y="0"/>
                      <a:pt x="642086" y="18062"/>
                      <a:pt x="642086" y="40342"/>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316"/>
                <a:endParaRPr lang="en-US" sz="1836" dirty="0">
                  <a:solidFill>
                    <a:srgbClr val="FFFFFF"/>
                  </a:solidFill>
                </a:endParaRPr>
              </a:p>
            </p:txBody>
          </p:sp>
          <p:sp>
            <p:nvSpPr>
              <p:cNvPr id="78" name="Rectangle 79"/>
              <p:cNvSpPr/>
              <p:nvPr/>
            </p:nvSpPr>
            <p:spPr>
              <a:xfrm rot="16200000">
                <a:off x="5257498" y="4175352"/>
                <a:ext cx="525617" cy="964749"/>
              </a:xfrm>
              <a:prstGeom prst="roundRect">
                <a:avLst>
                  <a:gd name="adj" fmla="val 62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316"/>
                <a:endParaRPr lang="en-US" sz="1836" dirty="0">
                  <a:solidFill>
                    <a:srgbClr val="FFFFFF"/>
                  </a:solidFill>
                </a:endParaRPr>
              </a:p>
            </p:txBody>
          </p:sp>
          <p:sp>
            <p:nvSpPr>
              <p:cNvPr id="79" name="Freeform 78"/>
              <p:cNvSpPr/>
              <p:nvPr/>
            </p:nvSpPr>
            <p:spPr bwMode="auto">
              <a:xfrm flipH="1">
                <a:off x="2379162" y="4857527"/>
                <a:ext cx="425612" cy="783562"/>
              </a:xfrm>
              <a:custGeom>
                <a:avLst/>
                <a:gdLst>
                  <a:gd name="connsiteX0" fmla="*/ 230981 w 464344"/>
                  <a:gd name="connsiteY0" fmla="*/ 0 h 854869"/>
                  <a:gd name="connsiteX1" fmla="*/ 0 w 464344"/>
                  <a:gd name="connsiteY1" fmla="*/ 61913 h 854869"/>
                  <a:gd name="connsiteX2" fmla="*/ 38100 w 464344"/>
                  <a:gd name="connsiteY2" fmla="*/ 854869 h 854869"/>
                  <a:gd name="connsiteX3" fmla="*/ 195262 w 464344"/>
                  <a:gd name="connsiteY3" fmla="*/ 854869 h 854869"/>
                  <a:gd name="connsiteX4" fmla="*/ 233363 w 464344"/>
                  <a:gd name="connsiteY4" fmla="*/ 0 h 854869"/>
                  <a:gd name="connsiteX5" fmla="*/ 269082 w 464344"/>
                  <a:gd name="connsiteY5" fmla="*/ 854869 h 854869"/>
                  <a:gd name="connsiteX6" fmla="*/ 426244 w 464344"/>
                  <a:gd name="connsiteY6" fmla="*/ 854869 h 854869"/>
                  <a:gd name="connsiteX7" fmla="*/ 464344 w 464344"/>
                  <a:gd name="connsiteY7" fmla="*/ 61913 h 854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4344" h="854869">
                    <a:moveTo>
                      <a:pt x="230981" y="0"/>
                    </a:moveTo>
                    <a:lnTo>
                      <a:pt x="0" y="61913"/>
                    </a:lnTo>
                    <a:lnTo>
                      <a:pt x="38100" y="854869"/>
                    </a:lnTo>
                    <a:lnTo>
                      <a:pt x="195262" y="854869"/>
                    </a:lnTo>
                    <a:close/>
                    <a:moveTo>
                      <a:pt x="233363" y="0"/>
                    </a:moveTo>
                    <a:lnTo>
                      <a:pt x="269082" y="854869"/>
                    </a:lnTo>
                    <a:lnTo>
                      <a:pt x="426244" y="854869"/>
                    </a:lnTo>
                    <a:lnTo>
                      <a:pt x="464344" y="61913"/>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79"/>
              <p:cNvSpPr/>
              <p:nvPr/>
            </p:nvSpPr>
            <p:spPr bwMode="auto">
              <a:xfrm>
                <a:off x="2610706" y="5619262"/>
                <a:ext cx="172056" cy="85294"/>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1" name="Freeform 80"/>
              <p:cNvSpPr/>
              <p:nvPr/>
            </p:nvSpPr>
            <p:spPr bwMode="auto">
              <a:xfrm>
                <a:off x="2403357" y="5619262"/>
                <a:ext cx="172056" cy="85294"/>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2" name="Group 81"/>
              <p:cNvGrpSpPr/>
              <p:nvPr/>
            </p:nvGrpSpPr>
            <p:grpSpPr>
              <a:xfrm>
                <a:off x="2861523" y="3991025"/>
                <a:ext cx="218262" cy="862136"/>
                <a:chOff x="2474119" y="511969"/>
                <a:chExt cx="238125" cy="940593"/>
              </a:xfrm>
            </p:grpSpPr>
            <p:sp>
              <p:nvSpPr>
                <p:cNvPr id="83" name="Rounded Rectangle 82"/>
                <p:cNvSpPr/>
                <p:nvPr/>
              </p:nvSpPr>
              <p:spPr bwMode="auto">
                <a:xfrm>
                  <a:off x="2588648" y="1281112"/>
                  <a:ext cx="106928" cy="171450"/>
                </a:xfrm>
                <a:prstGeom prst="roundRect">
                  <a:avLst>
                    <a:gd name="adj" fmla="val 50000"/>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4" name="Freeform 83"/>
                <p:cNvSpPr/>
                <p:nvPr/>
              </p:nvSpPr>
              <p:spPr bwMode="auto">
                <a:xfrm>
                  <a:off x="2474119" y="511969"/>
                  <a:ext cx="238125" cy="833437"/>
                </a:xfrm>
                <a:custGeom>
                  <a:avLst/>
                  <a:gdLst>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5" h="833437">
                      <a:moveTo>
                        <a:pt x="7144" y="0"/>
                      </a:moveTo>
                      <a:cubicBezTo>
                        <a:pt x="103188" y="253999"/>
                        <a:pt x="215900" y="496094"/>
                        <a:pt x="238125" y="833437"/>
                      </a:cubicBezTo>
                      <a:lnTo>
                        <a:pt x="109537" y="833437"/>
                      </a:lnTo>
                      <a:cubicBezTo>
                        <a:pt x="94457" y="714376"/>
                        <a:pt x="74612" y="516731"/>
                        <a:pt x="0" y="361950"/>
                      </a:cubicBezTo>
                      <a:lnTo>
                        <a:pt x="7144"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5" name="Group 84"/>
              <p:cNvGrpSpPr/>
              <p:nvPr/>
            </p:nvGrpSpPr>
            <p:grpSpPr>
              <a:xfrm flipH="1">
                <a:off x="2104893" y="3991025"/>
                <a:ext cx="218262" cy="862136"/>
                <a:chOff x="2470930" y="511969"/>
                <a:chExt cx="238125" cy="940593"/>
              </a:xfrm>
            </p:grpSpPr>
            <p:sp>
              <p:nvSpPr>
                <p:cNvPr id="86" name="Rounded Rectangle 85"/>
                <p:cNvSpPr/>
                <p:nvPr/>
              </p:nvSpPr>
              <p:spPr bwMode="auto">
                <a:xfrm>
                  <a:off x="2585459" y="1281112"/>
                  <a:ext cx="106928" cy="171450"/>
                </a:xfrm>
                <a:prstGeom prst="roundRect">
                  <a:avLst>
                    <a:gd name="adj" fmla="val 50000"/>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7" name="Freeform 86"/>
                <p:cNvSpPr/>
                <p:nvPr/>
              </p:nvSpPr>
              <p:spPr bwMode="auto">
                <a:xfrm>
                  <a:off x="2470930" y="511969"/>
                  <a:ext cx="238125" cy="833438"/>
                </a:xfrm>
                <a:custGeom>
                  <a:avLst/>
                  <a:gdLst>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5" h="833437">
                      <a:moveTo>
                        <a:pt x="7144" y="0"/>
                      </a:moveTo>
                      <a:cubicBezTo>
                        <a:pt x="103188" y="253999"/>
                        <a:pt x="215900" y="496094"/>
                        <a:pt x="238125" y="833437"/>
                      </a:cubicBezTo>
                      <a:lnTo>
                        <a:pt x="109537" y="833437"/>
                      </a:lnTo>
                      <a:cubicBezTo>
                        <a:pt x="94457" y="714376"/>
                        <a:pt x="74612" y="516731"/>
                        <a:pt x="0" y="361950"/>
                      </a:cubicBezTo>
                      <a:lnTo>
                        <a:pt x="7144"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8" name="Rectangle 87"/>
              <p:cNvSpPr/>
              <p:nvPr/>
            </p:nvSpPr>
            <p:spPr bwMode="auto">
              <a:xfrm>
                <a:off x="2416269" y="4025947"/>
                <a:ext cx="357740" cy="5238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9" name="Freeform 88"/>
              <p:cNvSpPr/>
              <p:nvPr/>
            </p:nvSpPr>
            <p:spPr bwMode="auto">
              <a:xfrm>
                <a:off x="2314417" y="3993208"/>
                <a:ext cx="558019" cy="934163"/>
              </a:xfrm>
              <a:custGeom>
                <a:avLst/>
                <a:gdLst>
                  <a:gd name="connsiteX0" fmla="*/ 0 w 608801"/>
                  <a:gd name="connsiteY0" fmla="*/ 0 h 1019175"/>
                  <a:gd name="connsiteX1" fmla="*/ 225692 w 608801"/>
                  <a:gd name="connsiteY1" fmla="*/ 0 h 1019175"/>
                  <a:gd name="connsiteX2" fmla="*/ 225420 w 608801"/>
                  <a:gd name="connsiteY2" fmla="*/ 2381 h 1019175"/>
                  <a:gd name="connsiteX3" fmla="*/ 306382 w 608801"/>
                  <a:gd name="connsiteY3" fmla="*/ 569119 h 1019175"/>
                  <a:gd name="connsiteX4" fmla="*/ 347756 w 608801"/>
                  <a:gd name="connsiteY4" fmla="*/ 283964 h 1019175"/>
                  <a:gd name="connsiteX5" fmla="*/ 379666 w 608801"/>
                  <a:gd name="connsiteY5" fmla="*/ 0 h 1019175"/>
                  <a:gd name="connsiteX6" fmla="*/ 608801 w 608801"/>
                  <a:gd name="connsiteY6" fmla="*/ 0 h 1019175"/>
                  <a:gd name="connsiteX7" fmla="*/ 608801 w 608801"/>
                  <a:gd name="connsiteY7" fmla="*/ 1019175 h 1019175"/>
                  <a:gd name="connsiteX8" fmla="*/ 0 w 608801"/>
                  <a:gd name="connsiteY8" fmla="*/ 1019175 h 101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801" h="1019175">
                    <a:moveTo>
                      <a:pt x="0" y="0"/>
                    </a:moveTo>
                    <a:lnTo>
                      <a:pt x="225692" y="0"/>
                    </a:lnTo>
                    <a:lnTo>
                      <a:pt x="225420" y="2381"/>
                    </a:lnTo>
                    <a:cubicBezTo>
                      <a:pt x="252407" y="191294"/>
                      <a:pt x="267488" y="380206"/>
                      <a:pt x="306382" y="569119"/>
                    </a:cubicBezTo>
                    <a:cubicBezTo>
                      <a:pt x="324638" y="475853"/>
                      <a:pt x="336941" y="380206"/>
                      <a:pt x="347756" y="283964"/>
                    </a:cubicBezTo>
                    <a:lnTo>
                      <a:pt x="379666" y="0"/>
                    </a:lnTo>
                    <a:lnTo>
                      <a:pt x="608801" y="0"/>
                    </a:lnTo>
                    <a:lnTo>
                      <a:pt x="608801" y="1019175"/>
                    </a:lnTo>
                    <a:lnTo>
                      <a:pt x="0" y="1019175"/>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0" name="Freeform 89"/>
              <p:cNvSpPr/>
              <p:nvPr/>
            </p:nvSpPr>
            <p:spPr bwMode="auto">
              <a:xfrm rot="5400000">
                <a:off x="2412890" y="3699646"/>
                <a:ext cx="360131" cy="283741"/>
              </a:xfrm>
              <a:custGeom>
                <a:avLst/>
                <a:gdLst>
                  <a:gd name="connsiteX0" fmla="*/ 0 w 392904"/>
                  <a:gd name="connsiteY0" fmla="*/ 184191 h 309562"/>
                  <a:gd name="connsiteX1" fmla="*/ 0 w 392904"/>
                  <a:gd name="connsiteY1" fmla="*/ 125371 h 309562"/>
                  <a:gd name="connsiteX2" fmla="*/ 95323 w 392904"/>
                  <a:gd name="connsiteY2" fmla="*/ 30048 h 309562"/>
                  <a:gd name="connsiteX3" fmla="*/ 107911 w 392904"/>
                  <a:gd name="connsiteY3" fmla="*/ 30048 h 309562"/>
                  <a:gd name="connsiteX4" fmla="*/ 116458 w 392904"/>
                  <a:gd name="connsiteY4" fmla="*/ 9416 h 309562"/>
                  <a:gd name="connsiteX5" fmla="*/ 139189 w 392904"/>
                  <a:gd name="connsiteY5" fmla="*/ 0 h 309562"/>
                  <a:gd name="connsiteX6" fmla="*/ 182279 w 392904"/>
                  <a:gd name="connsiteY6" fmla="*/ 0 h 309562"/>
                  <a:gd name="connsiteX7" fmla="*/ 205010 w 392904"/>
                  <a:gd name="connsiteY7" fmla="*/ 9416 h 309562"/>
                  <a:gd name="connsiteX8" fmla="*/ 213557 w 392904"/>
                  <a:gd name="connsiteY8" fmla="*/ 30048 h 309562"/>
                  <a:gd name="connsiteX9" fmla="*/ 252339 w 392904"/>
                  <a:gd name="connsiteY9" fmla="*/ 30048 h 309562"/>
                  <a:gd name="connsiteX10" fmla="*/ 319742 w 392904"/>
                  <a:gd name="connsiteY10" fmla="*/ 57968 h 309562"/>
                  <a:gd name="connsiteX11" fmla="*/ 336441 w 392904"/>
                  <a:gd name="connsiteY11" fmla="*/ 82735 h 309562"/>
                  <a:gd name="connsiteX12" fmla="*/ 357186 w 392904"/>
                  <a:gd name="connsiteY12" fmla="*/ 80848 h 309562"/>
                  <a:gd name="connsiteX13" fmla="*/ 392904 w 392904"/>
                  <a:gd name="connsiteY13" fmla="*/ 152286 h 309562"/>
                  <a:gd name="connsiteX14" fmla="*/ 357186 w 392904"/>
                  <a:gd name="connsiteY14" fmla="*/ 235629 h 309562"/>
                  <a:gd name="connsiteX15" fmla="*/ 330992 w 392904"/>
                  <a:gd name="connsiteY15" fmla="*/ 235629 h 309562"/>
                  <a:gd name="connsiteX16" fmla="*/ 330992 w 392904"/>
                  <a:gd name="connsiteY16" fmla="*/ 234909 h 309562"/>
                  <a:gd name="connsiteX17" fmla="*/ 319742 w 392904"/>
                  <a:gd name="connsiteY17" fmla="*/ 251594 h 309562"/>
                  <a:gd name="connsiteX18" fmla="*/ 252339 w 392904"/>
                  <a:gd name="connsiteY18" fmla="*/ 279514 h 309562"/>
                  <a:gd name="connsiteX19" fmla="*/ 213557 w 392904"/>
                  <a:gd name="connsiteY19" fmla="*/ 279514 h 309562"/>
                  <a:gd name="connsiteX20" fmla="*/ 205010 w 392904"/>
                  <a:gd name="connsiteY20" fmla="*/ 300146 h 309562"/>
                  <a:gd name="connsiteX21" fmla="*/ 182279 w 392904"/>
                  <a:gd name="connsiteY21" fmla="*/ 309562 h 309562"/>
                  <a:gd name="connsiteX22" fmla="*/ 139189 w 392904"/>
                  <a:gd name="connsiteY22" fmla="*/ 309562 h 309562"/>
                  <a:gd name="connsiteX23" fmla="*/ 116458 w 392904"/>
                  <a:gd name="connsiteY23" fmla="*/ 300146 h 309562"/>
                  <a:gd name="connsiteX24" fmla="*/ 107911 w 392904"/>
                  <a:gd name="connsiteY24" fmla="*/ 279514 h 309562"/>
                  <a:gd name="connsiteX25" fmla="*/ 95323 w 392904"/>
                  <a:gd name="connsiteY25" fmla="*/ 279514 h 309562"/>
                  <a:gd name="connsiteX26" fmla="*/ 0 w 392904"/>
                  <a:gd name="connsiteY26" fmla="*/ 184191 h 30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904" h="309562">
                    <a:moveTo>
                      <a:pt x="0" y="184191"/>
                    </a:moveTo>
                    <a:lnTo>
                      <a:pt x="0" y="125371"/>
                    </a:lnTo>
                    <a:cubicBezTo>
                      <a:pt x="0" y="72726"/>
                      <a:pt x="42678" y="30048"/>
                      <a:pt x="95323" y="30048"/>
                    </a:cubicBezTo>
                    <a:lnTo>
                      <a:pt x="107911" y="30048"/>
                    </a:lnTo>
                    <a:lnTo>
                      <a:pt x="116458" y="9416"/>
                    </a:lnTo>
                    <a:cubicBezTo>
                      <a:pt x="122275" y="3598"/>
                      <a:pt x="130312" y="0"/>
                      <a:pt x="139189" y="0"/>
                    </a:cubicBezTo>
                    <a:lnTo>
                      <a:pt x="182279" y="0"/>
                    </a:lnTo>
                    <a:cubicBezTo>
                      <a:pt x="191156" y="0"/>
                      <a:pt x="199193" y="3598"/>
                      <a:pt x="205010" y="9416"/>
                    </a:cubicBezTo>
                    <a:lnTo>
                      <a:pt x="213557" y="30048"/>
                    </a:lnTo>
                    <a:lnTo>
                      <a:pt x="252339" y="30048"/>
                    </a:lnTo>
                    <a:cubicBezTo>
                      <a:pt x="278662" y="30048"/>
                      <a:pt x="302492" y="40718"/>
                      <a:pt x="319742" y="57968"/>
                    </a:cubicBezTo>
                    <a:lnTo>
                      <a:pt x="336441" y="82735"/>
                    </a:lnTo>
                    <a:lnTo>
                      <a:pt x="357186" y="80848"/>
                    </a:lnTo>
                    <a:lnTo>
                      <a:pt x="392904" y="152286"/>
                    </a:lnTo>
                    <a:lnTo>
                      <a:pt x="357186" y="235629"/>
                    </a:lnTo>
                    <a:lnTo>
                      <a:pt x="330992" y="235629"/>
                    </a:lnTo>
                    <a:lnTo>
                      <a:pt x="330992" y="234909"/>
                    </a:lnTo>
                    <a:lnTo>
                      <a:pt x="319742" y="251594"/>
                    </a:lnTo>
                    <a:cubicBezTo>
                      <a:pt x="302492" y="268845"/>
                      <a:pt x="278662" y="279514"/>
                      <a:pt x="252339" y="279514"/>
                    </a:cubicBezTo>
                    <a:lnTo>
                      <a:pt x="213557" y="279514"/>
                    </a:lnTo>
                    <a:lnTo>
                      <a:pt x="205010" y="300146"/>
                    </a:lnTo>
                    <a:cubicBezTo>
                      <a:pt x="199193" y="305964"/>
                      <a:pt x="191156" y="309562"/>
                      <a:pt x="182279" y="309562"/>
                    </a:cubicBezTo>
                    <a:lnTo>
                      <a:pt x="139189" y="309562"/>
                    </a:lnTo>
                    <a:cubicBezTo>
                      <a:pt x="130312" y="309562"/>
                      <a:pt x="122275" y="305964"/>
                      <a:pt x="116458" y="300146"/>
                    </a:cubicBezTo>
                    <a:lnTo>
                      <a:pt x="107911" y="279514"/>
                    </a:lnTo>
                    <a:lnTo>
                      <a:pt x="95323" y="279514"/>
                    </a:lnTo>
                    <a:cubicBezTo>
                      <a:pt x="42678" y="279514"/>
                      <a:pt x="0" y="236836"/>
                      <a:pt x="0" y="184191"/>
                    </a:cubicBezTo>
                    <a:close/>
                  </a:path>
                </a:pathLst>
              </a:cu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90"/>
              <p:cNvSpPr/>
              <p:nvPr/>
            </p:nvSpPr>
            <p:spPr bwMode="auto">
              <a:xfrm>
                <a:off x="2452964" y="3610879"/>
                <a:ext cx="276723" cy="179344"/>
              </a:xfrm>
              <a:custGeom>
                <a:avLst/>
                <a:gdLst>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1649"/>
                  <a:gd name="connsiteY0" fmla="*/ 190500 h 190500"/>
                  <a:gd name="connsiteX1" fmla="*/ 271463 w 301649"/>
                  <a:gd name="connsiteY1" fmla="*/ 116681 h 190500"/>
                  <a:gd name="connsiteX2" fmla="*/ 195263 w 301649"/>
                  <a:gd name="connsiteY2" fmla="*/ 107156 h 190500"/>
                  <a:gd name="connsiteX3" fmla="*/ 52388 w 301649"/>
                  <a:gd name="connsiteY3" fmla="*/ 100012 h 190500"/>
                  <a:gd name="connsiteX4" fmla="*/ 21431 w 301649"/>
                  <a:gd name="connsiteY4" fmla="*/ 119062 h 190500"/>
                  <a:gd name="connsiteX5" fmla="*/ 23813 w 301649"/>
                  <a:gd name="connsiteY5" fmla="*/ 164306 h 190500"/>
                  <a:gd name="connsiteX6" fmla="*/ 0 w 301649"/>
                  <a:gd name="connsiteY6" fmla="*/ 171450 h 190500"/>
                  <a:gd name="connsiteX7" fmla="*/ 97631 w 301649"/>
                  <a:gd name="connsiteY7" fmla="*/ 0 h 190500"/>
                  <a:gd name="connsiteX8" fmla="*/ 214313 w 301649"/>
                  <a:gd name="connsiteY8" fmla="*/ 40481 h 190500"/>
                  <a:gd name="connsiteX9" fmla="*/ 300038 w 301649"/>
                  <a:gd name="connsiteY9" fmla="*/ 190500 h 190500"/>
                  <a:gd name="connsiteX0" fmla="*/ 300038 w 301649"/>
                  <a:gd name="connsiteY0" fmla="*/ 194507 h 194507"/>
                  <a:gd name="connsiteX1" fmla="*/ 271463 w 301649"/>
                  <a:gd name="connsiteY1" fmla="*/ 120688 h 194507"/>
                  <a:gd name="connsiteX2" fmla="*/ 195263 w 301649"/>
                  <a:gd name="connsiteY2" fmla="*/ 111163 h 194507"/>
                  <a:gd name="connsiteX3" fmla="*/ 52388 w 301649"/>
                  <a:gd name="connsiteY3" fmla="*/ 104019 h 194507"/>
                  <a:gd name="connsiteX4" fmla="*/ 21431 w 301649"/>
                  <a:gd name="connsiteY4" fmla="*/ 123069 h 194507"/>
                  <a:gd name="connsiteX5" fmla="*/ 23813 w 301649"/>
                  <a:gd name="connsiteY5" fmla="*/ 168313 h 194507"/>
                  <a:gd name="connsiteX6" fmla="*/ 0 w 301649"/>
                  <a:gd name="connsiteY6" fmla="*/ 175457 h 194507"/>
                  <a:gd name="connsiteX7" fmla="*/ 97631 w 301649"/>
                  <a:gd name="connsiteY7" fmla="*/ 4007 h 194507"/>
                  <a:gd name="connsiteX8" fmla="*/ 214313 w 301649"/>
                  <a:gd name="connsiteY8" fmla="*/ 44488 h 194507"/>
                  <a:gd name="connsiteX9" fmla="*/ 300038 w 301649"/>
                  <a:gd name="connsiteY9" fmla="*/ 194507 h 194507"/>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21431 w 301649"/>
                  <a:gd name="connsiteY4" fmla="*/ 124227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45243 w 301649"/>
                  <a:gd name="connsiteY4" fmla="*/ 150420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4258 w 302094"/>
                  <a:gd name="connsiteY5" fmla="*/ 1694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1906" h="195665">
                    <a:moveTo>
                      <a:pt x="300483" y="195665"/>
                    </a:moveTo>
                    <a:cubicBezTo>
                      <a:pt x="231426" y="159153"/>
                      <a:pt x="281433" y="146452"/>
                      <a:pt x="271908" y="121846"/>
                    </a:cubicBezTo>
                    <a:cubicBezTo>
                      <a:pt x="246508" y="130578"/>
                      <a:pt x="221108" y="115496"/>
                      <a:pt x="195708" y="112321"/>
                    </a:cubicBezTo>
                    <a:cubicBezTo>
                      <a:pt x="117127" y="138515"/>
                      <a:pt x="86170" y="124227"/>
                      <a:pt x="52833" y="105177"/>
                    </a:cubicBezTo>
                    <a:lnTo>
                      <a:pt x="43307" y="126608"/>
                    </a:lnTo>
                    <a:cubicBezTo>
                      <a:pt x="32989" y="141689"/>
                      <a:pt x="32195" y="178203"/>
                      <a:pt x="12352" y="171852"/>
                    </a:cubicBezTo>
                    <a:lnTo>
                      <a:pt x="445" y="176615"/>
                    </a:lnTo>
                    <a:cubicBezTo>
                      <a:pt x="-2730" y="105177"/>
                      <a:pt x="9176" y="22627"/>
                      <a:pt x="98076" y="5165"/>
                    </a:cubicBezTo>
                    <a:cubicBezTo>
                      <a:pt x="186976" y="-12297"/>
                      <a:pt x="204439" y="17864"/>
                      <a:pt x="214758" y="45646"/>
                    </a:cubicBezTo>
                    <a:cubicBezTo>
                      <a:pt x="302864" y="31358"/>
                      <a:pt x="305246" y="133753"/>
                      <a:pt x="300483" y="195665"/>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2" name="Rounded Rectangle 91"/>
              <p:cNvSpPr/>
              <p:nvPr/>
            </p:nvSpPr>
            <p:spPr bwMode="auto">
              <a:xfrm>
                <a:off x="2435328" y="4789610"/>
                <a:ext cx="310294" cy="152400"/>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3" name="Rounded Rectangle 92"/>
              <p:cNvSpPr/>
              <p:nvPr/>
            </p:nvSpPr>
            <p:spPr bwMode="auto">
              <a:xfrm>
                <a:off x="2099511" y="4118098"/>
                <a:ext cx="985836" cy="671512"/>
              </a:xfrm>
              <a:prstGeom prst="roundRect">
                <a:avLst>
                  <a:gd name="adj" fmla="val 469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20"/>
              <p:cNvSpPr>
                <a:spLocks noEditPoints="1"/>
              </p:cNvSpPr>
              <p:nvPr/>
            </p:nvSpPr>
            <p:spPr bwMode="black">
              <a:xfrm>
                <a:off x="1977331" y="4097973"/>
                <a:ext cx="1230016" cy="855153"/>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4B0045"/>
              </a:solidFill>
              <a:extLst/>
            </p:spPr>
            <p:txBody>
              <a:bodyPr vert="horz" wrap="square" lIns="82305" tIns="41153" rIns="82305" bIns="41153" numCol="1" anchor="t" anchorCtr="0" compatLnSpc="1">
                <a:prstTxWarp prst="textNoShape">
                  <a:avLst/>
                </a:prstTxWarp>
              </a:bodyPr>
              <a:lstStyle/>
              <a:p>
                <a:pPr defTabSz="932316"/>
                <a:endParaRPr lang="en-US" sz="900" dirty="0">
                  <a:solidFill>
                    <a:srgbClr val="FFFFFF"/>
                  </a:solidFill>
                </a:endParaRPr>
              </a:p>
            </p:txBody>
          </p:sp>
          <p:sp>
            <p:nvSpPr>
              <p:cNvPr id="95" name="Freeform 94"/>
              <p:cNvSpPr/>
              <p:nvPr/>
            </p:nvSpPr>
            <p:spPr bwMode="auto">
              <a:xfrm>
                <a:off x="3775934" y="5874824"/>
                <a:ext cx="128775" cy="619865"/>
              </a:xfrm>
              <a:custGeom>
                <a:avLst/>
                <a:gdLst>
                  <a:gd name="connsiteX0" fmla="*/ 0 w 140494"/>
                  <a:gd name="connsiteY0" fmla="*/ 14288 h 676275"/>
                  <a:gd name="connsiteX1" fmla="*/ 19050 w 140494"/>
                  <a:gd name="connsiteY1" fmla="*/ 676275 h 676275"/>
                  <a:gd name="connsiteX2" fmla="*/ 133350 w 140494"/>
                  <a:gd name="connsiteY2" fmla="*/ 664369 h 676275"/>
                  <a:gd name="connsiteX3" fmla="*/ 140494 w 140494"/>
                  <a:gd name="connsiteY3" fmla="*/ 0 h 676275"/>
                  <a:gd name="connsiteX4" fmla="*/ 0 w 140494"/>
                  <a:gd name="connsiteY4" fmla="*/ 14288 h 676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4" h="676275">
                    <a:moveTo>
                      <a:pt x="0" y="14288"/>
                    </a:moveTo>
                    <a:lnTo>
                      <a:pt x="19050" y="676275"/>
                    </a:lnTo>
                    <a:lnTo>
                      <a:pt x="133350" y="664369"/>
                    </a:lnTo>
                    <a:cubicBezTo>
                      <a:pt x="135731" y="442913"/>
                      <a:pt x="138113" y="221456"/>
                      <a:pt x="140494" y="0"/>
                    </a:cubicBezTo>
                    <a:lnTo>
                      <a:pt x="0" y="14288"/>
                    </a:lnTo>
                    <a:close/>
                  </a:path>
                </a:pathLst>
              </a:cu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6" name="Freeform 95"/>
              <p:cNvSpPr/>
              <p:nvPr/>
            </p:nvSpPr>
            <p:spPr bwMode="auto">
              <a:xfrm>
                <a:off x="3926535" y="5874824"/>
                <a:ext cx="128775" cy="619865"/>
              </a:xfrm>
              <a:custGeom>
                <a:avLst/>
                <a:gdLst>
                  <a:gd name="connsiteX0" fmla="*/ 0 w 140494"/>
                  <a:gd name="connsiteY0" fmla="*/ 14288 h 676275"/>
                  <a:gd name="connsiteX1" fmla="*/ 19050 w 140494"/>
                  <a:gd name="connsiteY1" fmla="*/ 676275 h 676275"/>
                  <a:gd name="connsiteX2" fmla="*/ 133350 w 140494"/>
                  <a:gd name="connsiteY2" fmla="*/ 664369 h 676275"/>
                  <a:gd name="connsiteX3" fmla="*/ 140494 w 140494"/>
                  <a:gd name="connsiteY3" fmla="*/ 0 h 676275"/>
                  <a:gd name="connsiteX4" fmla="*/ 0 w 140494"/>
                  <a:gd name="connsiteY4" fmla="*/ 14288 h 676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4" h="676275">
                    <a:moveTo>
                      <a:pt x="0" y="14288"/>
                    </a:moveTo>
                    <a:lnTo>
                      <a:pt x="19050" y="676275"/>
                    </a:lnTo>
                    <a:lnTo>
                      <a:pt x="133350" y="664369"/>
                    </a:lnTo>
                    <a:cubicBezTo>
                      <a:pt x="135731" y="442913"/>
                      <a:pt x="138113" y="221456"/>
                      <a:pt x="140494" y="0"/>
                    </a:cubicBezTo>
                    <a:lnTo>
                      <a:pt x="0" y="14288"/>
                    </a:lnTo>
                    <a:close/>
                  </a:path>
                </a:pathLst>
              </a:cu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7" name="Freeform 96"/>
              <p:cNvSpPr/>
              <p:nvPr/>
            </p:nvSpPr>
            <p:spPr bwMode="auto">
              <a:xfrm>
                <a:off x="3708272" y="5431752"/>
                <a:ext cx="399420" cy="469263"/>
              </a:xfrm>
              <a:custGeom>
                <a:avLst/>
                <a:gdLst>
                  <a:gd name="connsiteX0" fmla="*/ 0 w 435769"/>
                  <a:gd name="connsiteY0" fmla="*/ 14287 h 511968"/>
                  <a:gd name="connsiteX1" fmla="*/ 23813 w 435769"/>
                  <a:gd name="connsiteY1" fmla="*/ 511968 h 511968"/>
                  <a:gd name="connsiteX2" fmla="*/ 421482 w 435769"/>
                  <a:gd name="connsiteY2" fmla="*/ 511968 h 511968"/>
                  <a:gd name="connsiteX3" fmla="*/ 435769 w 435769"/>
                  <a:gd name="connsiteY3" fmla="*/ 0 h 511968"/>
                  <a:gd name="connsiteX4" fmla="*/ 0 w 435769"/>
                  <a:gd name="connsiteY4" fmla="*/ 14287 h 511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769" h="511968">
                    <a:moveTo>
                      <a:pt x="0" y="14287"/>
                    </a:moveTo>
                    <a:lnTo>
                      <a:pt x="23813" y="511968"/>
                    </a:lnTo>
                    <a:lnTo>
                      <a:pt x="421482" y="511968"/>
                    </a:lnTo>
                    <a:lnTo>
                      <a:pt x="435769" y="0"/>
                    </a:lnTo>
                    <a:lnTo>
                      <a:pt x="0" y="14287"/>
                    </a:lnTo>
                    <a:close/>
                  </a:path>
                </a:pathLst>
              </a:custGeom>
              <a:solidFill>
                <a:srgbClr val="ADD4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8" name="Freeform 97"/>
              <p:cNvSpPr/>
              <p:nvPr/>
            </p:nvSpPr>
            <p:spPr bwMode="auto">
              <a:xfrm>
                <a:off x="3735754" y="4571798"/>
                <a:ext cx="130396" cy="120309"/>
              </a:xfrm>
              <a:custGeom>
                <a:avLst/>
                <a:gdLst>
                  <a:gd name="connsiteX0" fmla="*/ 41275 w 123825"/>
                  <a:gd name="connsiteY0" fmla="*/ 0 h 127000"/>
                  <a:gd name="connsiteX1" fmla="*/ 0 w 123825"/>
                  <a:gd name="connsiteY1" fmla="*/ 34925 h 127000"/>
                  <a:gd name="connsiteX2" fmla="*/ 104775 w 123825"/>
                  <a:gd name="connsiteY2" fmla="*/ 127000 h 127000"/>
                  <a:gd name="connsiteX3" fmla="*/ 123825 w 123825"/>
                  <a:gd name="connsiteY3" fmla="*/ 15875 h 127000"/>
                  <a:gd name="connsiteX4" fmla="*/ 41275 w 123825"/>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9779 w 142329"/>
                  <a:gd name="connsiteY0" fmla="*/ 0 h 127000"/>
                  <a:gd name="connsiteX1" fmla="*/ 2629 w 142329"/>
                  <a:gd name="connsiteY1" fmla="*/ 34925 h 127000"/>
                  <a:gd name="connsiteX2" fmla="*/ 123279 w 142329"/>
                  <a:gd name="connsiteY2" fmla="*/ 127000 h 127000"/>
                  <a:gd name="connsiteX3" fmla="*/ 142329 w 142329"/>
                  <a:gd name="connsiteY3" fmla="*/ 15875 h 127000"/>
                  <a:gd name="connsiteX4" fmla="*/ 59779 w 142329"/>
                  <a:gd name="connsiteY4" fmla="*/ 0 h 127000"/>
                  <a:gd name="connsiteX0" fmla="*/ 59712 w 142262"/>
                  <a:gd name="connsiteY0" fmla="*/ 0 h 131258"/>
                  <a:gd name="connsiteX1" fmla="*/ 2562 w 142262"/>
                  <a:gd name="connsiteY1" fmla="*/ 34925 h 131258"/>
                  <a:gd name="connsiteX2" fmla="*/ 123212 w 142262"/>
                  <a:gd name="connsiteY2" fmla="*/ 127000 h 131258"/>
                  <a:gd name="connsiteX3" fmla="*/ 142262 w 142262"/>
                  <a:gd name="connsiteY3" fmla="*/ 15875 h 131258"/>
                  <a:gd name="connsiteX4" fmla="*/ 59712 w 142262"/>
                  <a:gd name="connsiteY4" fmla="*/ 0 h 131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62" h="131258">
                    <a:moveTo>
                      <a:pt x="59712" y="0"/>
                    </a:moveTo>
                    <a:cubicBezTo>
                      <a:pt x="78762" y="94192"/>
                      <a:pt x="21612" y="23283"/>
                      <a:pt x="2562" y="34925"/>
                    </a:cubicBezTo>
                    <a:cubicBezTo>
                      <a:pt x="-17546" y="144992"/>
                      <a:pt x="86170" y="134408"/>
                      <a:pt x="123212" y="127000"/>
                    </a:cubicBezTo>
                    <a:lnTo>
                      <a:pt x="142262" y="15875"/>
                    </a:lnTo>
                    <a:lnTo>
                      <a:pt x="59712" y="0"/>
                    </a:lnTo>
                    <a:close/>
                  </a:path>
                </a:pathLst>
              </a:cu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9" name="Freeform 98"/>
              <p:cNvSpPr/>
              <p:nvPr/>
            </p:nvSpPr>
            <p:spPr bwMode="auto">
              <a:xfrm flipH="1">
                <a:off x="3971477" y="4571798"/>
                <a:ext cx="130396" cy="120309"/>
              </a:xfrm>
              <a:custGeom>
                <a:avLst/>
                <a:gdLst>
                  <a:gd name="connsiteX0" fmla="*/ 41275 w 123825"/>
                  <a:gd name="connsiteY0" fmla="*/ 0 h 127000"/>
                  <a:gd name="connsiteX1" fmla="*/ 0 w 123825"/>
                  <a:gd name="connsiteY1" fmla="*/ 34925 h 127000"/>
                  <a:gd name="connsiteX2" fmla="*/ 104775 w 123825"/>
                  <a:gd name="connsiteY2" fmla="*/ 127000 h 127000"/>
                  <a:gd name="connsiteX3" fmla="*/ 123825 w 123825"/>
                  <a:gd name="connsiteY3" fmla="*/ 15875 h 127000"/>
                  <a:gd name="connsiteX4" fmla="*/ 41275 w 123825"/>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9779 w 142329"/>
                  <a:gd name="connsiteY0" fmla="*/ 0 h 127000"/>
                  <a:gd name="connsiteX1" fmla="*/ 2629 w 142329"/>
                  <a:gd name="connsiteY1" fmla="*/ 34925 h 127000"/>
                  <a:gd name="connsiteX2" fmla="*/ 123279 w 142329"/>
                  <a:gd name="connsiteY2" fmla="*/ 127000 h 127000"/>
                  <a:gd name="connsiteX3" fmla="*/ 142329 w 142329"/>
                  <a:gd name="connsiteY3" fmla="*/ 15875 h 127000"/>
                  <a:gd name="connsiteX4" fmla="*/ 59779 w 142329"/>
                  <a:gd name="connsiteY4" fmla="*/ 0 h 127000"/>
                  <a:gd name="connsiteX0" fmla="*/ 59712 w 142262"/>
                  <a:gd name="connsiteY0" fmla="*/ 0 h 131258"/>
                  <a:gd name="connsiteX1" fmla="*/ 2562 w 142262"/>
                  <a:gd name="connsiteY1" fmla="*/ 34925 h 131258"/>
                  <a:gd name="connsiteX2" fmla="*/ 123212 w 142262"/>
                  <a:gd name="connsiteY2" fmla="*/ 127000 h 131258"/>
                  <a:gd name="connsiteX3" fmla="*/ 142262 w 142262"/>
                  <a:gd name="connsiteY3" fmla="*/ 15875 h 131258"/>
                  <a:gd name="connsiteX4" fmla="*/ 59712 w 142262"/>
                  <a:gd name="connsiteY4" fmla="*/ 0 h 131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62" h="131258">
                    <a:moveTo>
                      <a:pt x="59712" y="0"/>
                    </a:moveTo>
                    <a:cubicBezTo>
                      <a:pt x="78762" y="94192"/>
                      <a:pt x="21612" y="23283"/>
                      <a:pt x="2562" y="34925"/>
                    </a:cubicBezTo>
                    <a:cubicBezTo>
                      <a:pt x="-17546" y="144992"/>
                      <a:pt x="86170" y="134408"/>
                      <a:pt x="123212" y="127000"/>
                    </a:cubicBezTo>
                    <a:lnTo>
                      <a:pt x="142262" y="15875"/>
                    </a:lnTo>
                    <a:lnTo>
                      <a:pt x="59712" y="0"/>
                    </a:lnTo>
                    <a:close/>
                  </a:path>
                </a:pathLst>
              </a:cu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0" name="Rectangle 99"/>
              <p:cNvSpPr/>
              <p:nvPr/>
            </p:nvSpPr>
            <p:spPr bwMode="auto">
              <a:xfrm>
                <a:off x="3837048" y="4705665"/>
                <a:ext cx="150601" cy="3739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1" name="Rounded Rectangle 100"/>
              <p:cNvSpPr/>
              <p:nvPr/>
            </p:nvSpPr>
            <p:spPr bwMode="auto">
              <a:xfrm>
                <a:off x="4203728" y="5265872"/>
                <a:ext cx="69844" cy="113496"/>
              </a:xfrm>
              <a:prstGeom prst="roundRect">
                <a:avLst>
                  <a:gd name="adj" fmla="val 50000"/>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Rounded Rectangle 101"/>
              <p:cNvSpPr/>
              <p:nvPr/>
            </p:nvSpPr>
            <p:spPr bwMode="auto">
              <a:xfrm>
                <a:off x="3545982" y="5265872"/>
                <a:ext cx="69844" cy="113496"/>
              </a:xfrm>
              <a:prstGeom prst="roundRect">
                <a:avLst>
                  <a:gd name="adj" fmla="val 50000"/>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102"/>
              <p:cNvSpPr/>
              <p:nvPr/>
            </p:nvSpPr>
            <p:spPr bwMode="auto">
              <a:xfrm>
                <a:off x="3528570" y="4705665"/>
                <a:ext cx="756643" cy="747912"/>
              </a:xfrm>
              <a:custGeom>
                <a:avLst/>
                <a:gdLst>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104775 w 825500"/>
                  <a:gd name="connsiteY10" fmla="*/ 660400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104775 w 825500"/>
                  <a:gd name="connsiteY10" fmla="*/ 660400 h 815975"/>
                  <a:gd name="connsiteX11" fmla="*/ 0 w 825500"/>
                  <a:gd name="connsiteY11" fmla="*/ 657225 h 815975"/>
                  <a:gd name="connsiteX12" fmla="*/ 149225 w 825500"/>
                  <a:gd name="connsiteY12" fmla="*/ 28575 h 815975"/>
                  <a:gd name="connsiteX13" fmla="*/ 336550 w 825500"/>
                  <a:gd name="connsiteY13" fmla="*/ 0 h 81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5500" h="815975">
                    <a:moveTo>
                      <a:pt x="336550" y="0"/>
                    </a:moveTo>
                    <a:lnTo>
                      <a:pt x="415925" y="574675"/>
                    </a:lnTo>
                    <a:lnTo>
                      <a:pt x="492125" y="3175"/>
                    </a:lnTo>
                    <a:lnTo>
                      <a:pt x="676275" y="19050"/>
                    </a:lnTo>
                    <a:cubicBezTo>
                      <a:pt x="799042" y="262467"/>
                      <a:pt x="817033" y="531283"/>
                      <a:pt x="825500" y="654050"/>
                    </a:cubicBezTo>
                    <a:lnTo>
                      <a:pt x="717550" y="657225"/>
                    </a:lnTo>
                    <a:cubicBezTo>
                      <a:pt x="729192" y="536575"/>
                      <a:pt x="693208" y="393700"/>
                      <a:pt x="666750" y="285750"/>
                    </a:cubicBezTo>
                    <a:lnTo>
                      <a:pt x="638175" y="815975"/>
                    </a:lnTo>
                    <a:lnTo>
                      <a:pt x="187325" y="815975"/>
                    </a:lnTo>
                    <a:lnTo>
                      <a:pt x="171450" y="285750"/>
                    </a:lnTo>
                    <a:cubicBezTo>
                      <a:pt x="134408" y="384175"/>
                      <a:pt x="110067" y="530225"/>
                      <a:pt x="104775" y="660400"/>
                    </a:cubicBezTo>
                    <a:lnTo>
                      <a:pt x="0" y="657225"/>
                    </a:lnTo>
                    <a:cubicBezTo>
                      <a:pt x="21167" y="508000"/>
                      <a:pt x="35983" y="276225"/>
                      <a:pt x="149225" y="28575"/>
                    </a:cubicBezTo>
                    <a:lnTo>
                      <a:pt x="336550" y="0"/>
                    </a:lnTo>
                    <a:close/>
                  </a:path>
                </a:pathLst>
              </a:custGeom>
              <a:solidFill>
                <a:srgbClr val="FD742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4" name="Freeform 103"/>
              <p:cNvSpPr/>
              <p:nvPr/>
            </p:nvSpPr>
            <p:spPr bwMode="auto">
              <a:xfrm>
                <a:off x="3779411" y="6453666"/>
                <a:ext cx="127481" cy="63197"/>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836" dirty="0">
                  <a:solidFill>
                    <a:srgbClr val="FFFFFF"/>
                  </a:solidFill>
                </a:endParaRPr>
              </a:p>
            </p:txBody>
          </p:sp>
          <p:sp>
            <p:nvSpPr>
              <p:cNvPr id="105" name="Freeform 104"/>
              <p:cNvSpPr/>
              <p:nvPr/>
            </p:nvSpPr>
            <p:spPr bwMode="auto">
              <a:xfrm>
                <a:off x="3930012" y="6453666"/>
                <a:ext cx="127481" cy="63197"/>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836" dirty="0">
                  <a:solidFill>
                    <a:srgbClr val="FFFFFF"/>
                  </a:solidFill>
                </a:endParaRPr>
              </a:p>
            </p:txBody>
          </p:sp>
          <p:sp>
            <p:nvSpPr>
              <p:cNvPr id="106" name="Freeform 105"/>
              <p:cNvSpPr/>
              <p:nvPr/>
            </p:nvSpPr>
            <p:spPr bwMode="auto">
              <a:xfrm rot="5400000">
                <a:off x="3738796" y="4411198"/>
                <a:ext cx="360131" cy="283741"/>
              </a:xfrm>
              <a:custGeom>
                <a:avLst/>
                <a:gdLst>
                  <a:gd name="connsiteX0" fmla="*/ 0 w 392904"/>
                  <a:gd name="connsiteY0" fmla="*/ 184191 h 309562"/>
                  <a:gd name="connsiteX1" fmla="*/ 0 w 392904"/>
                  <a:gd name="connsiteY1" fmla="*/ 125371 h 309562"/>
                  <a:gd name="connsiteX2" fmla="*/ 95323 w 392904"/>
                  <a:gd name="connsiteY2" fmla="*/ 30048 h 309562"/>
                  <a:gd name="connsiteX3" fmla="*/ 107911 w 392904"/>
                  <a:gd name="connsiteY3" fmla="*/ 30048 h 309562"/>
                  <a:gd name="connsiteX4" fmla="*/ 116458 w 392904"/>
                  <a:gd name="connsiteY4" fmla="*/ 9416 h 309562"/>
                  <a:gd name="connsiteX5" fmla="*/ 139189 w 392904"/>
                  <a:gd name="connsiteY5" fmla="*/ 0 h 309562"/>
                  <a:gd name="connsiteX6" fmla="*/ 182279 w 392904"/>
                  <a:gd name="connsiteY6" fmla="*/ 0 h 309562"/>
                  <a:gd name="connsiteX7" fmla="*/ 205010 w 392904"/>
                  <a:gd name="connsiteY7" fmla="*/ 9416 h 309562"/>
                  <a:gd name="connsiteX8" fmla="*/ 213557 w 392904"/>
                  <a:gd name="connsiteY8" fmla="*/ 30048 h 309562"/>
                  <a:gd name="connsiteX9" fmla="*/ 252339 w 392904"/>
                  <a:gd name="connsiteY9" fmla="*/ 30048 h 309562"/>
                  <a:gd name="connsiteX10" fmla="*/ 319742 w 392904"/>
                  <a:gd name="connsiteY10" fmla="*/ 57968 h 309562"/>
                  <a:gd name="connsiteX11" fmla="*/ 336441 w 392904"/>
                  <a:gd name="connsiteY11" fmla="*/ 82735 h 309562"/>
                  <a:gd name="connsiteX12" fmla="*/ 357186 w 392904"/>
                  <a:gd name="connsiteY12" fmla="*/ 80848 h 309562"/>
                  <a:gd name="connsiteX13" fmla="*/ 392904 w 392904"/>
                  <a:gd name="connsiteY13" fmla="*/ 152286 h 309562"/>
                  <a:gd name="connsiteX14" fmla="*/ 357186 w 392904"/>
                  <a:gd name="connsiteY14" fmla="*/ 235629 h 309562"/>
                  <a:gd name="connsiteX15" fmla="*/ 330992 w 392904"/>
                  <a:gd name="connsiteY15" fmla="*/ 235629 h 309562"/>
                  <a:gd name="connsiteX16" fmla="*/ 330992 w 392904"/>
                  <a:gd name="connsiteY16" fmla="*/ 234909 h 309562"/>
                  <a:gd name="connsiteX17" fmla="*/ 319742 w 392904"/>
                  <a:gd name="connsiteY17" fmla="*/ 251594 h 309562"/>
                  <a:gd name="connsiteX18" fmla="*/ 252339 w 392904"/>
                  <a:gd name="connsiteY18" fmla="*/ 279514 h 309562"/>
                  <a:gd name="connsiteX19" fmla="*/ 213557 w 392904"/>
                  <a:gd name="connsiteY19" fmla="*/ 279514 h 309562"/>
                  <a:gd name="connsiteX20" fmla="*/ 205010 w 392904"/>
                  <a:gd name="connsiteY20" fmla="*/ 300146 h 309562"/>
                  <a:gd name="connsiteX21" fmla="*/ 182279 w 392904"/>
                  <a:gd name="connsiteY21" fmla="*/ 309562 h 309562"/>
                  <a:gd name="connsiteX22" fmla="*/ 139189 w 392904"/>
                  <a:gd name="connsiteY22" fmla="*/ 309562 h 309562"/>
                  <a:gd name="connsiteX23" fmla="*/ 116458 w 392904"/>
                  <a:gd name="connsiteY23" fmla="*/ 300146 h 309562"/>
                  <a:gd name="connsiteX24" fmla="*/ 107911 w 392904"/>
                  <a:gd name="connsiteY24" fmla="*/ 279514 h 309562"/>
                  <a:gd name="connsiteX25" fmla="*/ 95323 w 392904"/>
                  <a:gd name="connsiteY25" fmla="*/ 279514 h 309562"/>
                  <a:gd name="connsiteX26" fmla="*/ 0 w 392904"/>
                  <a:gd name="connsiteY26" fmla="*/ 184191 h 30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904" h="309562">
                    <a:moveTo>
                      <a:pt x="0" y="184191"/>
                    </a:moveTo>
                    <a:lnTo>
                      <a:pt x="0" y="125371"/>
                    </a:lnTo>
                    <a:cubicBezTo>
                      <a:pt x="0" y="72726"/>
                      <a:pt x="42678" y="30048"/>
                      <a:pt x="95323" y="30048"/>
                    </a:cubicBezTo>
                    <a:lnTo>
                      <a:pt x="107911" y="30048"/>
                    </a:lnTo>
                    <a:lnTo>
                      <a:pt x="116458" y="9416"/>
                    </a:lnTo>
                    <a:cubicBezTo>
                      <a:pt x="122275" y="3598"/>
                      <a:pt x="130312" y="0"/>
                      <a:pt x="139189" y="0"/>
                    </a:cubicBezTo>
                    <a:lnTo>
                      <a:pt x="182279" y="0"/>
                    </a:lnTo>
                    <a:cubicBezTo>
                      <a:pt x="191156" y="0"/>
                      <a:pt x="199193" y="3598"/>
                      <a:pt x="205010" y="9416"/>
                    </a:cubicBezTo>
                    <a:lnTo>
                      <a:pt x="213557" y="30048"/>
                    </a:lnTo>
                    <a:lnTo>
                      <a:pt x="252339" y="30048"/>
                    </a:lnTo>
                    <a:cubicBezTo>
                      <a:pt x="278662" y="30048"/>
                      <a:pt x="302492" y="40718"/>
                      <a:pt x="319742" y="57968"/>
                    </a:cubicBezTo>
                    <a:lnTo>
                      <a:pt x="336441" y="82735"/>
                    </a:lnTo>
                    <a:lnTo>
                      <a:pt x="357186" y="80848"/>
                    </a:lnTo>
                    <a:lnTo>
                      <a:pt x="392904" y="152286"/>
                    </a:lnTo>
                    <a:lnTo>
                      <a:pt x="357186" y="235629"/>
                    </a:lnTo>
                    <a:lnTo>
                      <a:pt x="330992" y="235629"/>
                    </a:lnTo>
                    <a:lnTo>
                      <a:pt x="330992" y="234909"/>
                    </a:lnTo>
                    <a:lnTo>
                      <a:pt x="319742" y="251594"/>
                    </a:lnTo>
                    <a:cubicBezTo>
                      <a:pt x="302492" y="268845"/>
                      <a:pt x="278662" y="279514"/>
                      <a:pt x="252339" y="279514"/>
                    </a:cubicBezTo>
                    <a:lnTo>
                      <a:pt x="213557" y="279514"/>
                    </a:lnTo>
                    <a:lnTo>
                      <a:pt x="205010" y="300146"/>
                    </a:lnTo>
                    <a:cubicBezTo>
                      <a:pt x="199193" y="305964"/>
                      <a:pt x="191156" y="309562"/>
                      <a:pt x="182279" y="309562"/>
                    </a:cubicBezTo>
                    <a:lnTo>
                      <a:pt x="139189" y="309562"/>
                    </a:lnTo>
                    <a:cubicBezTo>
                      <a:pt x="130312" y="309562"/>
                      <a:pt x="122275" y="305964"/>
                      <a:pt x="116458" y="300146"/>
                    </a:cubicBezTo>
                    <a:lnTo>
                      <a:pt x="107911" y="279514"/>
                    </a:lnTo>
                    <a:lnTo>
                      <a:pt x="95323" y="279514"/>
                    </a:lnTo>
                    <a:cubicBezTo>
                      <a:pt x="42678" y="279514"/>
                      <a:pt x="0" y="236836"/>
                      <a:pt x="0" y="184191"/>
                    </a:cubicBezTo>
                    <a:close/>
                  </a:path>
                </a:pathLst>
              </a:cu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7" name="Freeform 106"/>
              <p:cNvSpPr/>
              <p:nvPr/>
            </p:nvSpPr>
            <p:spPr bwMode="auto">
              <a:xfrm>
                <a:off x="3743954" y="4265420"/>
                <a:ext cx="334351" cy="259636"/>
              </a:xfrm>
              <a:custGeom>
                <a:avLst/>
                <a:gdLst>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1649"/>
                  <a:gd name="connsiteY0" fmla="*/ 190500 h 190500"/>
                  <a:gd name="connsiteX1" fmla="*/ 271463 w 301649"/>
                  <a:gd name="connsiteY1" fmla="*/ 116681 h 190500"/>
                  <a:gd name="connsiteX2" fmla="*/ 195263 w 301649"/>
                  <a:gd name="connsiteY2" fmla="*/ 107156 h 190500"/>
                  <a:gd name="connsiteX3" fmla="*/ 52388 w 301649"/>
                  <a:gd name="connsiteY3" fmla="*/ 100012 h 190500"/>
                  <a:gd name="connsiteX4" fmla="*/ 21431 w 301649"/>
                  <a:gd name="connsiteY4" fmla="*/ 119062 h 190500"/>
                  <a:gd name="connsiteX5" fmla="*/ 23813 w 301649"/>
                  <a:gd name="connsiteY5" fmla="*/ 164306 h 190500"/>
                  <a:gd name="connsiteX6" fmla="*/ 0 w 301649"/>
                  <a:gd name="connsiteY6" fmla="*/ 171450 h 190500"/>
                  <a:gd name="connsiteX7" fmla="*/ 97631 w 301649"/>
                  <a:gd name="connsiteY7" fmla="*/ 0 h 190500"/>
                  <a:gd name="connsiteX8" fmla="*/ 214313 w 301649"/>
                  <a:gd name="connsiteY8" fmla="*/ 40481 h 190500"/>
                  <a:gd name="connsiteX9" fmla="*/ 300038 w 301649"/>
                  <a:gd name="connsiteY9" fmla="*/ 190500 h 190500"/>
                  <a:gd name="connsiteX0" fmla="*/ 300038 w 301649"/>
                  <a:gd name="connsiteY0" fmla="*/ 194507 h 194507"/>
                  <a:gd name="connsiteX1" fmla="*/ 271463 w 301649"/>
                  <a:gd name="connsiteY1" fmla="*/ 120688 h 194507"/>
                  <a:gd name="connsiteX2" fmla="*/ 195263 w 301649"/>
                  <a:gd name="connsiteY2" fmla="*/ 111163 h 194507"/>
                  <a:gd name="connsiteX3" fmla="*/ 52388 w 301649"/>
                  <a:gd name="connsiteY3" fmla="*/ 104019 h 194507"/>
                  <a:gd name="connsiteX4" fmla="*/ 21431 w 301649"/>
                  <a:gd name="connsiteY4" fmla="*/ 123069 h 194507"/>
                  <a:gd name="connsiteX5" fmla="*/ 23813 w 301649"/>
                  <a:gd name="connsiteY5" fmla="*/ 168313 h 194507"/>
                  <a:gd name="connsiteX6" fmla="*/ 0 w 301649"/>
                  <a:gd name="connsiteY6" fmla="*/ 175457 h 194507"/>
                  <a:gd name="connsiteX7" fmla="*/ 97631 w 301649"/>
                  <a:gd name="connsiteY7" fmla="*/ 4007 h 194507"/>
                  <a:gd name="connsiteX8" fmla="*/ 214313 w 301649"/>
                  <a:gd name="connsiteY8" fmla="*/ 44488 h 194507"/>
                  <a:gd name="connsiteX9" fmla="*/ 300038 w 301649"/>
                  <a:gd name="connsiteY9" fmla="*/ 194507 h 194507"/>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21431 w 301649"/>
                  <a:gd name="connsiteY4" fmla="*/ 124227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45243 w 301649"/>
                  <a:gd name="connsiteY4" fmla="*/ 150420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4258 w 302094"/>
                  <a:gd name="connsiteY5" fmla="*/ 1694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157 w 305426"/>
                  <a:gd name="connsiteY0" fmla="*/ 207197 h 207197"/>
                  <a:gd name="connsiteX1" fmla="*/ 271582 w 305426"/>
                  <a:gd name="connsiteY1" fmla="*/ 133378 h 207197"/>
                  <a:gd name="connsiteX2" fmla="*/ 195382 w 305426"/>
                  <a:gd name="connsiteY2" fmla="*/ 123853 h 207197"/>
                  <a:gd name="connsiteX3" fmla="*/ 52507 w 305426"/>
                  <a:gd name="connsiteY3" fmla="*/ 116709 h 207197"/>
                  <a:gd name="connsiteX4" fmla="*/ 42981 w 305426"/>
                  <a:gd name="connsiteY4" fmla="*/ 138140 h 207197"/>
                  <a:gd name="connsiteX5" fmla="*/ 12026 w 305426"/>
                  <a:gd name="connsiteY5" fmla="*/ 183384 h 207197"/>
                  <a:gd name="connsiteX6" fmla="*/ 119 w 305426"/>
                  <a:gd name="connsiteY6" fmla="*/ 188147 h 207197"/>
                  <a:gd name="connsiteX7" fmla="*/ 97750 w 305426"/>
                  <a:gd name="connsiteY7" fmla="*/ 16697 h 207197"/>
                  <a:gd name="connsiteX8" fmla="*/ 236657 w 305426"/>
                  <a:gd name="connsiteY8" fmla="*/ 25428 h 207197"/>
                  <a:gd name="connsiteX9" fmla="*/ 300157 w 305426"/>
                  <a:gd name="connsiteY9" fmla="*/ 207197 h 207197"/>
                  <a:gd name="connsiteX0" fmla="*/ 301589 w 306858"/>
                  <a:gd name="connsiteY0" fmla="*/ 228594 h 228594"/>
                  <a:gd name="connsiteX1" fmla="*/ 273014 w 306858"/>
                  <a:gd name="connsiteY1" fmla="*/ 154775 h 228594"/>
                  <a:gd name="connsiteX2" fmla="*/ 196814 w 306858"/>
                  <a:gd name="connsiteY2" fmla="*/ 145250 h 228594"/>
                  <a:gd name="connsiteX3" fmla="*/ 53939 w 306858"/>
                  <a:gd name="connsiteY3" fmla="*/ 138106 h 228594"/>
                  <a:gd name="connsiteX4" fmla="*/ 44413 w 306858"/>
                  <a:gd name="connsiteY4" fmla="*/ 159537 h 228594"/>
                  <a:gd name="connsiteX5" fmla="*/ 13458 w 306858"/>
                  <a:gd name="connsiteY5" fmla="*/ 204781 h 228594"/>
                  <a:gd name="connsiteX6" fmla="*/ 1551 w 306858"/>
                  <a:gd name="connsiteY6" fmla="*/ 209544 h 228594"/>
                  <a:gd name="connsiteX7" fmla="*/ 35682 w 306858"/>
                  <a:gd name="connsiteY7" fmla="*/ 9519 h 228594"/>
                  <a:gd name="connsiteX8" fmla="*/ 238089 w 306858"/>
                  <a:gd name="connsiteY8" fmla="*/ 46825 h 228594"/>
                  <a:gd name="connsiteX9" fmla="*/ 301589 w 306858"/>
                  <a:gd name="connsiteY9" fmla="*/ 228594 h 228594"/>
                  <a:gd name="connsiteX0" fmla="*/ 309678 w 314947"/>
                  <a:gd name="connsiteY0" fmla="*/ 254831 h 254831"/>
                  <a:gd name="connsiteX1" fmla="*/ 281103 w 314947"/>
                  <a:gd name="connsiteY1" fmla="*/ 181012 h 254831"/>
                  <a:gd name="connsiteX2" fmla="*/ 204903 w 314947"/>
                  <a:gd name="connsiteY2" fmla="*/ 171487 h 254831"/>
                  <a:gd name="connsiteX3" fmla="*/ 62028 w 314947"/>
                  <a:gd name="connsiteY3" fmla="*/ 164343 h 254831"/>
                  <a:gd name="connsiteX4" fmla="*/ 52502 w 314947"/>
                  <a:gd name="connsiteY4" fmla="*/ 185774 h 254831"/>
                  <a:gd name="connsiteX5" fmla="*/ 21547 w 314947"/>
                  <a:gd name="connsiteY5" fmla="*/ 231018 h 254831"/>
                  <a:gd name="connsiteX6" fmla="*/ 9640 w 314947"/>
                  <a:gd name="connsiteY6" fmla="*/ 235781 h 254831"/>
                  <a:gd name="connsiteX7" fmla="*/ 43771 w 314947"/>
                  <a:gd name="connsiteY7" fmla="*/ 35756 h 254831"/>
                  <a:gd name="connsiteX8" fmla="*/ 246178 w 314947"/>
                  <a:gd name="connsiteY8" fmla="*/ 73062 h 254831"/>
                  <a:gd name="connsiteX9" fmla="*/ 309678 w 314947"/>
                  <a:gd name="connsiteY9" fmla="*/ 254831 h 254831"/>
                  <a:gd name="connsiteX0" fmla="*/ 322378 w 324871"/>
                  <a:gd name="connsiteY0" fmla="*/ 280231 h 280231"/>
                  <a:gd name="connsiteX1" fmla="*/ 281103 w 324871"/>
                  <a:gd name="connsiteY1" fmla="*/ 181012 h 280231"/>
                  <a:gd name="connsiteX2" fmla="*/ 204903 w 324871"/>
                  <a:gd name="connsiteY2" fmla="*/ 171487 h 280231"/>
                  <a:gd name="connsiteX3" fmla="*/ 62028 w 324871"/>
                  <a:gd name="connsiteY3" fmla="*/ 164343 h 280231"/>
                  <a:gd name="connsiteX4" fmla="*/ 52502 w 324871"/>
                  <a:gd name="connsiteY4" fmla="*/ 185774 h 280231"/>
                  <a:gd name="connsiteX5" fmla="*/ 21547 w 324871"/>
                  <a:gd name="connsiteY5" fmla="*/ 231018 h 280231"/>
                  <a:gd name="connsiteX6" fmla="*/ 9640 w 324871"/>
                  <a:gd name="connsiteY6" fmla="*/ 235781 h 280231"/>
                  <a:gd name="connsiteX7" fmla="*/ 43771 w 324871"/>
                  <a:gd name="connsiteY7" fmla="*/ 35756 h 280231"/>
                  <a:gd name="connsiteX8" fmla="*/ 246178 w 324871"/>
                  <a:gd name="connsiteY8" fmla="*/ 73062 h 280231"/>
                  <a:gd name="connsiteX9" fmla="*/ 322378 w 324871"/>
                  <a:gd name="connsiteY9" fmla="*/ 280231 h 280231"/>
                  <a:gd name="connsiteX0" fmla="*/ 322378 w 335881"/>
                  <a:gd name="connsiteY0" fmla="*/ 280231 h 280231"/>
                  <a:gd name="connsiteX1" fmla="*/ 281103 w 335881"/>
                  <a:gd name="connsiteY1" fmla="*/ 181012 h 280231"/>
                  <a:gd name="connsiteX2" fmla="*/ 204903 w 335881"/>
                  <a:gd name="connsiteY2" fmla="*/ 171487 h 280231"/>
                  <a:gd name="connsiteX3" fmla="*/ 62028 w 335881"/>
                  <a:gd name="connsiteY3" fmla="*/ 164343 h 280231"/>
                  <a:gd name="connsiteX4" fmla="*/ 52502 w 335881"/>
                  <a:gd name="connsiteY4" fmla="*/ 185774 h 280231"/>
                  <a:gd name="connsiteX5" fmla="*/ 21547 w 335881"/>
                  <a:gd name="connsiteY5" fmla="*/ 231018 h 280231"/>
                  <a:gd name="connsiteX6" fmla="*/ 9640 w 335881"/>
                  <a:gd name="connsiteY6" fmla="*/ 235781 h 280231"/>
                  <a:gd name="connsiteX7" fmla="*/ 43771 w 335881"/>
                  <a:gd name="connsiteY7" fmla="*/ 35756 h 280231"/>
                  <a:gd name="connsiteX8" fmla="*/ 246178 w 335881"/>
                  <a:gd name="connsiteY8" fmla="*/ 73062 h 280231"/>
                  <a:gd name="connsiteX9" fmla="*/ 322378 w 335881"/>
                  <a:gd name="connsiteY9" fmla="*/ 280231 h 280231"/>
                  <a:gd name="connsiteX0" fmla="*/ 320006 w 333509"/>
                  <a:gd name="connsiteY0" fmla="*/ 256912 h 256912"/>
                  <a:gd name="connsiteX1" fmla="*/ 278731 w 333509"/>
                  <a:gd name="connsiteY1" fmla="*/ 157693 h 256912"/>
                  <a:gd name="connsiteX2" fmla="*/ 202531 w 333509"/>
                  <a:gd name="connsiteY2" fmla="*/ 148168 h 256912"/>
                  <a:gd name="connsiteX3" fmla="*/ 59656 w 333509"/>
                  <a:gd name="connsiteY3" fmla="*/ 141024 h 256912"/>
                  <a:gd name="connsiteX4" fmla="*/ 50130 w 333509"/>
                  <a:gd name="connsiteY4" fmla="*/ 162455 h 256912"/>
                  <a:gd name="connsiteX5" fmla="*/ 19175 w 333509"/>
                  <a:gd name="connsiteY5" fmla="*/ 207699 h 256912"/>
                  <a:gd name="connsiteX6" fmla="*/ 918 w 333509"/>
                  <a:gd name="connsiteY6" fmla="*/ 253737 h 256912"/>
                  <a:gd name="connsiteX7" fmla="*/ 41399 w 333509"/>
                  <a:gd name="connsiteY7" fmla="*/ 12437 h 256912"/>
                  <a:gd name="connsiteX8" fmla="*/ 243806 w 333509"/>
                  <a:gd name="connsiteY8" fmla="*/ 49743 h 256912"/>
                  <a:gd name="connsiteX9" fmla="*/ 320006 w 333509"/>
                  <a:gd name="connsiteY9" fmla="*/ 256912 h 256912"/>
                  <a:gd name="connsiteX0" fmla="*/ 340397 w 353900"/>
                  <a:gd name="connsiteY0" fmla="*/ 256912 h 256912"/>
                  <a:gd name="connsiteX1" fmla="*/ 299122 w 353900"/>
                  <a:gd name="connsiteY1" fmla="*/ 157693 h 256912"/>
                  <a:gd name="connsiteX2" fmla="*/ 222922 w 353900"/>
                  <a:gd name="connsiteY2" fmla="*/ 148168 h 256912"/>
                  <a:gd name="connsiteX3" fmla="*/ 80047 w 353900"/>
                  <a:gd name="connsiteY3" fmla="*/ 141024 h 256912"/>
                  <a:gd name="connsiteX4" fmla="*/ 70521 w 353900"/>
                  <a:gd name="connsiteY4" fmla="*/ 162455 h 256912"/>
                  <a:gd name="connsiteX5" fmla="*/ 39566 w 353900"/>
                  <a:gd name="connsiteY5" fmla="*/ 207699 h 256912"/>
                  <a:gd name="connsiteX6" fmla="*/ 21309 w 353900"/>
                  <a:gd name="connsiteY6" fmla="*/ 253737 h 256912"/>
                  <a:gd name="connsiteX7" fmla="*/ 61790 w 353900"/>
                  <a:gd name="connsiteY7" fmla="*/ 12437 h 256912"/>
                  <a:gd name="connsiteX8" fmla="*/ 264197 w 353900"/>
                  <a:gd name="connsiteY8" fmla="*/ 49743 h 256912"/>
                  <a:gd name="connsiteX9" fmla="*/ 340397 w 353900"/>
                  <a:gd name="connsiteY9" fmla="*/ 256912 h 256912"/>
                  <a:gd name="connsiteX0" fmla="*/ 351275 w 364778"/>
                  <a:gd name="connsiteY0" fmla="*/ 283264 h 283264"/>
                  <a:gd name="connsiteX1" fmla="*/ 310000 w 364778"/>
                  <a:gd name="connsiteY1" fmla="*/ 184045 h 283264"/>
                  <a:gd name="connsiteX2" fmla="*/ 233800 w 364778"/>
                  <a:gd name="connsiteY2" fmla="*/ 174520 h 283264"/>
                  <a:gd name="connsiteX3" fmla="*/ 90925 w 364778"/>
                  <a:gd name="connsiteY3" fmla="*/ 167376 h 283264"/>
                  <a:gd name="connsiteX4" fmla="*/ 81399 w 364778"/>
                  <a:gd name="connsiteY4" fmla="*/ 188807 h 283264"/>
                  <a:gd name="connsiteX5" fmla="*/ 50444 w 364778"/>
                  <a:gd name="connsiteY5" fmla="*/ 234051 h 283264"/>
                  <a:gd name="connsiteX6" fmla="*/ 32187 w 364778"/>
                  <a:gd name="connsiteY6" fmla="*/ 280089 h 283264"/>
                  <a:gd name="connsiteX7" fmla="*/ 72668 w 364778"/>
                  <a:gd name="connsiteY7" fmla="*/ 38789 h 283264"/>
                  <a:gd name="connsiteX8" fmla="*/ 275075 w 364778"/>
                  <a:gd name="connsiteY8" fmla="*/ 76095 h 283264"/>
                  <a:gd name="connsiteX9" fmla="*/ 351275 w 364778"/>
                  <a:gd name="connsiteY9" fmla="*/ 283264 h 28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778" h="283264">
                    <a:moveTo>
                      <a:pt x="351275" y="283264"/>
                    </a:moveTo>
                    <a:cubicBezTo>
                      <a:pt x="282218" y="246752"/>
                      <a:pt x="319525" y="208651"/>
                      <a:pt x="310000" y="184045"/>
                    </a:cubicBezTo>
                    <a:cubicBezTo>
                      <a:pt x="284600" y="192777"/>
                      <a:pt x="259200" y="177695"/>
                      <a:pt x="233800" y="174520"/>
                    </a:cubicBezTo>
                    <a:cubicBezTo>
                      <a:pt x="155219" y="200714"/>
                      <a:pt x="124262" y="186426"/>
                      <a:pt x="90925" y="167376"/>
                    </a:cubicBezTo>
                    <a:lnTo>
                      <a:pt x="81399" y="188807"/>
                    </a:lnTo>
                    <a:cubicBezTo>
                      <a:pt x="71081" y="203888"/>
                      <a:pt x="70287" y="240402"/>
                      <a:pt x="50444" y="234051"/>
                    </a:cubicBezTo>
                    <a:lnTo>
                      <a:pt x="32187" y="280089"/>
                    </a:lnTo>
                    <a:cubicBezTo>
                      <a:pt x="-18613" y="186426"/>
                      <a:pt x="-12263" y="133113"/>
                      <a:pt x="72668" y="38789"/>
                    </a:cubicBezTo>
                    <a:cubicBezTo>
                      <a:pt x="157599" y="-55535"/>
                      <a:pt x="264756" y="48313"/>
                      <a:pt x="275075" y="76095"/>
                    </a:cubicBezTo>
                    <a:cubicBezTo>
                      <a:pt x="363181" y="61807"/>
                      <a:pt x="381438" y="253102"/>
                      <a:pt x="351275" y="283264"/>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8" name="Rounded Rectangle 107"/>
              <p:cNvSpPr/>
              <p:nvPr/>
            </p:nvSpPr>
            <p:spPr bwMode="auto">
              <a:xfrm>
                <a:off x="4174191" y="4521562"/>
                <a:ext cx="480026" cy="862185"/>
              </a:xfrm>
              <a:prstGeom prst="roundRect">
                <a:avLst>
                  <a:gd name="adj" fmla="val 469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9" name="Rectangle 79"/>
              <p:cNvSpPr/>
              <p:nvPr/>
            </p:nvSpPr>
            <p:spPr>
              <a:xfrm>
                <a:off x="4157151" y="4510290"/>
                <a:ext cx="519006" cy="879723"/>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316"/>
                <a:endParaRPr lang="en-US" sz="1836" dirty="0">
                  <a:solidFill>
                    <a:srgbClr val="FFFFFF"/>
                  </a:solidFill>
                </a:endParaRPr>
              </a:p>
            </p:txBody>
          </p:sp>
          <p:grpSp>
            <p:nvGrpSpPr>
              <p:cNvPr id="110" name="Group 109"/>
              <p:cNvGrpSpPr/>
              <p:nvPr/>
            </p:nvGrpSpPr>
            <p:grpSpPr>
              <a:xfrm>
                <a:off x="3735754" y="2981651"/>
                <a:ext cx="453790" cy="990108"/>
                <a:chOff x="7941994" y="2724508"/>
                <a:chExt cx="453790" cy="990108"/>
              </a:xfrm>
            </p:grpSpPr>
            <p:grpSp>
              <p:nvGrpSpPr>
                <p:cNvPr id="111" name="Group 110"/>
                <p:cNvGrpSpPr/>
                <p:nvPr/>
              </p:nvGrpSpPr>
              <p:grpSpPr>
                <a:xfrm>
                  <a:off x="7941994" y="2724508"/>
                  <a:ext cx="453790" cy="612801"/>
                  <a:chOff x="7219318" y="2937390"/>
                  <a:chExt cx="453790" cy="612801"/>
                </a:xfrm>
              </p:grpSpPr>
              <p:sp>
                <p:nvSpPr>
                  <p:cNvPr id="115" name="Freeform 5"/>
                  <p:cNvSpPr>
                    <a:spLocks/>
                  </p:cNvSpPr>
                  <p:nvPr/>
                </p:nvSpPr>
                <p:spPr bwMode="auto">
                  <a:xfrm>
                    <a:off x="7460279" y="2991209"/>
                    <a:ext cx="15901" cy="161457"/>
                  </a:xfrm>
                  <a:custGeom>
                    <a:avLst/>
                    <a:gdLst>
                      <a:gd name="T0" fmla="*/ 1 w 3"/>
                      <a:gd name="T1" fmla="*/ 0 h 30"/>
                      <a:gd name="T2" fmla="*/ 3 w 3"/>
                      <a:gd name="T3" fmla="*/ 1 h 30"/>
                      <a:gd name="T4" fmla="*/ 3 w 3"/>
                      <a:gd name="T5" fmla="*/ 29 h 30"/>
                      <a:gd name="T6" fmla="*/ 1 w 3"/>
                      <a:gd name="T7" fmla="*/ 30 h 30"/>
                      <a:gd name="T8" fmla="*/ 0 w 3"/>
                      <a:gd name="T9" fmla="*/ 29 h 30"/>
                      <a:gd name="T10" fmla="*/ 0 w 3"/>
                      <a:gd name="T11" fmla="*/ 1 h 30"/>
                      <a:gd name="T12" fmla="*/ 1 w 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 h="30">
                        <a:moveTo>
                          <a:pt x="1" y="0"/>
                        </a:moveTo>
                        <a:cubicBezTo>
                          <a:pt x="2" y="0"/>
                          <a:pt x="3" y="1"/>
                          <a:pt x="3" y="1"/>
                        </a:cubicBezTo>
                        <a:cubicBezTo>
                          <a:pt x="3" y="29"/>
                          <a:pt x="3" y="29"/>
                          <a:pt x="3" y="29"/>
                        </a:cubicBezTo>
                        <a:cubicBezTo>
                          <a:pt x="3" y="30"/>
                          <a:pt x="2" y="30"/>
                          <a:pt x="1" y="30"/>
                        </a:cubicBezTo>
                        <a:cubicBezTo>
                          <a:pt x="1" y="30"/>
                          <a:pt x="0" y="30"/>
                          <a:pt x="0" y="2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6" name="Freeform 6"/>
                  <p:cNvSpPr>
                    <a:spLocks/>
                  </p:cNvSpPr>
                  <p:nvPr/>
                </p:nvSpPr>
                <p:spPr bwMode="auto">
                  <a:xfrm>
                    <a:off x="7433370" y="2937390"/>
                    <a:ext cx="11008" cy="215276"/>
                  </a:xfrm>
                  <a:custGeom>
                    <a:avLst/>
                    <a:gdLst>
                      <a:gd name="T0" fmla="*/ 1 w 2"/>
                      <a:gd name="T1" fmla="*/ 0 h 40"/>
                      <a:gd name="T2" fmla="*/ 2 w 2"/>
                      <a:gd name="T3" fmla="*/ 1 h 40"/>
                      <a:gd name="T4" fmla="*/ 2 w 2"/>
                      <a:gd name="T5" fmla="*/ 39 h 40"/>
                      <a:gd name="T6" fmla="*/ 1 w 2"/>
                      <a:gd name="T7" fmla="*/ 40 h 40"/>
                      <a:gd name="T8" fmla="*/ 0 w 2"/>
                      <a:gd name="T9" fmla="*/ 39 h 40"/>
                      <a:gd name="T10" fmla="*/ 0 w 2"/>
                      <a:gd name="T11" fmla="*/ 1 h 40"/>
                      <a:gd name="T12" fmla="*/ 1 w 2"/>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 h="40">
                        <a:moveTo>
                          <a:pt x="1" y="0"/>
                        </a:moveTo>
                        <a:cubicBezTo>
                          <a:pt x="2" y="0"/>
                          <a:pt x="2" y="1"/>
                          <a:pt x="2" y="1"/>
                        </a:cubicBezTo>
                        <a:cubicBezTo>
                          <a:pt x="2" y="39"/>
                          <a:pt x="2" y="39"/>
                          <a:pt x="2" y="39"/>
                        </a:cubicBezTo>
                        <a:cubicBezTo>
                          <a:pt x="2" y="40"/>
                          <a:pt x="2" y="40"/>
                          <a:pt x="1" y="40"/>
                        </a:cubicBezTo>
                        <a:cubicBezTo>
                          <a:pt x="1" y="40"/>
                          <a:pt x="0" y="40"/>
                          <a:pt x="0" y="3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7" name="Freeform 7"/>
                  <p:cNvSpPr>
                    <a:spLocks/>
                  </p:cNvSpPr>
                  <p:nvPr/>
                </p:nvSpPr>
                <p:spPr bwMode="auto">
                  <a:xfrm>
                    <a:off x="7405237" y="2991209"/>
                    <a:ext cx="11008" cy="161457"/>
                  </a:xfrm>
                  <a:custGeom>
                    <a:avLst/>
                    <a:gdLst>
                      <a:gd name="T0" fmla="*/ 1 w 2"/>
                      <a:gd name="T1" fmla="*/ 0 h 30"/>
                      <a:gd name="T2" fmla="*/ 2 w 2"/>
                      <a:gd name="T3" fmla="*/ 1 h 30"/>
                      <a:gd name="T4" fmla="*/ 2 w 2"/>
                      <a:gd name="T5" fmla="*/ 29 h 30"/>
                      <a:gd name="T6" fmla="*/ 1 w 2"/>
                      <a:gd name="T7" fmla="*/ 30 h 30"/>
                      <a:gd name="T8" fmla="*/ 0 w 2"/>
                      <a:gd name="T9" fmla="*/ 29 h 30"/>
                      <a:gd name="T10" fmla="*/ 0 w 2"/>
                      <a:gd name="T11" fmla="*/ 1 h 30"/>
                      <a:gd name="T12" fmla="*/ 1 w 2"/>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 h="30">
                        <a:moveTo>
                          <a:pt x="1" y="0"/>
                        </a:moveTo>
                        <a:cubicBezTo>
                          <a:pt x="2" y="0"/>
                          <a:pt x="2" y="1"/>
                          <a:pt x="2" y="1"/>
                        </a:cubicBezTo>
                        <a:cubicBezTo>
                          <a:pt x="2" y="29"/>
                          <a:pt x="2" y="29"/>
                          <a:pt x="2" y="29"/>
                        </a:cubicBezTo>
                        <a:cubicBezTo>
                          <a:pt x="2" y="30"/>
                          <a:pt x="2" y="30"/>
                          <a:pt x="1" y="30"/>
                        </a:cubicBezTo>
                        <a:cubicBezTo>
                          <a:pt x="0" y="30"/>
                          <a:pt x="0" y="30"/>
                          <a:pt x="0" y="29"/>
                        </a:cubicBezTo>
                        <a:cubicBezTo>
                          <a:pt x="0" y="1"/>
                          <a:pt x="0" y="1"/>
                          <a:pt x="0" y="1"/>
                        </a:cubicBezTo>
                        <a:cubicBezTo>
                          <a:pt x="0" y="1"/>
                          <a:pt x="0"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8" name="Freeform 8"/>
                  <p:cNvSpPr>
                    <a:spLocks/>
                  </p:cNvSpPr>
                  <p:nvPr/>
                </p:nvSpPr>
                <p:spPr bwMode="auto">
                  <a:xfrm>
                    <a:off x="7219318" y="3312899"/>
                    <a:ext cx="229953" cy="237292"/>
                  </a:xfrm>
                  <a:custGeom>
                    <a:avLst/>
                    <a:gdLst>
                      <a:gd name="T0" fmla="*/ 41 w 42"/>
                      <a:gd name="T1" fmla="*/ 44 h 44"/>
                      <a:gd name="T2" fmla="*/ 40 w 42"/>
                      <a:gd name="T3" fmla="*/ 44 h 44"/>
                      <a:gd name="T4" fmla="*/ 0 w 42"/>
                      <a:gd name="T5" fmla="*/ 1 h 44"/>
                      <a:gd name="T6" fmla="*/ 0 w 42"/>
                      <a:gd name="T7" fmla="*/ 0 h 44"/>
                      <a:gd name="T8" fmla="*/ 1 w 42"/>
                      <a:gd name="T9" fmla="*/ 0 h 44"/>
                      <a:gd name="T10" fmla="*/ 42 w 42"/>
                      <a:gd name="T11" fmla="*/ 42 h 44"/>
                      <a:gd name="T12" fmla="*/ 42 w 42"/>
                      <a:gd name="T13" fmla="*/ 44 h 44"/>
                      <a:gd name="T14" fmla="*/ 41 w 42"/>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4">
                        <a:moveTo>
                          <a:pt x="41" y="44"/>
                        </a:moveTo>
                        <a:cubicBezTo>
                          <a:pt x="41" y="44"/>
                          <a:pt x="41" y="44"/>
                          <a:pt x="40" y="44"/>
                        </a:cubicBezTo>
                        <a:cubicBezTo>
                          <a:pt x="0" y="1"/>
                          <a:pt x="0" y="1"/>
                          <a:pt x="0" y="1"/>
                        </a:cubicBezTo>
                        <a:cubicBezTo>
                          <a:pt x="0" y="1"/>
                          <a:pt x="0" y="0"/>
                          <a:pt x="0" y="0"/>
                        </a:cubicBezTo>
                        <a:cubicBezTo>
                          <a:pt x="0" y="0"/>
                          <a:pt x="1" y="0"/>
                          <a:pt x="1" y="0"/>
                        </a:cubicBezTo>
                        <a:cubicBezTo>
                          <a:pt x="42" y="42"/>
                          <a:pt x="42" y="42"/>
                          <a:pt x="42" y="42"/>
                        </a:cubicBezTo>
                        <a:cubicBezTo>
                          <a:pt x="42" y="43"/>
                          <a:pt x="42" y="43"/>
                          <a:pt x="42" y="44"/>
                        </a:cubicBezTo>
                        <a:cubicBezTo>
                          <a:pt x="42" y="44"/>
                          <a:pt x="41" y="44"/>
                          <a:pt x="41" y="4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9" name="Freeform 9"/>
                  <p:cNvSpPr>
                    <a:spLocks/>
                  </p:cNvSpPr>
                  <p:nvPr/>
                </p:nvSpPr>
                <p:spPr bwMode="auto">
                  <a:xfrm>
                    <a:off x="7307385" y="3308006"/>
                    <a:ext cx="141886" cy="242185"/>
                  </a:xfrm>
                  <a:custGeom>
                    <a:avLst/>
                    <a:gdLst>
                      <a:gd name="T0" fmla="*/ 25 w 26"/>
                      <a:gd name="T1" fmla="*/ 45 h 45"/>
                      <a:gd name="T2" fmla="*/ 24 w 26"/>
                      <a:gd name="T3" fmla="*/ 45 h 45"/>
                      <a:gd name="T4" fmla="*/ 0 w 26"/>
                      <a:gd name="T5" fmla="*/ 1 h 45"/>
                      <a:gd name="T6" fmla="*/ 1 w 26"/>
                      <a:gd name="T7" fmla="*/ 0 h 45"/>
                      <a:gd name="T8" fmla="*/ 2 w 26"/>
                      <a:gd name="T9" fmla="*/ 0 h 45"/>
                      <a:gd name="T10" fmla="*/ 26 w 26"/>
                      <a:gd name="T11" fmla="*/ 44 h 45"/>
                      <a:gd name="T12" fmla="*/ 26 w 26"/>
                      <a:gd name="T13" fmla="*/ 45 h 45"/>
                      <a:gd name="T14" fmla="*/ 25 w 26"/>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5">
                        <a:moveTo>
                          <a:pt x="25" y="45"/>
                        </a:moveTo>
                        <a:cubicBezTo>
                          <a:pt x="25" y="45"/>
                          <a:pt x="24" y="45"/>
                          <a:pt x="24" y="45"/>
                        </a:cubicBezTo>
                        <a:cubicBezTo>
                          <a:pt x="0" y="1"/>
                          <a:pt x="0" y="1"/>
                          <a:pt x="0" y="1"/>
                        </a:cubicBezTo>
                        <a:cubicBezTo>
                          <a:pt x="0" y="1"/>
                          <a:pt x="0" y="0"/>
                          <a:pt x="1" y="0"/>
                        </a:cubicBezTo>
                        <a:cubicBezTo>
                          <a:pt x="1" y="0"/>
                          <a:pt x="2" y="0"/>
                          <a:pt x="2" y="0"/>
                        </a:cubicBezTo>
                        <a:cubicBezTo>
                          <a:pt x="26" y="44"/>
                          <a:pt x="26" y="44"/>
                          <a:pt x="26" y="44"/>
                        </a:cubicBezTo>
                        <a:cubicBezTo>
                          <a:pt x="26" y="44"/>
                          <a:pt x="26" y="45"/>
                          <a:pt x="26" y="45"/>
                        </a:cubicBezTo>
                        <a:cubicBezTo>
                          <a:pt x="25" y="45"/>
                          <a:pt x="25" y="45"/>
                          <a:pt x="25"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0" name="Freeform 10"/>
                  <p:cNvSpPr>
                    <a:spLocks/>
                  </p:cNvSpPr>
                  <p:nvPr/>
                </p:nvSpPr>
                <p:spPr bwMode="auto">
                  <a:xfrm>
                    <a:off x="7394229" y="3308006"/>
                    <a:ext cx="55042" cy="242185"/>
                  </a:xfrm>
                  <a:custGeom>
                    <a:avLst/>
                    <a:gdLst>
                      <a:gd name="T0" fmla="*/ 9 w 10"/>
                      <a:gd name="T1" fmla="*/ 45 h 45"/>
                      <a:gd name="T2" fmla="*/ 8 w 10"/>
                      <a:gd name="T3" fmla="*/ 44 h 45"/>
                      <a:gd name="T4" fmla="*/ 0 w 10"/>
                      <a:gd name="T5" fmla="*/ 1 h 45"/>
                      <a:gd name="T6" fmla="*/ 1 w 10"/>
                      <a:gd name="T7" fmla="*/ 0 h 45"/>
                      <a:gd name="T8" fmla="*/ 2 w 10"/>
                      <a:gd name="T9" fmla="*/ 0 h 45"/>
                      <a:gd name="T10" fmla="*/ 10 w 10"/>
                      <a:gd name="T11" fmla="*/ 44 h 45"/>
                      <a:gd name="T12" fmla="*/ 9 w 10"/>
                      <a:gd name="T13" fmla="*/ 45 h 45"/>
                      <a:gd name="T14" fmla="*/ 9 w 10"/>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5">
                        <a:moveTo>
                          <a:pt x="9" y="45"/>
                        </a:moveTo>
                        <a:cubicBezTo>
                          <a:pt x="9" y="45"/>
                          <a:pt x="8" y="45"/>
                          <a:pt x="8" y="44"/>
                        </a:cubicBezTo>
                        <a:cubicBezTo>
                          <a:pt x="0" y="1"/>
                          <a:pt x="0" y="1"/>
                          <a:pt x="0" y="1"/>
                        </a:cubicBezTo>
                        <a:cubicBezTo>
                          <a:pt x="0" y="0"/>
                          <a:pt x="0" y="0"/>
                          <a:pt x="1" y="0"/>
                        </a:cubicBezTo>
                        <a:cubicBezTo>
                          <a:pt x="1" y="0"/>
                          <a:pt x="2" y="0"/>
                          <a:pt x="2" y="0"/>
                        </a:cubicBezTo>
                        <a:cubicBezTo>
                          <a:pt x="10" y="44"/>
                          <a:pt x="10" y="44"/>
                          <a:pt x="10" y="44"/>
                        </a:cubicBezTo>
                        <a:cubicBezTo>
                          <a:pt x="10" y="44"/>
                          <a:pt x="10" y="45"/>
                          <a:pt x="9" y="45"/>
                        </a:cubicBezTo>
                        <a:cubicBezTo>
                          <a:pt x="9" y="45"/>
                          <a:pt x="9" y="45"/>
                          <a:pt x="9"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1" name="Freeform 11"/>
                  <p:cNvSpPr>
                    <a:spLocks/>
                  </p:cNvSpPr>
                  <p:nvPr/>
                </p:nvSpPr>
                <p:spPr bwMode="auto">
                  <a:xfrm>
                    <a:off x="7438263" y="3308006"/>
                    <a:ext cx="55042" cy="242185"/>
                  </a:xfrm>
                  <a:custGeom>
                    <a:avLst/>
                    <a:gdLst>
                      <a:gd name="T0" fmla="*/ 1 w 10"/>
                      <a:gd name="T1" fmla="*/ 45 h 45"/>
                      <a:gd name="T2" fmla="*/ 1 w 10"/>
                      <a:gd name="T3" fmla="*/ 45 h 45"/>
                      <a:gd name="T4" fmla="*/ 0 w 10"/>
                      <a:gd name="T5" fmla="*/ 44 h 45"/>
                      <a:gd name="T6" fmla="*/ 8 w 10"/>
                      <a:gd name="T7" fmla="*/ 0 h 45"/>
                      <a:gd name="T8" fmla="*/ 9 w 10"/>
                      <a:gd name="T9" fmla="*/ 0 h 45"/>
                      <a:gd name="T10" fmla="*/ 10 w 10"/>
                      <a:gd name="T11" fmla="*/ 1 h 45"/>
                      <a:gd name="T12" fmla="*/ 2 w 10"/>
                      <a:gd name="T13" fmla="*/ 44 h 45"/>
                      <a:gd name="T14" fmla="*/ 1 w 10"/>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5">
                        <a:moveTo>
                          <a:pt x="1" y="45"/>
                        </a:moveTo>
                        <a:cubicBezTo>
                          <a:pt x="1" y="45"/>
                          <a:pt x="1" y="45"/>
                          <a:pt x="1" y="45"/>
                        </a:cubicBezTo>
                        <a:cubicBezTo>
                          <a:pt x="0" y="45"/>
                          <a:pt x="0" y="44"/>
                          <a:pt x="0" y="44"/>
                        </a:cubicBezTo>
                        <a:cubicBezTo>
                          <a:pt x="8" y="0"/>
                          <a:pt x="8" y="0"/>
                          <a:pt x="8" y="0"/>
                        </a:cubicBezTo>
                        <a:cubicBezTo>
                          <a:pt x="8" y="0"/>
                          <a:pt x="9" y="0"/>
                          <a:pt x="9" y="0"/>
                        </a:cubicBezTo>
                        <a:cubicBezTo>
                          <a:pt x="10" y="0"/>
                          <a:pt x="10" y="0"/>
                          <a:pt x="10" y="1"/>
                        </a:cubicBezTo>
                        <a:cubicBezTo>
                          <a:pt x="2" y="44"/>
                          <a:pt x="2" y="44"/>
                          <a:pt x="2" y="44"/>
                        </a:cubicBezTo>
                        <a:cubicBezTo>
                          <a:pt x="2" y="45"/>
                          <a:pt x="2"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2" name="Freeform 12"/>
                  <p:cNvSpPr>
                    <a:spLocks/>
                  </p:cNvSpPr>
                  <p:nvPr/>
                </p:nvSpPr>
                <p:spPr bwMode="auto">
                  <a:xfrm>
                    <a:off x="7438263" y="3308006"/>
                    <a:ext cx="141886" cy="242185"/>
                  </a:xfrm>
                  <a:custGeom>
                    <a:avLst/>
                    <a:gdLst>
                      <a:gd name="T0" fmla="*/ 1 w 26"/>
                      <a:gd name="T1" fmla="*/ 45 h 45"/>
                      <a:gd name="T2" fmla="*/ 1 w 26"/>
                      <a:gd name="T3" fmla="*/ 45 h 45"/>
                      <a:gd name="T4" fmla="*/ 0 w 26"/>
                      <a:gd name="T5" fmla="*/ 44 h 45"/>
                      <a:gd name="T6" fmla="*/ 24 w 26"/>
                      <a:gd name="T7" fmla="*/ 0 h 45"/>
                      <a:gd name="T8" fmla="*/ 26 w 26"/>
                      <a:gd name="T9" fmla="*/ 0 h 45"/>
                      <a:gd name="T10" fmla="*/ 26 w 26"/>
                      <a:gd name="T11" fmla="*/ 1 h 45"/>
                      <a:gd name="T12" fmla="*/ 2 w 26"/>
                      <a:gd name="T13" fmla="*/ 45 h 45"/>
                      <a:gd name="T14" fmla="*/ 1 w 26"/>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5">
                        <a:moveTo>
                          <a:pt x="1" y="45"/>
                        </a:moveTo>
                        <a:cubicBezTo>
                          <a:pt x="1" y="45"/>
                          <a:pt x="1" y="45"/>
                          <a:pt x="1" y="45"/>
                        </a:cubicBezTo>
                        <a:cubicBezTo>
                          <a:pt x="0" y="45"/>
                          <a:pt x="0" y="44"/>
                          <a:pt x="0" y="44"/>
                        </a:cubicBezTo>
                        <a:cubicBezTo>
                          <a:pt x="24" y="0"/>
                          <a:pt x="24" y="0"/>
                          <a:pt x="24" y="0"/>
                        </a:cubicBezTo>
                        <a:cubicBezTo>
                          <a:pt x="25" y="0"/>
                          <a:pt x="25" y="0"/>
                          <a:pt x="26" y="0"/>
                        </a:cubicBezTo>
                        <a:cubicBezTo>
                          <a:pt x="26" y="0"/>
                          <a:pt x="26" y="1"/>
                          <a:pt x="26" y="1"/>
                        </a:cubicBezTo>
                        <a:cubicBezTo>
                          <a:pt x="2" y="45"/>
                          <a:pt x="2" y="45"/>
                          <a:pt x="2" y="45"/>
                        </a:cubicBezTo>
                        <a:cubicBezTo>
                          <a:pt x="2" y="45"/>
                          <a:pt x="1"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3" name="Freeform 13"/>
                  <p:cNvSpPr>
                    <a:spLocks/>
                  </p:cNvSpPr>
                  <p:nvPr/>
                </p:nvSpPr>
                <p:spPr bwMode="auto">
                  <a:xfrm>
                    <a:off x="7438263" y="3312899"/>
                    <a:ext cx="234845" cy="237292"/>
                  </a:xfrm>
                  <a:custGeom>
                    <a:avLst/>
                    <a:gdLst>
                      <a:gd name="T0" fmla="*/ 1 w 43"/>
                      <a:gd name="T1" fmla="*/ 44 h 44"/>
                      <a:gd name="T2" fmla="*/ 0 w 43"/>
                      <a:gd name="T3" fmla="*/ 44 h 44"/>
                      <a:gd name="T4" fmla="*/ 0 w 43"/>
                      <a:gd name="T5" fmla="*/ 42 h 44"/>
                      <a:gd name="T6" fmla="*/ 41 w 43"/>
                      <a:gd name="T7" fmla="*/ 0 h 44"/>
                      <a:gd name="T8" fmla="*/ 42 w 43"/>
                      <a:gd name="T9" fmla="*/ 0 h 44"/>
                      <a:gd name="T10" fmla="*/ 42 w 43"/>
                      <a:gd name="T11" fmla="*/ 1 h 44"/>
                      <a:gd name="T12" fmla="*/ 2 w 43"/>
                      <a:gd name="T13" fmla="*/ 44 h 44"/>
                      <a:gd name="T14" fmla="*/ 1 w 43"/>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4">
                        <a:moveTo>
                          <a:pt x="1" y="44"/>
                        </a:moveTo>
                        <a:cubicBezTo>
                          <a:pt x="1" y="44"/>
                          <a:pt x="1" y="44"/>
                          <a:pt x="0" y="44"/>
                        </a:cubicBezTo>
                        <a:cubicBezTo>
                          <a:pt x="0" y="43"/>
                          <a:pt x="0" y="43"/>
                          <a:pt x="0" y="42"/>
                        </a:cubicBezTo>
                        <a:cubicBezTo>
                          <a:pt x="41" y="0"/>
                          <a:pt x="41" y="0"/>
                          <a:pt x="41" y="0"/>
                        </a:cubicBezTo>
                        <a:cubicBezTo>
                          <a:pt x="41" y="0"/>
                          <a:pt x="42" y="0"/>
                          <a:pt x="42" y="0"/>
                        </a:cubicBezTo>
                        <a:cubicBezTo>
                          <a:pt x="43" y="0"/>
                          <a:pt x="43" y="1"/>
                          <a:pt x="42" y="1"/>
                        </a:cubicBezTo>
                        <a:cubicBezTo>
                          <a:pt x="2" y="44"/>
                          <a:pt x="2" y="44"/>
                          <a:pt x="2" y="44"/>
                        </a:cubicBezTo>
                        <a:cubicBezTo>
                          <a:pt x="2" y="44"/>
                          <a:pt x="1" y="44"/>
                          <a:pt x="1" y="4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4" name="Freeform 15"/>
                  <p:cNvSpPr>
                    <a:spLocks/>
                  </p:cNvSpPr>
                  <p:nvPr/>
                </p:nvSpPr>
                <p:spPr bwMode="auto">
                  <a:xfrm>
                    <a:off x="7225434" y="3119640"/>
                    <a:ext cx="442782" cy="199374"/>
                  </a:xfrm>
                  <a:custGeom>
                    <a:avLst/>
                    <a:gdLst>
                      <a:gd name="T0" fmla="*/ 8 w 81"/>
                      <a:gd name="T1" fmla="*/ 31 h 37"/>
                      <a:gd name="T2" fmla="*/ 16 w 81"/>
                      <a:gd name="T3" fmla="*/ 36 h 37"/>
                      <a:gd name="T4" fmla="*/ 24 w 81"/>
                      <a:gd name="T5" fmla="*/ 31 h 37"/>
                      <a:gd name="T6" fmla="*/ 32 w 81"/>
                      <a:gd name="T7" fmla="*/ 36 h 37"/>
                      <a:gd name="T8" fmla="*/ 40 w 81"/>
                      <a:gd name="T9" fmla="*/ 31 h 37"/>
                      <a:gd name="T10" fmla="*/ 48 w 81"/>
                      <a:gd name="T11" fmla="*/ 36 h 37"/>
                      <a:gd name="T12" fmla="*/ 56 w 81"/>
                      <a:gd name="T13" fmla="*/ 31 h 37"/>
                      <a:gd name="T14" fmla="*/ 64 w 81"/>
                      <a:gd name="T15" fmla="*/ 36 h 37"/>
                      <a:gd name="T16" fmla="*/ 72 w 81"/>
                      <a:gd name="T17" fmla="*/ 31 h 37"/>
                      <a:gd name="T18" fmla="*/ 81 w 81"/>
                      <a:gd name="T19" fmla="*/ 37 h 37"/>
                      <a:gd name="T20" fmla="*/ 40 w 81"/>
                      <a:gd name="T21" fmla="*/ 0 h 37"/>
                      <a:gd name="T22" fmla="*/ 0 w 81"/>
                      <a:gd name="T23" fmla="*/ 37 h 37"/>
                      <a:gd name="T24" fmla="*/ 8 w 81"/>
                      <a:gd name="T25"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37">
                        <a:moveTo>
                          <a:pt x="8" y="31"/>
                        </a:moveTo>
                        <a:cubicBezTo>
                          <a:pt x="12" y="31"/>
                          <a:pt x="14" y="33"/>
                          <a:pt x="16" y="36"/>
                        </a:cubicBezTo>
                        <a:cubicBezTo>
                          <a:pt x="18" y="33"/>
                          <a:pt x="21" y="31"/>
                          <a:pt x="24" y="31"/>
                        </a:cubicBezTo>
                        <a:cubicBezTo>
                          <a:pt x="28" y="31"/>
                          <a:pt x="30" y="33"/>
                          <a:pt x="32" y="36"/>
                        </a:cubicBezTo>
                        <a:cubicBezTo>
                          <a:pt x="34" y="33"/>
                          <a:pt x="37" y="31"/>
                          <a:pt x="40" y="31"/>
                        </a:cubicBezTo>
                        <a:cubicBezTo>
                          <a:pt x="43" y="31"/>
                          <a:pt x="46" y="33"/>
                          <a:pt x="48" y="36"/>
                        </a:cubicBezTo>
                        <a:cubicBezTo>
                          <a:pt x="50" y="33"/>
                          <a:pt x="53" y="31"/>
                          <a:pt x="56" y="31"/>
                        </a:cubicBezTo>
                        <a:cubicBezTo>
                          <a:pt x="59" y="31"/>
                          <a:pt x="62" y="33"/>
                          <a:pt x="64" y="36"/>
                        </a:cubicBezTo>
                        <a:cubicBezTo>
                          <a:pt x="66" y="33"/>
                          <a:pt x="69" y="31"/>
                          <a:pt x="72" y="31"/>
                        </a:cubicBezTo>
                        <a:cubicBezTo>
                          <a:pt x="76" y="31"/>
                          <a:pt x="79" y="33"/>
                          <a:pt x="81" y="37"/>
                        </a:cubicBezTo>
                        <a:cubicBezTo>
                          <a:pt x="78" y="16"/>
                          <a:pt x="61" y="0"/>
                          <a:pt x="40" y="0"/>
                        </a:cubicBezTo>
                        <a:cubicBezTo>
                          <a:pt x="19" y="0"/>
                          <a:pt x="2" y="16"/>
                          <a:pt x="0" y="37"/>
                        </a:cubicBezTo>
                        <a:cubicBezTo>
                          <a:pt x="1" y="33"/>
                          <a:pt x="4" y="31"/>
                          <a:pt x="8" y="31"/>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5" name="Freeform 16"/>
                  <p:cNvSpPr>
                    <a:spLocks/>
                  </p:cNvSpPr>
                  <p:nvPr/>
                </p:nvSpPr>
                <p:spPr bwMode="auto">
                  <a:xfrm>
                    <a:off x="7225434" y="3119640"/>
                    <a:ext cx="229953" cy="199374"/>
                  </a:xfrm>
                  <a:custGeom>
                    <a:avLst/>
                    <a:gdLst>
                      <a:gd name="T0" fmla="*/ 42 w 42"/>
                      <a:gd name="T1" fmla="*/ 0 h 37"/>
                      <a:gd name="T2" fmla="*/ 40 w 42"/>
                      <a:gd name="T3" fmla="*/ 0 h 37"/>
                      <a:gd name="T4" fmla="*/ 0 w 42"/>
                      <a:gd name="T5" fmla="*/ 37 h 37"/>
                      <a:gd name="T6" fmla="*/ 8 w 42"/>
                      <a:gd name="T7" fmla="*/ 31 h 37"/>
                      <a:gd name="T8" fmla="*/ 16 w 42"/>
                      <a:gd name="T9" fmla="*/ 36 h 37"/>
                      <a:gd name="T10" fmla="*/ 42 w 42"/>
                      <a:gd name="T11" fmla="*/ 0 h 37"/>
                    </a:gdLst>
                    <a:ahLst/>
                    <a:cxnLst>
                      <a:cxn ang="0">
                        <a:pos x="T0" y="T1"/>
                      </a:cxn>
                      <a:cxn ang="0">
                        <a:pos x="T2" y="T3"/>
                      </a:cxn>
                      <a:cxn ang="0">
                        <a:pos x="T4" y="T5"/>
                      </a:cxn>
                      <a:cxn ang="0">
                        <a:pos x="T6" y="T7"/>
                      </a:cxn>
                      <a:cxn ang="0">
                        <a:pos x="T8" y="T9"/>
                      </a:cxn>
                      <a:cxn ang="0">
                        <a:pos x="T10" y="T11"/>
                      </a:cxn>
                    </a:cxnLst>
                    <a:rect l="0" t="0" r="r" b="b"/>
                    <a:pathLst>
                      <a:path w="42" h="37">
                        <a:moveTo>
                          <a:pt x="42" y="0"/>
                        </a:moveTo>
                        <a:cubicBezTo>
                          <a:pt x="42" y="0"/>
                          <a:pt x="41" y="0"/>
                          <a:pt x="40" y="0"/>
                        </a:cubicBezTo>
                        <a:cubicBezTo>
                          <a:pt x="19" y="0"/>
                          <a:pt x="2" y="16"/>
                          <a:pt x="0" y="37"/>
                        </a:cubicBezTo>
                        <a:cubicBezTo>
                          <a:pt x="1" y="33"/>
                          <a:pt x="4" y="31"/>
                          <a:pt x="8" y="31"/>
                        </a:cubicBezTo>
                        <a:cubicBezTo>
                          <a:pt x="12" y="31"/>
                          <a:pt x="14" y="33"/>
                          <a:pt x="16" y="36"/>
                        </a:cubicBezTo>
                        <a:cubicBezTo>
                          <a:pt x="18" y="20"/>
                          <a:pt x="28" y="7"/>
                          <a:pt x="42" y="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nvGrpSpPr>
                <p:cNvPr id="112" name="Group 111"/>
                <p:cNvGrpSpPr/>
                <p:nvPr/>
              </p:nvGrpSpPr>
              <p:grpSpPr>
                <a:xfrm>
                  <a:off x="7975540" y="3345522"/>
                  <a:ext cx="369094" cy="369094"/>
                  <a:chOff x="7975540" y="3345522"/>
                  <a:chExt cx="369094" cy="369094"/>
                </a:xfrm>
              </p:grpSpPr>
              <p:sp>
                <p:nvSpPr>
                  <p:cNvPr id="113" name="Oval 112"/>
                  <p:cNvSpPr/>
                  <p:nvPr/>
                </p:nvSpPr>
                <p:spPr bwMode="auto">
                  <a:xfrm>
                    <a:off x="7975540" y="3345522"/>
                    <a:ext cx="369094" cy="369094"/>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solidFill>
                          <a:srgbClr val="008272"/>
                        </a:solidFill>
                        <a:ea typeface="Segoe UI" pitchFamily="34" charset="0"/>
                        <a:cs typeface="Segoe UI" pitchFamily="34" charset="0"/>
                      </a:rPr>
                      <a:t> </a:t>
                    </a:r>
                  </a:p>
                </p:txBody>
              </p:sp>
              <p:sp>
                <p:nvSpPr>
                  <p:cNvPr id="114" name="Round Diagonal Corner Rectangle 53"/>
                  <p:cNvSpPr/>
                  <p:nvPr/>
                </p:nvSpPr>
                <p:spPr bwMode="auto">
                  <a:xfrm flipH="1">
                    <a:off x="8073496" y="3423008"/>
                    <a:ext cx="173183" cy="214122"/>
                  </a:xfrm>
                  <a:custGeom>
                    <a:avLst/>
                    <a:gdLst/>
                    <a:ahLst/>
                    <a:cxnLst/>
                    <a:rect l="l" t="t" r="r" b="b"/>
                    <a:pathLst>
                      <a:path w="1271587" h="1572173">
                        <a:moveTo>
                          <a:pt x="823054" y="1205454"/>
                        </a:moveTo>
                        <a:lnTo>
                          <a:pt x="246792" y="1205454"/>
                        </a:lnTo>
                        <a:cubicBezTo>
                          <a:pt x="226407" y="1205454"/>
                          <a:pt x="209882" y="1221979"/>
                          <a:pt x="209882" y="1242364"/>
                        </a:cubicBezTo>
                        <a:lnTo>
                          <a:pt x="209883" y="1242364"/>
                        </a:lnTo>
                        <a:cubicBezTo>
                          <a:pt x="209883" y="1262749"/>
                          <a:pt x="226408" y="1279274"/>
                          <a:pt x="246793" y="1279274"/>
                        </a:cubicBezTo>
                        <a:lnTo>
                          <a:pt x="823054" y="1279273"/>
                        </a:lnTo>
                        <a:cubicBezTo>
                          <a:pt x="843439" y="1279273"/>
                          <a:pt x="859964" y="1262748"/>
                          <a:pt x="859964" y="1242364"/>
                        </a:cubicBezTo>
                        <a:cubicBezTo>
                          <a:pt x="859964" y="1221979"/>
                          <a:pt x="843439" y="1205454"/>
                          <a:pt x="823054" y="1205454"/>
                        </a:cubicBezTo>
                        <a:close/>
                        <a:moveTo>
                          <a:pt x="823054" y="1034004"/>
                        </a:moveTo>
                        <a:lnTo>
                          <a:pt x="246792" y="1034004"/>
                        </a:lnTo>
                        <a:cubicBezTo>
                          <a:pt x="226407" y="1034004"/>
                          <a:pt x="209882" y="1050529"/>
                          <a:pt x="209882" y="1070914"/>
                        </a:cubicBezTo>
                        <a:lnTo>
                          <a:pt x="209883" y="1070914"/>
                        </a:lnTo>
                        <a:cubicBezTo>
                          <a:pt x="209883" y="1091299"/>
                          <a:pt x="226408" y="1107824"/>
                          <a:pt x="246793" y="1107824"/>
                        </a:cubicBezTo>
                        <a:lnTo>
                          <a:pt x="823054" y="1107823"/>
                        </a:lnTo>
                        <a:cubicBezTo>
                          <a:pt x="843439" y="1107823"/>
                          <a:pt x="859964" y="1091298"/>
                          <a:pt x="859964" y="1070914"/>
                        </a:cubicBezTo>
                        <a:cubicBezTo>
                          <a:pt x="859964" y="1050529"/>
                          <a:pt x="843439" y="1034004"/>
                          <a:pt x="823054" y="1034004"/>
                        </a:cubicBezTo>
                        <a:close/>
                        <a:moveTo>
                          <a:pt x="823054" y="862553"/>
                        </a:moveTo>
                        <a:lnTo>
                          <a:pt x="246792" y="862553"/>
                        </a:lnTo>
                        <a:cubicBezTo>
                          <a:pt x="226407" y="862553"/>
                          <a:pt x="209882" y="879078"/>
                          <a:pt x="209882" y="899463"/>
                        </a:cubicBezTo>
                        <a:lnTo>
                          <a:pt x="209883" y="899463"/>
                        </a:lnTo>
                        <a:cubicBezTo>
                          <a:pt x="209883" y="919848"/>
                          <a:pt x="226408" y="936373"/>
                          <a:pt x="246793" y="936373"/>
                        </a:cubicBezTo>
                        <a:lnTo>
                          <a:pt x="823054" y="936372"/>
                        </a:lnTo>
                        <a:cubicBezTo>
                          <a:pt x="843439" y="936372"/>
                          <a:pt x="859964" y="919847"/>
                          <a:pt x="859964" y="899463"/>
                        </a:cubicBezTo>
                        <a:cubicBezTo>
                          <a:pt x="859964" y="879078"/>
                          <a:pt x="843439" y="862553"/>
                          <a:pt x="823054" y="862553"/>
                        </a:cubicBezTo>
                        <a:close/>
                        <a:moveTo>
                          <a:pt x="570642" y="693484"/>
                        </a:moveTo>
                        <a:lnTo>
                          <a:pt x="246792" y="693484"/>
                        </a:lnTo>
                        <a:cubicBezTo>
                          <a:pt x="226407" y="693484"/>
                          <a:pt x="209882" y="710009"/>
                          <a:pt x="209882" y="730394"/>
                        </a:cubicBezTo>
                        <a:lnTo>
                          <a:pt x="209883" y="730394"/>
                        </a:lnTo>
                        <a:cubicBezTo>
                          <a:pt x="209883" y="750779"/>
                          <a:pt x="226408" y="767304"/>
                          <a:pt x="246793" y="767304"/>
                        </a:cubicBezTo>
                        <a:lnTo>
                          <a:pt x="570642" y="767303"/>
                        </a:lnTo>
                        <a:cubicBezTo>
                          <a:pt x="591027" y="767303"/>
                          <a:pt x="607552" y="750778"/>
                          <a:pt x="607552" y="730394"/>
                        </a:cubicBezTo>
                        <a:cubicBezTo>
                          <a:pt x="607552" y="710009"/>
                          <a:pt x="591027" y="693484"/>
                          <a:pt x="570642" y="693484"/>
                        </a:cubicBezTo>
                        <a:close/>
                        <a:moveTo>
                          <a:pt x="679213" y="429158"/>
                        </a:moveTo>
                        <a:lnTo>
                          <a:pt x="679213" y="645579"/>
                        </a:lnTo>
                        <a:cubicBezTo>
                          <a:pt x="679213" y="679926"/>
                          <a:pt x="707057" y="707770"/>
                          <a:pt x="741404" y="707770"/>
                        </a:cubicBezTo>
                        <a:lnTo>
                          <a:pt x="992124" y="707770"/>
                        </a:lnTo>
                        <a:lnTo>
                          <a:pt x="992124" y="1398611"/>
                        </a:lnTo>
                        <a:cubicBezTo>
                          <a:pt x="992124" y="1451881"/>
                          <a:pt x="971294" y="1504590"/>
                          <a:pt x="897731" y="1495065"/>
                        </a:cubicBezTo>
                        <a:lnTo>
                          <a:pt x="77724" y="1495065"/>
                        </a:lnTo>
                        <a:lnTo>
                          <a:pt x="77724" y="527973"/>
                        </a:lnTo>
                        <a:cubicBezTo>
                          <a:pt x="80105" y="443747"/>
                          <a:pt x="119986" y="431519"/>
                          <a:pt x="172117" y="431519"/>
                        </a:cubicBezTo>
                        <a:lnTo>
                          <a:pt x="173626" y="431512"/>
                        </a:lnTo>
                        <a:lnTo>
                          <a:pt x="173626" y="432343"/>
                        </a:lnTo>
                        <a:lnTo>
                          <a:pt x="253392" y="432343"/>
                        </a:lnTo>
                        <a:lnTo>
                          <a:pt x="253392" y="431141"/>
                        </a:lnTo>
                        <a:close/>
                        <a:moveTo>
                          <a:pt x="870687" y="76711"/>
                        </a:moveTo>
                        <a:lnTo>
                          <a:pt x="870687" y="298819"/>
                        </a:lnTo>
                        <a:cubicBezTo>
                          <a:pt x="870687" y="323322"/>
                          <a:pt x="884495" y="344600"/>
                          <a:pt x="904891" y="355035"/>
                        </a:cubicBezTo>
                        <a:lnTo>
                          <a:pt x="1184859" y="355035"/>
                        </a:lnTo>
                        <a:lnTo>
                          <a:pt x="1184859" y="362645"/>
                        </a:lnTo>
                        <a:lnTo>
                          <a:pt x="1191821" y="362645"/>
                        </a:lnTo>
                        <a:lnTo>
                          <a:pt x="1191821" y="1071639"/>
                        </a:lnTo>
                        <a:cubicBezTo>
                          <a:pt x="1191821" y="1087950"/>
                          <a:pt x="1189918" y="1104210"/>
                          <a:pt x="1184859" y="1118613"/>
                        </a:cubicBezTo>
                        <a:lnTo>
                          <a:pt x="1184859" y="1165881"/>
                        </a:lnTo>
                        <a:lnTo>
                          <a:pt x="1143986" y="1165881"/>
                        </a:lnTo>
                        <a:cubicBezTo>
                          <a:pt x="1131093" y="1171331"/>
                          <a:pt x="1114913" y="1173213"/>
                          <a:pt x="1094947" y="1170628"/>
                        </a:cubicBezTo>
                        <a:lnTo>
                          <a:pt x="1069848" y="1170628"/>
                        </a:lnTo>
                        <a:lnTo>
                          <a:pt x="1069848" y="664962"/>
                        </a:lnTo>
                        <a:lnTo>
                          <a:pt x="733418" y="354411"/>
                        </a:lnTo>
                        <a:lnTo>
                          <a:pt x="253392" y="354411"/>
                        </a:lnTo>
                        <a:lnTo>
                          <a:pt x="253392" y="178123"/>
                        </a:lnTo>
                        <a:cubicBezTo>
                          <a:pt x="255836" y="91683"/>
                          <a:pt x="296765" y="79134"/>
                          <a:pt x="350266" y="79134"/>
                        </a:cubicBezTo>
                        <a:close/>
                        <a:moveTo>
                          <a:pt x="926316" y="0"/>
                        </a:moveTo>
                        <a:lnTo>
                          <a:pt x="286968" y="0"/>
                        </a:lnTo>
                        <a:cubicBezTo>
                          <a:pt x="224371" y="0"/>
                          <a:pt x="173626" y="50745"/>
                          <a:pt x="173626" y="113342"/>
                        </a:cubicBezTo>
                        <a:lnTo>
                          <a:pt x="173626" y="354411"/>
                        </a:lnTo>
                        <a:lnTo>
                          <a:pt x="110440" y="354411"/>
                        </a:lnTo>
                        <a:cubicBezTo>
                          <a:pt x="49446" y="354411"/>
                          <a:pt x="0" y="403857"/>
                          <a:pt x="0" y="464851"/>
                        </a:cubicBezTo>
                        <a:lnTo>
                          <a:pt x="0" y="1572173"/>
                        </a:lnTo>
                        <a:lnTo>
                          <a:pt x="959408" y="1572173"/>
                        </a:lnTo>
                        <a:cubicBezTo>
                          <a:pt x="1020402" y="1572173"/>
                          <a:pt x="1069848" y="1522727"/>
                          <a:pt x="1069848" y="1461733"/>
                        </a:cubicBezTo>
                        <a:lnTo>
                          <a:pt x="1069848" y="1249762"/>
                        </a:lnTo>
                        <a:lnTo>
                          <a:pt x="1158245" y="1249762"/>
                        </a:lnTo>
                        <a:cubicBezTo>
                          <a:pt x="1220842" y="1249762"/>
                          <a:pt x="1271587" y="1199017"/>
                          <a:pt x="1271587" y="1136420"/>
                        </a:cubicBezTo>
                        <a:lnTo>
                          <a:pt x="1271587" y="31871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26" name="Group 125"/>
              <p:cNvGrpSpPr/>
              <p:nvPr/>
            </p:nvGrpSpPr>
            <p:grpSpPr>
              <a:xfrm>
                <a:off x="5288743" y="2257767"/>
                <a:ext cx="453790" cy="981895"/>
                <a:chOff x="8910481" y="2108304"/>
                <a:chExt cx="453790" cy="981895"/>
              </a:xfrm>
            </p:grpSpPr>
            <p:grpSp>
              <p:nvGrpSpPr>
                <p:cNvPr id="127" name="Group 126"/>
                <p:cNvGrpSpPr/>
                <p:nvPr/>
              </p:nvGrpSpPr>
              <p:grpSpPr>
                <a:xfrm>
                  <a:off x="8910481" y="2108304"/>
                  <a:ext cx="453790" cy="612802"/>
                  <a:chOff x="8910481" y="2108304"/>
                  <a:chExt cx="453790" cy="612802"/>
                </a:xfrm>
              </p:grpSpPr>
              <p:sp>
                <p:nvSpPr>
                  <p:cNvPr id="133" name="Freeform 5"/>
                  <p:cNvSpPr>
                    <a:spLocks/>
                  </p:cNvSpPr>
                  <p:nvPr/>
                </p:nvSpPr>
                <p:spPr bwMode="auto">
                  <a:xfrm>
                    <a:off x="9151442" y="2162123"/>
                    <a:ext cx="15901" cy="161457"/>
                  </a:xfrm>
                  <a:custGeom>
                    <a:avLst/>
                    <a:gdLst>
                      <a:gd name="T0" fmla="*/ 1 w 3"/>
                      <a:gd name="T1" fmla="*/ 0 h 30"/>
                      <a:gd name="T2" fmla="*/ 3 w 3"/>
                      <a:gd name="T3" fmla="*/ 1 h 30"/>
                      <a:gd name="T4" fmla="*/ 3 w 3"/>
                      <a:gd name="T5" fmla="*/ 29 h 30"/>
                      <a:gd name="T6" fmla="*/ 1 w 3"/>
                      <a:gd name="T7" fmla="*/ 30 h 30"/>
                      <a:gd name="T8" fmla="*/ 0 w 3"/>
                      <a:gd name="T9" fmla="*/ 29 h 30"/>
                      <a:gd name="T10" fmla="*/ 0 w 3"/>
                      <a:gd name="T11" fmla="*/ 1 h 30"/>
                      <a:gd name="T12" fmla="*/ 1 w 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 h="30">
                        <a:moveTo>
                          <a:pt x="1" y="0"/>
                        </a:moveTo>
                        <a:cubicBezTo>
                          <a:pt x="2" y="0"/>
                          <a:pt x="3" y="1"/>
                          <a:pt x="3" y="1"/>
                        </a:cubicBezTo>
                        <a:cubicBezTo>
                          <a:pt x="3" y="29"/>
                          <a:pt x="3" y="29"/>
                          <a:pt x="3" y="29"/>
                        </a:cubicBezTo>
                        <a:cubicBezTo>
                          <a:pt x="3" y="30"/>
                          <a:pt x="2" y="30"/>
                          <a:pt x="1" y="30"/>
                        </a:cubicBezTo>
                        <a:cubicBezTo>
                          <a:pt x="1" y="30"/>
                          <a:pt x="0" y="30"/>
                          <a:pt x="0" y="2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4" name="Freeform 6"/>
                  <p:cNvSpPr>
                    <a:spLocks/>
                  </p:cNvSpPr>
                  <p:nvPr/>
                </p:nvSpPr>
                <p:spPr bwMode="auto">
                  <a:xfrm>
                    <a:off x="9124533" y="2108304"/>
                    <a:ext cx="11009" cy="215276"/>
                  </a:xfrm>
                  <a:custGeom>
                    <a:avLst/>
                    <a:gdLst>
                      <a:gd name="T0" fmla="*/ 1 w 2"/>
                      <a:gd name="T1" fmla="*/ 0 h 40"/>
                      <a:gd name="T2" fmla="*/ 2 w 2"/>
                      <a:gd name="T3" fmla="*/ 1 h 40"/>
                      <a:gd name="T4" fmla="*/ 2 w 2"/>
                      <a:gd name="T5" fmla="*/ 39 h 40"/>
                      <a:gd name="T6" fmla="*/ 1 w 2"/>
                      <a:gd name="T7" fmla="*/ 40 h 40"/>
                      <a:gd name="T8" fmla="*/ 0 w 2"/>
                      <a:gd name="T9" fmla="*/ 39 h 40"/>
                      <a:gd name="T10" fmla="*/ 0 w 2"/>
                      <a:gd name="T11" fmla="*/ 1 h 40"/>
                      <a:gd name="T12" fmla="*/ 1 w 2"/>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 h="40">
                        <a:moveTo>
                          <a:pt x="1" y="0"/>
                        </a:moveTo>
                        <a:cubicBezTo>
                          <a:pt x="2" y="0"/>
                          <a:pt x="2" y="1"/>
                          <a:pt x="2" y="1"/>
                        </a:cubicBezTo>
                        <a:cubicBezTo>
                          <a:pt x="2" y="39"/>
                          <a:pt x="2" y="39"/>
                          <a:pt x="2" y="39"/>
                        </a:cubicBezTo>
                        <a:cubicBezTo>
                          <a:pt x="2" y="40"/>
                          <a:pt x="2" y="40"/>
                          <a:pt x="1" y="40"/>
                        </a:cubicBezTo>
                        <a:cubicBezTo>
                          <a:pt x="1" y="40"/>
                          <a:pt x="0" y="40"/>
                          <a:pt x="0" y="3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5" name="Freeform 7"/>
                  <p:cNvSpPr>
                    <a:spLocks/>
                  </p:cNvSpPr>
                  <p:nvPr/>
                </p:nvSpPr>
                <p:spPr bwMode="auto">
                  <a:xfrm>
                    <a:off x="9096401" y="2162123"/>
                    <a:ext cx="11009" cy="161457"/>
                  </a:xfrm>
                  <a:custGeom>
                    <a:avLst/>
                    <a:gdLst>
                      <a:gd name="T0" fmla="*/ 1 w 2"/>
                      <a:gd name="T1" fmla="*/ 0 h 30"/>
                      <a:gd name="T2" fmla="*/ 2 w 2"/>
                      <a:gd name="T3" fmla="*/ 1 h 30"/>
                      <a:gd name="T4" fmla="*/ 2 w 2"/>
                      <a:gd name="T5" fmla="*/ 29 h 30"/>
                      <a:gd name="T6" fmla="*/ 1 w 2"/>
                      <a:gd name="T7" fmla="*/ 30 h 30"/>
                      <a:gd name="T8" fmla="*/ 0 w 2"/>
                      <a:gd name="T9" fmla="*/ 29 h 30"/>
                      <a:gd name="T10" fmla="*/ 0 w 2"/>
                      <a:gd name="T11" fmla="*/ 1 h 30"/>
                      <a:gd name="T12" fmla="*/ 1 w 2"/>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 h="30">
                        <a:moveTo>
                          <a:pt x="1" y="0"/>
                        </a:moveTo>
                        <a:cubicBezTo>
                          <a:pt x="2" y="0"/>
                          <a:pt x="2" y="1"/>
                          <a:pt x="2" y="1"/>
                        </a:cubicBezTo>
                        <a:cubicBezTo>
                          <a:pt x="2" y="29"/>
                          <a:pt x="2" y="29"/>
                          <a:pt x="2" y="29"/>
                        </a:cubicBezTo>
                        <a:cubicBezTo>
                          <a:pt x="2" y="30"/>
                          <a:pt x="2" y="30"/>
                          <a:pt x="1" y="30"/>
                        </a:cubicBezTo>
                        <a:cubicBezTo>
                          <a:pt x="0" y="30"/>
                          <a:pt x="0" y="30"/>
                          <a:pt x="0" y="29"/>
                        </a:cubicBezTo>
                        <a:cubicBezTo>
                          <a:pt x="0" y="1"/>
                          <a:pt x="0" y="1"/>
                          <a:pt x="0" y="1"/>
                        </a:cubicBezTo>
                        <a:cubicBezTo>
                          <a:pt x="0" y="1"/>
                          <a:pt x="0"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6" name="Freeform 8"/>
                  <p:cNvSpPr>
                    <a:spLocks/>
                  </p:cNvSpPr>
                  <p:nvPr/>
                </p:nvSpPr>
                <p:spPr bwMode="auto">
                  <a:xfrm>
                    <a:off x="8910481" y="2483813"/>
                    <a:ext cx="229953" cy="237292"/>
                  </a:xfrm>
                  <a:custGeom>
                    <a:avLst/>
                    <a:gdLst>
                      <a:gd name="T0" fmla="*/ 41 w 42"/>
                      <a:gd name="T1" fmla="*/ 44 h 44"/>
                      <a:gd name="T2" fmla="*/ 40 w 42"/>
                      <a:gd name="T3" fmla="*/ 44 h 44"/>
                      <a:gd name="T4" fmla="*/ 0 w 42"/>
                      <a:gd name="T5" fmla="*/ 1 h 44"/>
                      <a:gd name="T6" fmla="*/ 0 w 42"/>
                      <a:gd name="T7" fmla="*/ 0 h 44"/>
                      <a:gd name="T8" fmla="*/ 1 w 42"/>
                      <a:gd name="T9" fmla="*/ 0 h 44"/>
                      <a:gd name="T10" fmla="*/ 42 w 42"/>
                      <a:gd name="T11" fmla="*/ 42 h 44"/>
                      <a:gd name="T12" fmla="*/ 42 w 42"/>
                      <a:gd name="T13" fmla="*/ 44 h 44"/>
                      <a:gd name="T14" fmla="*/ 41 w 42"/>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4">
                        <a:moveTo>
                          <a:pt x="41" y="44"/>
                        </a:moveTo>
                        <a:cubicBezTo>
                          <a:pt x="41" y="44"/>
                          <a:pt x="41" y="44"/>
                          <a:pt x="40" y="44"/>
                        </a:cubicBezTo>
                        <a:cubicBezTo>
                          <a:pt x="0" y="1"/>
                          <a:pt x="0" y="1"/>
                          <a:pt x="0" y="1"/>
                        </a:cubicBezTo>
                        <a:cubicBezTo>
                          <a:pt x="0" y="1"/>
                          <a:pt x="0" y="0"/>
                          <a:pt x="0" y="0"/>
                        </a:cubicBezTo>
                        <a:cubicBezTo>
                          <a:pt x="0" y="0"/>
                          <a:pt x="1" y="0"/>
                          <a:pt x="1" y="0"/>
                        </a:cubicBezTo>
                        <a:cubicBezTo>
                          <a:pt x="42" y="42"/>
                          <a:pt x="42" y="42"/>
                          <a:pt x="42" y="42"/>
                        </a:cubicBezTo>
                        <a:cubicBezTo>
                          <a:pt x="42" y="43"/>
                          <a:pt x="42" y="43"/>
                          <a:pt x="42" y="44"/>
                        </a:cubicBezTo>
                        <a:cubicBezTo>
                          <a:pt x="42" y="44"/>
                          <a:pt x="41" y="44"/>
                          <a:pt x="41" y="4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7" name="Freeform 9"/>
                  <p:cNvSpPr>
                    <a:spLocks/>
                  </p:cNvSpPr>
                  <p:nvPr/>
                </p:nvSpPr>
                <p:spPr bwMode="auto">
                  <a:xfrm>
                    <a:off x="8998548" y="2478921"/>
                    <a:ext cx="141886" cy="242185"/>
                  </a:xfrm>
                  <a:custGeom>
                    <a:avLst/>
                    <a:gdLst>
                      <a:gd name="T0" fmla="*/ 25 w 26"/>
                      <a:gd name="T1" fmla="*/ 45 h 45"/>
                      <a:gd name="T2" fmla="*/ 24 w 26"/>
                      <a:gd name="T3" fmla="*/ 45 h 45"/>
                      <a:gd name="T4" fmla="*/ 0 w 26"/>
                      <a:gd name="T5" fmla="*/ 1 h 45"/>
                      <a:gd name="T6" fmla="*/ 1 w 26"/>
                      <a:gd name="T7" fmla="*/ 0 h 45"/>
                      <a:gd name="T8" fmla="*/ 2 w 26"/>
                      <a:gd name="T9" fmla="*/ 0 h 45"/>
                      <a:gd name="T10" fmla="*/ 26 w 26"/>
                      <a:gd name="T11" fmla="*/ 44 h 45"/>
                      <a:gd name="T12" fmla="*/ 26 w 26"/>
                      <a:gd name="T13" fmla="*/ 45 h 45"/>
                      <a:gd name="T14" fmla="*/ 25 w 26"/>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5">
                        <a:moveTo>
                          <a:pt x="25" y="45"/>
                        </a:moveTo>
                        <a:cubicBezTo>
                          <a:pt x="25" y="45"/>
                          <a:pt x="24" y="45"/>
                          <a:pt x="24" y="45"/>
                        </a:cubicBezTo>
                        <a:cubicBezTo>
                          <a:pt x="0" y="1"/>
                          <a:pt x="0" y="1"/>
                          <a:pt x="0" y="1"/>
                        </a:cubicBezTo>
                        <a:cubicBezTo>
                          <a:pt x="0" y="1"/>
                          <a:pt x="0" y="0"/>
                          <a:pt x="1" y="0"/>
                        </a:cubicBezTo>
                        <a:cubicBezTo>
                          <a:pt x="1" y="0"/>
                          <a:pt x="2" y="0"/>
                          <a:pt x="2" y="0"/>
                        </a:cubicBezTo>
                        <a:cubicBezTo>
                          <a:pt x="26" y="44"/>
                          <a:pt x="26" y="44"/>
                          <a:pt x="26" y="44"/>
                        </a:cubicBezTo>
                        <a:cubicBezTo>
                          <a:pt x="26" y="44"/>
                          <a:pt x="26" y="45"/>
                          <a:pt x="26" y="45"/>
                        </a:cubicBezTo>
                        <a:cubicBezTo>
                          <a:pt x="25" y="45"/>
                          <a:pt x="25" y="45"/>
                          <a:pt x="25"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8" name="Freeform 10"/>
                  <p:cNvSpPr>
                    <a:spLocks/>
                  </p:cNvSpPr>
                  <p:nvPr/>
                </p:nvSpPr>
                <p:spPr bwMode="auto">
                  <a:xfrm>
                    <a:off x="9085392" y="2478921"/>
                    <a:ext cx="55042" cy="242185"/>
                  </a:xfrm>
                  <a:custGeom>
                    <a:avLst/>
                    <a:gdLst>
                      <a:gd name="T0" fmla="*/ 9 w 10"/>
                      <a:gd name="T1" fmla="*/ 45 h 45"/>
                      <a:gd name="T2" fmla="*/ 8 w 10"/>
                      <a:gd name="T3" fmla="*/ 44 h 45"/>
                      <a:gd name="T4" fmla="*/ 0 w 10"/>
                      <a:gd name="T5" fmla="*/ 1 h 45"/>
                      <a:gd name="T6" fmla="*/ 1 w 10"/>
                      <a:gd name="T7" fmla="*/ 0 h 45"/>
                      <a:gd name="T8" fmla="*/ 2 w 10"/>
                      <a:gd name="T9" fmla="*/ 0 h 45"/>
                      <a:gd name="T10" fmla="*/ 10 w 10"/>
                      <a:gd name="T11" fmla="*/ 44 h 45"/>
                      <a:gd name="T12" fmla="*/ 9 w 10"/>
                      <a:gd name="T13" fmla="*/ 45 h 45"/>
                      <a:gd name="T14" fmla="*/ 9 w 10"/>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5">
                        <a:moveTo>
                          <a:pt x="9" y="45"/>
                        </a:moveTo>
                        <a:cubicBezTo>
                          <a:pt x="9" y="45"/>
                          <a:pt x="8" y="45"/>
                          <a:pt x="8" y="44"/>
                        </a:cubicBezTo>
                        <a:cubicBezTo>
                          <a:pt x="0" y="1"/>
                          <a:pt x="0" y="1"/>
                          <a:pt x="0" y="1"/>
                        </a:cubicBezTo>
                        <a:cubicBezTo>
                          <a:pt x="0" y="0"/>
                          <a:pt x="0" y="0"/>
                          <a:pt x="1" y="0"/>
                        </a:cubicBezTo>
                        <a:cubicBezTo>
                          <a:pt x="1" y="0"/>
                          <a:pt x="2" y="0"/>
                          <a:pt x="2" y="0"/>
                        </a:cubicBezTo>
                        <a:cubicBezTo>
                          <a:pt x="10" y="44"/>
                          <a:pt x="10" y="44"/>
                          <a:pt x="10" y="44"/>
                        </a:cubicBezTo>
                        <a:cubicBezTo>
                          <a:pt x="10" y="44"/>
                          <a:pt x="10" y="45"/>
                          <a:pt x="9" y="45"/>
                        </a:cubicBezTo>
                        <a:cubicBezTo>
                          <a:pt x="9" y="45"/>
                          <a:pt x="9" y="45"/>
                          <a:pt x="9"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9" name="Freeform 11"/>
                  <p:cNvSpPr>
                    <a:spLocks/>
                  </p:cNvSpPr>
                  <p:nvPr/>
                </p:nvSpPr>
                <p:spPr bwMode="auto">
                  <a:xfrm>
                    <a:off x="9129425" y="2478921"/>
                    <a:ext cx="55042" cy="242185"/>
                  </a:xfrm>
                  <a:custGeom>
                    <a:avLst/>
                    <a:gdLst>
                      <a:gd name="T0" fmla="*/ 1 w 10"/>
                      <a:gd name="T1" fmla="*/ 45 h 45"/>
                      <a:gd name="T2" fmla="*/ 1 w 10"/>
                      <a:gd name="T3" fmla="*/ 45 h 45"/>
                      <a:gd name="T4" fmla="*/ 0 w 10"/>
                      <a:gd name="T5" fmla="*/ 44 h 45"/>
                      <a:gd name="T6" fmla="*/ 8 w 10"/>
                      <a:gd name="T7" fmla="*/ 0 h 45"/>
                      <a:gd name="T8" fmla="*/ 9 w 10"/>
                      <a:gd name="T9" fmla="*/ 0 h 45"/>
                      <a:gd name="T10" fmla="*/ 10 w 10"/>
                      <a:gd name="T11" fmla="*/ 1 h 45"/>
                      <a:gd name="T12" fmla="*/ 2 w 10"/>
                      <a:gd name="T13" fmla="*/ 44 h 45"/>
                      <a:gd name="T14" fmla="*/ 1 w 10"/>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5">
                        <a:moveTo>
                          <a:pt x="1" y="45"/>
                        </a:moveTo>
                        <a:cubicBezTo>
                          <a:pt x="1" y="45"/>
                          <a:pt x="1" y="45"/>
                          <a:pt x="1" y="45"/>
                        </a:cubicBezTo>
                        <a:cubicBezTo>
                          <a:pt x="0" y="45"/>
                          <a:pt x="0" y="44"/>
                          <a:pt x="0" y="44"/>
                        </a:cubicBezTo>
                        <a:cubicBezTo>
                          <a:pt x="8" y="0"/>
                          <a:pt x="8" y="0"/>
                          <a:pt x="8" y="0"/>
                        </a:cubicBezTo>
                        <a:cubicBezTo>
                          <a:pt x="8" y="0"/>
                          <a:pt x="9" y="0"/>
                          <a:pt x="9" y="0"/>
                        </a:cubicBezTo>
                        <a:cubicBezTo>
                          <a:pt x="10" y="0"/>
                          <a:pt x="10" y="0"/>
                          <a:pt x="10" y="1"/>
                        </a:cubicBezTo>
                        <a:cubicBezTo>
                          <a:pt x="2" y="44"/>
                          <a:pt x="2" y="44"/>
                          <a:pt x="2" y="44"/>
                        </a:cubicBezTo>
                        <a:cubicBezTo>
                          <a:pt x="2" y="45"/>
                          <a:pt x="2"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0" name="Freeform 12"/>
                  <p:cNvSpPr>
                    <a:spLocks/>
                  </p:cNvSpPr>
                  <p:nvPr/>
                </p:nvSpPr>
                <p:spPr bwMode="auto">
                  <a:xfrm>
                    <a:off x="9129425" y="2478921"/>
                    <a:ext cx="141886" cy="242185"/>
                  </a:xfrm>
                  <a:custGeom>
                    <a:avLst/>
                    <a:gdLst>
                      <a:gd name="T0" fmla="*/ 1 w 26"/>
                      <a:gd name="T1" fmla="*/ 45 h 45"/>
                      <a:gd name="T2" fmla="*/ 1 w 26"/>
                      <a:gd name="T3" fmla="*/ 45 h 45"/>
                      <a:gd name="T4" fmla="*/ 0 w 26"/>
                      <a:gd name="T5" fmla="*/ 44 h 45"/>
                      <a:gd name="T6" fmla="*/ 24 w 26"/>
                      <a:gd name="T7" fmla="*/ 0 h 45"/>
                      <a:gd name="T8" fmla="*/ 26 w 26"/>
                      <a:gd name="T9" fmla="*/ 0 h 45"/>
                      <a:gd name="T10" fmla="*/ 26 w 26"/>
                      <a:gd name="T11" fmla="*/ 1 h 45"/>
                      <a:gd name="T12" fmla="*/ 2 w 26"/>
                      <a:gd name="T13" fmla="*/ 45 h 45"/>
                      <a:gd name="T14" fmla="*/ 1 w 26"/>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5">
                        <a:moveTo>
                          <a:pt x="1" y="45"/>
                        </a:moveTo>
                        <a:cubicBezTo>
                          <a:pt x="1" y="45"/>
                          <a:pt x="1" y="45"/>
                          <a:pt x="1" y="45"/>
                        </a:cubicBezTo>
                        <a:cubicBezTo>
                          <a:pt x="0" y="45"/>
                          <a:pt x="0" y="44"/>
                          <a:pt x="0" y="44"/>
                        </a:cubicBezTo>
                        <a:cubicBezTo>
                          <a:pt x="24" y="0"/>
                          <a:pt x="24" y="0"/>
                          <a:pt x="24" y="0"/>
                        </a:cubicBezTo>
                        <a:cubicBezTo>
                          <a:pt x="25" y="0"/>
                          <a:pt x="25" y="0"/>
                          <a:pt x="26" y="0"/>
                        </a:cubicBezTo>
                        <a:cubicBezTo>
                          <a:pt x="26" y="0"/>
                          <a:pt x="26" y="1"/>
                          <a:pt x="26" y="1"/>
                        </a:cubicBezTo>
                        <a:cubicBezTo>
                          <a:pt x="2" y="45"/>
                          <a:pt x="2" y="45"/>
                          <a:pt x="2" y="45"/>
                        </a:cubicBezTo>
                        <a:cubicBezTo>
                          <a:pt x="2" y="45"/>
                          <a:pt x="1"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1" name="Freeform 13"/>
                  <p:cNvSpPr>
                    <a:spLocks/>
                  </p:cNvSpPr>
                  <p:nvPr/>
                </p:nvSpPr>
                <p:spPr bwMode="auto">
                  <a:xfrm>
                    <a:off x="9129425" y="2483813"/>
                    <a:ext cx="234846" cy="237292"/>
                  </a:xfrm>
                  <a:custGeom>
                    <a:avLst/>
                    <a:gdLst>
                      <a:gd name="T0" fmla="*/ 1 w 43"/>
                      <a:gd name="T1" fmla="*/ 44 h 44"/>
                      <a:gd name="T2" fmla="*/ 0 w 43"/>
                      <a:gd name="T3" fmla="*/ 44 h 44"/>
                      <a:gd name="T4" fmla="*/ 0 w 43"/>
                      <a:gd name="T5" fmla="*/ 42 h 44"/>
                      <a:gd name="T6" fmla="*/ 41 w 43"/>
                      <a:gd name="T7" fmla="*/ 0 h 44"/>
                      <a:gd name="T8" fmla="*/ 42 w 43"/>
                      <a:gd name="T9" fmla="*/ 0 h 44"/>
                      <a:gd name="T10" fmla="*/ 42 w 43"/>
                      <a:gd name="T11" fmla="*/ 1 h 44"/>
                      <a:gd name="T12" fmla="*/ 2 w 43"/>
                      <a:gd name="T13" fmla="*/ 44 h 44"/>
                      <a:gd name="T14" fmla="*/ 1 w 43"/>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4">
                        <a:moveTo>
                          <a:pt x="1" y="44"/>
                        </a:moveTo>
                        <a:cubicBezTo>
                          <a:pt x="1" y="44"/>
                          <a:pt x="1" y="44"/>
                          <a:pt x="0" y="44"/>
                        </a:cubicBezTo>
                        <a:cubicBezTo>
                          <a:pt x="0" y="43"/>
                          <a:pt x="0" y="43"/>
                          <a:pt x="0" y="42"/>
                        </a:cubicBezTo>
                        <a:cubicBezTo>
                          <a:pt x="41" y="0"/>
                          <a:pt x="41" y="0"/>
                          <a:pt x="41" y="0"/>
                        </a:cubicBezTo>
                        <a:cubicBezTo>
                          <a:pt x="41" y="0"/>
                          <a:pt x="42" y="0"/>
                          <a:pt x="42" y="0"/>
                        </a:cubicBezTo>
                        <a:cubicBezTo>
                          <a:pt x="43" y="0"/>
                          <a:pt x="43" y="1"/>
                          <a:pt x="42" y="1"/>
                        </a:cubicBezTo>
                        <a:cubicBezTo>
                          <a:pt x="2" y="44"/>
                          <a:pt x="2" y="44"/>
                          <a:pt x="2" y="44"/>
                        </a:cubicBezTo>
                        <a:cubicBezTo>
                          <a:pt x="2" y="44"/>
                          <a:pt x="1" y="44"/>
                          <a:pt x="1" y="4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2" name="Freeform 15"/>
                  <p:cNvSpPr>
                    <a:spLocks/>
                  </p:cNvSpPr>
                  <p:nvPr/>
                </p:nvSpPr>
                <p:spPr bwMode="auto">
                  <a:xfrm>
                    <a:off x="8916596" y="2290555"/>
                    <a:ext cx="442782" cy="199375"/>
                  </a:xfrm>
                  <a:custGeom>
                    <a:avLst/>
                    <a:gdLst>
                      <a:gd name="T0" fmla="*/ 8 w 81"/>
                      <a:gd name="T1" fmla="*/ 31 h 37"/>
                      <a:gd name="T2" fmla="*/ 16 w 81"/>
                      <a:gd name="T3" fmla="*/ 36 h 37"/>
                      <a:gd name="T4" fmla="*/ 24 w 81"/>
                      <a:gd name="T5" fmla="*/ 31 h 37"/>
                      <a:gd name="T6" fmla="*/ 32 w 81"/>
                      <a:gd name="T7" fmla="*/ 36 h 37"/>
                      <a:gd name="T8" fmla="*/ 40 w 81"/>
                      <a:gd name="T9" fmla="*/ 31 h 37"/>
                      <a:gd name="T10" fmla="*/ 48 w 81"/>
                      <a:gd name="T11" fmla="*/ 36 h 37"/>
                      <a:gd name="T12" fmla="*/ 56 w 81"/>
                      <a:gd name="T13" fmla="*/ 31 h 37"/>
                      <a:gd name="T14" fmla="*/ 64 w 81"/>
                      <a:gd name="T15" fmla="*/ 36 h 37"/>
                      <a:gd name="T16" fmla="*/ 72 w 81"/>
                      <a:gd name="T17" fmla="*/ 31 h 37"/>
                      <a:gd name="T18" fmla="*/ 81 w 81"/>
                      <a:gd name="T19" fmla="*/ 37 h 37"/>
                      <a:gd name="T20" fmla="*/ 40 w 81"/>
                      <a:gd name="T21" fmla="*/ 0 h 37"/>
                      <a:gd name="T22" fmla="*/ 0 w 81"/>
                      <a:gd name="T23" fmla="*/ 37 h 37"/>
                      <a:gd name="T24" fmla="*/ 8 w 81"/>
                      <a:gd name="T25"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37">
                        <a:moveTo>
                          <a:pt x="8" y="31"/>
                        </a:moveTo>
                        <a:cubicBezTo>
                          <a:pt x="12" y="31"/>
                          <a:pt x="14" y="33"/>
                          <a:pt x="16" y="36"/>
                        </a:cubicBezTo>
                        <a:cubicBezTo>
                          <a:pt x="18" y="33"/>
                          <a:pt x="21" y="31"/>
                          <a:pt x="24" y="31"/>
                        </a:cubicBezTo>
                        <a:cubicBezTo>
                          <a:pt x="28" y="31"/>
                          <a:pt x="30" y="33"/>
                          <a:pt x="32" y="36"/>
                        </a:cubicBezTo>
                        <a:cubicBezTo>
                          <a:pt x="34" y="33"/>
                          <a:pt x="37" y="31"/>
                          <a:pt x="40" y="31"/>
                        </a:cubicBezTo>
                        <a:cubicBezTo>
                          <a:pt x="43" y="31"/>
                          <a:pt x="46" y="33"/>
                          <a:pt x="48" y="36"/>
                        </a:cubicBezTo>
                        <a:cubicBezTo>
                          <a:pt x="50" y="33"/>
                          <a:pt x="53" y="31"/>
                          <a:pt x="56" y="31"/>
                        </a:cubicBezTo>
                        <a:cubicBezTo>
                          <a:pt x="59" y="31"/>
                          <a:pt x="62" y="33"/>
                          <a:pt x="64" y="36"/>
                        </a:cubicBezTo>
                        <a:cubicBezTo>
                          <a:pt x="66" y="33"/>
                          <a:pt x="69" y="31"/>
                          <a:pt x="72" y="31"/>
                        </a:cubicBezTo>
                        <a:cubicBezTo>
                          <a:pt x="76" y="31"/>
                          <a:pt x="79" y="33"/>
                          <a:pt x="81" y="37"/>
                        </a:cubicBezTo>
                        <a:cubicBezTo>
                          <a:pt x="78" y="16"/>
                          <a:pt x="61" y="0"/>
                          <a:pt x="40" y="0"/>
                        </a:cubicBezTo>
                        <a:cubicBezTo>
                          <a:pt x="19" y="0"/>
                          <a:pt x="2" y="16"/>
                          <a:pt x="0" y="37"/>
                        </a:cubicBezTo>
                        <a:cubicBezTo>
                          <a:pt x="1" y="33"/>
                          <a:pt x="4" y="31"/>
                          <a:pt x="8" y="31"/>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3" name="Freeform 16"/>
                  <p:cNvSpPr>
                    <a:spLocks/>
                  </p:cNvSpPr>
                  <p:nvPr/>
                </p:nvSpPr>
                <p:spPr bwMode="auto">
                  <a:xfrm>
                    <a:off x="8916596" y="2290555"/>
                    <a:ext cx="229953" cy="199375"/>
                  </a:xfrm>
                  <a:custGeom>
                    <a:avLst/>
                    <a:gdLst>
                      <a:gd name="T0" fmla="*/ 42 w 42"/>
                      <a:gd name="T1" fmla="*/ 0 h 37"/>
                      <a:gd name="T2" fmla="*/ 40 w 42"/>
                      <a:gd name="T3" fmla="*/ 0 h 37"/>
                      <a:gd name="T4" fmla="*/ 0 w 42"/>
                      <a:gd name="T5" fmla="*/ 37 h 37"/>
                      <a:gd name="T6" fmla="*/ 8 w 42"/>
                      <a:gd name="T7" fmla="*/ 31 h 37"/>
                      <a:gd name="T8" fmla="*/ 16 w 42"/>
                      <a:gd name="T9" fmla="*/ 36 h 37"/>
                      <a:gd name="T10" fmla="*/ 42 w 42"/>
                      <a:gd name="T11" fmla="*/ 0 h 37"/>
                    </a:gdLst>
                    <a:ahLst/>
                    <a:cxnLst>
                      <a:cxn ang="0">
                        <a:pos x="T0" y="T1"/>
                      </a:cxn>
                      <a:cxn ang="0">
                        <a:pos x="T2" y="T3"/>
                      </a:cxn>
                      <a:cxn ang="0">
                        <a:pos x="T4" y="T5"/>
                      </a:cxn>
                      <a:cxn ang="0">
                        <a:pos x="T6" y="T7"/>
                      </a:cxn>
                      <a:cxn ang="0">
                        <a:pos x="T8" y="T9"/>
                      </a:cxn>
                      <a:cxn ang="0">
                        <a:pos x="T10" y="T11"/>
                      </a:cxn>
                    </a:cxnLst>
                    <a:rect l="0" t="0" r="r" b="b"/>
                    <a:pathLst>
                      <a:path w="42" h="37">
                        <a:moveTo>
                          <a:pt x="42" y="0"/>
                        </a:moveTo>
                        <a:cubicBezTo>
                          <a:pt x="42" y="0"/>
                          <a:pt x="41" y="0"/>
                          <a:pt x="40" y="0"/>
                        </a:cubicBezTo>
                        <a:cubicBezTo>
                          <a:pt x="19" y="0"/>
                          <a:pt x="2" y="16"/>
                          <a:pt x="0" y="37"/>
                        </a:cubicBezTo>
                        <a:cubicBezTo>
                          <a:pt x="1" y="33"/>
                          <a:pt x="4" y="31"/>
                          <a:pt x="8" y="31"/>
                        </a:cubicBezTo>
                        <a:cubicBezTo>
                          <a:pt x="12" y="31"/>
                          <a:pt x="14" y="33"/>
                          <a:pt x="16" y="36"/>
                        </a:cubicBezTo>
                        <a:cubicBezTo>
                          <a:pt x="18" y="20"/>
                          <a:pt x="28" y="7"/>
                          <a:pt x="42"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nvGrpSpPr>
                <p:cNvPr id="128" name="Group 127"/>
                <p:cNvGrpSpPr/>
                <p:nvPr/>
              </p:nvGrpSpPr>
              <p:grpSpPr>
                <a:xfrm>
                  <a:off x="8943933" y="2721105"/>
                  <a:ext cx="369094" cy="369094"/>
                  <a:chOff x="8943933" y="2721105"/>
                  <a:chExt cx="369094" cy="369094"/>
                </a:xfrm>
              </p:grpSpPr>
              <p:sp>
                <p:nvSpPr>
                  <p:cNvPr id="129" name="Oval 128"/>
                  <p:cNvSpPr/>
                  <p:nvPr/>
                </p:nvSpPr>
                <p:spPr bwMode="auto">
                  <a:xfrm>
                    <a:off x="8943933" y="2721105"/>
                    <a:ext cx="369094" cy="369094"/>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solidFill>
                          <a:srgbClr val="008272"/>
                        </a:solidFill>
                        <a:ea typeface="Segoe UI" pitchFamily="34" charset="0"/>
                        <a:cs typeface="Segoe UI" pitchFamily="34" charset="0"/>
                      </a:rPr>
                      <a:t> </a:t>
                    </a:r>
                  </a:p>
                </p:txBody>
              </p:sp>
              <p:grpSp>
                <p:nvGrpSpPr>
                  <p:cNvPr id="130" name="Group 129"/>
                  <p:cNvGrpSpPr/>
                  <p:nvPr/>
                </p:nvGrpSpPr>
                <p:grpSpPr>
                  <a:xfrm>
                    <a:off x="9000441" y="2777613"/>
                    <a:ext cx="256078" cy="256078"/>
                    <a:chOff x="9555675" y="2284416"/>
                    <a:chExt cx="538388" cy="538388"/>
                  </a:xfrm>
                  <a:solidFill>
                    <a:schemeClr val="bg1"/>
                  </a:solidFill>
                </p:grpSpPr>
                <p:sp>
                  <p:nvSpPr>
                    <p:cNvPr id="131" name="Pie 130"/>
                    <p:cNvSpPr/>
                    <p:nvPr/>
                  </p:nvSpPr>
                  <p:spPr bwMode="auto">
                    <a:xfrm>
                      <a:off x="9555675" y="2284416"/>
                      <a:ext cx="538388" cy="538388"/>
                    </a:xfrm>
                    <a:prstGeom prst="pi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32" name="Pie 131"/>
                    <p:cNvSpPr/>
                    <p:nvPr/>
                  </p:nvSpPr>
                  <p:spPr bwMode="auto">
                    <a:xfrm>
                      <a:off x="9663006" y="2315248"/>
                      <a:ext cx="397844" cy="397844"/>
                    </a:xfrm>
                    <a:prstGeom prst="pie">
                      <a:avLst>
                        <a:gd name="adj1" fmla="val 16199825"/>
                        <a:gd name="adj2" fmla="val 55647"/>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144" name="Group 143"/>
              <p:cNvGrpSpPr/>
              <p:nvPr/>
            </p:nvGrpSpPr>
            <p:grpSpPr>
              <a:xfrm>
                <a:off x="2429074" y="1664474"/>
                <a:ext cx="453790" cy="985715"/>
                <a:chOff x="7286025" y="1517742"/>
                <a:chExt cx="453790" cy="985715"/>
              </a:xfrm>
            </p:grpSpPr>
            <p:grpSp>
              <p:nvGrpSpPr>
                <p:cNvPr id="145" name="Group 144"/>
                <p:cNvGrpSpPr/>
                <p:nvPr/>
              </p:nvGrpSpPr>
              <p:grpSpPr>
                <a:xfrm>
                  <a:off x="7286025" y="1517742"/>
                  <a:ext cx="453790" cy="612802"/>
                  <a:chOff x="7829993" y="2285506"/>
                  <a:chExt cx="453790" cy="612802"/>
                </a:xfrm>
              </p:grpSpPr>
              <p:sp>
                <p:nvSpPr>
                  <p:cNvPr id="152" name="Freeform 5"/>
                  <p:cNvSpPr>
                    <a:spLocks/>
                  </p:cNvSpPr>
                  <p:nvPr/>
                </p:nvSpPr>
                <p:spPr bwMode="auto">
                  <a:xfrm>
                    <a:off x="8070954" y="2339325"/>
                    <a:ext cx="15901" cy="161457"/>
                  </a:xfrm>
                  <a:custGeom>
                    <a:avLst/>
                    <a:gdLst>
                      <a:gd name="T0" fmla="*/ 1 w 3"/>
                      <a:gd name="T1" fmla="*/ 0 h 30"/>
                      <a:gd name="T2" fmla="*/ 3 w 3"/>
                      <a:gd name="T3" fmla="*/ 1 h 30"/>
                      <a:gd name="T4" fmla="*/ 3 w 3"/>
                      <a:gd name="T5" fmla="*/ 29 h 30"/>
                      <a:gd name="T6" fmla="*/ 1 w 3"/>
                      <a:gd name="T7" fmla="*/ 30 h 30"/>
                      <a:gd name="T8" fmla="*/ 0 w 3"/>
                      <a:gd name="T9" fmla="*/ 29 h 30"/>
                      <a:gd name="T10" fmla="*/ 0 w 3"/>
                      <a:gd name="T11" fmla="*/ 1 h 30"/>
                      <a:gd name="T12" fmla="*/ 1 w 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 h="30">
                        <a:moveTo>
                          <a:pt x="1" y="0"/>
                        </a:moveTo>
                        <a:cubicBezTo>
                          <a:pt x="2" y="0"/>
                          <a:pt x="3" y="1"/>
                          <a:pt x="3" y="1"/>
                        </a:cubicBezTo>
                        <a:cubicBezTo>
                          <a:pt x="3" y="29"/>
                          <a:pt x="3" y="29"/>
                          <a:pt x="3" y="29"/>
                        </a:cubicBezTo>
                        <a:cubicBezTo>
                          <a:pt x="3" y="30"/>
                          <a:pt x="2" y="30"/>
                          <a:pt x="1" y="30"/>
                        </a:cubicBezTo>
                        <a:cubicBezTo>
                          <a:pt x="1" y="30"/>
                          <a:pt x="0" y="30"/>
                          <a:pt x="0" y="2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53" name="Freeform 6"/>
                  <p:cNvSpPr>
                    <a:spLocks/>
                  </p:cNvSpPr>
                  <p:nvPr/>
                </p:nvSpPr>
                <p:spPr bwMode="auto">
                  <a:xfrm>
                    <a:off x="8044045" y="2285506"/>
                    <a:ext cx="11009" cy="215276"/>
                  </a:xfrm>
                  <a:custGeom>
                    <a:avLst/>
                    <a:gdLst>
                      <a:gd name="T0" fmla="*/ 1 w 2"/>
                      <a:gd name="T1" fmla="*/ 0 h 40"/>
                      <a:gd name="T2" fmla="*/ 2 w 2"/>
                      <a:gd name="T3" fmla="*/ 1 h 40"/>
                      <a:gd name="T4" fmla="*/ 2 w 2"/>
                      <a:gd name="T5" fmla="*/ 39 h 40"/>
                      <a:gd name="T6" fmla="*/ 1 w 2"/>
                      <a:gd name="T7" fmla="*/ 40 h 40"/>
                      <a:gd name="T8" fmla="*/ 0 w 2"/>
                      <a:gd name="T9" fmla="*/ 39 h 40"/>
                      <a:gd name="T10" fmla="*/ 0 w 2"/>
                      <a:gd name="T11" fmla="*/ 1 h 40"/>
                      <a:gd name="T12" fmla="*/ 1 w 2"/>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 h="40">
                        <a:moveTo>
                          <a:pt x="1" y="0"/>
                        </a:moveTo>
                        <a:cubicBezTo>
                          <a:pt x="2" y="0"/>
                          <a:pt x="2" y="1"/>
                          <a:pt x="2" y="1"/>
                        </a:cubicBezTo>
                        <a:cubicBezTo>
                          <a:pt x="2" y="39"/>
                          <a:pt x="2" y="39"/>
                          <a:pt x="2" y="39"/>
                        </a:cubicBezTo>
                        <a:cubicBezTo>
                          <a:pt x="2" y="40"/>
                          <a:pt x="2" y="40"/>
                          <a:pt x="1" y="40"/>
                        </a:cubicBezTo>
                        <a:cubicBezTo>
                          <a:pt x="1" y="40"/>
                          <a:pt x="0" y="40"/>
                          <a:pt x="0" y="3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54" name="Freeform 7"/>
                  <p:cNvSpPr>
                    <a:spLocks/>
                  </p:cNvSpPr>
                  <p:nvPr/>
                </p:nvSpPr>
                <p:spPr bwMode="auto">
                  <a:xfrm>
                    <a:off x="8015913" y="2339325"/>
                    <a:ext cx="11009" cy="161457"/>
                  </a:xfrm>
                  <a:custGeom>
                    <a:avLst/>
                    <a:gdLst>
                      <a:gd name="T0" fmla="*/ 1 w 2"/>
                      <a:gd name="T1" fmla="*/ 0 h 30"/>
                      <a:gd name="T2" fmla="*/ 2 w 2"/>
                      <a:gd name="T3" fmla="*/ 1 h 30"/>
                      <a:gd name="T4" fmla="*/ 2 w 2"/>
                      <a:gd name="T5" fmla="*/ 29 h 30"/>
                      <a:gd name="T6" fmla="*/ 1 w 2"/>
                      <a:gd name="T7" fmla="*/ 30 h 30"/>
                      <a:gd name="T8" fmla="*/ 0 w 2"/>
                      <a:gd name="T9" fmla="*/ 29 h 30"/>
                      <a:gd name="T10" fmla="*/ 0 w 2"/>
                      <a:gd name="T11" fmla="*/ 1 h 30"/>
                      <a:gd name="T12" fmla="*/ 1 w 2"/>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 h="30">
                        <a:moveTo>
                          <a:pt x="1" y="0"/>
                        </a:moveTo>
                        <a:cubicBezTo>
                          <a:pt x="2" y="0"/>
                          <a:pt x="2" y="1"/>
                          <a:pt x="2" y="1"/>
                        </a:cubicBezTo>
                        <a:cubicBezTo>
                          <a:pt x="2" y="29"/>
                          <a:pt x="2" y="29"/>
                          <a:pt x="2" y="29"/>
                        </a:cubicBezTo>
                        <a:cubicBezTo>
                          <a:pt x="2" y="30"/>
                          <a:pt x="2" y="30"/>
                          <a:pt x="1" y="30"/>
                        </a:cubicBezTo>
                        <a:cubicBezTo>
                          <a:pt x="0" y="30"/>
                          <a:pt x="0" y="30"/>
                          <a:pt x="0" y="29"/>
                        </a:cubicBezTo>
                        <a:cubicBezTo>
                          <a:pt x="0" y="1"/>
                          <a:pt x="0" y="1"/>
                          <a:pt x="0" y="1"/>
                        </a:cubicBezTo>
                        <a:cubicBezTo>
                          <a:pt x="0" y="1"/>
                          <a:pt x="0"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55" name="Freeform 8"/>
                  <p:cNvSpPr>
                    <a:spLocks/>
                  </p:cNvSpPr>
                  <p:nvPr/>
                </p:nvSpPr>
                <p:spPr bwMode="auto">
                  <a:xfrm>
                    <a:off x="7829993" y="2661015"/>
                    <a:ext cx="229953" cy="237292"/>
                  </a:xfrm>
                  <a:custGeom>
                    <a:avLst/>
                    <a:gdLst>
                      <a:gd name="T0" fmla="*/ 41 w 42"/>
                      <a:gd name="T1" fmla="*/ 44 h 44"/>
                      <a:gd name="T2" fmla="*/ 40 w 42"/>
                      <a:gd name="T3" fmla="*/ 44 h 44"/>
                      <a:gd name="T4" fmla="*/ 0 w 42"/>
                      <a:gd name="T5" fmla="*/ 1 h 44"/>
                      <a:gd name="T6" fmla="*/ 0 w 42"/>
                      <a:gd name="T7" fmla="*/ 0 h 44"/>
                      <a:gd name="T8" fmla="*/ 1 w 42"/>
                      <a:gd name="T9" fmla="*/ 0 h 44"/>
                      <a:gd name="T10" fmla="*/ 42 w 42"/>
                      <a:gd name="T11" fmla="*/ 42 h 44"/>
                      <a:gd name="T12" fmla="*/ 42 w 42"/>
                      <a:gd name="T13" fmla="*/ 44 h 44"/>
                      <a:gd name="T14" fmla="*/ 41 w 42"/>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4">
                        <a:moveTo>
                          <a:pt x="41" y="44"/>
                        </a:moveTo>
                        <a:cubicBezTo>
                          <a:pt x="41" y="44"/>
                          <a:pt x="41" y="44"/>
                          <a:pt x="40" y="44"/>
                        </a:cubicBezTo>
                        <a:cubicBezTo>
                          <a:pt x="0" y="1"/>
                          <a:pt x="0" y="1"/>
                          <a:pt x="0" y="1"/>
                        </a:cubicBezTo>
                        <a:cubicBezTo>
                          <a:pt x="0" y="1"/>
                          <a:pt x="0" y="0"/>
                          <a:pt x="0" y="0"/>
                        </a:cubicBezTo>
                        <a:cubicBezTo>
                          <a:pt x="0" y="0"/>
                          <a:pt x="1" y="0"/>
                          <a:pt x="1" y="0"/>
                        </a:cubicBezTo>
                        <a:cubicBezTo>
                          <a:pt x="42" y="42"/>
                          <a:pt x="42" y="42"/>
                          <a:pt x="42" y="42"/>
                        </a:cubicBezTo>
                        <a:cubicBezTo>
                          <a:pt x="42" y="43"/>
                          <a:pt x="42" y="43"/>
                          <a:pt x="42" y="44"/>
                        </a:cubicBezTo>
                        <a:cubicBezTo>
                          <a:pt x="42" y="44"/>
                          <a:pt x="41" y="44"/>
                          <a:pt x="41" y="4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56" name="Freeform 9"/>
                  <p:cNvSpPr>
                    <a:spLocks/>
                  </p:cNvSpPr>
                  <p:nvPr/>
                </p:nvSpPr>
                <p:spPr bwMode="auto">
                  <a:xfrm>
                    <a:off x="7918060" y="2656123"/>
                    <a:ext cx="141886" cy="242185"/>
                  </a:xfrm>
                  <a:custGeom>
                    <a:avLst/>
                    <a:gdLst>
                      <a:gd name="T0" fmla="*/ 25 w 26"/>
                      <a:gd name="T1" fmla="*/ 45 h 45"/>
                      <a:gd name="T2" fmla="*/ 24 w 26"/>
                      <a:gd name="T3" fmla="*/ 45 h 45"/>
                      <a:gd name="T4" fmla="*/ 0 w 26"/>
                      <a:gd name="T5" fmla="*/ 1 h 45"/>
                      <a:gd name="T6" fmla="*/ 1 w 26"/>
                      <a:gd name="T7" fmla="*/ 0 h 45"/>
                      <a:gd name="T8" fmla="*/ 2 w 26"/>
                      <a:gd name="T9" fmla="*/ 0 h 45"/>
                      <a:gd name="T10" fmla="*/ 26 w 26"/>
                      <a:gd name="T11" fmla="*/ 44 h 45"/>
                      <a:gd name="T12" fmla="*/ 26 w 26"/>
                      <a:gd name="T13" fmla="*/ 45 h 45"/>
                      <a:gd name="T14" fmla="*/ 25 w 26"/>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5">
                        <a:moveTo>
                          <a:pt x="25" y="45"/>
                        </a:moveTo>
                        <a:cubicBezTo>
                          <a:pt x="25" y="45"/>
                          <a:pt x="24" y="45"/>
                          <a:pt x="24" y="45"/>
                        </a:cubicBezTo>
                        <a:cubicBezTo>
                          <a:pt x="0" y="1"/>
                          <a:pt x="0" y="1"/>
                          <a:pt x="0" y="1"/>
                        </a:cubicBezTo>
                        <a:cubicBezTo>
                          <a:pt x="0" y="1"/>
                          <a:pt x="0" y="0"/>
                          <a:pt x="1" y="0"/>
                        </a:cubicBezTo>
                        <a:cubicBezTo>
                          <a:pt x="1" y="0"/>
                          <a:pt x="2" y="0"/>
                          <a:pt x="2" y="0"/>
                        </a:cubicBezTo>
                        <a:cubicBezTo>
                          <a:pt x="26" y="44"/>
                          <a:pt x="26" y="44"/>
                          <a:pt x="26" y="44"/>
                        </a:cubicBezTo>
                        <a:cubicBezTo>
                          <a:pt x="26" y="44"/>
                          <a:pt x="26" y="45"/>
                          <a:pt x="26" y="45"/>
                        </a:cubicBezTo>
                        <a:cubicBezTo>
                          <a:pt x="25" y="45"/>
                          <a:pt x="25" y="45"/>
                          <a:pt x="25"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57" name="Freeform 10"/>
                  <p:cNvSpPr>
                    <a:spLocks/>
                  </p:cNvSpPr>
                  <p:nvPr/>
                </p:nvSpPr>
                <p:spPr bwMode="auto">
                  <a:xfrm>
                    <a:off x="8004904" y="2656123"/>
                    <a:ext cx="55042" cy="242185"/>
                  </a:xfrm>
                  <a:custGeom>
                    <a:avLst/>
                    <a:gdLst>
                      <a:gd name="T0" fmla="*/ 9 w 10"/>
                      <a:gd name="T1" fmla="*/ 45 h 45"/>
                      <a:gd name="T2" fmla="*/ 8 w 10"/>
                      <a:gd name="T3" fmla="*/ 44 h 45"/>
                      <a:gd name="T4" fmla="*/ 0 w 10"/>
                      <a:gd name="T5" fmla="*/ 1 h 45"/>
                      <a:gd name="T6" fmla="*/ 1 w 10"/>
                      <a:gd name="T7" fmla="*/ 0 h 45"/>
                      <a:gd name="T8" fmla="*/ 2 w 10"/>
                      <a:gd name="T9" fmla="*/ 0 h 45"/>
                      <a:gd name="T10" fmla="*/ 10 w 10"/>
                      <a:gd name="T11" fmla="*/ 44 h 45"/>
                      <a:gd name="T12" fmla="*/ 9 w 10"/>
                      <a:gd name="T13" fmla="*/ 45 h 45"/>
                      <a:gd name="T14" fmla="*/ 9 w 10"/>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5">
                        <a:moveTo>
                          <a:pt x="9" y="45"/>
                        </a:moveTo>
                        <a:cubicBezTo>
                          <a:pt x="9" y="45"/>
                          <a:pt x="8" y="45"/>
                          <a:pt x="8" y="44"/>
                        </a:cubicBezTo>
                        <a:cubicBezTo>
                          <a:pt x="0" y="1"/>
                          <a:pt x="0" y="1"/>
                          <a:pt x="0" y="1"/>
                        </a:cubicBezTo>
                        <a:cubicBezTo>
                          <a:pt x="0" y="0"/>
                          <a:pt x="0" y="0"/>
                          <a:pt x="1" y="0"/>
                        </a:cubicBezTo>
                        <a:cubicBezTo>
                          <a:pt x="1" y="0"/>
                          <a:pt x="2" y="0"/>
                          <a:pt x="2" y="0"/>
                        </a:cubicBezTo>
                        <a:cubicBezTo>
                          <a:pt x="10" y="44"/>
                          <a:pt x="10" y="44"/>
                          <a:pt x="10" y="44"/>
                        </a:cubicBezTo>
                        <a:cubicBezTo>
                          <a:pt x="10" y="44"/>
                          <a:pt x="10" y="45"/>
                          <a:pt x="9" y="45"/>
                        </a:cubicBezTo>
                        <a:cubicBezTo>
                          <a:pt x="9" y="45"/>
                          <a:pt x="9" y="45"/>
                          <a:pt x="9"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58" name="Freeform 11"/>
                  <p:cNvSpPr>
                    <a:spLocks/>
                  </p:cNvSpPr>
                  <p:nvPr/>
                </p:nvSpPr>
                <p:spPr bwMode="auto">
                  <a:xfrm>
                    <a:off x="8048937" y="2656123"/>
                    <a:ext cx="55042" cy="242185"/>
                  </a:xfrm>
                  <a:custGeom>
                    <a:avLst/>
                    <a:gdLst>
                      <a:gd name="T0" fmla="*/ 1 w 10"/>
                      <a:gd name="T1" fmla="*/ 45 h 45"/>
                      <a:gd name="T2" fmla="*/ 1 w 10"/>
                      <a:gd name="T3" fmla="*/ 45 h 45"/>
                      <a:gd name="T4" fmla="*/ 0 w 10"/>
                      <a:gd name="T5" fmla="*/ 44 h 45"/>
                      <a:gd name="T6" fmla="*/ 8 w 10"/>
                      <a:gd name="T7" fmla="*/ 0 h 45"/>
                      <a:gd name="T8" fmla="*/ 9 w 10"/>
                      <a:gd name="T9" fmla="*/ 0 h 45"/>
                      <a:gd name="T10" fmla="*/ 10 w 10"/>
                      <a:gd name="T11" fmla="*/ 1 h 45"/>
                      <a:gd name="T12" fmla="*/ 2 w 10"/>
                      <a:gd name="T13" fmla="*/ 44 h 45"/>
                      <a:gd name="T14" fmla="*/ 1 w 10"/>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5">
                        <a:moveTo>
                          <a:pt x="1" y="45"/>
                        </a:moveTo>
                        <a:cubicBezTo>
                          <a:pt x="1" y="45"/>
                          <a:pt x="1" y="45"/>
                          <a:pt x="1" y="45"/>
                        </a:cubicBezTo>
                        <a:cubicBezTo>
                          <a:pt x="0" y="45"/>
                          <a:pt x="0" y="44"/>
                          <a:pt x="0" y="44"/>
                        </a:cubicBezTo>
                        <a:cubicBezTo>
                          <a:pt x="8" y="0"/>
                          <a:pt x="8" y="0"/>
                          <a:pt x="8" y="0"/>
                        </a:cubicBezTo>
                        <a:cubicBezTo>
                          <a:pt x="8" y="0"/>
                          <a:pt x="9" y="0"/>
                          <a:pt x="9" y="0"/>
                        </a:cubicBezTo>
                        <a:cubicBezTo>
                          <a:pt x="10" y="0"/>
                          <a:pt x="10" y="0"/>
                          <a:pt x="10" y="1"/>
                        </a:cubicBezTo>
                        <a:cubicBezTo>
                          <a:pt x="2" y="44"/>
                          <a:pt x="2" y="44"/>
                          <a:pt x="2" y="44"/>
                        </a:cubicBezTo>
                        <a:cubicBezTo>
                          <a:pt x="2" y="45"/>
                          <a:pt x="2"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59" name="Freeform 12"/>
                  <p:cNvSpPr>
                    <a:spLocks/>
                  </p:cNvSpPr>
                  <p:nvPr/>
                </p:nvSpPr>
                <p:spPr bwMode="auto">
                  <a:xfrm>
                    <a:off x="8048937" y="2656123"/>
                    <a:ext cx="141886" cy="242185"/>
                  </a:xfrm>
                  <a:custGeom>
                    <a:avLst/>
                    <a:gdLst>
                      <a:gd name="T0" fmla="*/ 1 w 26"/>
                      <a:gd name="T1" fmla="*/ 45 h 45"/>
                      <a:gd name="T2" fmla="*/ 1 w 26"/>
                      <a:gd name="T3" fmla="*/ 45 h 45"/>
                      <a:gd name="T4" fmla="*/ 0 w 26"/>
                      <a:gd name="T5" fmla="*/ 44 h 45"/>
                      <a:gd name="T6" fmla="*/ 24 w 26"/>
                      <a:gd name="T7" fmla="*/ 0 h 45"/>
                      <a:gd name="T8" fmla="*/ 26 w 26"/>
                      <a:gd name="T9" fmla="*/ 0 h 45"/>
                      <a:gd name="T10" fmla="*/ 26 w 26"/>
                      <a:gd name="T11" fmla="*/ 1 h 45"/>
                      <a:gd name="T12" fmla="*/ 2 w 26"/>
                      <a:gd name="T13" fmla="*/ 45 h 45"/>
                      <a:gd name="T14" fmla="*/ 1 w 26"/>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5">
                        <a:moveTo>
                          <a:pt x="1" y="45"/>
                        </a:moveTo>
                        <a:cubicBezTo>
                          <a:pt x="1" y="45"/>
                          <a:pt x="1" y="45"/>
                          <a:pt x="1" y="45"/>
                        </a:cubicBezTo>
                        <a:cubicBezTo>
                          <a:pt x="0" y="45"/>
                          <a:pt x="0" y="44"/>
                          <a:pt x="0" y="44"/>
                        </a:cubicBezTo>
                        <a:cubicBezTo>
                          <a:pt x="24" y="0"/>
                          <a:pt x="24" y="0"/>
                          <a:pt x="24" y="0"/>
                        </a:cubicBezTo>
                        <a:cubicBezTo>
                          <a:pt x="25" y="0"/>
                          <a:pt x="25" y="0"/>
                          <a:pt x="26" y="0"/>
                        </a:cubicBezTo>
                        <a:cubicBezTo>
                          <a:pt x="26" y="0"/>
                          <a:pt x="26" y="1"/>
                          <a:pt x="26" y="1"/>
                        </a:cubicBezTo>
                        <a:cubicBezTo>
                          <a:pt x="2" y="45"/>
                          <a:pt x="2" y="45"/>
                          <a:pt x="2" y="45"/>
                        </a:cubicBezTo>
                        <a:cubicBezTo>
                          <a:pt x="2" y="45"/>
                          <a:pt x="1"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60" name="Freeform 13"/>
                  <p:cNvSpPr>
                    <a:spLocks/>
                  </p:cNvSpPr>
                  <p:nvPr/>
                </p:nvSpPr>
                <p:spPr bwMode="auto">
                  <a:xfrm>
                    <a:off x="8048937" y="2661015"/>
                    <a:ext cx="234846" cy="237292"/>
                  </a:xfrm>
                  <a:custGeom>
                    <a:avLst/>
                    <a:gdLst>
                      <a:gd name="T0" fmla="*/ 1 w 43"/>
                      <a:gd name="T1" fmla="*/ 44 h 44"/>
                      <a:gd name="T2" fmla="*/ 0 w 43"/>
                      <a:gd name="T3" fmla="*/ 44 h 44"/>
                      <a:gd name="T4" fmla="*/ 0 w 43"/>
                      <a:gd name="T5" fmla="*/ 42 h 44"/>
                      <a:gd name="T6" fmla="*/ 41 w 43"/>
                      <a:gd name="T7" fmla="*/ 0 h 44"/>
                      <a:gd name="T8" fmla="*/ 42 w 43"/>
                      <a:gd name="T9" fmla="*/ 0 h 44"/>
                      <a:gd name="T10" fmla="*/ 42 w 43"/>
                      <a:gd name="T11" fmla="*/ 1 h 44"/>
                      <a:gd name="T12" fmla="*/ 2 w 43"/>
                      <a:gd name="T13" fmla="*/ 44 h 44"/>
                      <a:gd name="T14" fmla="*/ 1 w 43"/>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4">
                        <a:moveTo>
                          <a:pt x="1" y="44"/>
                        </a:moveTo>
                        <a:cubicBezTo>
                          <a:pt x="1" y="44"/>
                          <a:pt x="1" y="44"/>
                          <a:pt x="0" y="44"/>
                        </a:cubicBezTo>
                        <a:cubicBezTo>
                          <a:pt x="0" y="43"/>
                          <a:pt x="0" y="43"/>
                          <a:pt x="0" y="42"/>
                        </a:cubicBezTo>
                        <a:cubicBezTo>
                          <a:pt x="41" y="0"/>
                          <a:pt x="41" y="0"/>
                          <a:pt x="41" y="0"/>
                        </a:cubicBezTo>
                        <a:cubicBezTo>
                          <a:pt x="41" y="0"/>
                          <a:pt x="42" y="0"/>
                          <a:pt x="42" y="0"/>
                        </a:cubicBezTo>
                        <a:cubicBezTo>
                          <a:pt x="43" y="0"/>
                          <a:pt x="43" y="1"/>
                          <a:pt x="42" y="1"/>
                        </a:cubicBezTo>
                        <a:cubicBezTo>
                          <a:pt x="2" y="44"/>
                          <a:pt x="2" y="44"/>
                          <a:pt x="2" y="44"/>
                        </a:cubicBezTo>
                        <a:cubicBezTo>
                          <a:pt x="2" y="44"/>
                          <a:pt x="1" y="44"/>
                          <a:pt x="1" y="4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61" name="Freeform 15"/>
                  <p:cNvSpPr>
                    <a:spLocks/>
                  </p:cNvSpPr>
                  <p:nvPr/>
                </p:nvSpPr>
                <p:spPr bwMode="auto">
                  <a:xfrm>
                    <a:off x="7836108" y="2467757"/>
                    <a:ext cx="442782" cy="199375"/>
                  </a:xfrm>
                  <a:custGeom>
                    <a:avLst/>
                    <a:gdLst>
                      <a:gd name="T0" fmla="*/ 8 w 81"/>
                      <a:gd name="T1" fmla="*/ 31 h 37"/>
                      <a:gd name="T2" fmla="*/ 16 w 81"/>
                      <a:gd name="T3" fmla="*/ 36 h 37"/>
                      <a:gd name="T4" fmla="*/ 24 w 81"/>
                      <a:gd name="T5" fmla="*/ 31 h 37"/>
                      <a:gd name="T6" fmla="*/ 32 w 81"/>
                      <a:gd name="T7" fmla="*/ 36 h 37"/>
                      <a:gd name="T8" fmla="*/ 40 w 81"/>
                      <a:gd name="T9" fmla="*/ 31 h 37"/>
                      <a:gd name="T10" fmla="*/ 48 w 81"/>
                      <a:gd name="T11" fmla="*/ 36 h 37"/>
                      <a:gd name="T12" fmla="*/ 56 w 81"/>
                      <a:gd name="T13" fmla="*/ 31 h 37"/>
                      <a:gd name="T14" fmla="*/ 64 w 81"/>
                      <a:gd name="T15" fmla="*/ 36 h 37"/>
                      <a:gd name="T16" fmla="*/ 72 w 81"/>
                      <a:gd name="T17" fmla="*/ 31 h 37"/>
                      <a:gd name="T18" fmla="*/ 81 w 81"/>
                      <a:gd name="T19" fmla="*/ 37 h 37"/>
                      <a:gd name="T20" fmla="*/ 40 w 81"/>
                      <a:gd name="T21" fmla="*/ 0 h 37"/>
                      <a:gd name="T22" fmla="*/ 0 w 81"/>
                      <a:gd name="T23" fmla="*/ 37 h 37"/>
                      <a:gd name="T24" fmla="*/ 8 w 81"/>
                      <a:gd name="T25"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37">
                        <a:moveTo>
                          <a:pt x="8" y="31"/>
                        </a:moveTo>
                        <a:cubicBezTo>
                          <a:pt x="12" y="31"/>
                          <a:pt x="14" y="33"/>
                          <a:pt x="16" y="36"/>
                        </a:cubicBezTo>
                        <a:cubicBezTo>
                          <a:pt x="18" y="33"/>
                          <a:pt x="21" y="31"/>
                          <a:pt x="24" y="31"/>
                        </a:cubicBezTo>
                        <a:cubicBezTo>
                          <a:pt x="28" y="31"/>
                          <a:pt x="30" y="33"/>
                          <a:pt x="32" y="36"/>
                        </a:cubicBezTo>
                        <a:cubicBezTo>
                          <a:pt x="34" y="33"/>
                          <a:pt x="37" y="31"/>
                          <a:pt x="40" y="31"/>
                        </a:cubicBezTo>
                        <a:cubicBezTo>
                          <a:pt x="43" y="31"/>
                          <a:pt x="46" y="33"/>
                          <a:pt x="48" y="36"/>
                        </a:cubicBezTo>
                        <a:cubicBezTo>
                          <a:pt x="50" y="33"/>
                          <a:pt x="53" y="31"/>
                          <a:pt x="56" y="31"/>
                        </a:cubicBezTo>
                        <a:cubicBezTo>
                          <a:pt x="59" y="31"/>
                          <a:pt x="62" y="33"/>
                          <a:pt x="64" y="36"/>
                        </a:cubicBezTo>
                        <a:cubicBezTo>
                          <a:pt x="66" y="33"/>
                          <a:pt x="69" y="31"/>
                          <a:pt x="72" y="31"/>
                        </a:cubicBezTo>
                        <a:cubicBezTo>
                          <a:pt x="76" y="31"/>
                          <a:pt x="79" y="33"/>
                          <a:pt x="81" y="37"/>
                        </a:cubicBezTo>
                        <a:cubicBezTo>
                          <a:pt x="78" y="16"/>
                          <a:pt x="61" y="0"/>
                          <a:pt x="40" y="0"/>
                        </a:cubicBezTo>
                        <a:cubicBezTo>
                          <a:pt x="19" y="0"/>
                          <a:pt x="2" y="16"/>
                          <a:pt x="0" y="37"/>
                        </a:cubicBezTo>
                        <a:cubicBezTo>
                          <a:pt x="1" y="33"/>
                          <a:pt x="4" y="31"/>
                          <a:pt x="8" y="31"/>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62" name="Freeform 16"/>
                  <p:cNvSpPr>
                    <a:spLocks/>
                  </p:cNvSpPr>
                  <p:nvPr/>
                </p:nvSpPr>
                <p:spPr bwMode="auto">
                  <a:xfrm>
                    <a:off x="7836108" y="2467757"/>
                    <a:ext cx="229953" cy="199375"/>
                  </a:xfrm>
                  <a:custGeom>
                    <a:avLst/>
                    <a:gdLst>
                      <a:gd name="T0" fmla="*/ 42 w 42"/>
                      <a:gd name="T1" fmla="*/ 0 h 37"/>
                      <a:gd name="T2" fmla="*/ 40 w 42"/>
                      <a:gd name="T3" fmla="*/ 0 h 37"/>
                      <a:gd name="T4" fmla="*/ 0 w 42"/>
                      <a:gd name="T5" fmla="*/ 37 h 37"/>
                      <a:gd name="T6" fmla="*/ 8 w 42"/>
                      <a:gd name="T7" fmla="*/ 31 h 37"/>
                      <a:gd name="T8" fmla="*/ 16 w 42"/>
                      <a:gd name="T9" fmla="*/ 36 h 37"/>
                      <a:gd name="T10" fmla="*/ 42 w 42"/>
                      <a:gd name="T11" fmla="*/ 0 h 37"/>
                    </a:gdLst>
                    <a:ahLst/>
                    <a:cxnLst>
                      <a:cxn ang="0">
                        <a:pos x="T0" y="T1"/>
                      </a:cxn>
                      <a:cxn ang="0">
                        <a:pos x="T2" y="T3"/>
                      </a:cxn>
                      <a:cxn ang="0">
                        <a:pos x="T4" y="T5"/>
                      </a:cxn>
                      <a:cxn ang="0">
                        <a:pos x="T6" y="T7"/>
                      </a:cxn>
                      <a:cxn ang="0">
                        <a:pos x="T8" y="T9"/>
                      </a:cxn>
                      <a:cxn ang="0">
                        <a:pos x="T10" y="T11"/>
                      </a:cxn>
                    </a:cxnLst>
                    <a:rect l="0" t="0" r="r" b="b"/>
                    <a:pathLst>
                      <a:path w="42" h="37">
                        <a:moveTo>
                          <a:pt x="42" y="0"/>
                        </a:moveTo>
                        <a:cubicBezTo>
                          <a:pt x="42" y="0"/>
                          <a:pt x="41" y="0"/>
                          <a:pt x="40" y="0"/>
                        </a:cubicBezTo>
                        <a:cubicBezTo>
                          <a:pt x="19" y="0"/>
                          <a:pt x="2" y="16"/>
                          <a:pt x="0" y="37"/>
                        </a:cubicBezTo>
                        <a:cubicBezTo>
                          <a:pt x="1" y="33"/>
                          <a:pt x="4" y="31"/>
                          <a:pt x="8" y="31"/>
                        </a:cubicBezTo>
                        <a:cubicBezTo>
                          <a:pt x="12" y="31"/>
                          <a:pt x="14" y="33"/>
                          <a:pt x="16" y="36"/>
                        </a:cubicBezTo>
                        <a:cubicBezTo>
                          <a:pt x="18" y="20"/>
                          <a:pt x="28" y="7"/>
                          <a:pt x="42"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nvGrpSpPr>
                <p:cNvPr id="146" name="Group 145"/>
                <p:cNvGrpSpPr/>
                <p:nvPr/>
              </p:nvGrpSpPr>
              <p:grpSpPr>
                <a:xfrm>
                  <a:off x="7318076" y="2134363"/>
                  <a:ext cx="369094" cy="369094"/>
                  <a:chOff x="7318076" y="2134363"/>
                  <a:chExt cx="369094" cy="369094"/>
                </a:xfrm>
              </p:grpSpPr>
              <p:sp>
                <p:nvSpPr>
                  <p:cNvPr id="147" name="Oval 146"/>
                  <p:cNvSpPr/>
                  <p:nvPr/>
                </p:nvSpPr>
                <p:spPr bwMode="auto">
                  <a:xfrm>
                    <a:off x="7318076" y="2134363"/>
                    <a:ext cx="369094" cy="36909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solidFill>
                          <a:srgbClr val="008272"/>
                        </a:solidFill>
                        <a:ea typeface="Segoe UI" pitchFamily="34" charset="0"/>
                        <a:cs typeface="Segoe UI" pitchFamily="34" charset="0"/>
                      </a:rPr>
                      <a:t> </a:t>
                    </a:r>
                  </a:p>
                </p:txBody>
              </p:sp>
              <p:grpSp>
                <p:nvGrpSpPr>
                  <p:cNvPr id="148" name="Group 147"/>
                  <p:cNvGrpSpPr/>
                  <p:nvPr/>
                </p:nvGrpSpPr>
                <p:grpSpPr>
                  <a:xfrm>
                    <a:off x="7416741" y="2220844"/>
                    <a:ext cx="171764" cy="196133"/>
                    <a:chOff x="6367747" y="2298889"/>
                    <a:chExt cx="206787" cy="299818"/>
                  </a:xfrm>
                  <a:solidFill>
                    <a:schemeClr val="bg1"/>
                  </a:solidFill>
                </p:grpSpPr>
                <p:sp>
                  <p:nvSpPr>
                    <p:cNvPr id="149" name="Rectangle 148"/>
                    <p:cNvSpPr/>
                    <p:nvPr/>
                  </p:nvSpPr>
                  <p:spPr bwMode="auto">
                    <a:xfrm>
                      <a:off x="6367747" y="2408207"/>
                      <a:ext cx="56673" cy="1905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50" name="Rectangle 149"/>
                    <p:cNvSpPr/>
                    <p:nvPr/>
                  </p:nvSpPr>
                  <p:spPr bwMode="auto">
                    <a:xfrm>
                      <a:off x="6442712" y="2361076"/>
                      <a:ext cx="56673" cy="2376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51" name="Rectangle 150"/>
                    <p:cNvSpPr/>
                    <p:nvPr/>
                  </p:nvSpPr>
                  <p:spPr bwMode="auto">
                    <a:xfrm>
                      <a:off x="6517861" y="2298889"/>
                      <a:ext cx="56673" cy="29981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163" name="Freeform 162"/>
              <p:cNvSpPr/>
              <p:nvPr/>
            </p:nvSpPr>
            <p:spPr>
              <a:xfrm rot="18900000">
                <a:off x="3916883" y="2150024"/>
                <a:ext cx="549546" cy="529952"/>
              </a:xfrm>
              <a:custGeom>
                <a:avLst/>
                <a:gdLst>
                  <a:gd name="connsiteX0" fmla="*/ 147901 w 547492"/>
                  <a:gd name="connsiteY0" fmla="*/ 159 h 547027"/>
                  <a:gd name="connsiteX1" fmla="*/ 164790 w 547492"/>
                  <a:gd name="connsiteY1" fmla="*/ 17385 h 547027"/>
                  <a:gd name="connsiteX2" fmla="*/ 257543 w 547492"/>
                  <a:gd name="connsiteY2" fmla="*/ 261873 h 547027"/>
                  <a:gd name="connsiteX3" fmla="*/ 531263 w 547492"/>
                  <a:gd name="connsiteY3" fmla="*/ 383096 h 547027"/>
                  <a:gd name="connsiteX4" fmla="*/ 533050 w 547492"/>
                  <a:gd name="connsiteY4" fmla="*/ 419093 h 547027"/>
                  <a:gd name="connsiteX5" fmla="*/ 234902 w 547492"/>
                  <a:gd name="connsiteY5" fmla="*/ 291210 h 547027"/>
                  <a:gd name="connsiteX6" fmla="*/ 130118 w 547492"/>
                  <a:gd name="connsiteY6" fmla="*/ 16219 h 547027"/>
                  <a:gd name="connsiteX7" fmla="*/ 147901 w 547492"/>
                  <a:gd name="connsiteY7" fmla="*/ 159 h 547027"/>
                  <a:gd name="connsiteX8" fmla="*/ 258593 w 547492"/>
                  <a:gd name="connsiteY8" fmla="*/ 83 h 547027"/>
                  <a:gd name="connsiteX9" fmla="*/ 276870 w 547492"/>
                  <a:gd name="connsiteY9" fmla="*/ 19473 h 547027"/>
                  <a:gd name="connsiteX10" fmla="*/ 342477 w 547492"/>
                  <a:gd name="connsiteY10" fmla="*/ 185830 h 547027"/>
                  <a:gd name="connsiteX11" fmla="*/ 529533 w 547492"/>
                  <a:gd name="connsiteY11" fmla="*/ 271534 h 547027"/>
                  <a:gd name="connsiteX12" fmla="*/ 529010 w 547492"/>
                  <a:gd name="connsiteY12" fmla="*/ 308769 h 547027"/>
                  <a:gd name="connsiteX13" fmla="*/ 319908 w 547492"/>
                  <a:gd name="connsiteY13" fmla="*/ 218161 h 547027"/>
                  <a:gd name="connsiteX14" fmla="*/ 241025 w 547492"/>
                  <a:gd name="connsiteY14" fmla="*/ 18615 h 547027"/>
                  <a:gd name="connsiteX15" fmla="*/ 258593 w 547492"/>
                  <a:gd name="connsiteY15" fmla="*/ 83 h 547027"/>
                  <a:gd name="connsiteX16" fmla="*/ 18843 w 547492"/>
                  <a:gd name="connsiteY16" fmla="*/ 10 h 547027"/>
                  <a:gd name="connsiteX17" fmla="*/ 37685 w 547492"/>
                  <a:gd name="connsiteY17" fmla="*/ 16302 h 547027"/>
                  <a:gd name="connsiteX18" fmla="*/ 164891 w 547492"/>
                  <a:gd name="connsiteY18" fmla="*/ 345340 h 547027"/>
                  <a:gd name="connsiteX19" fmla="*/ 531167 w 547492"/>
                  <a:gd name="connsiteY19" fmla="*/ 510082 h 547027"/>
                  <a:gd name="connsiteX20" fmla="*/ 528039 w 547492"/>
                  <a:gd name="connsiteY20" fmla="*/ 547022 h 547027"/>
                  <a:gd name="connsiteX21" fmla="*/ 139867 w 547492"/>
                  <a:gd name="connsiteY21" fmla="*/ 375130 h 547027"/>
                  <a:gd name="connsiteX22" fmla="*/ 0 w 547492"/>
                  <a:gd name="connsiteY22" fmla="*/ 15557 h 547027"/>
                  <a:gd name="connsiteX23" fmla="*/ 18843 w 547492"/>
                  <a:gd name="connsiteY23" fmla="*/ 10 h 547027"/>
                  <a:gd name="connsiteX24" fmla="*/ 361357 w 547492"/>
                  <a:gd name="connsiteY24" fmla="*/ 3 h 547027"/>
                  <a:gd name="connsiteX25" fmla="*/ 379427 w 547492"/>
                  <a:gd name="connsiteY25" fmla="*/ 22811 h 547027"/>
                  <a:gd name="connsiteX26" fmla="*/ 416799 w 547492"/>
                  <a:gd name="connsiteY26" fmla="*/ 121134 h 547027"/>
                  <a:gd name="connsiteX27" fmla="*/ 530986 w 547492"/>
                  <a:gd name="connsiteY27" fmla="*/ 167238 h 547027"/>
                  <a:gd name="connsiteX28" fmla="*/ 528863 w 547492"/>
                  <a:gd name="connsiteY28" fmla="*/ 205554 h 547027"/>
                  <a:gd name="connsiteX29" fmla="*/ 395749 w 547492"/>
                  <a:gd name="connsiteY29" fmla="*/ 150171 h 547027"/>
                  <a:gd name="connsiteX30" fmla="*/ 342870 w 547492"/>
                  <a:gd name="connsiteY30" fmla="*/ 38961 h 547027"/>
                  <a:gd name="connsiteX31" fmla="*/ 343296 w 547492"/>
                  <a:gd name="connsiteY31" fmla="*/ 21634 h 547027"/>
                  <a:gd name="connsiteX32" fmla="*/ 361357 w 547492"/>
                  <a:gd name="connsiteY32" fmla="*/ 3 h 54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7492" h="547027">
                    <a:moveTo>
                      <a:pt x="147901" y="159"/>
                    </a:moveTo>
                    <a:cubicBezTo>
                      <a:pt x="156233" y="1247"/>
                      <a:pt x="164417" y="7883"/>
                      <a:pt x="164790" y="17385"/>
                    </a:cubicBezTo>
                    <a:cubicBezTo>
                      <a:pt x="163504" y="123250"/>
                      <a:pt x="210481" y="208637"/>
                      <a:pt x="257543" y="261873"/>
                    </a:cubicBezTo>
                    <a:cubicBezTo>
                      <a:pt x="329801" y="345790"/>
                      <a:pt x="450493" y="385299"/>
                      <a:pt x="531263" y="383096"/>
                    </a:cubicBezTo>
                    <a:cubicBezTo>
                      <a:pt x="554755" y="384136"/>
                      <a:pt x="550415" y="419245"/>
                      <a:pt x="533050" y="419093"/>
                    </a:cubicBezTo>
                    <a:cubicBezTo>
                      <a:pt x="450691" y="419472"/>
                      <a:pt x="338455" y="398909"/>
                      <a:pt x="234902" y="291210"/>
                    </a:cubicBezTo>
                    <a:cubicBezTo>
                      <a:pt x="193363" y="241274"/>
                      <a:pt x="128927" y="167539"/>
                      <a:pt x="130118" y="16219"/>
                    </a:cubicBezTo>
                    <a:cubicBezTo>
                      <a:pt x="131087" y="3530"/>
                      <a:pt x="139569" y="-930"/>
                      <a:pt x="147901" y="159"/>
                    </a:cubicBezTo>
                    <a:close/>
                    <a:moveTo>
                      <a:pt x="258593" y="83"/>
                    </a:moveTo>
                    <a:cubicBezTo>
                      <a:pt x="267391" y="-753"/>
                      <a:pt x="276308" y="4730"/>
                      <a:pt x="276870" y="19473"/>
                    </a:cubicBezTo>
                    <a:cubicBezTo>
                      <a:pt x="277152" y="95057"/>
                      <a:pt x="309784" y="144239"/>
                      <a:pt x="342477" y="185830"/>
                    </a:cubicBezTo>
                    <a:cubicBezTo>
                      <a:pt x="395970" y="243463"/>
                      <a:pt x="472402" y="273156"/>
                      <a:pt x="529533" y="271534"/>
                    </a:cubicBezTo>
                    <a:cubicBezTo>
                      <a:pt x="554491" y="271108"/>
                      <a:pt x="552612" y="307689"/>
                      <a:pt x="529010" y="308769"/>
                    </a:cubicBezTo>
                    <a:cubicBezTo>
                      <a:pt x="463605" y="309049"/>
                      <a:pt x="394346" y="293904"/>
                      <a:pt x="319908" y="218161"/>
                    </a:cubicBezTo>
                    <a:cubicBezTo>
                      <a:pt x="290526" y="181384"/>
                      <a:pt x="240182" y="130058"/>
                      <a:pt x="241025" y="18615"/>
                    </a:cubicBezTo>
                    <a:cubicBezTo>
                      <a:pt x="241115" y="8077"/>
                      <a:pt x="249795" y="920"/>
                      <a:pt x="258593" y="83"/>
                    </a:cubicBezTo>
                    <a:close/>
                    <a:moveTo>
                      <a:pt x="18843" y="10"/>
                    </a:moveTo>
                    <a:cubicBezTo>
                      <a:pt x="28214" y="265"/>
                      <a:pt x="37586" y="5826"/>
                      <a:pt x="37685" y="16302"/>
                    </a:cubicBezTo>
                    <a:cubicBezTo>
                      <a:pt x="35997" y="154729"/>
                      <a:pt x="103125" y="275729"/>
                      <a:pt x="164891" y="345340"/>
                    </a:cubicBezTo>
                    <a:cubicBezTo>
                      <a:pt x="259725" y="455069"/>
                      <a:pt x="425162" y="512962"/>
                      <a:pt x="531167" y="510082"/>
                    </a:cubicBezTo>
                    <a:cubicBezTo>
                      <a:pt x="555744" y="509883"/>
                      <a:pt x="550829" y="547221"/>
                      <a:pt x="528039" y="547022"/>
                    </a:cubicBezTo>
                    <a:cubicBezTo>
                      <a:pt x="419949" y="547519"/>
                      <a:pt x="273429" y="516735"/>
                      <a:pt x="139867" y="375130"/>
                    </a:cubicBezTo>
                    <a:cubicBezTo>
                      <a:pt x="85350" y="312173"/>
                      <a:pt x="0" y="200955"/>
                      <a:pt x="0" y="15557"/>
                    </a:cubicBezTo>
                    <a:cubicBezTo>
                      <a:pt x="99" y="4808"/>
                      <a:pt x="9471" y="-244"/>
                      <a:pt x="18843" y="10"/>
                    </a:cubicBezTo>
                    <a:close/>
                    <a:moveTo>
                      <a:pt x="361357" y="3"/>
                    </a:moveTo>
                    <a:cubicBezTo>
                      <a:pt x="370360" y="-117"/>
                      <a:pt x="379364" y="7170"/>
                      <a:pt x="379427" y="22811"/>
                    </a:cubicBezTo>
                    <a:cubicBezTo>
                      <a:pt x="379608" y="73981"/>
                      <a:pt x="395801" y="92977"/>
                      <a:pt x="416799" y="121134"/>
                    </a:cubicBezTo>
                    <a:cubicBezTo>
                      <a:pt x="452945" y="158363"/>
                      <a:pt x="498462" y="168336"/>
                      <a:pt x="530986" y="167238"/>
                    </a:cubicBezTo>
                    <a:cubicBezTo>
                      <a:pt x="549400" y="166950"/>
                      <a:pt x="557131" y="203036"/>
                      <a:pt x="528863" y="205554"/>
                    </a:cubicBezTo>
                    <a:cubicBezTo>
                      <a:pt x="486854" y="205743"/>
                      <a:pt x="443561" y="201449"/>
                      <a:pt x="395749" y="150171"/>
                    </a:cubicBezTo>
                    <a:cubicBezTo>
                      <a:pt x="351991" y="102452"/>
                      <a:pt x="343809" y="62263"/>
                      <a:pt x="342870" y="38961"/>
                    </a:cubicBezTo>
                    <a:cubicBezTo>
                      <a:pt x="342557" y="31194"/>
                      <a:pt x="343049" y="25303"/>
                      <a:pt x="343296" y="21634"/>
                    </a:cubicBezTo>
                    <a:cubicBezTo>
                      <a:pt x="343354" y="7649"/>
                      <a:pt x="352355" y="122"/>
                      <a:pt x="361357" y="3"/>
                    </a:cubicBezTo>
                    <a:close/>
                  </a:path>
                </a:pathLst>
              </a:custGeom>
              <a:solidFill>
                <a:schemeClr val="accent5"/>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32316"/>
                <a:endParaRPr lang="en-US" sz="1200" dirty="0">
                  <a:solidFill>
                    <a:srgbClr val="FFFFFF"/>
                  </a:solidFill>
                </a:endParaRPr>
              </a:p>
            </p:txBody>
          </p:sp>
          <p:grpSp>
            <p:nvGrpSpPr>
              <p:cNvPr id="164" name="Group 163"/>
              <p:cNvGrpSpPr/>
              <p:nvPr/>
            </p:nvGrpSpPr>
            <p:grpSpPr>
              <a:xfrm>
                <a:off x="2371344" y="4173852"/>
                <a:ext cx="415817" cy="531813"/>
                <a:chOff x="5734050" y="3944938"/>
                <a:chExt cx="671513" cy="858838"/>
              </a:xfrm>
            </p:grpSpPr>
            <p:sp>
              <p:nvSpPr>
                <p:cNvPr id="165" name="Freeform 5"/>
                <p:cNvSpPr>
                  <a:spLocks/>
                </p:cNvSpPr>
                <p:nvPr/>
              </p:nvSpPr>
              <p:spPr bwMode="auto">
                <a:xfrm>
                  <a:off x="6151563" y="4038601"/>
                  <a:ext cx="153988" cy="152400"/>
                </a:xfrm>
                <a:custGeom>
                  <a:avLst/>
                  <a:gdLst>
                    <a:gd name="T0" fmla="*/ 410 w 426"/>
                    <a:gd name="T1" fmla="*/ 132 h 426"/>
                    <a:gd name="T2" fmla="*/ 356 w 426"/>
                    <a:gd name="T3" fmla="*/ 55 h 426"/>
                    <a:gd name="T4" fmla="*/ 213 w 426"/>
                    <a:gd name="T5" fmla="*/ 0 h 426"/>
                    <a:gd name="T6" fmla="*/ 122 w 426"/>
                    <a:gd name="T7" fmla="*/ 20 h 426"/>
                    <a:gd name="T8" fmla="*/ 0 w 426"/>
                    <a:gd name="T9" fmla="*/ 213 h 426"/>
                    <a:gd name="T10" fmla="*/ 61 w 426"/>
                    <a:gd name="T11" fmla="*/ 362 h 426"/>
                    <a:gd name="T12" fmla="*/ 116 w 426"/>
                    <a:gd name="T13" fmla="*/ 403 h 426"/>
                    <a:gd name="T14" fmla="*/ 213 w 426"/>
                    <a:gd name="T15" fmla="*/ 426 h 426"/>
                    <a:gd name="T16" fmla="*/ 426 w 426"/>
                    <a:gd name="T17" fmla="*/ 213 h 426"/>
                    <a:gd name="T18" fmla="*/ 410 w 426"/>
                    <a:gd name="T19" fmla="*/ 132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426">
                      <a:moveTo>
                        <a:pt x="410" y="132"/>
                      </a:moveTo>
                      <a:cubicBezTo>
                        <a:pt x="398" y="102"/>
                        <a:pt x="379" y="76"/>
                        <a:pt x="356" y="55"/>
                      </a:cubicBezTo>
                      <a:cubicBezTo>
                        <a:pt x="318" y="21"/>
                        <a:pt x="268" y="0"/>
                        <a:pt x="213" y="0"/>
                      </a:cubicBezTo>
                      <a:cubicBezTo>
                        <a:pt x="180" y="0"/>
                        <a:pt x="149" y="7"/>
                        <a:pt x="122" y="20"/>
                      </a:cubicBezTo>
                      <a:cubicBezTo>
                        <a:pt x="50" y="54"/>
                        <a:pt x="0" y="128"/>
                        <a:pt x="0" y="213"/>
                      </a:cubicBezTo>
                      <a:cubicBezTo>
                        <a:pt x="0" y="271"/>
                        <a:pt x="23" y="324"/>
                        <a:pt x="61" y="362"/>
                      </a:cubicBezTo>
                      <a:cubicBezTo>
                        <a:pt x="77" y="379"/>
                        <a:pt x="96" y="393"/>
                        <a:pt x="116" y="403"/>
                      </a:cubicBezTo>
                      <a:cubicBezTo>
                        <a:pt x="145" y="418"/>
                        <a:pt x="178" y="426"/>
                        <a:pt x="213" y="426"/>
                      </a:cubicBezTo>
                      <a:cubicBezTo>
                        <a:pt x="331" y="426"/>
                        <a:pt x="426" y="331"/>
                        <a:pt x="426" y="213"/>
                      </a:cubicBezTo>
                      <a:cubicBezTo>
                        <a:pt x="426" y="184"/>
                        <a:pt x="420" y="157"/>
                        <a:pt x="410" y="132"/>
                      </a:cubicBezTo>
                    </a:path>
                  </a:pathLst>
                </a:custGeom>
                <a:solidFill>
                  <a:srgbClr val="68217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6"/>
                <p:cNvSpPr>
                  <a:spLocks noEditPoints="1"/>
                </p:cNvSpPr>
                <p:nvPr/>
              </p:nvSpPr>
              <p:spPr bwMode="auto">
                <a:xfrm>
                  <a:off x="5734050" y="3944938"/>
                  <a:ext cx="671513" cy="858838"/>
                </a:xfrm>
                <a:custGeom>
                  <a:avLst/>
                  <a:gdLst>
                    <a:gd name="T0" fmla="*/ 1746 w 1861"/>
                    <a:gd name="T1" fmla="*/ 2252 h 2381"/>
                    <a:gd name="T2" fmla="*/ 207 w 1861"/>
                    <a:gd name="T3" fmla="*/ 2252 h 2381"/>
                    <a:gd name="T4" fmla="*/ 178 w 1861"/>
                    <a:gd name="T5" fmla="*/ 2252 h 2381"/>
                    <a:gd name="T6" fmla="*/ 149 w 1861"/>
                    <a:gd name="T7" fmla="*/ 2236 h 2381"/>
                    <a:gd name="T8" fmla="*/ 120 w 1861"/>
                    <a:gd name="T9" fmla="*/ 2189 h 2381"/>
                    <a:gd name="T10" fmla="*/ 120 w 1861"/>
                    <a:gd name="T11" fmla="*/ 2158 h 2381"/>
                    <a:gd name="T12" fmla="*/ 120 w 1861"/>
                    <a:gd name="T13" fmla="*/ 535 h 2381"/>
                    <a:gd name="T14" fmla="*/ 410 w 1861"/>
                    <a:gd name="T15" fmla="*/ 535 h 2381"/>
                    <a:gd name="T16" fmla="*/ 457 w 1861"/>
                    <a:gd name="T17" fmla="*/ 535 h 2381"/>
                    <a:gd name="T18" fmla="*/ 500 w 1861"/>
                    <a:gd name="T19" fmla="*/ 504 h 2381"/>
                    <a:gd name="T20" fmla="*/ 529 w 1861"/>
                    <a:gd name="T21" fmla="*/ 457 h 2381"/>
                    <a:gd name="T22" fmla="*/ 543 w 1861"/>
                    <a:gd name="T23" fmla="*/ 395 h 2381"/>
                    <a:gd name="T24" fmla="*/ 543 w 1861"/>
                    <a:gd name="T25" fmla="*/ 125 h 2381"/>
                    <a:gd name="T26" fmla="*/ 1659 w 1861"/>
                    <a:gd name="T27" fmla="*/ 125 h 2381"/>
                    <a:gd name="T28" fmla="*/ 1688 w 1861"/>
                    <a:gd name="T29" fmla="*/ 125 h 2381"/>
                    <a:gd name="T30" fmla="*/ 1717 w 1861"/>
                    <a:gd name="T31" fmla="*/ 141 h 2381"/>
                    <a:gd name="T32" fmla="*/ 1746 w 1861"/>
                    <a:gd name="T33" fmla="*/ 176 h 2381"/>
                    <a:gd name="T34" fmla="*/ 1746 w 1861"/>
                    <a:gd name="T35" fmla="*/ 223 h 2381"/>
                    <a:gd name="T36" fmla="*/ 1746 w 1861"/>
                    <a:gd name="T37" fmla="*/ 2252 h 2381"/>
                    <a:gd name="T38" fmla="*/ 1717 w 1861"/>
                    <a:gd name="T39" fmla="*/ 0 h 2381"/>
                    <a:gd name="T40" fmla="*/ 486 w 1861"/>
                    <a:gd name="T41" fmla="*/ 0 h 2381"/>
                    <a:gd name="T42" fmla="*/ 0 w 1861"/>
                    <a:gd name="T43" fmla="*/ 457 h 2381"/>
                    <a:gd name="T44" fmla="*/ 0 w 1861"/>
                    <a:gd name="T45" fmla="*/ 2221 h 2381"/>
                    <a:gd name="T46" fmla="*/ 15 w 1861"/>
                    <a:gd name="T47" fmla="*/ 2287 h 2381"/>
                    <a:gd name="T48" fmla="*/ 44 w 1861"/>
                    <a:gd name="T49" fmla="*/ 2334 h 2381"/>
                    <a:gd name="T50" fmla="*/ 91 w 1861"/>
                    <a:gd name="T51" fmla="*/ 2365 h 2381"/>
                    <a:gd name="T52" fmla="*/ 149 w 1861"/>
                    <a:gd name="T53" fmla="*/ 2381 h 2381"/>
                    <a:gd name="T54" fmla="*/ 1861 w 1861"/>
                    <a:gd name="T55" fmla="*/ 2381 h 2381"/>
                    <a:gd name="T56" fmla="*/ 1861 w 1861"/>
                    <a:gd name="T57" fmla="*/ 156 h 2381"/>
                    <a:gd name="T58" fmla="*/ 1847 w 1861"/>
                    <a:gd name="T59" fmla="*/ 94 h 2381"/>
                    <a:gd name="T60" fmla="*/ 1818 w 1861"/>
                    <a:gd name="T61" fmla="*/ 47 h 2381"/>
                    <a:gd name="T62" fmla="*/ 1774 w 1861"/>
                    <a:gd name="T63" fmla="*/ 15 h 2381"/>
                    <a:gd name="T64" fmla="*/ 1717 w 1861"/>
                    <a:gd name="T65" fmla="*/ 0 h 2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61" h="2381">
                      <a:moveTo>
                        <a:pt x="1746" y="2252"/>
                      </a:moveTo>
                      <a:lnTo>
                        <a:pt x="207" y="2252"/>
                      </a:lnTo>
                      <a:lnTo>
                        <a:pt x="178" y="2252"/>
                      </a:lnTo>
                      <a:lnTo>
                        <a:pt x="149" y="2236"/>
                      </a:lnTo>
                      <a:lnTo>
                        <a:pt x="120" y="2189"/>
                      </a:lnTo>
                      <a:lnTo>
                        <a:pt x="120" y="2158"/>
                      </a:lnTo>
                      <a:lnTo>
                        <a:pt x="120" y="535"/>
                      </a:lnTo>
                      <a:lnTo>
                        <a:pt x="410" y="535"/>
                      </a:lnTo>
                      <a:lnTo>
                        <a:pt x="457" y="535"/>
                      </a:lnTo>
                      <a:lnTo>
                        <a:pt x="500" y="504"/>
                      </a:lnTo>
                      <a:lnTo>
                        <a:pt x="529" y="457"/>
                      </a:lnTo>
                      <a:lnTo>
                        <a:pt x="543" y="395"/>
                      </a:lnTo>
                      <a:lnTo>
                        <a:pt x="543" y="125"/>
                      </a:lnTo>
                      <a:lnTo>
                        <a:pt x="1659" y="125"/>
                      </a:lnTo>
                      <a:lnTo>
                        <a:pt x="1688" y="125"/>
                      </a:lnTo>
                      <a:lnTo>
                        <a:pt x="1717" y="141"/>
                      </a:lnTo>
                      <a:lnTo>
                        <a:pt x="1746" y="176"/>
                      </a:lnTo>
                      <a:lnTo>
                        <a:pt x="1746" y="223"/>
                      </a:lnTo>
                      <a:lnTo>
                        <a:pt x="1746" y="2252"/>
                      </a:lnTo>
                      <a:close/>
                      <a:moveTo>
                        <a:pt x="1717" y="0"/>
                      </a:moveTo>
                      <a:lnTo>
                        <a:pt x="486" y="0"/>
                      </a:lnTo>
                      <a:lnTo>
                        <a:pt x="0" y="457"/>
                      </a:lnTo>
                      <a:lnTo>
                        <a:pt x="0" y="2221"/>
                      </a:lnTo>
                      <a:lnTo>
                        <a:pt x="15" y="2287"/>
                      </a:lnTo>
                      <a:lnTo>
                        <a:pt x="44" y="2334"/>
                      </a:lnTo>
                      <a:lnTo>
                        <a:pt x="91" y="2365"/>
                      </a:lnTo>
                      <a:lnTo>
                        <a:pt x="149" y="2381"/>
                      </a:lnTo>
                      <a:lnTo>
                        <a:pt x="1861" y="2381"/>
                      </a:lnTo>
                      <a:lnTo>
                        <a:pt x="1861" y="156"/>
                      </a:lnTo>
                      <a:lnTo>
                        <a:pt x="1847" y="94"/>
                      </a:lnTo>
                      <a:lnTo>
                        <a:pt x="1818" y="47"/>
                      </a:lnTo>
                      <a:lnTo>
                        <a:pt x="1774" y="15"/>
                      </a:lnTo>
                      <a:lnTo>
                        <a:pt x="1717" y="0"/>
                      </a:lnTo>
                      <a:close/>
                    </a:path>
                  </a:pathLst>
                </a:custGeom>
                <a:solidFill>
                  <a:srgbClr val="68217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Rectangle 77"/>
                <p:cNvSpPr>
                  <a:spLocks noChangeArrowheads="1"/>
                </p:cNvSpPr>
                <p:nvPr/>
              </p:nvSpPr>
              <p:spPr bwMode="auto">
                <a:xfrm>
                  <a:off x="6032500" y="4306888"/>
                  <a:ext cx="33338" cy="111125"/>
                </a:xfrm>
                <a:prstGeom prst="rect">
                  <a:avLst/>
                </a:prstGeom>
                <a:solidFill>
                  <a:srgbClr val="002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78"/>
                <p:cNvSpPr>
                  <a:spLocks/>
                </p:cNvSpPr>
                <p:nvPr/>
              </p:nvSpPr>
              <p:spPr bwMode="auto">
                <a:xfrm>
                  <a:off x="5916613" y="4324351"/>
                  <a:ext cx="31750" cy="93663"/>
                </a:xfrm>
                <a:custGeom>
                  <a:avLst/>
                  <a:gdLst>
                    <a:gd name="T0" fmla="*/ 0 w 20"/>
                    <a:gd name="T1" fmla="*/ 0 h 59"/>
                    <a:gd name="T2" fmla="*/ 0 w 20"/>
                    <a:gd name="T3" fmla="*/ 12 h 59"/>
                    <a:gd name="T4" fmla="*/ 0 w 20"/>
                    <a:gd name="T5" fmla="*/ 59 h 59"/>
                    <a:gd name="T6" fmla="*/ 20 w 20"/>
                    <a:gd name="T7" fmla="*/ 59 h 59"/>
                    <a:gd name="T8" fmla="*/ 20 w 20"/>
                    <a:gd name="T9" fmla="*/ 3 h 59"/>
                    <a:gd name="T10" fmla="*/ 20 w 20"/>
                    <a:gd name="T11" fmla="*/ 0 h 59"/>
                    <a:gd name="T12" fmla="*/ 0 w 20"/>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20" h="59">
                      <a:moveTo>
                        <a:pt x="0" y="0"/>
                      </a:moveTo>
                      <a:lnTo>
                        <a:pt x="0" y="12"/>
                      </a:lnTo>
                      <a:lnTo>
                        <a:pt x="0" y="59"/>
                      </a:lnTo>
                      <a:lnTo>
                        <a:pt x="20" y="59"/>
                      </a:lnTo>
                      <a:lnTo>
                        <a:pt x="20" y="3"/>
                      </a:lnTo>
                      <a:lnTo>
                        <a:pt x="20" y="0"/>
                      </a:lnTo>
                      <a:lnTo>
                        <a:pt x="0" y="0"/>
                      </a:lnTo>
                      <a:close/>
                    </a:path>
                  </a:pathLst>
                </a:custGeom>
                <a:solidFill>
                  <a:srgbClr val="00B29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79"/>
                <p:cNvSpPr>
                  <a:spLocks/>
                </p:cNvSpPr>
                <p:nvPr/>
              </p:nvSpPr>
              <p:spPr bwMode="auto">
                <a:xfrm>
                  <a:off x="5954713" y="4235451"/>
                  <a:ext cx="33338" cy="182563"/>
                </a:xfrm>
                <a:custGeom>
                  <a:avLst/>
                  <a:gdLst>
                    <a:gd name="T0" fmla="*/ 0 w 21"/>
                    <a:gd name="T1" fmla="*/ 0 h 115"/>
                    <a:gd name="T2" fmla="*/ 0 w 21"/>
                    <a:gd name="T3" fmla="*/ 57 h 115"/>
                    <a:gd name="T4" fmla="*/ 0 w 21"/>
                    <a:gd name="T5" fmla="*/ 115 h 115"/>
                    <a:gd name="T6" fmla="*/ 21 w 21"/>
                    <a:gd name="T7" fmla="*/ 115 h 115"/>
                    <a:gd name="T8" fmla="*/ 21 w 21"/>
                    <a:gd name="T9" fmla="*/ 48 h 115"/>
                    <a:gd name="T10" fmla="*/ 21 w 21"/>
                    <a:gd name="T11" fmla="*/ 0 h 115"/>
                    <a:gd name="T12" fmla="*/ 0 w 21"/>
                    <a:gd name="T13" fmla="*/ 0 h 115"/>
                  </a:gdLst>
                  <a:ahLst/>
                  <a:cxnLst>
                    <a:cxn ang="0">
                      <a:pos x="T0" y="T1"/>
                    </a:cxn>
                    <a:cxn ang="0">
                      <a:pos x="T2" y="T3"/>
                    </a:cxn>
                    <a:cxn ang="0">
                      <a:pos x="T4" y="T5"/>
                    </a:cxn>
                    <a:cxn ang="0">
                      <a:pos x="T6" y="T7"/>
                    </a:cxn>
                    <a:cxn ang="0">
                      <a:pos x="T8" y="T9"/>
                    </a:cxn>
                    <a:cxn ang="0">
                      <a:pos x="T10" y="T11"/>
                    </a:cxn>
                    <a:cxn ang="0">
                      <a:pos x="T12" y="T13"/>
                    </a:cxn>
                  </a:cxnLst>
                  <a:rect l="0" t="0" r="r" b="b"/>
                  <a:pathLst>
                    <a:path w="21" h="115">
                      <a:moveTo>
                        <a:pt x="0" y="0"/>
                      </a:moveTo>
                      <a:lnTo>
                        <a:pt x="0" y="57"/>
                      </a:lnTo>
                      <a:lnTo>
                        <a:pt x="0" y="115"/>
                      </a:lnTo>
                      <a:lnTo>
                        <a:pt x="21" y="115"/>
                      </a:lnTo>
                      <a:lnTo>
                        <a:pt x="21" y="48"/>
                      </a:lnTo>
                      <a:lnTo>
                        <a:pt x="21" y="0"/>
                      </a:lnTo>
                      <a:lnTo>
                        <a:pt x="0" y="0"/>
                      </a:lnTo>
                      <a:close/>
                    </a:path>
                  </a:pathLst>
                </a:custGeom>
                <a:solidFill>
                  <a:srgbClr val="00827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80"/>
                <p:cNvSpPr>
                  <a:spLocks/>
                </p:cNvSpPr>
                <p:nvPr/>
              </p:nvSpPr>
              <p:spPr bwMode="auto">
                <a:xfrm>
                  <a:off x="5994400" y="4154488"/>
                  <a:ext cx="31750" cy="263525"/>
                </a:xfrm>
                <a:custGeom>
                  <a:avLst/>
                  <a:gdLst>
                    <a:gd name="T0" fmla="*/ 0 w 20"/>
                    <a:gd name="T1" fmla="*/ 0 h 166"/>
                    <a:gd name="T2" fmla="*/ 0 w 20"/>
                    <a:gd name="T3" fmla="*/ 97 h 166"/>
                    <a:gd name="T4" fmla="*/ 0 w 20"/>
                    <a:gd name="T5" fmla="*/ 166 h 166"/>
                    <a:gd name="T6" fmla="*/ 20 w 20"/>
                    <a:gd name="T7" fmla="*/ 166 h 166"/>
                    <a:gd name="T8" fmla="*/ 20 w 20"/>
                    <a:gd name="T9" fmla="*/ 88 h 166"/>
                    <a:gd name="T10" fmla="*/ 20 w 20"/>
                    <a:gd name="T11" fmla="*/ 0 h 166"/>
                    <a:gd name="T12" fmla="*/ 0 w 20"/>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20" h="166">
                      <a:moveTo>
                        <a:pt x="0" y="0"/>
                      </a:moveTo>
                      <a:lnTo>
                        <a:pt x="0" y="97"/>
                      </a:lnTo>
                      <a:lnTo>
                        <a:pt x="0" y="166"/>
                      </a:lnTo>
                      <a:lnTo>
                        <a:pt x="20" y="166"/>
                      </a:lnTo>
                      <a:lnTo>
                        <a:pt x="20" y="88"/>
                      </a:lnTo>
                      <a:lnTo>
                        <a:pt x="20" y="0"/>
                      </a:lnTo>
                      <a:lnTo>
                        <a:pt x="0" y="0"/>
                      </a:lnTo>
                      <a:close/>
                    </a:path>
                  </a:pathLst>
                </a:custGeom>
                <a:solidFill>
                  <a:srgbClr val="9B4F96"/>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81"/>
                <p:cNvSpPr>
                  <a:spLocks/>
                </p:cNvSpPr>
                <p:nvPr/>
              </p:nvSpPr>
              <p:spPr bwMode="auto">
                <a:xfrm>
                  <a:off x="6072188" y="4238626"/>
                  <a:ext cx="31750" cy="179388"/>
                </a:xfrm>
                <a:custGeom>
                  <a:avLst/>
                  <a:gdLst>
                    <a:gd name="T0" fmla="*/ 0 w 20"/>
                    <a:gd name="T1" fmla="*/ 0 h 113"/>
                    <a:gd name="T2" fmla="*/ 0 w 20"/>
                    <a:gd name="T3" fmla="*/ 22 h 113"/>
                    <a:gd name="T4" fmla="*/ 0 w 20"/>
                    <a:gd name="T5" fmla="*/ 113 h 113"/>
                    <a:gd name="T6" fmla="*/ 20 w 20"/>
                    <a:gd name="T7" fmla="*/ 113 h 113"/>
                    <a:gd name="T8" fmla="*/ 20 w 20"/>
                    <a:gd name="T9" fmla="*/ 13 h 113"/>
                    <a:gd name="T10" fmla="*/ 20 w 20"/>
                    <a:gd name="T11" fmla="*/ 0 h 113"/>
                    <a:gd name="T12" fmla="*/ 0 w 20"/>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20" h="113">
                      <a:moveTo>
                        <a:pt x="0" y="0"/>
                      </a:moveTo>
                      <a:lnTo>
                        <a:pt x="0" y="22"/>
                      </a:lnTo>
                      <a:lnTo>
                        <a:pt x="0" y="113"/>
                      </a:lnTo>
                      <a:lnTo>
                        <a:pt x="20" y="113"/>
                      </a:lnTo>
                      <a:lnTo>
                        <a:pt x="20" y="13"/>
                      </a:lnTo>
                      <a:lnTo>
                        <a:pt x="20" y="0"/>
                      </a:lnTo>
                      <a:lnTo>
                        <a:pt x="0" y="0"/>
                      </a:lnTo>
                      <a:close/>
                    </a:path>
                  </a:pathLst>
                </a:custGeom>
                <a:solidFill>
                  <a:srgbClr val="9B4F96"/>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82"/>
                <p:cNvSpPr>
                  <a:spLocks/>
                </p:cNvSpPr>
                <p:nvPr/>
              </p:nvSpPr>
              <p:spPr bwMode="auto">
                <a:xfrm>
                  <a:off x="5838825" y="4327526"/>
                  <a:ext cx="31750" cy="90488"/>
                </a:xfrm>
                <a:custGeom>
                  <a:avLst/>
                  <a:gdLst>
                    <a:gd name="T0" fmla="*/ 0 w 20"/>
                    <a:gd name="T1" fmla="*/ 0 h 57"/>
                    <a:gd name="T2" fmla="*/ 0 w 20"/>
                    <a:gd name="T3" fmla="*/ 32 h 57"/>
                    <a:gd name="T4" fmla="*/ 0 w 20"/>
                    <a:gd name="T5" fmla="*/ 57 h 57"/>
                    <a:gd name="T6" fmla="*/ 20 w 20"/>
                    <a:gd name="T7" fmla="*/ 57 h 57"/>
                    <a:gd name="T8" fmla="*/ 20 w 20"/>
                    <a:gd name="T9" fmla="*/ 23 h 57"/>
                    <a:gd name="T10" fmla="*/ 20 w 20"/>
                    <a:gd name="T11" fmla="*/ 0 h 57"/>
                    <a:gd name="T12" fmla="*/ 0 w 20"/>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20" h="57">
                      <a:moveTo>
                        <a:pt x="0" y="0"/>
                      </a:moveTo>
                      <a:lnTo>
                        <a:pt x="0" y="32"/>
                      </a:lnTo>
                      <a:lnTo>
                        <a:pt x="0" y="57"/>
                      </a:lnTo>
                      <a:lnTo>
                        <a:pt x="20" y="57"/>
                      </a:lnTo>
                      <a:lnTo>
                        <a:pt x="20" y="23"/>
                      </a:lnTo>
                      <a:lnTo>
                        <a:pt x="20" y="0"/>
                      </a:lnTo>
                      <a:lnTo>
                        <a:pt x="0" y="0"/>
                      </a:lnTo>
                      <a:close/>
                    </a:path>
                  </a:pathLst>
                </a:custGeom>
                <a:solidFill>
                  <a:srgbClr val="00B29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83"/>
                <p:cNvSpPr>
                  <a:spLocks/>
                </p:cNvSpPr>
                <p:nvPr/>
              </p:nvSpPr>
              <p:spPr bwMode="auto">
                <a:xfrm>
                  <a:off x="5876925" y="4224338"/>
                  <a:ext cx="33338" cy="193675"/>
                </a:xfrm>
                <a:custGeom>
                  <a:avLst/>
                  <a:gdLst>
                    <a:gd name="T0" fmla="*/ 0 w 21"/>
                    <a:gd name="T1" fmla="*/ 0 h 122"/>
                    <a:gd name="T2" fmla="*/ 0 w 21"/>
                    <a:gd name="T3" fmla="*/ 92 h 122"/>
                    <a:gd name="T4" fmla="*/ 0 w 21"/>
                    <a:gd name="T5" fmla="*/ 122 h 122"/>
                    <a:gd name="T6" fmla="*/ 21 w 21"/>
                    <a:gd name="T7" fmla="*/ 122 h 122"/>
                    <a:gd name="T8" fmla="*/ 21 w 21"/>
                    <a:gd name="T9" fmla="*/ 85 h 122"/>
                    <a:gd name="T10" fmla="*/ 21 w 21"/>
                    <a:gd name="T11" fmla="*/ 0 h 122"/>
                    <a:gd name="T12" fmla="*/ 0 w 21"/>
                    <a:gd name="T13" fmla="*/ 0 h 122"/>
                  </a:gdLst>
                  <a:ahLst/>
                  <a:cxnLst>
                    <a:cxn ang="0">
                      <a:pos x="T0" y="T1"/>
                    </a:cxn>
                    <a:cxn ang="0">
                      <a:pos x="T2" y="T3"/>
                    </a:cxn>
                    <a:cxn ang="0">
                      <a:pos x="T4" y="T5"/>
                    </a:cxn>
                    <a:cxn ang="0">
                      <a:pos x="T6" y="T7"/>
                    </a:cxn>
                    <a:cxn ang="0">
                      <a:pos x="T8" y="T9"/>
                    </a:cxn>
                    <a:cxn ang="0">
                      <a:pos x="T10" y="T11"/>
                    </a:cxn>
                    <a:cxn ang="0">
                      <a:pos x="T12" y="T13"/>
                    </a:cxn>
                  </a:cxnLst>
                  <a:rect l="0" t="0" r="r" b="b"/>
                  <a:pathLst>
                    <a:path w="21" h="122">
                      <a:moveTo>
                        <a:pt x="0" y="0"/>
                      </a:moveTo>
                      <a:lnTo>
                        <a:pt x="0" y="92"/>
                      </a:lnTo>
                      <a:lnTo>
                        <a:pt x="0" y="122"/>
                      </a:lnTo>
                      <a:lnTo>
                        <a:pt x="21" y="122"/>
                      </a:lnTo>
                      <a:lnTo>
                        <a:pt x="21" y="85"/>
                      </a:lnTo>
                      <a:lnTo>
                        <a:pt x="21" y="0"/>
                      </a:lnTo>
                      <a:lnTo>
                        <a:pt x="0" y="0"/>
                      </a:lnTo>
                      <a:close/>
                    </a:path>
                  </a:pathLst>
                </a:custGeom>
                <a:solidFill>
                  <a:srgbClr val="68217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84"/>
                <p:cNvSpPr>
                  <a:spLocks/>
                </p:cNvSpPr>
                <p:nvPr/>
              </p:nvSpPr>
              <p:spPr bwMode="auto">
                <a:xfrm>
                  <a:off x="6196013" y="4038601"/>
                  <a:ext cx="84138" cy="76200"/>
                </a:xfrm>
                <a:custGeom>
                  <a:avLst/>
                  <a:gdLst>
                    <a:gd name="T0" fmla="*/ 234 w 234"/>
                    <a:gd name="T1" fmla="*/ 55 h 213"/>
                    <a:gd name="T2" fmla="*/ 91 w 234"/>
                    <a:gd name="T3" fmla="*/ 0 h 213"/>
                    <a:gd name="T4" fmla="*/ 0 w 234"/>
                    <a:gd name="T5" fmla="*/ 20 h 213"/>
                    <a:gd name="T6" fmla="*/ 91 w 234"/>
                    <a:gd name="T7" fmla="*/ 213 h 213"/>
                    <a:gd name="T8" fmla="*/ 234 w 234"/>
                    <a:gd name="T9" fmla="*/ 55 h 213"/>
                  </a:gdLst>
                  <a:ahLst/>
                  <a:cxnLst>
                    <a:cxn ang="0">
                      <a:pos x="T0" y="T1"/>
                    </a:cxn>
                    <a:cxn ang="0">
                      <a:pos x="T2" y="T3"/>
                    </a:cxn>
                    <a:cxn ang="0">
                      <a:pos x="T4" y="T5"/>
                    </a:cxn>
                    <a:cxn ang="0">
                      <a:pos x="T6" y="T7"/>
                    </a:cxn>
                    <a:cxn ang="0">
                      <a:pos x="T8" y="T9"/>
                    </a:cxn>
                  </a:cxnLst>
                  <a:rect l="0" t="0" r="r" b="b"/>
                  <a:pathLst>
                    <a:path w="234" h="213">
                      <a:moveTo>
                        <a:pt x="234" y="55"/>
                      </a:moveTo>
                      <a:cubicBezTo>
                        <a:pt x="196" y="21"/>
                        <a:pt x="146" y="0"/>
                        <a:pt x="91" y="0"/>
                      </a:cubicBezTo>
                      <a:cubicBezTo>
                        <a:pt x="58" y="0"/>
                        <a:pt x="27" y="7"/>
                        <a:pt x="0" y="20"/>
                      </a:cubicBezTo>
                      <a:lnTo>
                        <a:pt x="91" y="213"/>
                      </a:lnTo>
                      <a:lnTo>
                        <a:pt x="234" y="55"/>
                      </a:lnTo>
                      <a:close/>
                    </a:path>
                  </a:pathLst>
                </a:custGeom>
                <a:solidFill>
                  <a:srgbClr val="68217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85"/>
                <p:cNvSpPr>
                  <a:spLocks/>
                </p:cNvSpPr>
                <p:nvPr/>
              </p:nvSpPr>
              <p:spPr bwMode="auto">
                <a:xfrm>
                  <a:off x="6227763" y="4057651"/>
                  <a:ext cx="71438" cy="57150"/>
                </a:xfrm>
                <a:custGeom>
                  <a:avLst/>
                  <a:gdLst>
                    <a:gd name="T0" fmla="*/ 197 w 197"/>
                    <a:gd name="T1" fmla="*/ 77 h 158"/>
                    <a:gd name="T2" fmla="*/ 143 w 197"/>
                    <a:gd name="T3" fmla="*/ 0 h 158"/>
                    <a:gd name="T4" fmla="*/ 0 w 197"/>
                    <a:gd name="T5" fmla="*/ 158 h 158"/>
                    <a:gd name="T6" fmla="*/ 197 w 197"/>
                    <a:gd name="T7" fmla="*/ 77 h 158"/>
                  </a:gdLst>
                  <a:ahLst/>
                  <a:cxnLst>
                    <a:cxn ang="0">
                      <a:pos x="T0" y="T1"/>
                    </a:cxn>
                    <a:cxn ang="0">
                      <a:pos x="T2" y="T3"/>
                    </a:cxn>
                    <a:cxn ang="0">
                      <a:pos x="T4" y="T5"/>
                    </a:cxn>
                    <a:cxn ang="0">
                      <a:pos x="T6" y="T7"/>
                    </a:cxn>
                  </a:cxnLst>
                  <a:rect l="0" t="0" r="r" b="b"/>
                  <a:pathLst>
                    <a:path w="197" h="158">
                      <a:moveTo>
                        <a:pt x="197" y="77"/>
                      </a:moveTo>
                      <a:cubicBezTo>
                        <a:pt x="185" y="47"/>
                        <a:pt x="166" y="21"/>
                        <a:pt x="143" y="0"/>
                      </a:cubicBezTo>
                      <a:lnTo>
                        <a:pt x="0" y="158"/>
                      </a:lnTo>
                      <a:lnTo>
                        <a:pt x="197" y="77"/>
                      </a:lnTo>
                      <a:close/>
                    </a:path>
                  </a:pathLst>
                </a:custGeom>
                <a:solidFill>
                  <a:srgbClr val="00205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86"/>
                <p:cNvSpPr>
                  <a:spLocks/>
                </p:cNvSpPr>
                <p:nvPr/>
              </p:nvSpPr>
              <p:spPr bwMode="auto">
                <a:xfrm>
                  <a:off x="6151563" y="4044951"/>
                  <a:ext cx="76200" cy="123825"/>
                </a:xfrm>
                <a:custGeom>
                  <a:avLst/>
                  <a:gdLst>
                    <a:gd name="T0" fmla="*/ 122 w 213"/>
                    <a:gd name="T1" fmla="*/ 0 h 342"/>
                    <a:gd name="T2" fmla="*/ 0 w 213"/>
                    <a:gd name="T3" fmla="*/ 193 h 342"/>
                    <a:gd name="T4" fmla="*/ 61 w 213"/>
                    <a:gd name="T5" fmla="*/ 342 h 342"/>
                    <a:gd name="T6" fmla="*/ 213 w 213"/>
                    <a:gd name="T7" fmla="*/ 193 h 342"/>
                    <a:gd name="T8" fmla="*/ 122 w 213"/>
                    <a:gd name="T9" fmla="*/ 0 h 342"/>
                  </a:gdLst>
                  <a:ahLst/>
                  <a:cxnLst>
                    <a:cxn ang="0">
                      <a:pos x="T0" y="T1"/>
                    </a:cxn>
                    <a:cxn ang="0">
                      <a:pos x="T2" y="T3"/>
                    </a:cxn>
                    <a:cxn ang="0">
                      <a:pos x="T4" y="T5"/>
                    </a:cxn>
                    <a:cxn ang="0">
                      <a:pos x="T6" y="T7"/>
                    </a:cxn>
                    <a:cxn ang="0">
                      <a:pos x="T8" y="T9"/>
                    </a:cxn>
                  </a:cxnLst>
                  <a:rect l="0" t="0" r="r" b="b"/>
                  <a:pathLst>
                    <a:path w="213" h="342">
                      <a:moveTo>
                        <a:pt x="122" y="0"/>
                      </a:moveTo>
                      <a:cubicBezTo>
                        <a:pt x="50" y="34"/>
                        <a:pt x="0" y="108"/>
                        <a:pt x="0" y="193"/>
                      </a:cubicBezTo>
                      <a:cubicBezTo>
                        <a:pt x="0" y="251"/>
                        <a:pt x="23" y="304"/>
                        <a:pt x="61" y="342"/>
                      </a:cubicBezTo>
                      <a:lnTo>
                        <a:pt x="213" y="193"/>
                      </a:lnTo>
                      <a:lnTo>
                        <a:pt x="122" y="0"/>
                      </a:lnTo>
                      <a:close/>
                    </a:path>
                  </a:pathLst>
                </a:custGeom>
                <a:solidFill>
                  <a:srgbClr val="4423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87"/>
                <p:cNvSpPr>
                  <a:spLocks/>
                </p:cNvSpPr>
                <p:nvPr/>
              </p:nvSpPr>
              <p:spPr bwMode="auto">
                <a:xfrm>
                  <a:off x="6227763" y="4086226"/>
                  <a:ext cx="77788" cy="28575"/>
                </a:xfrm>
                <a:custGeom>
                  <a:avLst/>
                  <a:gdLst>
                    <a:gd name="T0" fmla="*/ 0 w 213"/>
                    <a:gd name="T1" fmla="*/ 81 h 81"/>
                    <a:gd name="T2" fmla="*/ 213 w 213"/>
                    <a:gd name="T3" fmla="*/ 81 h 81"/>
                    <a:gd name="T4" fmla="*/ 197 w 213"/>
                    <a:gd name="T5" fmla="*/ 0 h 81"/>
                    <a:gd name="T6" fmla="*/ 0 w 213"/>
                    <a:gd name="T7" fmla="*/ 81 h 81"/>
                  </a:gdLst>
                  <a:ahLst/>
                  <a:cxnLst>
                    <a:cxn ang="0">
                      <a:pos x="T0" y="T1"/>
                    </a:cxn>
                    <a:cxn ang="0">
                      <a:pos x="T2" y="T3"/>
                    </a:cxn>
                    <a:cxn ang="0">
                      <a:pos x="T4" y="T5"/>
                    </a:cxn>
                    <a:cxn ang="0">
                      <a:pos x="T6" y="T7"/>
                    </a:cxn>
                  </a:cxnLst>
                  <a:rect l="0" t="0" r="r" b="b"/>
                  <a:pathLst>
                    <a:path w="213" h="81">
                      <a:moveTo>
                        <a:pt x="0" y="81"/>
                      </a:moveTo>
                      <a:lnTo>
                        <a:pt x="213" y="81"/>
                      </a:lnTo>
                      <a:cubicBezTo>
                        <a:pt x="213" y="52"/>
                        <a:pt x="207" y="25"/>
                        <a:pt x="197" y="0"/>
                      </a:cubicBezTo>
                      <a:lnTo>
                        <a:pt x="0" y="81"/>
                      </a:lnTo>
                      <a:close/>
                    </a:path>
                  </a:pathLst>
                </a:custGeom>
                <a:solidFill>
                  <a:srgbClr val="00827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88"/>
                <p:cNvSpPr>
                  <a:spLocks/>
                </p:cNvSpPr>
                <p:nvPr/>
              </p:nvSpPr>
              <p:spPr bwMode="auto">
                <a:xfrm>
                  <a:off x="6173788" y="4114801"/>
                  <a:ext cx="53975" cy="68263"/>
                </a:xfrm>
                <a:custGeom>
                  <a:avLst/>
                  <a:gdLst>
                    <a:gd name="T0" fmla="*/ 0 w 152"/>
                    <a:gd name="T1" fmla="*/ 149 h 190"/>
                    <a:gd name="T2" fmla="*/ 55 w 152"/>
                    <a:gd name="T3" fmla="*/ 190 h 190"/>
                    <a:gd name="T4" fmla="*/ 152 w 152"/>
                    <a:gd name="T5" fmla="*/ 0 h 190"/>
                    <a:gd name="T6" fmla="*/ 0 w 152"/>
                    <a:gd name="T7" fmla="*/ 149 h 190"/>
                  </a:gdLst>
                  <a:ahLst/>
                  <a:cxnLst>
                    <a:cxn ang="0">
                      <a:pos x="T0" y="T1"/>
                    </a:cxn>
                    <a:cxn ang="0">
                      <a:pos x="T2" y="T3"/>
                    </a:cxn>
                    <a:cxn ang="0">
                      <a:pos x="T4" y="T5"/>
                    </a:cxn>
                    <a:cxn ang="0">
                      <a:pos x="T6" y="T7"/>
                    </a:cxn>
                  </a:cxnLst>
                  <a:rect l="0" t="0" r="r" b="b"/>
                  <a:pathLst>
                    <a:path w="152" h="190">
                      <a:moveTo>
                        <a:pt x="0" y="149"/>
                      </a:moveTo>
                      <a:cubicBezTo>
                        <a:pt x="16" y="166"/>
                        <a:pt x="35" y="180"/>
                        <a:pt x="55" y="190"/>
                      </a:cubicBezTo>
                      <a:lnTo>
                        <a:pt x="152" y="0"/>
                      </a:lnTo>
                      <a:lnTo>
                        <a:pt x="0" y="149"/>
                      </a:lnTo>
                      <a:close/>
                    </a:path>
                  </a:pathLst>
                </a:custGeom>
                <a:solidFill>
                  <a:srgbClr val="00827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89"/>
                <p:cNvSpPr>
                  <a:spLocks/>
                </p:cNvSpPr>
                <p:nvPr/>
              </p:nvSpPr>
              <p:spPr bwMode="auto">
                <a:xfrm>
                  <a:off x="6192838" y="4114801"/>
                  <a:ext cx="112713" cy="76200"/>
                </a:xfrm>
                <a:custGeom>
                  <a:avLst/>
                  <a:gdLst>
                    <a:gd name="T0" fmla="*/ 0 w 310"/>
                    <a:gd name="T1" fmla="*/ 190 h 213"/>
                    <a:gd name="T2" fmla="*/ 97 w 310"/>
                    <a:gd name="T3" fmla="*/ 213 h 213"/>
                    <a:gd name="T4" fmla="*/ 310 w 310"/>
                    <a:gd name="T5" fmla="*/ 0 h 213"/>
                    <a:gd name="T6" fmla="*/ 97 w 310"/>
                    <a:gd name="T7" fmla="*/ 0 h 213"/>
                    <a:gd name="T8" fmla="*/ 0 w 310"/>
                    <a:gd name="T9" fmla="*/ 190 h 213"/>
                  </a:gdLst>
                  <a:ahLst/>
                  <a:cxnLst>
                    <a:cxn ang="0">
                      <a:pos x="T0" y="T1"/>
                    </a:cxn>
                    <a:cxn ang="0">
                      <a:pos x="T2" y="T3"/>
                    </a:cxn>
                    <a:cxn ang="0">
                      <a:pos x="T4" y="T5"/>
                    </a:cxn>
                    <a:cxn ang="0">
                      <a:pos x="T6" y="T7"/>
                    </a:cxn>
                    <a:cxn ang="0">
                      <a:pos x="T8" y="T9"/>
                    </a:cxn>
                  </a:cxnLst>
                  <a:rect l="0" t="0" r="r" b="b"/>
                  <a:pathLst>
                    <a:path w="310" h="213">
                      <a:moveTo>
                        <a:pt x="0" y="190"/>
                      </a:moveTo>
                      <a:cubicBezTo>
                        <a:pt x="29" y="205"/>
                        <a:pt x="62" y="213"/>
                        <a:pt x="97" y="213"/>
                      </a:cubicBezTo>
                      <a:cubicBezTo>
                        <a:pt x="215" y="213"/>
                        <a:pt x="310" y="118"/>
                        <a:pt x="310" y="0"/>
                      </a:cubicBezTo>
                      <a:lnTo>
                        <a:pt x="97" y="0"/>
                      </a:lnTo>
                      <a:lnTo>
                        <a:pt x="0" y="190"/>
                      </a:lnTo>
                      <a:close/>
                    </a:path>
                  </a:pathLst>
                </a:custGeom>
                <a:solidFill>
                  <a:srgbClr val="00B29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90"/>
                <p:cNvSpPr>
                  <a:spLocks/>
                </p:cNvSpPr>
                <p:nvPr/>
              </p:nvSpPr>
              <p:spPr bwMode="auto">
                <a:xfrm>
                  <a:off x="6151563" y="4224338"/>
                  <a:ext cx="153988" cy="153988"/>
                </a:xfrm>
                <a:custGeom>
                  <a:avLst/>
                  <a:gdLst>
                    <a:gd name="T0" fmla="*/ 410 w 426"/>
                    <a:gd name="T1" fmla="*/ 132 h 426"/>
                    <a:gd name="T2" fmla="*/ 356 w 426"/>
                    <a:gd name="T3" fmla="*/ 55 h 426"/>
                    <a:gd name="T4" fmla="*/ 213 w 426"/>
                    <a:gd name="T5" fmla="*/ 0 h 426"/>
                    <a:gd name="T6" fmla="*/ 122 w 426"/>
                    <a:gd name="T7" fmla="*/ 20 h 426"/>
                    <a:gd name="T8" fmla="*/ 0 w 426"/>
                    <a:gd name="T9" fmla="*/ 213 h 426"/>
                    <a:gd name="T10" fmla="*/ 61 w 426"/>
                    <a:gd name="T11" fmla="*/ 362 h 426"/>
                    <a:gd name="T12" fmla="*/ 116 w 426"/>
                    <a:gd name="T13" fmla="*/ 403 h 426"/>
                    <a:gd name="T14" fmla="*/ 213 w 426"/>
                    <a:gd name="T15" fmla="*/ 426 h 426"/>
                    <a:gd name="T16" fmla="*/ 426 w 426"/>
                    <a:gd name="T17" fmla="*/ 213 h 426"/>
                    <a:gd name="T18" fmla="*/ 410 w 426"/>
                    <a:gd name="T19" fmla="*/ 132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426">
                      <a:moveTo>
                        <a:pt x="410" y="132"/>
                      </a:moveTo>
                      <a:cubicBezTo>
                        <a:pt x="398" y="102"/>
                        <a:pt x="379" y="76"/>
                        <a:pt x="356" y="55"/>
                      </a:cubicBezTo>
                      <a:cubicBezTo>
                        <a:pt x="318" y="20"/>
                        <a:pt x="268" y="0"/>
                        <a:pt x="213" y="0"/>
                      </a:cubicBezTo>
                      <a:cubicBezTo>
                        <a:pt x="180" y="0"/>
                        <a:pt x="149" y="7"/>
                        <a:pt x="122" y="20"/>
                      </a:cubicBezTo>
                      <a:cubicBezTo>
                        <a:pt x="50" y="54"/>
                        <a:pt x="0" y="127"/>
                        <a:pt x="0" y="213"/>
                      </a:cubicBezTo>
                      <a:cubicBezTo>
                        <a:pt x="0" y="271"/>
                        <a:pt x="23" y="324"/>
                        <a:pt x="61" y="362"/>
                      </a:cubicBezTo>
                      <a:cubicBezTo>
                        <a:pt x="77" y="378"/>
                        <a:pt x="96" y="392"/>
                        <a:pt x="116" y="403"/>
                      </a:cubicBezTo>
                      <a:cubicBezTo>
                        <a:pt x="145" y="418"/>
                        <a:pt x="178" y="426"/>
                        <a:pt x="213" y="426"/>
                      </a:cubicBezTo>
                      <a:cubicBezTo>
                        <a:pt x="331" y="426"/>
                        <a:pt x="426" y="330"/>
                        <a:pt x="426" y="213"/>
                      </a:cubicBezTo>
                      <a:cubicBezTo>
                        <a:pt x="426" y="184"/>
                        <a:pt x="420" y="157"/>
                        <a:pt x="410" y="132"/>
                      </a:cubicBezTo>
                    </a:path>
                  </a:pathLst>
                </a:custGeom>
                <a:solidFill>
                  <a:srgbClr val="68217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91"/>
                <p:cNvSpPr>
                  <a:spLocks/>
                </p:cNvSpPr>
                <p:nvPr/>
              </p:nvSpPr>
              <p:spPr bwMode="auto">
                <a:xfrm>
                  <a:off x="6196013" y="4224338"/>
                  <a:ext cx="84138" cy="76200"/>
                </a:xfrm>
                <a:custGeom>
                  <a:avLst/>
                  <a:gdLst>
                    <a:gd name="T0" fmla="*/ 234 w 234"/>
                    <a:gd name="T1" fmla="*/ 55 h 213"/>
                    <a:gd name="T2" fmla="*/ 91 w 234"/>
                    <a:gd name="T3" fmla="*/ 0 h 213"/>
                    <a:gd name="T4" fmla="*/ 0 w 234"/>
                    <a:gd name="T5" fmla="*/ 20 h 213"/>
                    <a:gd name="T6" fmla="*/ 91 w 234"/>
                    <a:gd name="T7" fmla="*/ 213 h 213"/>
                    <a:gd name="T8" fmla="*/ 234 w 234"/>
                    <a:gd name="T9" fmla="*/ 55 h 213"/>
                  </a:gdLst>
                  <a:ahLst/>
                  <a:cxnLst>
                    <a:cxn ang="0">
                      <a:pos x="T0" y="T1"/>
                    </a:cxn>
                    <a:cxn ang="0">
                      <a:pos x="T2" y="T3"/>
                    </a:cxn>
                    <a:cxn ang="0">
                      <a:pos x="T4" y="T5"/>
                    </a:cxn>
                    <a:cxn ang="0">
                      <a:pos x="T6" y="T7"/>
                    </a:cxn>
                    <a:cxn ang="0">
                      <a:pos x="T8" y="T9"/>
                    </a:cxn>
                  </a:cxnLst>
                  <a:rect l="0" t="0" r="r" b="b"/>
                  <a:pathLst>
                    <a:path w="234" h="213">
                      <a:moveTo>
                        <a:pt x="234" y="55"/>
                      </a:moveTo>
                      <a:cubicBezTo>
                        <a:pt x="196" y="20"/>
                        <a:pt x="146" y="0"/>
                        <a:pt x="91" y="0"/>
                      </a:cubicBezTo>
                      <a:cubicBezTo>
                        <a:pt x="58" y="0"/>
                        <a:pt x="27" y="7"/>
                        <a:pt x="0" y="20"/>
                      </a:cubicBezTo>
                      <a:lnTo>
                        <a:pt x="91" y="213"/>
                      </a:lnTo>
                      <a:lnTo>
                        <a:pt x="234" y="55"/>
                      </a:lnTo>
                      <a:close/>
                    </a:path>
                  </a:pathLst>
                </a:custGeom>
                <a:solidFill>
                  <a:srgbClr val="68217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92"/>
                <p:cNvSpPr>
                  <a:spLocks/>
                </p:cNvSpPr>
                <p:nvPr/>
              </p:nvSpPr>
              <p:spPr bwMode="auto">
                <a:xfrm>
                  <a:off x="6227763" y="4243388"/>
                  <a:ext cx="71438" cy="57150"/>
                </a:xfrm>
                <a:custGeom>
                  <a:avLst/>
                  <a:gdLst>
                    <a:gd name="T0" fmla="*/ 197 w 197"/>
                    <a:gd name="T1" fmla="*/ 77 h 158"/>
                    <a:gd name="T2" fmla="*/ 143 w 197"/>
                    <a:gd name="T3" fmla="*/ 0 h 158"/>
                    <a:gd name="T4" fmla="*/ 0 w 197"/>
                    <a:gd name="T5" fmla="*/ 158 h 158"/>
                    <a:gd name="T6" fmla="*/ 197 w 197"/>
                    <a:gd name="T7" fmla="*/ 77 h 158"/>
                  </a:gdLst>
                  <a:ahLst/>
                  <a:cxnLst>
                    <a:cxn ang="0">
                      <a:pos x="T0" y="T1"/>
                    </a:cxn>
                    <a:cxn ang="0">
                      <a:pos x="T2" y="T3"/>
                    </a:cxn>
                    <a:cxn ang="0">
                      <a:pos x="T4" y="T5"/>
                    </a:cxn>
                    <a:cxn ang="0">
                      <a:pos x="T6" y="T7"/>
                    </a:cxn>
                  </a:cxnLst>
                  <a:rect l="0" t="0" r="r" b="b"/>
                  <a:pathLst>
                    <a:path w="197" h="158">
                      <a:moveTo>
                        <a:pt x="197" y="77"/>
                      </a:moveTo>
                      <a:cubicBezTo>
                        <a:pt x="185" y="47"/>
                        <a:pt x="166" y="21"/>
                        <a:pt x="143" y="0"/>
                      </a:cubicBezTo>
                      <a:lnTo>
                        <a:pt x="0" y="158"/>
                      </a:lnTo>
                      <a:lnTo>
                        <a:pt x="197" y="77"/>
                      </a:lnTo>
                      <a:close/>
                    </a:path>
                  </a:pathLst>
                </a:custGeom>
                <a:solidFill>
                  <a:srgbClr val="00205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93"/>
                <p:cNvSpPr>
                  <a:spLocks/>
                </p:cNvSpPr>
                <p:nvPr/>
              </p:nvSpPr>
              <p:spPr bwMode="auto">
                <a:xfrm>
                  <a:off x="6151563" y="4230688"/>
                  <a:ext cx="76200" cy="123825"/>
                </a:xfrm>
                <a:custGeom>
                  <a:avLst/>
                  <a:gdLst>
                    <a:gd name="T0" fmla="*/ 122 w 213"/>
                    <a:gd name="T1" fmla="*/ 0 h 342"/>
                    <a:gd name="T2" fmla="*/ 0 w 213"/>
                    <a:gd name="T3" fmla="*/ 193 h 342"/>
                    <a:gd name="T4" fmla="*/ 61 w 213"/>
                    <a:gd name="T5" fmla="*/ 342 h 342"/>
                    <a:gd name="T6" fmla="*/ 213 w 213"/>
                    <a:gd name="T7" fmla="*/ 193 h 342"/>
                    <a:gd name="T8" fmla="*/ 122 w 213"/>
                    <a:gd name="T9" fmla="*/ 0 h 342"/>
                  </a:gdLst>
                  <a:ahLst/>
                  <a:cxnLst>
                    <a:cxn ang="0">
                      <a:pos x="T0" y="T1"/>
                    </a:cxn>
                    <a:cxn ang="0">
                      <a:pos x="T2" y="T3"/>
                    </a:cxn>
                    <a:cxn ang="0">
                      <a:pos x="T4" y="T5"/>
                    </a:cxn>
                    <a:cxn ang="0">
                      <a:pos x="T6" y="T7"/>
                    </a:cxn>
                    <a:cxn ang="0">
                      <a:pos x="T8" y="T9"/>
                    </a:cxn>
                  </a:cxnLst>
                  <a:rect l="0" t="0" r="r" b="b"/>
                  <a:pathLst>
                    <a:path w="213" h="342">
                      <a:moveTo>
                        <a:pt x="122" y="0"/>
                      </a:moveTo>
                      <a:cubicBezTo>
                        <a:pt x="50" y="34"/>
                        <a:pt x="0" y="108"/>
                        <a:pt x="0" y="193"/>
                      </a:cubicBezTo>
                      <a:cubicBezTo>
                        <a:pt x="0" y="251"/>
                        <a:pt x="23" y="304"/>
                        <a:pt x="61" y="342"/>
                      </a:cubicBezTo>
                      <a:lnTo>
                        <a:pt x="213" y="193"/>
                      </a:lnTo>
                      <a:lnTo>
                        <a:pt x="122" y="0"/>
                      </a:lnTo>
                      <a:close/>
                    </a:path>
                  </a:pathLst>
                </a:custGeom>
                <a:solidFill>
                  <a:srgbClr val="4423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94"/>
                <p:cNvSpPr>
                  <a:spLocks/>
                </p:cNvSpPr>
                <p:nvPr/>
              </p:nvSpPr>
              <p:spPr bwMode="auto">
                <a:xfrm>
                  <a:off x="6227763" y="4271963"/>
                  <a:ext cx="77788" cy="28575"/>
                </a:xfrm>
                <a:custGeom>
                  <a:avLst/>
                  <a:gdLst>
                    <a:gd name="T0" fmla="*/ 0 w 213"/>
                    <a:gd name="T1" fmla="*/ 81 h 81"/>
                    <a:gd name="T2" fmla="*/ 213 w 213"/>
                    <a:gd name="T3" fmla="*/ 81 h 81"/>
                    <a:gd name="T4" fmla="*/ 197 w 213"/>
                    <a:gd name="T5" fmla="*/ 0 h 81"/>
                    <a:gd name="T6" fmla="*/ 0 w 213"/>
                    <a:gd name="T7" fmla="*/ 81 h 81"/>
                  </a:gdLst>
                  <a:ahLst/>
                  <a:cxnLst>
                    <a:cxn ang="0">
                      <a:pos x="T0" y="T1"/>
                    </a:cxn>
                    <a:cxn ang="0">
                      <a:pos x="T2" y="T3"/>
                    </a:cxn>
                    <a:cxn ang="0">
                      <a:pos x="T4" y="T5"/>
                    </a:cxn>
                    <a:cxn ang="0">
                      <a:pos x="T6" y="T7"/>
                    </a:cxn>
                  </a:cxnLst>
                  <a:rect l="0" t="0" r="r" b="b"/>
                  <a:pathLst>
                    <a:path w="213" h="81">
                      <a:moveTo>
                        <a:pt x="0" y="81"/>
                      </a:moveTo>
                      <a:lnTo>
                        <a:pt x="213" y="81"/>
                      </a:lnTo>
                      <a:cubicBezTo>
                        <a:pt x="213" y="52"/>
                        <a:pt x="207" y="25"/>
                        <a:pt x="197" y="0"/>
                      </a:cubicBezTo>
                      <a:lnTo>
                        <a:pt x="0" y="81"/>
                      </a:lnTo>
                      <a:close/>
                    </a:path>
                  </a:pathLst>
                </a:custGeom>
                <a:solidFill>
                  <a:srgbClr val="00827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95"/>
                <p:cNvSpPr>
                  <a:spLocks/>
                </p:cNvSpPr>
                <p:nvPr/>
              </p:nvSpPr>
              <p:spPr bwMode="auto">
                <a:xfrm>
                  <a:off x="6173788" y="4300538"/>
                  <a:ext cx="53975" cy="68263"/>
                </a:xfrm>
                <a:custGeom>
                  <a:avLst/>
                  <a:gdLst>
                    <a:gd name="T0" fmla="*/ 0 w 152"/>
                    <a:gd name="T1" fmla="*/ 149 h 190"/>
                    <a:gd name="T2" fmla="*/ 55 w 152"/>
                    <a:gd name="T3" fmla="*/ 190 h 190"/>
                    <a:gd name="T4" fmla="*/ 152 w 152"/>
                    <a:gd name="T5" fmla="*/ 0 h 190"/>
                    <a:gd name="T6" fmla="*/ 0 w 152"/>
                    <a:gd name="T7" fmla="*/ 149 h 190"/>
                  </a:gdLst>
                  <a:ahLst/>
                  <a:cxnLst>
                    <a:cxn ang="0">
                      <a:pos x="T0" y="T1"/>
                    </a:cxn>
                    <a:cxn ang="0">
                      <a:pos x="T2" y="T3"/>
                    </a:cxn>
                    <a:cxn ang="0">
                      <a:pos x="T4" y="T5"/>
                    </a:cxn>
                    <a:cxn ang="0">
                      <a:pos x="T6" y="T7"/>
                    </a:cxn>
                  </a:cxnLst>
                  <a:rect l="0" t="0" r="r" b="b"/>
                  <a:pathLst>
                    <a:path w="152" h="190">
                      <a:moveTo>
                        <a:pt x="0" y="149"/>
                      </a:moveTo>
                      <a:cubicBezTo>
                        <a:pt x="16" y="166"/>
                        <a:pt x="35" y="179"/>
                        <a:pt x="55" y="190"/>
                      </a:cubicBezTo>
                      <a:lnTo>
                        <a:pt x="152" y="0"/>
                      </a:lnTo>
                      <a:lnTo>
                        <a:pt x="0" y="149"/>
                      </a:lnTo>
                      <a:close/>
                    </a:path>
                  </a:pathLst>
                </a:custGeom>
                <a:solidFill>
                  <a:srgbClr val="00827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96"/>
                <p:cNvSpPr>
                  <a:spLocks/>
                </p:cNvSpPr>
                <p:nvPr/>
              </p:nvSpPr>
              <p:spPr bwMode="auto">
                <a:xfrm>
                  <a:off x="6192838" y="4300538"/>
                  <a:ext cx="112713" cy="77788"/>
                </a:xfrm>
                <a:custGeom>
                  <a:avLst/>
                  <a:gdLst>
                    <a:gd name="T0" fmla="*/ 0 w 310"/>
                    <a:gd name="T1" fmla="*/ 190 h 213"/>
                    <a:gd name="T2" fmla="*/ 97 w 310"/>
                    <a:gd name="T3" fmla="*/ 213 h 213"/>
                    <a:gd name="T4" fmla="*/ 310 w 310"/>
                    <a:gd name="T5" fmla="*/ 0 h 213"/>
                    <a:gd name="T6" fmla="*/ 97 w 310"/>
                    <a:gd name="T7" fmla="*/ 0 h 213"/>
                    <a:gd name="T8" fmla="*/ 0 w 310"/>
                    <a:gd name="T9" fmla="*/ 190 h 213"/>
                  </a:gdLst>
                  <a:ahLst/>
                  <a:cxnLst>
                    <a:cxn ang="0">
                      <a:pos x="T0" y="T1"/>
                    </a:cxn>
                    <a:cxn ang="0">
                      <a:pos x="T2" y="T3"/>
                    </a:cxn>
                    <a:cxn ang="0">
                      <a:pos x="T4" y="T5"/>
                    </a:cxn>
                    <a:cxn ang="0">
                      <a:pos x="T6" y="T7"/>
                    </a:cxn>
                    <a:cxn ang="0">
                      <a:pos x="T8" y="T9"/>
                    </a:cxn>
                  </a:cxnLst>
                  <a:rect l="0" t="0" r="r" b="b"/>
                  <a:pathLst>
                    <a:path w="310" h="213">
                      <a:moveTo>
                        <a:pt x="0" y="190"/>
                      </a:moveTo>
                      <a:cubicBezTo>
                        <a:pt x="29" y="205"/>
                        <a:pt x="62" y="213"/>
                        <a:pt x="97" y="213"/>
                      </a:cubicBezTo>
                      <a:cubicBezTo>
                        <a:pt x="215" y="213"/>
                        <a:pt x="310" y="117"/>
                        <a:pt x="310" y="0"/>
                      </a:cubicBezTo>
                      <a:lnTo>
                        <a:pt x="97" y="0"/>
                      </a:lnTo>
                      <a:lnTo>
                        <a:pt x="0" y="190"/>
                      </a:lnTo>
                      <a:close/>
                    </a:path>
                  </a:pathLst>
                </a:custGeom>
                <a:solidFill>
                  <a:srgbClr val="00B29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97"/>
                <p:cNvSpPr>
                  <a:spLocks/>
                </p:cNvSpPr>
                <p:nvPr/>
              </p:nvSpPr>
              <p:spPr bwMode="auto">
                <a:xfrm>
                  <a:off x="5840413" y="4537076"/>
                  <a:ext cx="461963" cy="150813"/>
                </a:xfrm>
                <a:custGeom>
                  <a:avLst/>
                  <a:gdLst>
                    <a:gd name="T0" fmla="*/ 2 w 291"/>
                    <a:gd name="T1" fmla="*/ 95 h 95"/>
                    <a:gd name="T2" fmla="*/ 0 w 291"/>
                    <a:gd name="T3" fmla="*/ 89 h 95"/>
                    <a:gd name="T4" fmla="*/ 85 w 291"/>
                    <a:gd name="T5" fmla="*/ 69 h 95"/>
                    <a:gd name="T6" fmla="*/ 154 w 291"/>
                    <a:gd name="T7" fmla="*/ 29 h 95"/>
                    <a:gd name="T8" fmla="*/ 239 w 291"/>
                    <a:gd name="T9" fmla="*/ 26 h 95"/>
                    <a:gd name="T10" fmla="*/ 291 w 291"/>
                    <a:gd name="T11" fmla="*/ 0 h 95"/>
                    <a:gd name="T12" fmla="*/ 291 w 291"/>
                    <a:gd name="T13" fmla="*/ 7 h 95"/>
                    <a:gd name="T14" fmla="*/ 291 w 291"/>
                    <a:gd name="T15" fmla="*/ 7 h 95"/>
                    <a:gd name="T16" fmla="*/ 241 w 291"/>
                    <a:gd name="T17" fmla="*/ 32 h 95"/>
                    <a:gd name="T18" fmla="*/ 156 w 291"/>
                    <a:gd name="T19" fmla="*/ 36 h 95"/>
                    <a:gd name="T20" fmla="*/ 88 w 291"/>
                    <a:gd name="T21" fmla="*/ 76 h 95"/>
                    <a:gd name="T22" fmla="*/ 2 w 291"/>
                    <a:gd name="T23"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1" h="95">
                      <a:moveTo>
                        <a:pt x="2" y="95"/>
                      </a:moveTo>
                      <a:lnTo>
                        <a:pt x="0" y="89"/>
                      </a:lnTo>
                      <a:lnTo>
                        <a:pt x="85" y="69"/>
                      </a:lnTo>
                      <a:lnTo>
                        <a:pt x="154" y="29"/>
                      </a:lnTo>
                      <a:lnTo>
                        <a:pt x="239" y="26"/>
                      </a:lnTo>
                      <a:lnTo>
                        <a:pt x="291" y="0"/>
                      </a:lnTo>
                      <a:lnTo>
                        <a:pt x="291" y="7"/>
                      </a:lnTo>
                      <a:lnTo>
                        <a:pt x="291" y="7"/>
                      </a:lnTo>
                      <a:lnTo>
                        <a:pt x="241" y="32"/>
                      </a:lnTo>
                      <a:lnTo>
                        <a:pt x="156" y="36"/>
                      </a:lnTo>
                      <a:lnTo>
                        <a:pt x="88" y="76"/>
                      </a:lnTo>
                      <a:lnTo>
                        <a:pt x="2" y="95"/>
                      </a:lnTo>
                      <a:close/>
                    </a:path>
                  </a:pathLst>
                </a:custGeom>
                <a:solidFill>
                  <a:srgbClr val="00B29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98"/>
                <p:cNvSpPr>
                  <a:spLocks/>
                </p:cNvSpPr>
                <p:nvPr/>
              </p:nvSpPr>
              <p:spPr bwMode="auto">
                <a:xfrm>
                  <a:off x="5842000" y="4421188"/>
                  <a:ext cx="466725" cy="249238"/>
                </a:xfrm>
                <a:custGeom>
                  <a:avLst/>
                  <a:gdLst>
                    <a:gd name="T0" fmla="*/ 3 w 294"/>
                    <a:gd name="T1" fmla="*/ 157 h 157"/>
                    <a:gd name="T2" fmla="*/ 0 w 294"/>
                    <a:gd name="T3" fmla="*/ 151 h 157"/>
                    <a:gd name="T4" fmla="*/ 69 w 294"/>
                    <a:gd name="T5" fmla="*/ 122 h 157"/>
                    <a:gd name="T6" fmla="*/ 111 w 294"/>
                    <a:gd name="T7" fmla="*/ 75 h 157"/>
                    <a:gd name="T8" fmla="*/ 180 w 294"/>
                    <a:gd name="T9" fmla="*/ 61 h 157"/>
                    <a:gd name="T10" fmla="*/ 223 w 294"/>
                    <a:gd name="T11" fmla="*/ 15 h 157"/>
                    <a:gd name="T12" fmla="*/ 294 w 294"/>
                    <a:gd name="T13" fmla="*/ 0 h 157"/>
                    <a:gd name="T14" fmla="*/ 294 w 294"/>
                    <a:gd name="T15" fmla="*/ 7 h 157"/>
                    <a:gd name="T16" fmla="*/ 226 w 294"/>
                    <a:gd name="T17" fmla="*/ 21 h 157"/>
                    <a:gd name="T18" fmla="*/ 184 w 294"/>
                    <a:gd name="T19" fmla="*/ 67 h 157"/>
                    <a:gd name="T20" fmla="*/ 115 w 294"/>
                    <a:gd name="T21" fmla="*/ 81 h 157"/>
                    <a:gd name="T22" fmla="*/ 73 w 294"/>
                    <a:gd name="T23" fmla="*/ 127 h 157"/>
                    <a:gd name="T24" fmla="*/ 3 w 294"/>
                    <a:gd name="T25"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4" h="157">
                      <a:moveTo>
                        <a:pt x="3" y="157"/>
                      </a:moveTo>
                      <a:lnTo>
                        <a:pt x="0" y="151"/>
                      </a:lnTo>
                      <a:lnTo>
                        <a:pt x="69" y="122"/>
                      </a:lnTo>
                      <a:lnTo>
                        <a:pt x="111" y="75"/>
                      </a:lnTo>
                      <a:lnTo>
                        <a:pt x="180" y="61"/>
                      </a:lnTo>
                      <a:lnTo>
                        <a:pt x="223" y="15"/>
                      </a:lnTo>
                      <a:lnTo>
                        <a:pt x="294" y="0"/>
                      </a:lnTo>
                      <a:lnTo>
                        <a:pt x="294" y="7"/>
                      </a:lnTo>
                      <a:lnTo>
                        <a:pt x="226" y="21"/>
                      </a:lnTo>
                      <a:lnTo>
                        <a:pt x="184" y="67"/>
                      </a:lnTo>
                      <a:lnTo>
                        <a:pt x="115" y="81"/>
                      </a:lnTo>
                      <a:lnTo>
                        <a:pt x="73" y="127"/>
                      </a:lnTo>
                      <a:lnTo>
                        <a:pt x="3" y="157"/>
                      </a:lnTo>
                      <a:close/>
                    </a:path>
                  </a:pathLst>
                </a:custGeom>
                <a:solidFill>
                  <a:srgbClr val="68217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99"/>
                <p:cNvSpPr>
                  <a:spLocks/>
                </p:cNvSpPr>
                <p:nvPr/>
              </p:nvSpPr>
              <p:spPr bwMode="auto">
                <a:xfrm>
                  <a:off x="5843588" y="4591051"/>
                  <a:ext cx="458788" cy="117475"/>
                </a:xfrm>
                <a:custGeom>
                  <a:avLst/>
                  <a:gdLst>
                    <a:gd name="T0" fmla="*/ 1 w 289"/>
                    <a:gd name="T1" fmla="*/ 74 h 74"/>
                    <a:gd name="T2" fmla="*/ 0 w 289"/>
                    <a:gd name="T3" fmla="*/ 67 h 74"/>
                    <a:gd name="T4" fmla="*/ 67 w 289"/>
                    <a:gd name="T5" fmla="*/ 57 h 74"/>
                    <a:gd name="T6" fmla="*/ 123 w 289"/>
                    <a:gd name="T7" fmla="*/ 25 h 74"/>
                    <a:gd name="T8" fmla="*/ 191 w 289"/>
                    <a:gd name="T9" fmla="*/ 31 h 74"/>
                    <a:gd name="T10" fmla="*/ 246 w 289"/>
                    <a:gd name="T11" fmla="*/ 0 h 74"/>
                    <a:gd name="T12" fmla="*/ 289 w 289"/>
                    <a:gd name="T13" fmla="*/ 4 h 74"/>
                    <a:gd name="T14" fmla="*/ 289 w 289"/>
                    <a:gd name="T15" fmla="*/ 11 h 74"/>
                    <a:gd name="T16" fmla="*/ 248 w 289"/>
                    <a:gd name="T17" fmla="*/ 6 h 74"/>
                    <a:gd name="T18" fmla="*/ 192 w 289"/>
                    <a:gd name="T19" fmla="*/ 38 h 74"/>
                    <a:gd name="T20" fmla="*/ 125 w 289"/>
                    <a:gd name="T21" fmla="*/ 32 h 74"/>
                    <a:gd name="T22" fmla="*/ 69 w 289"/>
                    <a:gd name="T23" fmla="*/ 63 h 74"/>
                    <a:gd name="T24" fmla="*/ 1 w 289"/>
                    <a:gd name="T25"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 h="74">
                      <a:moveTo>
                        <a:pt x="1" y="74"/>
                      </a:moveTo>
                      <a:lnTo>
                        <a:pt x="0" y="67"/>
                      </a:lnTo>
                      <a:lnTo>
                        <a:pt x="67" y="57"/>
                      </a:lnTo>
                      <a:lnTo>
                        <a:pt x="123" y="25"/>
                      </a:lnTo>
                      <a:lnTo>
                        <a:pt x="191" y="31"/>
                      </a:lnTo>
                      <a:lnTo>
                        <a:pt x="246" y="0"/>
                      </a:lnTo>
                      <a:lnTo>
                        <a:pt x="289" y="4"/>
                      </a:lnTo>
                      <a:lnTo>
                        <a:pt x="289" y="11"/>
                      </a:lnTo>
                      <a:lnTo>
                        <a:pt x="248" y="6"/>
                      </a:lnTo>
                      <a:lnTo>
                        <a:pt x="192" y="38"/>
                      </a:lnTo>
                      <a:lnTo>
                        <a:pt x="125" y="32"/>
                      </a:lnTo>
                      <a:lnTo>
                        <a:pt x="69" y="63"/>
                      </a:lnTo>
                      <a:lnTo>
                        <a:pt x="1" y="74"/>
                      </a:lnTo>
                      <a:close/>
                    </a:path>
                  </a:pathLst>
                </a:custGeom>
                <a:solidFill>
                  <a:srgbClr val="00827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90" name="Group 189"/>
              <p:cNvGrpSpPr/>
              <p:nvPr/>
            </p:nvGrpSpPr>
            <p:grpSpPr>
              <a:xfrm>
                <a:off x="4305085" y="4806278"/>
                <a:ext cx="222250" cy="271463"/>
                <a:chOff x="5661025" y="2468563"/>
                <a:chExt cx="222250" cy="271463"/>
              </a:xfrm>
            </p:grpSpPr>
            <p:sp>
              <p:nvSpPr>
                <p:cNvPr id="191" name="Freeform 27"/>
                <p:cNvSpPr>
                  <a:spLocks/>
                </p:cNvSpPr>
                <p:nvPr/>
              </p:nvSpPr>
              <p:spPr bwMode="auto">
                <a:xfrm>
                  <a:off x="5702300" y="2579688"/>
                  <a:ext cx="138113" cy="19050"/>
                </a:xfrm>
                <a:custGeom>
                  <a:avLst/>
                  <a:gdLst>
                    <a:gd name="T0" fmla="*/ 82 w 87"/>
                    <a:gd name="T1" fmla="*/ 12 h 12"/>
                    <a:gd name="T2" fmla="*/ 5 w 87"/>
                    <a:gd name="T3" fmla="*/ 12 h 12"/>
                    <a:gd name="T4" fmla="*/ 4 w 87"/>
                    <a:gd name="T5" fmla="*/ 12 h 12"/>
                    <a:gd name="T6" fmla="*/ 3 w 87"/>
                    <a:gd name="T7" fmla="*/ 10 h 12"/>
                    <a:gd name="T8" fmla="*/ 0 w 87"/>
                    <a:gd name="T9" fmla="*/ 6 h 12"/>
                    <a:gd name="T10" fmla="*/ 3 w 87"/>
                    <a:gd name="T11" fmla="*/ 3 h 12"/>
                    <a:gd name="T12" fmla="*/ 4 w 87"/>
                    <a:gd name="T13" fmla="*/ 1 h 12"/>
                    <a:gd name="T14" fmla="*/ 5 w 87"/>
                    <a:gd name="T15" fmla="*/ 0 h 12"/>
                    <a:gd name="T16" fmla="*/ 82 w 87"/>
                    <a:gd name="T17" fmla="*/ 0 h 12"/>
                    <a:gd name="T18" fmla="*/ 84 w 87"/>
                    <a:gd name="T19" fmla="*/ 1 h 12"/>
                    <a:gd name="T20" fmla="*/ 86 w 87"/>
                    <a:gd name="T21" fmla="*/ 3 h 12"/>
                    <a:gd name="T22" fmla="*/ 87 w 87"/>
                    <a:gd name="T23" fmla="*/ 6 h 12"/>
                    <a:gd name="T24" fmla="*/ 87 w 87"/>
                    <a:gd name="T25" fmla="*/ 9 h 12"/>
                    <a:gd name="T26" fmla="*/ 86 w 87"/>
                    <a:gd name="T27" fmla="*/ 10 h 12"/>
                    <a:gd name="T28" fmla="*/ 84 w 87"/>
                    <a:gd name="T29" fmla="*/ 12 h 12"/>
                    <a:gd name="T30" fmla="*/ 82 w 87"/>
                    <a:gd name="T3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 h="12">
                      <a:moveTo>
                        <a:pt x="82" y="12"/>
                      </a:moveTo>
                      <a:lnTo>
                        <a:pt x="5" y="12"/>
                      </a:lnTo>
                      <a:lnTo>
                        <a:pt x="4" y="12"/>
                      </a:lnTo>
                      <a:lnTo>
                        <a:pt x="3" y="10"/>
                      </a:lnTo>
                      <a:lnTo>
                        <a:pt x="0" y="6"/>
                      </a:lnTo>
                      <a:lnTo>
                        <a:pt x="3" y="3"/>
                      </a:lnTo>
                      <a:lnTo>
                        <a:pt x="4" y="1"/>
                      </a:lnTo>
                      <a:lnTo>
                        <a:pt x="5" y="0"/>
                      </a:lnTo>
                      <a:lnTo>
                        <a:pt x="82" y="0"/>
                      </a:lnTo>
                      <a:lnTo>
                        <a:pt x="84" y="1"/>
                      </a:lnTo>
                      <a:lnTo>
                        <a:pt x="86" y="3"/>
                      </a:lnTo>
                      <a:lnTo>
                        <a:pt x="87" y="6"/>
                      </a:lnTo>
                      <a:lnTo>
                        <a:pt x="87" y="9"/>
                      </a:lnTo>
                      <a:lnTo>
                        <a:pt x="86" y="10"/>
                      </a:lnTo>
                      <a:lnTo>
                        <a:pt x="84" y="12"/>
                      </a:lnTo>
                      <a:lnTo>
                        <a:pt x="82" y="12"/>
                      </a:lnTo>
                      <a:close/>
                    </a:path>
                  </a:pathLst>
                </a:custGeom>
                <a:solidFill>
                  <a:srgbClr val="68217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28"/>
                <p:cNvSpPr>
                  <a:spLocks/>
                </p:cNvSpPr>
                <p:nvPr/>
              </p:nvSpPr>
              <p:spPr bwMode="auto">
                <a:xfrm>
                  <a:off x="5757863" y="2541588"/>
                  <a:ext cx="82550" cy="19050"/>
                </a:xfrm>
                <a:custGeom>
                  <a:avLst/>
                  <a:gdLst>
                    <a:gd name="T0" fmla="*/ 47 w 52"/>
                    <a:gd name="T1" fmla="*/ 12 h 12"/>
                    <a:gd name="T2" fmla="*/ 5 w 52"/>
                    <a:gd name="T3" fmla="*/ 12 h 12"/>
                    <a:gd name="T4" fmla="*/ 3 w 52"/>
                    <a:gd name="T5" fmla="*/ 11 h 12"/>
                    <a:gd name="T6" fmla="*/ 1 w 52"/>
                    <a:gd name="T7" fmla="*/ 11 h 12"/>
                    <a:gd name="T8" fmla="*/ 0 w 52"/>
                    <a:gd name="T9" fmla="*/ 8 h 12"/>
                    <a:gd name="T10" fmla="*/ 0 w 52"/>
                    <a:gd name="T11" fmla="*/ 7 h 12"/>
                    <a:gd name="T12" fmla="*/ 0 w 52"/>
                    <a:gd name="T13" fmla="*/ 3 h 12"/>
                    <a:gd name="T14" fmla="*/ 1 w 52"/>
                    <a:gd name="T15" fmla="*/ 2 h 12"/>
                    <a:gd name="T16" fmla="*/ 5 w 52"/>
                    <a:gd name="T17" fmla="*/ 0 h 12"/>
                    <a:gd name="T18" fmla="*/ 47 w 52"/>
                    <a:gd name="T19" fmla="*/ 0 h 12"/>
                    <a:gd name="T20" fmla="*/ 49 w 52"/>
                    <a:gd name="T21" fmla="*/ 0 h 12"/>
                    <a:gd name="T22" fmla="*/ 51 w 52"/>
                    <a:gd name="T23" fmla="*/ 2 h 12"/>
                    <a:gd name="T24" fmla="*/ 52 w 52"/>
                    <a:gd name="T25" fmla="*/ 3 h 12"/>
                    <a:gd name="T26" fmla="*/ 52 w 52"/>
                    <a:gd name="T27" fmla="*/ 7 h 12"/>
                    <a:gd name="T28" fmla="*/ 52 w 52"/>
                    <a:gd name="T29" fmla="*/ 8 h 12"/>
                    <a:gd name="T30" fmla="*/ 51 w 52"/>
                    <a:gd name="T31" fmla="*/ 11 h 12"/>
                    <a:gd name="T32" fmla="*/ 49 w 52"/>
                    <a:gd name="T33" fmla="*/ 11 h 12"/>
                    <a:gd name="T34" fmla="*/ 47 w 52"/>
                    <a:gd name="T3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2">
                      <a:moveTo>
                        <a:pt x="47" y="12"/>
                      </a:moveTo>
                      <a:lnTo>
                        <a:pt x="5" y="12"/>
                      </a:lnTo>
                      <a:lnTo>
                        <a:pt x="3" y="11"/>
                      </a:lnTo>
                      <a:lnTo>
                        <a:pt x="1" y="11"/>
                      </a:lnTo>
                      <a:lnTo>
                        <a:pt x="0" y="8"/>
                      </a:lnTo>
                      <a:lnTo>
                        <a:pt x="0" y="7"/>
                      </a:lnTo>
                      <a:lnTo>
                        <a:pt x="0" y="3"/>
                      </a:lnTo>
                      <a:lnTo>
                        <a:pt x="1" y="2"/>
                      </a:lnTo>
                      <a:lnTo>
                        <a:pt x="5" y="0"/>
                      </a:lnTo>
                      <a:lnTo>
                        <a:pt x="47" y="0"/>
                      </a:lnTo>
                      <a:lnTo>
                        <a:pt x="49" y="0"/>
                      </a:lnTo>
                      <a:lnTo>
                        <a:pt x="51" y="2"/>
                      </a:lnTo>
                      <a:lnTo>
                        <a:pt x="52" y="3"/>
                      </a:lnTo>
                      <a:lnTo>
                        <a:pt x="52" y="7"/>
                      </a:lnTo>
                      <a:lnTo>
                        <a:pt x="52" y="8"/>
                      </a:lnTo>
                      <a:lnTo>
                        <a:pt x="51" y="11"/>
                      </a:lnTo>
                      <a:lnTo>
                        <a:pt x="49" y="11"/>
                      </a:lnTo>
                      <a:lnTo>
                        <a:pt x="47" y="12"/>
                      </a:lnTo>
                      <a:close/>
                    </a:path>
                  </a:pathLst>
                </a:custGeom>
                <a:solidFill>
                  <a:srgbClr val="68217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29"/>
                <p:cNvSpPr>
                  <a:spLocks/>
                </p:cNvSpPr>
                <p:nvPr/>
              </p:nvSpPr>
              <p:spPr bwMode="auto">
                <a:xfrm>
                  <a:off x="5702300" y="2619376"/>
                  <a:ext cx="138113" cy="19050"/>
                </a:xfrm>
                <a:custGeom>
                  <a:avLst/>
                  <a:gdLst>
                    <a:gd name="T0" fmla="*/ 82 w 87"/>
                    <a:gd name="T1" fmla="*/ 12 h 12"/>
                    <a:gd name="T2" fmla="*/ 5 w 87"/>
                    <a:gd name="T3" fmla="*/ 12 h 12"/>
                    <a:gd name="T4" fmla="*/ 4 w 87"/>
                    <a:gd name="T5" fmla="*/ 10 h 12"/>
                    <a:gd name="T6" fmla="*/ 3 w 87"/>
                    <a:gd name="T7" fmla="*/ 9 h 12"/>
                    <a:gd name="T8" fmla="*/ 0 w 87"/>
                    <a:gd name="T9" fmla="*/ 6 h 12"/>
                    <a:gd name="T10" fmla="*/ 3 w 87"/>
                    <a:gd name="T11" fmla="*/ 1 h 12"/>
                    <a:gd name="T12" fmla="*/ 4 w 87"/>
                    <a:gd name="T13" fmla="*/ 0 h 12"/>
                    <a:gd name="T14" fmla="*/ 5 w 87"/>
                    <a:gd name="T15" fmla="*/ 0 h 12"/>
                    <a:gd name="T16" fmla="*/ 82 w 87"/>
                    <a:gd name="T17" fmla="*/ 0 h 12"/>
                    <a:gd name="T18" fmla="*/ 84 w 87"/>
                    <a:gd name="T19" fmla="*/ 0 h 12"/>
                    <a:gd name="T20" fmla="*/ 86 w 87"/>
                    <a:gd name="T21" fmla="*/ 1 h 12"/>
                    <a:gd name="T22" fmla="*/ 87 w 87"/>
                    <a:gd name="T23" fmla="*/ 3 h 12"/>
                    <a:gd name="T24" fmla="*/ 87 w 87"/>
                    <a:gd name="T25" fmla="*/ 6 h 12"/>
                    <a:gd name="T26" fmla="*/ 86 w 87"/>
                    <a:gd name="T27" fmla="*/ 9 h 12"/>
                    <a:gd name="T28" fmla="*/ 84 w 87"/>
                    <a:gd name="T29" fmla="*/ 10 h 12"/>
                    <a:gd name="T30" fmla="*/ 82 w 87"/>
                    <a:gd name="T3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 h="12">
                      <a:moveTo>
                        <a:pt x="82" y="12"/>
                      </a:moveTo>
                      <a:lnTo>
                        <a:pt x="5" y="12"/>
                      </a:lnTo>
                      <a:lnTo>
                        <a:pt x="4" y="10"/>
                      </a:lnTo>
                      <a:lnTo>
                        <a:pt x="3" y="9"/>
                      </a:lnTo>
                      <a:lnTo>
                        <a:pt x="0" y="6"/>
                      </a:lnTo>
                      <a:lnTo>
                        <a:pt x="3" y="1"/>
                      </a:lnTo>
                      <a:lnTo>
                        <a:pt x="4" y="0"/>
                      </a:lnTo>
                      <a:lnTo>
                        <a:pt x="5" y="0"/>
                      </a:lnTo>
                      <a:lnTo>
                        <a:pt x="82" y="0"/>
                      </a:lnTo>
                      <a:lnTo>
                        <a:pt x="84" y="0"/>
                      </a:lnTo>
                      <a:lnTo>
                        <a:pt x="86" y="1"/>
                      </a:lnTo>
                      <a:lnTo>
                        <a:pt x="87" y="3"/>
                      </a:lnTo>
                      <a:lnTo>
                        <a:pt x="87" y="6"/>
                      </a:lnTo>
                      <a:lnTo>
                        <a:pt x="86" y="9"/>
                      </a:lnTo>
                      <a:lnTo>
                        <a:pt x="84" y="10"/>
                      </a:lnTo>
                      <a:lnTo>
                        <a:pt x="82" y="12"/>
                      </a:lnTo>
                      <a:close/>
                    </a:path>
                  </a:pathLst>
                </a:custGeom>
                <a:solidFill>
                  <a:srgbClr val="68217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30"/>
                <p:cNvSpPr>
                  <a:spLocks/>
                </p:cNvSpPr>
                <p:nvPr/>
              </p:nvSpPr>
              <p:spPr bwMode="auto">
                <a:xfrm>
                  <a:off x="5702300" y="2655888"/>
                  <a:ext cx="138113" cy="19050"/>
                </a:xfrm>
                <a:custGeom>
                  <a:avLst/>
                  <a:gdLst>
                    <a:gd name="T0" fmla="*/ 82 w 87"/>
                    <a:gd name="T1" fmla="*/ 12 h 12"/>
                    <a:gd name="T2" fmla="*/ 5 w 87"/>
                    <a:gd name="T3" fmla="*/ 12 h 12"/>
                    <a:gd name="T4" fmla="*/ 4 w 87"/>
                    <a:gd name="T5" fmla="*/ 12 h 12"/>
                    <a:gd name="T6" fmla="*/ 3 w 87"/>
                    <a:gd name="T7" fmla="*/ 11 h 12"/>
                    <a:gd name="T8" fmla="*/ 1 w 87"/>
                    <a:gd name="T9" fmla="*/ 9 h 12"/>
                    <a:gd name="T10" fmla="*/ 0 w 87"/>
                    <a:gd name="T11" fmla="*/ 7 h 12"/>
                    <a:gd name="T12" fmla="*/ 3 w 87"/>
                    <a:gd name="T13" fmla="*/ 2 h 12"/>
                    <a:gd name="T14" fmla="*/ 4 w 87"/>
                    <a:gd name="T15" fmla="*/ 2 h 12"/>
                    <a:gd name="T16" fmla="*/ 5 w 87"/>
                    <a:gd name="T17" fmla="*/ 0 h 12"/>
                    <a:gd name="T18" fmla="*/ 82 w 87"/>
                    <a:gd name="T19" fmla="*/ 0 h 12"/>
                    <a:gd name="T20" fmla="*/ 84 w 87"/>
                    <a:gd name="T21" fmla="*/ 2 h 12"/>
                    <a:gd name="T22" fmla="*/ 86 w 87"/>
                    <a:gd name="T23" fmla="*/ 2 h 12"/>
                    <a:gd name="T24" fmla="*/ 87 w 87"/>
                    <a:gd name="T25" fmla="*/ 5 h 12"/>
                    <a:gd name="T26" fmla="*/ 87 w 87"/>
                    <a:gd name="T27" fmla="*/ 7 h 12"/>
                    <a:gd name="T28" fmla="*/ 87 w 87"/>
                    <a:gd name="T29" fmla="*/ 9 h 12"/>
                    <a:gd name="T30" fmla="*/ 86 w 87"/>
                    <a:gd name="T31" fmla="*/ 11 h 12"/>
                    <a:gd name="T32" fmla="*/ 84 w 87"/>
                    <a:gd name="T33" fmla="*/ 12 h 12"/>
                    <a:gd name="T34" fmla="*/ 82 w 87"/>
                    <a:gd name="T3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12">
                      <a:moveTo>
                        <a:pt x="82" y="12"/>
                      </a:moveTo>
                      <a:lnTo>
                        <a:pt x="5" y="12"/>
                      </a:lnTo>
                      <a:lnTo>
                        <a:pt x="4" y="12"/>
                      </a:lnTo>
                      <a:lnTo>
                        <a:pt x="3" y="11"/>
                      </a:lnTo>
                      <a:lnTo>
                        <a:pt x="1" y="9"/>
                      </a:lnTo>
                      <a:lnTo>
                        <a:pt x="0" y="7"/>
                      </a:lnTo>
                      <a:lnTo>
                        <a:pt x="3" y="2"/>
                      </a:lnTo>
                      <a:lnTo>
                        <a:pt x="4" y="2"/>
                      </a:lnTo>
                      <a:lnTo>
                        <a:pt x="5" y="0"/>
                      </a:lnTo>
                      <a:lnTo>
                        <a:pt x="82" y="0"/>
                      </a:lnTo>
                      <a:lnTo>
                        <a:pt x="84" y="2"/>
                      </a:lnTo>
                      <a:lnTo>
                        <a:pt x="86" y="2"/>
                      </a:lnTo>
                      <a:lnTo>
                        <a:pt x="87" y="5"/>
                      </a:lnTo>
                      <a:lnTo>
                        <a:pt x="87" y="7"/>
                      </a:lnTo>
                      <a:lnTo>
                        <a:pt x="87" y="9"/>
                      </a:lnTo>
                      <a:lnTo>
                        <a:pt x="86" y="11"/>
                      </a:lnTo>
                      <a:lnTo>
                        <a:pt x="84" y="12"/>
                      </a:lnTo>
                      <a:lnTo>
                        <a:pt x="82" y="12"/>
                      </a:lnTo>
                      <a:close/>
                    </a:path>
                  </a:pathLst>
                </a:custGeom>
                <a:solidFill>
                  <a:srgbClr val="68217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31"/>
                <p:cNvSpPr>
                  <a:spLocks noEditPoints="1"/>
                </p:cNvSpPr>
                <p:nvPr/>
              </p:nvSpPr>
              <p:spPr bwMode="auto">
                <a:xfrm>
                  <a:off x="5661025" y="2468563"/>
                  <a:ext cx="222250" cy="271463"/>
                </a:xfrm>
                <a:custGeom>
                  <a:avLst/>
                  <a:gdLst>
                    <a:gd name="T0" fmla="*/ 568 w 616"/>
                    <a:gd name="T1" fmla="*/ 703 h 755"/>
                    <a:gd name="T2" fmla="*/ 85 w 616"/>
                    <a:gd name="T3" fmla="*/ 703 h 755"/>
                    <a:gd name="T4" fmla="*/ 73 w 616"/>
                    <a:gd name="T5" fmla="*/ 703 h 755"/>
                    <a:gd name="T6" fmla="*/ 61 w 616"/>
                    <a:gd name="T7" fmla="*/ 696 h 755"/>
                    <a:gd name="T8" fmla="*/ 49 w 616"/>
                    <a:gd name="T9" fmla="*/ 677 h 755"/>
                    <a:gd name="T10" fmla="*/ 49 w 616"/>
                    <a:gd name="T11" fmla="*/ 664 h 755"/>
                    <a:gd name="T12" fmla="*/ 49 w 616"/>
                    <a:gd name="T13" fmla="*/ 219 h 755"/>
                    <a:gd name="T14" fmla="*/ 167 w 616"/>
                    <a:gd name="T15" fmla="*/ 219 h 755"/>
                    <a:gd name="T16" fmla="*/ 187 w 616"/>
                    <a:gd name="T17" fmla="*/ 219 h 755"/>
                    <a:gd name="T18" fmla="*/ 204 w 616"/>
                    <a:gd name="T19" fmla="*/ 206 h 755"/>
                    <a:gd name="T20" fmla="*/ 216 w 616"/>
                    <a:gd name="T21" fmla="*/ 187 h 755"/>
                    <a:gd name="T22" fmla="*/ 222 w 616"/>
                    <a:gd name="T23" fmla="*/ 161 h 755"/>
                    <a:gd name="T24" fmla="*/ 222 w 616"/>
                    <a:gd name="T25" fmla="*/ 51 h 755"/>
                    <a:gd name="T26" fmla="*/ 533 w 616"/>
                    <a:gd name="T27" fmla="*/ 51 h 755"/>
                    <a:gd name="T28" fmla="*/ 545 w 616"/>
                    <a:gd name="T29" fmla="*/ 51 h 755"/>
                    <a:gd name="T30" fmla="*/ 556 w 616"/>
                    <a:gd name="T31" fmla="*/ 57 h 755"/>
                    <a:gd name="T32" fmla="*/ 568 w 616"/>
                    <a:gd name="T33" fmla="*/ 72 h 755"/>
                    <a:gd name="T34" fmla="*/ 568 w 616"/>
                    <a:gd name="T35" fmla="*/ 91 h 755"/>
                    <a:gd name="T36" fmla="*/ 568 w 616"/>
                    <a:gd name="T37" fmla="*/ 703 h 755"/>
                    <a:gd name="T38" fmla="*/ 556 w 616"/>
                    <a:gd name="T39" fmla="*/ 0 h 755"/>
                    <a:gd name="T40" fmla="*/ 199 w 616"/>
                    <a:gd name="T41" fmla="*/ 0 h 755"/>
                    <a:gd name="T42" fmla="*/ 0 w 616"/>
                    <a:gd name="T43" fmla="*/ 187 h 755"/>
                    <a:gd name="T44" fmla="*/ 0 w 616"/>
                    <a:gd name="T45" fmla="*/ 690 h 755"/>
                    <a:gd name="T46" fmla="*/ 6 w 616"/>
                    <a:gd name="T47" fmla="*/ 717 h 755"/>
                    <a:gd name="T48" fmla="*/ 18 w 616"/>
                    <a:gd name="T49" fmla="*/ 736 h 755"/>
                    <a:gd name="T50" fmla="*/ 37 w 616"/>
                    <a:gd name="T51" fmla="*/ 749 h 755"/>
                    <a:gd name="T52" fmla="*/ 61 w 616"/>
                    <a:gd name="T53" fmla="*/ 755 h 755"/>
                    <a:gd name="T54" fmla="*/ 616 w 616"/>
                    <a:gd name="T55" fmla="*/ 755 h 755"/>
                    <a:gd name="T56" fmla="*/ 616 w 616"/>
                    <a:gd name="T57" fmla="*/ 64 h 755"/>
                    <a:gd name="T58" fmla="*/ 610 w 616"/>
                    <a:gd name="T59" fmla="*/ 38 h 755"/>
                    <a:gd name="T60" fmla="*/ 598 w 616"/>
                    <a:gd name="T61" fmla="*/ 19 h 755"/>
                    <a:gd name="T62" fmla="*/ 580 w 616"/>
                    <a:gd name="T63" fmla="*/ 6 h 755"/>
                    <a:gd name="T64" fmla="*/ 556 w 616"/>
                    <a:gd name="T65"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6" h="755">
                      <a:moveTo>
                        <a:pt x="568" y="703"/>
                      </a:moveTo>
                      <a:lnTo>
                        <a:pt x="85" y="703"/>
                      </a:lnTo>
                      <a:lnTo>
                        <a:pt x="73" y="703"/>
                      </a:lnTo>
                      <a:lnTo>
                        <a:pt x="61" y="696"/>
                      </a:lnTo>
                      <a:lnTo>
                        <a:pt x="49" y="677"/>
                      </a:lnTo>
                      <a:lnTo>
                        <a:pt x="49" y="664"/>
                      </a:lnTo>
                      <a:lnTo>
                        <a:pt x="49" y="219"/>
                      </a:lnTo>
                      <a:lnTo>
                        <a:pt x="167" y="219"/>
                      </a:lnTo>
                      <a:lnTo>
                        <a:pt x="187" y="219"/>
                      </a:lnTo>
                      <a:lnTo>
                        <a:pt x="204" y="206"/>
                      </a:lnTo>
                      <a:lnTo>
                        <a:pt x="216" y="187"/>
                      </a:lnTo>
                      <a:lnTo>
                        <a:pt x="222" y="161"/>
                      </a:lnTo>
                      <a:lnTo>
                        <a:pt x="222" y="51"/>
                      </a:lnTo>
                      <a:lnTo>
                        <a:pt x="533" y="51"/>
                      </a:lnTo>
                      <a:lnTo>
                        <a:pt x="545" y="51"/>
                      </a:lnTo>
                      <a:lnTo>
                        <a:pt x="556" y="57"/>
                      </a:lnTo>
                      <a:lnTo>
                        <a:pt x="568" y="72"/>
                      </a:lnTo>
                      <a:lnTo>
                        <a:pt x="568" y="91"/>
                      </a:lnTo>
                      <a:lnTo>
                        <a:pt x="568" y="703"/>
                      </a:lnTo>
                      <a:close/>
                      <a:moveTo>
                        <a:pt x="556" y="0"/>
                      </a:moveTo>
                      <a:lnTo>
                        <a:pt x="199" y="0"/>
                      </a:lnTo>
                      <a:lnTo>
                        <a:pt x="0" y="187"/>
                      </a:lnTo>
                      <a:lnTo>
                        <a:pt x="0" y="690"/>
                      </a:lnTo>
                      <a:lnTo>
                        <a:pt x="6" y="717"/>
                      </a:lnTo>
                      <a:lnTo>
                        <a:pt x="18" y="736"/>
                      </a:lnTo>
                      <a:lnTo>
                        <a:pt x="37" y="749"/>
                      </a:lnTo>
                      <a:lnTo>
                        <a:pt x="61" y="755"/>
                      </a:lnTo>
                      <a:lnTo>
                        <a:pt x="616" y="755"/>
                      </a:lnTo>
                      <a:lnTo>
                        <a:pt x="616" y="64"/>
                      </a:lnTo>
                      <a:lnTo>
                        <a:pt x="610" y="38"/>
                      </a:lnTo>
                      <a:lnTo>
                        <a:pt x="598" y="19"/>
                      </a:lnTo>
                      <a:lnTo>
                        <a:pt x="580" y="6"/>
                      </a:lnTo>
                      <a:lnTo>
                        <a:pt x="556" y="0"/>
                      </a:lnTo>
                      <a:close/>
                    </a:path>
                  </a:pathLst>
                </a:custGeom>
                <a:solidFill>
                  <a:srgbClr val="68217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96" name="Group 195"/>
              <p:cNvGrpSpPr/>
              <p:nvPr/>
            </p:nvGrpSpPr>
            <p:grpSpPr>
              <a:xfrm>
                <a:off x="5220440" y="4463539"/>
                <a:ext cx="596424" cy="381398"/>
                <a:chOff x="5497513" y="3551238"/>
                <a:chExt cx="1206500" cy="771525"/>
              </a:xfrm>
            </p:grpSpPr>
            <p:sp>
              <p:nvSpPr>
                <p:cNvPr id="197" name="Rectangle 361"/>
                <p:cNvSpPr>
                  <a:spLocks noChangeArrowheads="1"/>
                </p:cNvSpPr>
                <p:nvPr/>
              </p:nvSpPr>
              <p:spPr bwMode="auto">
                <a:xfrm>
                  <a:off x="5708650" y="3984626"/>
                  <a:ext cx="254000" cy="39688"/>
                </a:xfrm>
                <a:prstGeom prst="rect">
                  <a:avLst/>
                </a:prstGeom>
                <a:solidFill>
                  <a:srgbClr val="0072C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Rectangle 362"/>
                <p:cNvSpPr>
                  <a:spLocks noChangeArrowheads="1"/>
                </p:cNvSpPr>
                <p:nvPr/>
              </p:nvSpPr>
              <p:spPr bwMode="auto">
                <a:xfrm>
                  <a:off x="5643563" y="3984626"/>
                  <a:ext cx="41275" cy="39688"/>
                </a:xfrm>
                <a:prstGeom prst="rect">
                  <a:avLst/>
                </a:prstGeom>
                <a:solidFill>
                  <a:srgbClr val="0072C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Rectangle 363"/>
                <p:cNvSpPr>
                  <a:spLocks noChangeArrowheads="1"/>
                </p:cNvSpPr>
                <p:nvPr/>
              </p:nvSpPr>
              <p:spPr bwMode="auto">
                <a:xfrm>
                  <a:off x="5708650" y="4067176"/>
                  <a:ext cx="274638" cy="39688"/>
                </a:xfrm>
                <a:prstGeom prst="rect">
                  <a:avLst/>
                </a:prstGeom>
                <a:solidFill>
                  <a:srgbClr val="0072C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Rectangle 364"/>
                <p:cNvSpPr>
                  <a:spLocks noChangeArrowheads="1"/>
                </p:cNvSpPr>
                <p:nvPr/>
              </p:nvSpPr>
              <p:spPr bwMode="auto">
                <a:xfrm>
                  <a:off x="5643563" y="4067176"/>
                  <a:ext cx="41275" cy="39688"/>
                </a:xfrm>
                <a:prstGeom prst="rect">
                  <a:avLst/>
                </a:prstGeom>
                <a:solidFill>
                  <a:srgbClr val="0072C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Rectangle 365"/>
                <p:cNvSpPr>
                  <a:spLocks noChangeArrowheads="1"/>
                </p:cNvSpPr>
                <p:nvPr/>
              </p:nvSpPr>
              <p:spPr bwMode="auto">
                <a:xfrm>
                  <a:off x="5708650" y="4144963"/>
                  <a:ext cx="204788" cy="39688"/>
                </a:xfrm>
                <a:prstGeom prst="rect">
                  <a:avLst/>
                </a:prstGeom>
                <a:solidFill>
                  <a:srgbClr val="0072C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Rectangle 366"/>
                <p:cNvSpPr>
                  <a:spLocks noChangeArrowheads="1"/>
                </p:cNvSpPr>
                <p:nvPr/>
              </p:nvSpPr>
              <p:spPr bwMode="auto">
                <a:xfrm>
                  <a:off x="5643563" y="4144963"/>
                  <a:ext cx="41275" cy="39688"/>
                </a:xfrm>
                <a:prstGeom prst="rect">
                  <a:avLst/>
                </a:prstGeom>
                <a:solidFill>
                  <a:srgbClr val="0072C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Rectangle 367"/>
                <p:cNvSpPr>
                  <a:spLocks noChangeArrowheads="1"/>
                </p:cNvSpPr>
                <p:nvPr/>
              </p:nvSpPr>
              <p:spPr bwMode="auto">
                <a:xfrm>
                  <a:off x="5927725" y="3681413"/>
                  <a:ext cx="50800" cy="215900"/>
                </a:xfrm>
                <a:prstGeom prst="rect">
                  <a:avLst/>
                </a:prstGeom>
                <a:solidFill>
                  <a:srgbClr val="34103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Rectangle 368"/>
                <p:cNvSpPr>
                  <a:spLocks noChangeArrowheads="1"/>
                </p:cNvSpPr>
                <p:nvPr/>
              </p:nvSpPr>
              <p:spPr bwMode="auto">
                <a:xfrm>
                  <a:off x="5856288" y="3843338"/>
                  <a:ext cx="52388" cy="53975"/>
                </a:xfrm>
                <a:prstGeom prst="rect">
                  <a:avLst/>
                </a:prstGeom>
                <a:solidFill>
                  <a:srgbClr val="4E195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Rectangle 369"/>
                <p:cNvSpPr>
                  <a:spLocks noChangeArrowheads="1"/>
                </p:cNvSpPr>
                <p:nvPr/>
              </p:nvSpPr>
              <p:spPr bwMode="auto">
                <a:xfrm>
                  <a:off x="5786438" y="3748088"/>
                  <a:ext cx="50800" cy="149225"/>
                </a:xfrm>
                <a:prstGeom prst="rect">
                  <a:avLst/>
                </a:prstGeom>
                <a:solidFill>
                  <a:srgbClr val="B957D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Rectangle 370"/>
                <p:cNvSpPr>
                  <a:spLocks noChangeArrowheads="1"/>
                </p:cNvSpPr>
                <p:nvPr/>
              </p:nvSpPr>
              <p:spPr bwMode="auto">
                <a:xfrm>
                  <a:off x="5713413" y="3709988"/>
                  <a:ext cx="49213" cy="187325"/>
                </a:xfrm>
                <a:prstGeom prst="rect">
                  <a:avLst/>
                </a:prstGeom>
                <a:solidFill>
                  <a:srgbClr val="68217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Rectangle 371"/>
                <p:cNvSpPr>
                  <a:spLocks noChangeArrowheads="1"/>
                </p:cNvSpPr>
                <p:nvPr/>
              </p:nvSpPr>
              <p:spPr bwMode="auto">
                <a:xfrm>
                  <a:off x="5641975" y="3781426"/>
                  <a:ext cx="50800" cy="115888"/>
                </a:xfrm>
                <a:prstGeom prst="rect">
                  <a:avLst/>
                </a:prstGeom>
                <a:solidFill>
                  <a:srgbClr val="D08FE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372"/>
                <p:cNvSpPr>
                  <a:spLocks/>
                </p:cNvSpPr>
                <p:nvPr/>
              </p:nvSpPr>
              <p:spPr bwMode="auto">
                <a:xfrm>
                  <a:off x="6097588" y="3767138"/>
                  <a:ext cx="404813" cy="406400"/>
                </a:xfrm>
                <a:custGeom>
                  <a:avLst/>
                  <a:gdLst>
                    <a:gd name="T0" fmla="*/ 128 w 255"/>
                    <a:gd name="T1" fmla="*/ 0 h 256"/>
                    <a:gd name="T2" fmla="*/ 128 w 255"/>
                    <a:gd name="T3" fmla="*/ 0 h 256"/>
                    <a:gd name="T4" fmla="*/ 115 w 255"/>
                    <a:gd name="T5" fmla="*/ 1 h 256"/>
                    <a:gd name="T6" fmla="*/ 102 w 255"/>
                    <a:gd name="T7" fmla="*/ 3 h 256"/>
                    <a:gd name="T8" fmla="*/ 90 w 255"/>
                    <a:gd name="T9" fmla="*/ 6 h 256"/>
                    <a:gd name="T10" fmla="*/ 79 w 255"/>
                    <a:gd name="T11" fmla="*/ 10 h 256"/>
                    <a:gd name="T12" fmla="*/ 67 w 255"/>
                    <a:gd name="T13" fmla="*/ 16 h 256"/>
                    <a:gd name="T14" fmla="*/ 57 w 255"/>
                    <a:gd name="T15" fmla="*/ 22 h 256"/>
                    <a:gd name="T16" fmla="*/ 47 w 255"/>
                    <a:gd name="T17" fmla="*/ 30 h 256"/>
                    <a:gd name="T18" fmla="*/ 38 w 255"/>
                    <a:gd name="T19" fmla="*/ 38 h 256"/>
                    <a:gd name="T20" fmla="*/ 29 w 255"/>
                    <a:gd name="T21" fmla="*/ 46 h 256"/>
                    <a:gd name="T22" fmla="*/ 22 w 255"/>
                    <a:gd name="T23" fmla="*/ 56 h 256"/>
                    <a:gd name="T24" fmla="*/ 15 w 255"/>
                    <a:gd name="T25" fmla="*/ 68 h 256"/>
                    <a:gd name="T26" fmla="*/ 11 w 255"/>
                    <a:gd name="T27" fmla="*/ 78 h 256"/>
                    <a:gd name="T28" fmla="*/ 6 w 255"/>
                    <a:gd name="T29" fmla="*/ 90 h 256"/>
                    <a:gd name="T30" fmla="*/ 2 w 255"/>
                    <a:gd name="T31" fmla="*/ 102 h 256"/>
                    <a:gd name="T32" fmla="*/ 0 w 255"/>
                    <a:gd name="T33" fmla="*/ 115 h 256"/>
                    <a:gd name="T34" fmla="*/ 0 w 255"/>
                    <a:gd name="T35" fmla="*/ 129 h 256"/>
                    <a:gd name="T36" fmla="*/ 0 w 255"/>
                    <a:gd name="T37" fmla="*/ 142 h 256"/>
                    <a:gd name="T38" fmla="*/ 2 w 255"/>
                    <a:gd name="T39" fmla="*/ 153 h 256"/>
                    <a:gd name="T40" fmla="*/ 6 w 255"/>
                    <a:gd name="T41" fmla="*/ 166 h 256"/>
                    <a:gd name="T42" fmla="*/ 11 w 255"/>
                    <a:gd name="T43" fmla="*/ 178 h 256"/>
                    <a:gd name="T44" fmla="*/ 15 w 255"/>
                    <a:gd name="T45" fmla="*/ 189 h 256"/>
                    <a:gd name="T46" fmla="*/ 22 w 255"/>
                    <a:gd name="T47" fmla="*/ 199 h 256"/>
                    <a:gd name="T48" fmla="*/ 29 w 255"/>
                    <a:gd name="T49" fmla="*/ 209 h 256"/>
                    <a:gd name="T50" fmla="*/ 38 w 255"/>
                    <a:gd name="T51" fmla="*/ 218 h 256"/>
                    <a:gd name="T52" fmla="*/ 47 w 255"/>
                    <a:gd name="T53" fmla="*/ 227 h 256"/>
                    <a:gd name="T54" fmla="*/ 57 w 255"/>
                    <a:gd name="T55" fmla="*/ 234 h 256"/>
                    <a:gd name="T56" fmla="*/ 67 w 255"/>
                    <a:gd name="T57" fmla="*/ 240 h 256"/>
                    <a:gd name="T58" fmla="*/ 79 w 255"/>
                    <a:gd name="T59" fmla="*/ 246 h 256"/>
                    <a:gd name="T60" fmla="*/ 90 w 255"/>
                    <a:gd name="T61" fmla="*/ 250 h 256"/>
                    <a:gd name="T62" fmla="*/ 102 w 255"/>
                    <a:gd name="T63" fmla="*/ 253 h 256"/>
                    <a:gd name="T64" fmla="*/ 115 w 255"/>
                    <a:gd name="T65" fmla="*/ 254 h 256"/>
                    <a:gd name="T66" fmla="*/ 128 w 255"/>
                    <a:gd name="T67" fmla="*/ 256 h 256"/>
                    <a:gd name="T68" fmla="*/ 141 w 255"/>
                    <a:gd name="T69" fmla="*/ 254 h 256"/>
                    <a:gd name="T70" fmla="*/ 152 w 255"/>
                    <a:gd name="T71" fmla="*/ 253 h 256"/>
                    <a:gd name="T72" fmla="*/ 165 w 255"/>
                    <a:gd name="T73" fmla="*/ 250 h 256"/>
                    <a:gd name="T74" fmla="*/ 177 w 255"/>
                    <a:gd name="T75" fmla="*/ 246 h 256"/>
                    <a:gd name="T76" fmla="*/ 187 w 255"/>
                    <a:gd name="T77" fmla="*/ 240 h 256"/>
                    <a:gd name="T78" fmla="*/ 198 w 255"/>
                    <a:gd name="T79" fmla="*/ 234 h 256"/>
                    <a:gd name="T80" fmla="*/ 207 w 255"/>
                    <a:gd name="T81" fmla="*/ 227 h 256"/>
                    <a:gd name="T82" fmla="*/ 217 w 255"/>
                    <a:gd name="T83" fmla="*/ 220 h 256"/>
                    <a:gd name="T84" fmla="*/ 225 w 255"/>
                    <a:gd name="T85" fmla="*/ 211 h 256"/>
                    <a:gd name="T86" fmla="*/ 232 w 255"/>
                    <a:gd name="T87" fmla="*/ 201 h 256"/>
                    <a:gd name="T88" fmla="*/ 239 w 255"/>
                    <a:gd name="T89" fmla="*/ 191 h 256"/>
                    <a:gd name="T90" fmla="*/ 243 w 255"/>
                    <a:gd name="T91" fmla="*/ 179 h 256"/>
                    <a:gd name="T92" fmla="*/ 249 w 255"/>
                    <a:gd name="T93" fmla="*/ 167 h 256"/>
                    <a:gd name="T94" fmla="*/ 252 w 255"/>
                    <a:gd name="T95" fmla="*/ 156 h 256"/>
                    <a:gd name="T96" fmla="*/ 253 w 255"/>
                    <a:gd name="T97" fmla="*/ 145 h 256"/>
                    <a:gd name="T98" fmla="*/ 255 w 255"/>
                    <a:gd name="T99" fmla="*/ 131 h 256"/>
                    <a:gd name="T100" fmla="*/ 128 w 255"/>
                    <a:gd name="T101" fmla="*/ 131 h 256"/>
                    <a:gd name="T102" fmla="*/ 128 w 255"/>
                    <a:gd name="T10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5" h="256">
                      <a:moveTo>
                        <a:pt x="128" y="0"/>
                      </a:moveTo>
                      <a:lnTo>
                        <a:pt x="128" y="0"/>
                      </a:lnTo>
                      <a:lnTo>
                        <a:pt x="115" y="1"/>
                      </a:lnTo>
                      <a:lnTo>
                        <a:pt x="102" y="3"/>
                      </a:lnTo>
                      <a:lnTo>
                        <a:pt x="90" y="6"/>
                      </a:lnTo>
                      <a:lnTo>
                        <a:pt x="79" y="10"/>
                      </a:lnTo>
                      <a:lnTo>
                        <a:pt x="67" y="16"/>
                      </a:lnTo>
                      <a:lnTo>
                        <a:pt x="57" y="22"/>
                      </a:lnTo>
                      <a:lnTo>
                        <a:pt x="47" y="30"/>
                      </a:lnTo>
                      <a:lnTo>
                        <a:pt x="38" y="38"/>
                      </a:lnTo>
                      <a:lnTo>
                        <a:pt x="29" y="46"/>
                      </a:lnTo>
                      <a:lnTo>
                        <a:pt x="22" y="56"/>
                      </a:lnTo>
                      <a:lnTo>
                        <a:pt x="15" y="68"/>
                      </a:lnTo>
                      <a:lnTo>
                        <a:pt x="11" y="78"/>
                      </a:lnTo>
                      <a:lnTo>
                        <a:pt x="6" y="90"/>
                      </a:lnTo>
                      <a:lnTo>
                        <a:pt x="2" y="102"/>
                      </a:lnTo>
                      <a:lnTo>
                        <a:pt x="0" y="115"/>
                      </a:lnTo>
                      <a:lnTo>
                        <a:pt x="0" y="129"/>
                      </a:lnTo>
                      <a:lnTo>
                        <a:pt x="0" y="142"/>
                      </a:lnTo>
                      <a:lnTo>
                        <a:pt x="2" y="153"/>
                      </a:lnTo>
                      <a:lnTo>
                        <a:pt x="6" y="166"/>
                      </a:lnTo>
                      <a:lnTo>
                        <a:pt x="11" y="178"/>
                      </a:lnTo>
                      <a:lnTo>
                        <a:pt x="15" y="189"/>
                      </a:lnTo>
                      <a:lnTo>
                        <a:pt x="22" y="199"/>
                      </a:lnTo>
                      <a:lnTo>
                        <a:pt x="29" y="209"/>
                      </a:lnTo>
                      <a:lnTo>
                        <a:pt x="38" y="218"/>
                      </a:lnTo>
                      <a:lnTo>
                        <a:pt x="47" y="227"/>
                      </a:lnTo>
                      <a:lnTo>
                        <a:pt x="57" y="234"/>
                      </a:lnTo>
                      <a:lnTo>
                        <a:pt x="67" y="240"/>
                      </a:lnTo>
                      <a:lnTo>
                        <a:pt x="79" y="246"/>
                      </a:lnTo>
                      <a:lnTo>
                        <a:pt x="90" y="250"/>
                      </a:lnTo>
                      <a:lnTo>
                        <a:pt x="102" y="253"/>
                      </a:lnTo>
                      <a:lnTo>
                        <a:pt x="115" y="254"/>
                      </a:lnTo>
                      <a:lnTo>
                        <a:pt x="128" y="256"/>
                      </a:lnTo>
                      <a:lnTo>
                        <a:pt x="141" y="254"/>
                      </a:lnTo>
                      <a:lnTo>
                        <a:pt x="152" y="253"/>
                      </a:lnTo>
                      <a:lnTo>
                        <a:pt x="165" y="250"/>
                      </a:lnTo>
                      <a:lnTo>
                        <a:pt x="177" y="246"/>
                      </a:lnTo>
                      <a:lnTo>
                        <a:pt x="187" y="240"/>
                      </a:lnTo>
                      <a:lnTo>
                        <a:pt x="198" y="234"/>
                      </a:lnTo>
                      <a:lnTo>
                        <a:pt x="207" y="227"/>
                      </a:lnTo>
                      <a:lnTo>
                        <a:pt x="217" y="220"/>
                      </a:lnTo>
                      <a:lnTo>
                        <a:pt x="225" y="211"/>
                      </a:lnTo>
                      <a:lnTo>
                        <a:pt x="232" y="201"/>
                      </a:lnTo>
                      <a:lnTo>
                        <a:pt x="239" y="191"/>
                      </a:lnTo>
                      <a:lnTo>
                        <a:pt x="243" y="179"/>
                      </a:lnTo>
                      <a:lnTo>
                        <a:pt x="249" y="167"/>
                      </a:lnTo>
                      <a:lnTo>
                        <a:pt x="252" y="156"/>
                      </a:lnTo>
                      <a:lnTo>
                        <a:pt x="253" y="145"/>
                      </a:lnTo>
                      <a:lnTo>
                        <a:pt x="255" y="131"/>
                      </a:lnTo>
                      <a:lnTo>
                        <a:pt x="128" y="131"/>
                      </a:lnTo>
                      <a:lnTo>
                        <a:pt x="128" y="0"/>
                      </a:lnTo>
                      <a:close/>
                    </a:path>
                  </a:pathLst>
                </a:custGeom>
                <a:solidFill>
                  <a:srgbClr val="DC3C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375"/>
                <p:cNvSpPr>
                  <a:spLocks noEditPoints="1"/>
                </p:cNvSpPr>
                <p:nvPr/>
              </p:nvSpPr>
              <p:spPr bwMode="auto">
                <a:xfrm>
                  <a:off x="5497513" y="3551238"/>
                  <a:ext cx="1206500" cy="771525"/>
                </a:xfrm>
                <a:custGeom>
                  <a:avLst/>
                  <a:gdLst>
                    <a:gd name="T0" fmla="*/ 3182 w 3347"/>
                    <a:gd name="T1" fmla="*/ 1974 h 2140"/>
                    <a:gd name="T2" fmla="*/ 172 w 3347"/>
                    <a:gd name="T3" fmla="*/ 1974 h 2140"/>
                    <a:gd name="T4" fmla="*/ 172 w 3347"/>
                    <a:gd name="T5" fmla="*/ 166 h 2140"/>
                    <a:gd name="T6" fmla="*/ 3182 w 3347"/>
                    <a:gd name="T7" fmla="*/ 166 h 2140"/>
                    <a:gd name="T8" fmla="*/ 3182 w 3347"/>
                    <a:gd name="T9" fmla="*/ 1974 h 2140"/>
                    <a:gd name="T10" fmla="*/ 0 w 3347"/>
                    <a:gd name="T11" fmla="*/ 2140 h 2140"/>
                    <a:gd name="T12" fmla="*/ 3347 w 3347"/>
                    <a:gd name="T13" fmla="*/ 2140 h 2140"/>
                    <a:gd name="T14" fmla="*/ 3347 w 3347"/>
                    <a:gd name="T15" fmla="*/ 0 h 2140"/>
                    <a:gd name="T16" fmla="*/ 0 w 3347"/>
                    <a:gd name="T17" fmla="*/ 0 h 2140"/>
                    <a:gd name="T18" fmla="*/ 0 w 3347"/>
                    <a:gd name="T19" fmla="*/ 2140 h 2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7" h="2140">
                      <a:moveTo>
                        <a:pt x="3182" y="1974"/>
                      </a:moveTo>
                      <a:lnTo>
                        <a:pt x="172" y="1974"/>
                      </a:lnTo>
                      <a:lnTo>
                        <a:pt x="172" y="166"/>
                      </a:lnTo>
                      <a:lnTo>
                        <a:pt x="3182" y="166"/>
                      </a:lnTo>
                      <a:lnTo>
                        <a:pt x="3182" y="1974"/>
                      </a:lnTo>
                      <a:close/>
                      <a:moveTo>
                        <a:pt x="0" y="2140"/>
                      </a:moveTo>
                      <a:lnTo>
                        <a:pt x="3347" y="2140"/>
                      </a:lnTo>
                      <a:lnTo>
                        <a:pt x="3347" y="0"/>
                      </a:lnTo>
                      <a:lnTo>
                        <a:pt x="0" y="0"/>
                      </a:lnTo>
                      <a:lnTo>
                        <a:pt x="0" y="2140"/>
                      </a:lnTo>
                      <a:close/>
                    </a:path>
                  </a:pathLst>
                </a:custGeom>
                <a:solidFill>
                  <a:srgbClr val="00827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398"/>
                <p:cNvSpPr>
                  <a:spLocks/>
                </p:cNvSpPr>
                <p:nvPr/>
              </p:nvSpPr>
              <p:spPr bwMode="auto">
                <a:xfrm>
                  <a:off x="6338888" y="3730626"/>
                  <a:ext cx="201613" cy="206375"/>
                </a:xfrm>
                <a:custGeom>
                  <a:avLst/>
                  <a:gdLst>
                    <a:gd name="T0" fmla="*/ 0 w 127"/>
                    <a:gd name="T1" fmla="*/ 0 h 130"/>
                    <a:gd name="T2" fmla="*/ 0 w 127"/>
                    <a:gd name="T3" fmla="*/ 130 h 130"/>
                    <a:gd name="T4" fmla="*/ 127 w 127"/>
                    <a:gd name="T5" fmla="*/ 130 h 130"/>
                    <a:gd name="T6" fmla="*/ 127 w 127"/>
                    <a:gd name="T7" fmla="*/ 127 h 130"/>
                    <a:gd name="T8" fmla="*/ 126 w 127"/>
                    <a:gd name="T9" fmla="*/ 114 h 130"/>
                    <a:gd name="T10" fmla="*/ 124 w 127"/>
                    <a:gd name="T11" fmla="*/ 101 h 130"/>
                    <a:gd name="T12" fmla="*/ 121 w 127"/>
                    <a:gd name="T13" fmla="*/ 90 h 130"/>
                    <a:gd name="T14" fmla="*/ 117 w 127"/>
                    <a:gd name="T15" fmla="*/ 77 h 130"/>
                    <a:gd name="T16" fmla="*/ 111 w 127"/>
                    <a:gd name="T17" fmla="*/ 67 h 130"/>
                    <a:gd name="T18" fmla="*/ 106 w 127"/>
                    <a:gd name="T19" fmla="*/ 55 h 130"/>
                    <a:gd name="T20" fmla="*/ 98 w 127"/>
                    <a:gd name="T21" fmla="*/ 46 h 130"/>
                    <a:gd name="T22" fmla="*/ 90 w 127"/>
                    <a:gd name="T23" fmla="*/ 36 h 130"/>
                    <a:gd name="T24" fmla="*/ 81 w 127"/>
                    <a:gd name="T25" fmla="*/ 29 h 130"/>
                    <a:gd name="T26" fmla="*/ 71 w 127"/>
                    <a:gd name="T27" fmla="*/ 22 h 130"/>
                    <a:gd name="T28" fmla="*/ 61 w 127"/>
                    <a:gd name="T29" fmla="*/ 15 h 130"/>
                    <a:gd name="T30" fmla="*/ 49 w 127"/>
                    <a:gd name="T31" fmla="*/ 10 h 130"/>
                    <a:gd name="T32" fmla="*/ 38 w 127"/>
                    <a:gd name="T33" fmla="*/ 6 h 130"/>
                    <a:gd name="T34" fmla="*/ 24 w 127"/>
                    <a:gd name="T35" fmla="*/ 1 h 130"/>
                    <a:gd name="T36" fmla="*/ 13 w 127"/>
                    <a:gd name="T37" fmla="*/ 0 h 130"/>
                    <a:gd name="T38" fmla="*/ 0 w 127"/>
                    <a:gd name="T39"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7" h="130">
                      <a:moveTo>
                        <a:pt x="0" y="0"/>
                      </a:moveTo>
                      <a:lnTo>
                        <a:pt x="0" y="130"/>
                      </a:lnTo>
                      <a:lnTo>
                        <a:pt x="127" y="130"/>
                      </a:lnTo>
                      <a:lnTo>
                        <a:pt x="127" y="127"/>
                      </a:lnTo>
                      <a:lnTo>
                        <a:pt x="126" y="114"/>
                      </a:lnTo>
                      <a:lnTo>
                        <a:pt x="124" y="101"/>
                      </a:lnTo>
                      <a:lnTo>
                        <a:pt x="121" y="90"/>
                      </a:lnTo>
                      <a:lnTo>
                        <a:pt x="117" y="77"/>
                      </a:lnTo>
                      <a:lnTo>
                        <a:pt x="111" y="67"/>
                      </a:lnTo>
                      <a:lnTo>
                        <a:pt x="106" y="55"/>
                      </a:lnTo>
                      <a:lnTo>
                        <a:pt x="98" y="46"/>
                      </a:lnTo>
                      <a:lnTo>
                        <a:pt x="90" y="36"/>
                      </a:lnTo>
                      <a:lnTo>
                        <a:pt x="81" y="29"/>
                      </a:lnTo>
                      <a:lnTo>
                        <a:pt x="71" y="22"/>
                      </a:lnTo>
                      <a:lnTo>
                        <a:pt x="61" y="15"/>
                      </a:lnTo>
                      <a:lnTo>
                        <a:pt x="49" y="10"/>
                      </a:lnTo>
                      <a:lnTo>
                        <a:pt x="38" y="6"/>
                      </a:lnTo>
                      <a:lnTo>
                        <a:pt x="24" y="1"/>
                      </a:lnTo>
                      <a:lnTo>
                        <a:pt x="13" y="0"/>
                      </a:lnTo>
                      <a:lnTo>
                        <a:pt x="0" y="0"/>
                      </a:lnTo>
                      <a:close/>
                    </a:path>
                  </a:pathLst>
                </a:custGeom>
                <a:solidFill>
                  <a:srgbClr val="FF8C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218" name="Rectangle 217"/>
            <p:cNvSpPr>
              <a:spLocks noChangeArrowheads="1"/>
            </p:cNvSpPr>
            <p:nvPr/>
          </p:nvSpPr>
          <p:spPr bwMode="auto">
            <a:xfrm>
              <a:off x="0" y="6923987"/>
              <a:ext cx="12435840" cy="70538"/>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3" name="Group 2"/>
          <p:cNvGrpSpPr/>
          <p:nvPr/>
        </p:nvGrpSpPr>
        <p:grpSpPr>
          <a:xfrm>
            <a:off x="590626" y="2361616"/>
            <a:ext cx="8828012" cy="3458501"/>
            <a:chOff x="590626" y="2361616"/>
            <a:chExt cx="8828012" cy="3458501"/>
          </a:xfrm>
        </p:grpSpPr>
        <p:grpSp>
          <p:nvGrpSpPr>
            <p:cNvPr id="15" name="Group 14"/>
            <p:cNvGrpSpPr/>
            <p:nvPr/>
          </p:nvGrpSpPr>
          <p:grpSpPr>
            <a:xfrm>
              <a:off x="590626" y="2361616"/>
              <a:ext cx="2907792" cy="1830454"/>
              <a:chOff x="590626" y="2361616"/>
              <a:chExt cx="2907792" cy="1830454"/>
            </a:xfrm>
          </p:grpSpPr>
          <p:sp>
            <p:nvSpPr>
              <p:cNvPr id="13" name="Rectangle 12"/>
              <p:cNvSpPr/>
              <p:nvPr/>
            </p:nvSpPr>
            <p:spPr bwMode="auto">
              <a:xfrm>
                <a:off x="590626" y="3094790"/>
                <a:ext cx="2905721" cy="109728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1440" rIns="91440" bIns="45720" numCol="1" rtlCol="0" anchor="t" anchorCtr="0" compatLnSpc="1">
                <a:prstTxWarp prst="textNoShape">
                  <a:avLst/>
                </a:prstTxWarp>
                <a:noAutofit/>
              </a:bodyPr>
              <a:lstStyle/>
              <a:p>
                <a:pPr defTabSz="914050"/>
                <a:r>
                  <a:rPr lang="en-IN" sz="1600" spc="-20" dirty="0">
                    <a:solidFill>
                      <a:schemeClr val="tx2"/>
                    </a:solidFill>
                    <a:ea typeface="Segoe UI" panose="020B0502040204020203" pitchFamily="34" charset="0"/>
                    <a:cs typeface="Segoe UI" panose="020B0502040204020203" pitchFamily="34" charset="0"/>
                  </a:rPr>
                  <a:t>Azure Active Directory (AD) offers enterprise identity and access management in the cloud.</a:t>
                </a:r>
                <a:endParaRPr lang="en-US" sz="1600" spc="-20" dirty="0">
                  <a:solidFill>
                    <a:schemeClr val="tx2"/>
                  </a:solidFill>
                  <a:ea typeface="Segoe UI" panose="020B0502040204020203" pitchFamily="34" charset="0"/>
                  <a:cs typeface="Segoe UI" panose="020B0502040204020203" pitchFamily="34" charset="0"/>
                </a:endParaRPr>
              </a:p>
            </p:txBody>
          </p:sp>
          <p:sp>
            <p:nvSpPr>
              <p:cNvPr id="17" name="Rectangle 16"/>
              <p:cNvSpPr/>
              <p:nvPr/>
            </p:nvSpPr>
            <p:spPr bwMode="auto">
              <a:xfrm>
                <a:off x="590626" y="2361616"/>
                <a:ext cx="2907792" cy="731520"/>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91440" numCol="1" rtlCol="0" anchor="ctr" anchorCtr="0" compatLnSpc="1">
                <a:prstTxWarp prst="textNoShape">
                  <a:avLst/>
                </a:prstTxWarp>
                <a:noAutofit/>
              </a:bodyPr>
              <a:lstStyle/>
              <a:p>
                <a:pPr defTabSz="932563"/>
                <a:r>
                  <a:rPr lang="en-US" dirty="0">
                    <a:solidFill>
                      <a:schemeClr val="bg1"/>
                    </a:solidFill>
                    <a:latin typeface="Segoe UI Semibold" panose="020B0702040204020203" pitchFamily="34" charset="0"/>
                    <a:cs typeface="Segoe UI Semibold" panose="020B0702040204020203" pitchFamily="34" charset="0"/>
                  </a:rPr>
                  <a:t>Enterprise cloud directory</a:t>
                </a:r>
              </a:p>
            </p:txBody>
          </p:sp>
          <p:sp>
            <p:nvSpPr>
              <p:cNvPr id="19" name="Rectangle 18"/>
              <p:cNvSpPr/>
              <p:nvPr/>
            </p:nvSpPr>
            <p:spPr>
              <a:xfrm>
                <a:off x="590626" y="3038272"/>
                <a:ext cx="2905723" cy="54864"/>
              </a:xfrm>
              <a:prstGeom prst="rect">
                <a:avLst/>
              </a:prstGeom>
              <a:solidFill>
                <a:schemeClr val="bg1">
                  <a:alpha val="30000"/>
                </a:schemeClr>
              </a:solidFill>
            </p:spPr>
            <p:txBody>
              <a:bodyPr wrap="square" rtlCol="0" anchor="ctr">
                <a:noAutofit/>
              </a:bodyPr>
              <a:lstStyle/>
              <a:p>
                <a:pPr algn="l"/>
                <a:endParaRPr lang="en-US" sz="2400" dirty="0">
                  <a:solidFill>
                    <a:srgbClr val="FFFFFF"/>
                  </a:solidFill>
                  <a:cs typeface="Segoe UI Light"/>
                </a:endParaRPr>
              </a:p>
            </p:txBody>
          </p:sp>
        </p:grpSp>
        <p:grpSp>
          <p:nvGrpSpPr>
            <p:cNvPr id="18" name="Group 17"/>
            <p:cNvGrpSpPr/>
            <p:nvPr/>
          </p:nvGrpSpPr>
          <p:grpSpPr>
            <a:xfrm>
              <a:off x="6510846" y="2361616"/>
              <a:ext cx="2907792" cy="1832017"/>
              <a:chOff x="6510846" y="2361616"/>
              <a:chExt cx="2907792" cy="1832017"/>
            </a:xfrm>
          </p:grpSpPr>
          <p:sp>
            <p:nvSpPr>
              <p:cNvPr id="31" name="Rectangle 30"/>
              <p:cNvSpPr/>
              <p:nvPr/>
            </p:nvSpPr>
            <p:spPr bwMode="auto">
              <a:xfrm>
                <a:off x="6510846" y="3096353"/>
                <a:ext cx="2907790" cy="109728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1440" rIns="91440" bIns="45720" numCol="1" rtlCol="0" anchor="t" anchorCtr="0" compatLnSpc="1">
                <a:prstTxWarp prst="textNoShape">
                  <a:avLst/>
                </a:prstTxWarp>
                <a:noAutofit/>
              </a:bodyPr>
              <a:lstStyle/>
              <a:p>
                <a:pPr defTabSz="914050">
                  <a:defRPr/>
                </a:pPr>
                <a:r>
                  <a:rPr lang="en-IN" sz="1600" spc="-20" dirty="0">
                    <a:solidFill>
                      <a:schemeClr val="tx2"/>
                    </a:solidFill>
                    <a:ea typeface="Segoe UI" panose="020B0502040204020203" pitchFamily="34" charset="0"/>
                    <a:cs typeface="Segoe UI" panose="020B0502040204020203" pitchFamily="34" charset="0"/>
                  </a:rPr>
                  <a:t>Security reports monitor access patterns </a:t>
                </a:r>
                <a:r>
                  <a:rPr lang="en-IN" sz="1600" spc="-20" dirty="0" smtClean="0">
                    <a:solidFill>
                      <a:schemeClr val="tx2"/>
                    </a:solidFill>
                    <a:ea typeface="Segoe UI" panose="020B0502040204020203" pitchFamily="34" charset="0"/>
                    <a:cs typeface="Segoe UI" panose="020B0502040204020203" pitchFamily="34" charset="0"/>
                  </a:rPr>
                  <a:t>that help identify potential </a:t>
                </a:r>
                <a:r>
                  <a:rPr lang="en-IN" sz="1600" spc="-20" dirty="0">
                    <a:solidFill>
                      <a:schemeClr val="tx2"/>
                    </a:solidFill>
                    <a:ea typeface="Segoe UI" panose="020B0502040204020203" pitchFamily="34" charset="0"/>
                    <a:cs typeface="Segoe UI" panose="020B0502040204020203" pitchFamily="34" charset="0"/>
                  </a:rPr>
                  <a:t>threats.</a:t>
                </a:r>
                <a:endParaRPr lang="en-US" sz="1600" spc="-20" dirty="0">
                  <a:solidFill>
                    <a:schemeClr val="tx2"/>
                  </a:solidFill>
                  <a:ea typeface="Segoe UI" panose="020B0502040204020203" pitchFamily="34" charset="0"/>
                  <a:cs typeface="Segoe UI" panose="020B0502040204020203" pitchFamily="34" charset="0"/>
                </a:endParaRPr>
              </a:p>
            </p:txBody>
          </p:sp>
          <p:sp>
            <p:nvSpPr>
              <p:cNvPr id="35" name="Rectangle 34"/>
              <p:cNvSpPr/>
              <p:nvPr/>
            </p:nvSpPr>
            <p:spPr bwMode="auto">
              <a:xfrm>
                <a:off x="6510846" y="2361616"/>
                <a:ext cx="2907790" cy="731520"/>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91440" numCol="1" rtlCol="0" anchor="ctr" anchorCtr="0" compatLnSpc="1">
                <a:prstTxWarp prst="textNoShape">
                  <a:avLst/>
                </a:prstTxWarp>
                <a:noAutofit/>
              </a:bodyPr>
              <a:lstStyle/>
              <a:p>
                <a:pPr defTabSz="932563"/>
                <a:r>
                  <a:rPr lang="en-US" dirty="0">
                    <a:solidFill>
                      <a:schemeClr val="bg1"/>
                    </a:solidFill>
                    <a:latin typeface="Segoe UI Semibold" panose="020B0702040204020203" pitchFamily="34" charset="0"/>
                    <a:cs typeface="Segoe UI Semibold" panose="020B0702040204020203" pitchFamily="34" charset="0"/>
                  </a:rPr>
                  <a:t>Access monitoring and logging</a:t>
                </a:r>
              </a:p>
            </p:txBody>
          </p:sp>
          <p:sp>
            <p:nvSpPr>
              <p:cNvPr id="37" name="Rectangle 36"/>
              <p:cNvSpPr/>
              <p:nvPr/>
            </p:nvSpPr>
            <p:spPr>
              <a:xfrm>
                <a:off x="6510846" y="3038272"/>
                <a:ext cx="2907792" cy="54864"/>
              </a:xfrm>
              <a:prstGeom prst="rect">
                <a:avLst/>
              </a:prstGeom>
              <a:solidFill>
                <a:schemeClr val="bg1">
                  <a:alpha val="30000"/>
                </a:schemeClr>
              </a:solidFill>
            </p:spPr>
            <p:txBody>
              <a:bodyPr wrap="square" rtlCol="0" anchor="ctr">
                <a:noAutofit/>
              </a:bodyPr>
              <a:lstStyle/>
              <a:p>
                <a:pPr algn="l"/>
                <a:endParaRPr lang="en-US" sz="2400" dirty="0">
                  <a:solidFill>
                    <a:srgbClr val="FFFFFF"/>
                  </a:solidFill>
                  <a:cs typeface="Segoe UI Light"/>
                </a:endParaRPr>
              </a:p>
            </p:txBody>
          </p:sp>
        </p:grpSp>
        <p:grpSp>
          <p:nvGrpSpPr>
            <p:cNvPr id="16" name="Group 15"/>
            <p:cNvGrpSpPr/>
            <p:nvPr/>
          </p:nvGrpSpPr>
          <p:grpSpPr>
            <a:xfrm>
              <a:off x="3550736" y="2361616"/>
              <a:ext cx="2907792" cy="1830717"/>
              <a:chOff x="3550736" y="2361616"/>
              <a:chExt cx="2907792" cy="1830717"/>
            </a:xfrm>
          </p:grpSpPr>
          <p:sp>
            <p:nvSpPr>
              <p:cNvPr id="23" name="Rectangle 22"/>
              <p:cNvSpPr/>
              <p:nvPr/>
            </p:nvSpPr>
            <p:spPr bwMode="auto">
              <a:xfrm>
                <a:off x="3550736" y="3095053"/>
                <a:ext cx="2907790" cy="109728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1440" rIns="91440" bIns="45720" numCol="1" rtlCol="0" anchor="t" anchorCtr="0" compatLnSpc="1">
                <a:prstTxWarp prst="textNoShape">
                  <a:avLst/>
                </a:prstTxWarp>
                <a:noAutofit/>
              </a:bodyPr>
              <a:lstStyle/>
              <a:p>
                <a:pPr defTabSz="914050"/>
                <a:r>
                  <a:rPr lang="en-IN" sz="1600" spc="-20" dirty="0">
                    <a:solidFill>
                      <a:schemeClr val="tx2"/>
                    </a:solidFill>
                    <a:ea typeface="Segoe UI" panose="020B0502040204020203" pitchFamily="34" charset="0"/>
                    <a:cs typeface="Segoe UI" panose="020B0502040204020203" pitchFamily="34" charset="0"/>
                  </a:rPr>
                  <a:t>Strong authentication adds an extra layer of security for user logins.</a:t>
                </a:r>
                <a:endParaRPr lang="en-US" sz="1600" spc="-20" dirty="0">
                  <a:solidFill>
                    <a:schemeClr val="tx2"/>
                  </a:solidFill>
                  <a:ea typeface="Segoe UI" panose="020B0502040204020203" pitchFamily="34" charset="0"/>
                  <a:cs typeface="Segoe UI" panose="020B0502040204020203" pitchFamily="34" charset="0"/>
                </a:endParaRPr>
              </a:p>
            </p:txBody>
          </p:sp>
          <p:sp>
            <p:nvSpPr>
              <p:cNvPr id="27" name="Rectangle 26"/>
              <p:cNvSpPr/>
              <p:nvPr/>
            </p:nvSpPr>
            <p:spPr bwMode="auto">
              <a:xfrm>
                <a:off x="3550736" y="2361616"/>
                <a:ext cx="2907790" cy="731520"/>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91440" numCol="1" rtlCol="0" anchor="ctr" anchorCtr="0" compatLnSpc="1">
                <a:prstTxWarp prst="textNoShape">
                  <a:avLst/>
                </a:prstTxWarp>
                <a:noAutofit/>
              </a:bodyPr>
              <a:lstStyle/>
              <a:p>
                <a:pPr defTabSz="932563"/>
                <a:r>
                  <a:rPr lang="en-US" dirty="0">
                    <a:solidFill>
                      <a:schemeClr val="bg1"/>
                    </a:solidFill>
                    <a:latin typeface="Segoe UI Semibold" panose="020B0702040204020203" pitchFamily="34" charset="0"/>
                    <a:cs typeface="Segoe UI Semibold" panose="020B0702040204020203" pitchFamily="34" charset="0"/>
                  </a:rPr>
                  <a:t>Multi-Factor Authentication (MFA)</a:t>
                </a:r>
              </a:p>
            </p:txBody>
          </p:sp>
          <p:sp>
            <p:nvSpPr>
              <p:cNvPr id="29" name="Rectangle 28"/>
              <p:cNvSpPr/>
              <p:nvPr/>
            </p:nvSpPr>
            <p:spPr>
              <a:xfrm>
                <a:off x="3550736" y="3038272"/>
                <a:ext cx="2907792" cy="54864"/>
              </a:xfrm>
              <a:prstGeom prst="rect">
                <a:avLst/>
              </a:prstGeom>
              <a:solidFill>
                <a:schemeClr val="bg1">
                  <a:alpha val="30000"/>
                </a:schemeClr>
              </a:solidFill>
            </p:spPr>
            <p:txBody>
              <a:bodyPr wrap="square" rtlCol="0" anchor="ctr">
                <a:noAutofit/>
              </a:bodyPr>
              <a:lstStyle/>
              <a:p>
                <a:pPr algn="l"/>
                <a:endParaRPr lang="en-US" sz="2400" dirty="0">
                  <a:solidFill>
                    <a:srgbClr val="FFFFFF"/>
                  </a:solidFill>
                  <a:cs typeface="Segoe UI Light"/>
                </a:endParaRPr>
              </a:p>
            </p:txBody>
          </p:sp>
        </p:grpSp>
        <p:grpSp>
          <p:nvGrpSpPr>
            <p:cNvPr id="22" name="Group 21"/>
            <p:cNvGrpSpPr/>
            <p:nvPr/>
          </p:nvGrpSpPr>
          <p:grpSpPr>
            <a:xfrm>
              <a:off x="590626" y="4251946"/>
              <a:ext cx="4389120" cy="1567908"/>
              <a:chOff x="590626" y="4251946"/>
              <a:chExt cx="4389120" cy="1567908"/>
            </a:xfrm>
          </p:grpSpPr>
          <p:sp>
            <p:nvSpPr>
              <p:cNvPr id="220" name="Rectangle 219"/>
              <p:cNvSpPr/>
              <p:nvPr/>
            </p:nvSpPr>
            <p:spPr bwMode="auto">
              <a:xfrm>
                <a:off x="590626" y="4722574"/>
                <a:ext cx="4389120" cy="109728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1440" rIns="91440" bIns="45720" numCol="1" rtlCol="0" anchor="t" anchorCtr="0" compatLnSpc="1">
                <a:prstTxWarp prst="textNoShape">
                  <a:avLst/>
                </a:prstTxWarp>
                <a:noAutofit/>
              </a:bodyPr>
              <a:lstStyle/>
              <a:p>
                <a:pPr defTabSz="914050"/>
                <a:r>
                  <a:rPr lang="en-IN" sz="1600" spc="-20" dirty="0">
                    <a:solidFill>
                      <a:schemeClr val="tx2"/>
                    </a:solidFill>
                    <a:ea typeface="Segoe UI" panose="020B0502040204020203" pitchFamily="34" charset="0"/>
                    <a:cs typeface="Segoe UI" panose="020B0502040204020203" pitchFamily="34" charset="0"/>
                  </a:rPr>
                  <a:t>Users get a single sign-on option across multiple applications and services.</a:t>
                </a:r>
              </a:p>
            </p:txBody>
          </p:sp>
          <p:sp>
            <p:nvSpPr>
              <p:cNvPr id="221" name="Rectangle 220"/>
              <p:cNvSpPr/>
              <p:nvPr/>
            </p:nvSpPr>
            <p:spPr bwMode="auto">
              <a:xfrm>
                <a:off x="590626" y="4251946"/>
                <a:ext cx="4389120" cy="475488"/>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91440" numCol="1" rtlCol="0" anchor="ctr" anchorCtr="0" compatLnSpc="1">
                <a:prstTxWarp prst="textNoShape">
                  <a:avLst/>
                </a:prstTxWarp>
                <a:noAutofit/>
              </a:bodyPr>
              <a:lstStyle/>
              <a:p>
                <a:pPr defTabSz="932563"/>
                <a:r>
                  <a:rPr lang="en-US" dirty="0">
                    <a:solidFill>
                      <a:schemeClr val="bg1"/>
                    </a:solidFill>
                    <a:latin typeface="Segoe UI Semibold" panose="020B0702040204020203" pitchFamily="34" charset="0"/>
                    <a:cs typeface="Segoe UI Semibold" panose="020B0702040204020203" pitchFamily="34" charset="0"/>
                  </a:rPr>
                  <a:t>Single sign-on</a:t>
                </a:r>
              </a:p>
            </p:txBody>
          </p:sp>
          <p:sp>
            <p:nvSpPr>
              <p:cNvPr id="222" name="Rectangle 221"/>
              <p:cNvSpPr/>
              <p:nvPr/>
            </p:nvSpPr>
            <p:spPr>
              <a:xfrm>
                <a:off x="590626" y="4672570"/>
                <a:ext cx="4389120" cy="54864"/>
              </a:xfrm>
              <a:prstGeom prst="rect">
                <a:avLst/>
              </a:prstGeom>
              <a:solidFill>
                <a:schemeClr val="bg1">
                  <a:alpha val="30000"/>
                </a:schemeClr>
              </a:solidFill>
            </p:spPr>
            <p:txBody>
              <a:bodyPr wrap="square" rtlCol="0" anchor="ctr">
                <a:noAutofit/>
              </a:bodyPr>
              <a:lstStyle/>
              <a:p>
                <a:pPr algn="l"/>
                <a:endParaRPr lang="en-US" sz="2400" dirty="0">
                  <a:solidFill>
                    <a:srgbClr val="FFFFFF"/>
                  </a:solidFill>
                  <a:cs typeface="Segoe UI Light"/>
                </a:endParaRPr>
              </a:p>
            </p:txBody>
          </p:sp>
        </p:grpSp>
        <p:grpSp>
          <p:nvGrpSpPr>
            <p:cNvPr id="24" name="Group 23"/>
            <p:cNvGrpSpPr/>
            <p:nvPr/>
          </p:nvGrpSpPr>
          <p:grpSpPr>
            <a:xfrm>
              <a:off x="5029518" y="4251946"/>
              <a:ext cx="4389120" cy="1568171"/>
              <a:chOff x="5029518" y="4251946"/>
              <a:chExt cx="4389120" cy="1568171"/>
            </a:xfrm>
          </p:grpSpPr>
          <p:sp>
            <p:nvSpPr>
              <p:cNvPr id="224" name="Rectangle 223"/>
              <p:cNvSpPr/>
              <p:nvPr/>
            </p:nvSpPr>
            <p:spPr bwMode="auto">
              <a:xfrm>
                <a:off x="5029518" y="4722837"/>
                <a:ext cx="4389120" cy="109728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1440" rIns="91440" bIns="45720" numCol="1" rtlCol="0" anchor="t" anchorCtr="0" compatLnSpc="1">
                <a:prstTxWarp prst="textNoShape">
                  <a:avLst/>
                </a:prstTxWarp>
                <a:noAutofit/>
              </a:bodyPr>
              <a:lstStyle/>
              <a:p>
                <a:pPr defTabSz="914050"/>
                <a:r>
                  <a:rPr lang="en-IN" sz="1600" spc="-20" dirty="0">
                    <a:solidFill>
                      <a:schemeClr val="tx2"/>
                    </a:solidFill>
                    <a:ea typeface="Segoe UI" panose="020B0502040204020203" pitchFamily="34" charset="0"/>
                    <a:cs typeface="Segoe UI" panose="020B0502040204020203" pitchFamily="34" charset="0"/>
                  </a:rPr>
                  <a:t>Developers can integrate their app with Azure AD for single sign-on functionality for their users.</a:t>
                </a:r>
              </a:p>
            </p:txBody>
          </p:sp>
          <p:sp>
            <p:nvSpPr>
              <p:cNvPr id="230" name="Rectangle 229"/>
              <p:cNvSpPr/>
              <p:nvPr/>
            </p:nvSpPr>
            <p:spPr bwMode="auto">
              <a:xfrm>
                <a:off x="5029518" y="4251946"/>
                <a:ext cx="4389120" cy="475488"/>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91440" numCol="1" rtlCol="0" anchor="ctr" anchorCtr="0" compatLnSpc="1">
                <a:prstTxWarp prst="textNoShape">
                  <a:avLst/>
                </a:prstTxWarp>
                <a:noAutofit/>
              </a:bodyPr>
              <a:lstStyle/>
              <a:p>
                <a:pPr defTabSz="932563"/>
                <a:r>
                  <a:rPr lang="en-US" dirty="0">
                    <a:solidFill>
                      <a:schemeClr val="bg1"/>
                    </a:solidFill>
                    <a:latin typeface="Segoe UI Semibold" panose="020B0702040204020203" pitchFamily="34" charset="0"/>
                    <a:cs typeface="Segoe UI Semibold" panose="020B0702040204020203" pitchFamily="34" charset="0"/>
                  </a:rPr>
                  <a:t>Integration with customer applications</a:t>
                </a:r>
              </a:p>
            </p:txBody>
          </p:sp>
          <p:sp>
            <p:nvSpPr>
              <p:cNvPr id="231" name="Rectangle 230"/>
              <p:cNvSpPr/>
              <p:nvPr/>
            </p:nvSpPr>
            <p:spPr>
              <a:xfrm>
                <a:off x="5029518" y="4672570"/>
                <a:ext cx="4389120" cy="54864"/>
              </a:xfrm>
              <a:prstGeom prst="rect">
                <a:avLst/>
              </a:prstGeom>
              <a:solidFill>
                <a:schemeClr val="bg1">
                  <a:alpha val="30000"/>
                </a:schemeClr>
              </a:solidFill>
            </p:spPr>
            <p:txBody>
              <a:bodyPr wrap="square" rtlCol="0" anchor="ctr">
                <a:noAutofit/>
              </a:bodyPr>
              <a:lstStyle/>
              <a:p>
                <a:pPr algn="l"/>
                <a:endParaRPr lang="en-US" sz="2400" dirty="0">
                  <a:solidFill>
                    <a:srgbClr val="FFFFFF"/>
                  </a:solidFill>
                  <a:cs typeface="Segoe UI Light"/>
                </a:endParaRPr>
              </a:p>
            </p:txBody>
          </p:sp>
        </p:grpSp>
      </p:grpSp>
      <p:sp>
        <p:nvSpPr>
          <p:cNvPr id="2" name="Slide Number Placeholder 1"/>
          <p:cNvSpPr>
            <a:spLocks noGrp="1"/>
          </p:cNvSpPr>
          <p:nvPr>
            <p:ph type="sldNum" sz="quarter" idx="11"/>
          </p:nvPr>
        </p:nvSpPr>
        <p:spPr/>
        <p:txBody>
          <a:bodyPr/>
          <a:lstStyle/>
          <a:p>
            <a:fld id="{27258FFF-F925-446B-8502-81C933981705}" type="slidenum">
              <a:rPr lang="en-US" smtClean="0"/>
              <a:pPr/>
              <a:t>12</a:t>
            </a:fld>
            <a:endParaRPr lang="en-US" dirty="0"/>
          </a:p>
        </p:txBody>
      </p:sp>
      <p:grpSp>
        <p:nvGrpSpPr>
          <p:cNvPr id="213" name="Group 212"/>
          <p:cNvGrpSpPr/>
          <p:nvPr/>
        </p:nvGrpSpPr>
        <p:grpSpPr>
          <a:xfrm>
            <a:off x="11070579" y="297389"/>
            <a:ext cx="932340" cy="913874"/>
            <a:chOff x="11070579" y="297389"/>
            <a:chExt cx="932340" cy="913874"/>
          </a:xfrm>
        </p:grpSpPr>
        <p:sp>
          <p:nvSpPr>
            <p:cNvPr id="214" name="Rectangle 213"/>
            <p:cNvSpPr/>
            <p:nvPr/>
          </p:nvSpPr>
          <p:spPr bwMode="auto">
            <a:xfrm>
              <a:off x="11070579" y="297389"/>
              <a:ext cx="932340" cy="913874"/>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p>
              <a:pPr algn="l" defTabSz="932563" fontAlgn="auto">
                <a:spcAft>
                  <a:spcPts val="587"/>
                </a:spcAft>
              </a:pPr>
              <a:endParaRPr lang="en-US" sz="2200" dirty="0">
                <a:solidFill>
                  <a:schemeClr val="bg1"/>
                </a:solidFill>
                <a:latin typeface="+mj-lt"/>
                <a:cs typeface="Segoe UI Semibold" panose="020B0702040204020203" pitchFamily="34" charset="0"/>
              </a:endParaRPr>
            </a:p>
          </p:txBody>
        </p:sp>
        <p:sp>
          <p:nvSpPr>
            <p:cNvPr id="215" name="Rectangle 214"/>
            <p:cNvSpPr/>
            <p:nvPr/>
          </p:nvSpPr>
          <p:spPr>
            <a:xfrm>
              <a:off x="11070579" y="1137623"/>
              <a:ext cx="932340" cy="73640"/>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sp>
          <p:nvSpPr>
            <p:cNvPr id="216" name="Freeform 215"/>
            <p:cNvSpPr>
              <a:spLocks noChangeAspect="1" noEditPoints="1"/>
            </p:cNvSpPr>
            <p:nvPr/>
          </p:nvSpPr>
          <p:spPr bwMode="auto">
            <a:xfrm>
              <a:off x="11329733" y="456084"/>
              <a:ext cx="414032" cy="596484"/>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alpha val="22000"/>
              </a:schemeClr>
            </a:solidFill>
            <a:ln w="0">
              <a:noFill/>
              <a:prstDash val="solid"/>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grpSp>
    </p:spTree>
    <p:extLst>
      <p:ext uri="{BB962C8B-B14F-4D97-AF65-F5344CB8AC3E}">
        <p14:creationId xmlns:p14="http://schemas.microsoft.com/office/powerpoint/2010/main" val="141003931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17"/>
                                        </p:tgtEl>
                                        <p:attrNameLst>
                                          <p:attrName>style.visibility</p:attrName>
                                        </p:attrNameLst>
                                      </p:cBhvr>
                                      <p:to>
                                        <p:strVal val="visible"/>
                                      </p:to>
                                    </p:set>
                                    <p:animEffect transition="in" filter="fade">
                                      <p:cBhvr>
                                        <p:cTn id="7" dur="500"/>
                                        <p:tgtEl>
                                          <p:spTgt spid="21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2" presetClass="entr" presetSubtype="4" fill="hold" nodeType="afterEffect">
                                  <p:stCondLst>
                                    <p:cond delay="0"/>
                                  </p:stCondLst>
                                  <p:childTnLst>
                                    <p:set>
                                      <p:cBhvr>
                                        <p:cTn id="14" dur="1" fill="hold">
                                          <p:stCondLst>
                                            <p:cond delay="0"/>
                                          </p:stCondLst>
                                        </p:cTn>
                                        <p:tgtEl>
                                          <p:spTgt spid="25"/>
                                        </p:tgtEl>
                                        <p:attrNameLst>
                                          <p:attrName>style.visibility</p:attrName>
                                        </p:attrNameLst>
                                      </p:cBhvr>
                                      <p:to>
                                        <p:strVal val="visible"/>
                                      </p:to>
                                    </p:set>
                                    <p:anim calcmode="lin" valueType="num">
                                      <p:cBhvr additive="base">
                                        <p:cTn id="15" dur="500" fill="hold"/>
                                        <p:tgtEl>
                                          <p:spTgt spid="25"/>
                                        </p:tgtEl>
                                        <p:attrNameLst>
                                          <p:attrName>ppt_x</p:attrName>
                                        </p:attrNameLst>
                                      </p:cBhvr>
                                      <p:tavLst>
                                        <p:tav tm="0">
                                          <p:val>
                                            <p:strVal val="#ppt_x"/>
                                          </p:val>
                                        </p:tav>
                                        <p:tav tm="100000">
                                          <p:val>
                                            <p:strVal val="#ppt_x"/>
                                          </p:val>
                                        </p:tav>
                                      </p:tavLst>
                                    </p:anim>
                                    <p:anim calcmode="lin" valueType="num">
                                      <p:cBhvr additive="base">
                                        <p:cTn id="16"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2210"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itle 1"/>
          <p:cNvSpPr txBox="1">
            <a:spLocks/>
          </p:cNvSpPr>
          <p:nvPr/>
        </p:nvSpPr>
        <p:spPr>
          <a:xfrm>
            <a:off x="572843" y="-20643"/>
            <a:ext cx="11300393" cy="135195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r>
              <a:rPr lang="en-US" sz="5507" dirty="0">
                <a:solidFill>
                  <a:prstClr val="white"/>
                </a:solidFill>
              </a:rPr>
              <a:t>Privacy</a:t>
            </a:r>
          </a:p>
        </p:txBody>
      </p:sp>
      <p:sp>
        <p:nvSpPr>
          <p:cNvPr id="6" name="Title 5"/>
          <p:cNvSpPr>
            <a:spLocks noGrp="1"/>
          </p:cNvSpPr>
          <p:nvPr>
            <p:ph type="title"/>
          </p:nvPr>
        </p:nvSpPr>
        <p:spPr/>
        <p:txBody>
          <a:bodyPr/>
          <a:lstStyle/>
          <a:p>
            <a:r>
              <a:rPr lang="en-IN" dirty="0" smtClean="0"/>
              <a:t>Azure Privacy &amp; Control</a:t>
            </a:r>
            <a:endParaRPr lang="en-IN" dirty="0"/>
          </a:p>
        </p:txBody>
      </p:sp>
      <p:grpSp>
        <p:nvGrpSpPr>
          <p:cNvPr id="7" name="Group 6"/>
          <p:cNvGrpSpPr/>
          <p:nvPr/>
        </p:nvGrpSpPr>
        <p:grpSpPr>
          <a:xfrm>
            <a:off x="-2" y="1430529"/>
            <a:ext cx="12436477" cy="4572001"/>
            <a:chOff x="-2" y="1430529"/>
            <a:chExt cx="12436477" cy="4572001"/>
          </a:xfrm>
        </p:grpSpPr>
        <p:pic>
          <p:nvPicPr>
            <p:cNvPr id="20" name="Picture 19"/>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2" y="1430529"/>
              <a:ext cx="4168140" cy="4572000"/>
            </a:xfrm>
            <a:prstGeom prst="rect">
              <a:avLst/>
            </a:prstGeom>
          </p:spPr>
        </p:pic>
        <p:grpSp>
          <p:nvGrpSpPr>
            <p:cNvPr id="5" name="Group 4"/>
            <p:cNvGrpSpPr/>
            <p:nvPr/>
          </p:nvGrpSpPr>
          <p:grpSpPr>
            <a:xfrm>
              <a:off x="2959264" y="1430529"/>
              <a:ext cx="9477211" cy="4572001"/>
              <a:chOff x="2959264" y="1430529"/>
              <a:chExt cx="9477211" cy="4572001"/>
            </a:xfrm>
          </p:grpSpPr>
          <p:sp>
            <p:nvSpPr>
              <p:cNvPr id="16" name="Rectangle 14"/>
              <p:cNvSpPr/>
              <p:nvPr/>
            </p:nvSpPr>
            <p:spPr>
              <a:xfrm>
                <a:off x="3213401" y="1430530"/>
                <a:ext cx="6049356" cy="4572000"/>
              </a:xfrm>
              <a:custGeom>
                <a:avLst/>
                <a:gdLst/>
                <a:ahLst/>
                <a:cxnLst/>
                <a:rect l="l" t="t" r="r" b="b"/>
                <a:pathLst>
                  <a:path w="5537559" h="5549541">
                    <a:moveTo>
                      <a:pt x="0" y="0"/>
                    </a:moveTo>
                    <a:lnTo>
                      <a:pt x="5537559" y="0"/>
                    </a:lnTo>
                    <a:lnTo>
                      <a:pt x="5537559" y="5549541"/>
                    </a:lnTo>
                    <a:lnTo>
                      <a:pt x="0" y="5549541"/>
                    </a:lnTo>
                    <a:cubicBezTo>
                      <a:pt x="415349" y="4831645"/>
                      <a:pt x="669836" y="3853086"/>
                      <a:pt x="669836" y="2774771"/>
                    </a:cubicBezTo>
                    <a:cubicBezTo>
                      <a:pt x="669836" y="1696455"/>
                      <a:pt x="415349" y="717896"/>
                      <a:pt x="0" y="0"/>
                    </a:cubicBezTo>
                    <a:close/>
                  </a:path>
                </a:pathLst>
              </a:custGeom>
              <a:solidFill>
                <a:schemeClr val="accent2"/>
              </a:solidFill>
            </p:spPr>
            <p:txBody>
              <a:bodyPr wrap="square" rtlCol="0" anchor="ctr">
                <a:noAutofit/>
              </a:bodyPr>
              <a:lstStyle/>
              <a:p>
                <a:pPr algn="l"/>
                <a:endParaRPr lang="en-US" sz="2000" dirty="0">
                  <a:solidFill>
                    <a:srgbClr val="FFFFFF"/>
                  </a:solidFill>
                  <a:cs typeface="Segoe UI Light"/>
                </a:endParaRPr>
              </a:p>
            </p:txBody>
          </p:sp>
          <p:sp>
            <p:nvSpPr>
              <p:cNvPr id="15" name="Rectangle 14"/>
              <p:cNvSpPr/>
              <p:nvPr/>
            </p:nvSpPr>
            <p:spPr>
              <a:xfrm>
                <a:off x="8942119" y="1430529"/>
                <a:ext cx="3494356" cy="4572001"/>
              </a:xfrm>
              <a:prstGeom prst="rect">
                <a:avLst/>
              </a:prstGeom>
              <a:solidFill>
                <a:schemeClr val="accent2"/>
              </a:solidFill>
            </p:spPr>
            <p:txBody>
              <a:bodyPr wrap="square" rtlCol="0" anchor="ctr">
                <a:noAutofit/>
              </a:bodyPr>
              <a:lstStyle/>
              <a:p>
                <a:pPr algn="l"/>
                <a:endParaRPr lang="en-US" sz="2000" dirty="0">
                  <a:solidFill>
                    <a:srgbClr val="FFFFFF"/>
                  </a:solidFill>
                  <a:cs typeface="Segoe UI Light"/>
                </a:endParaRPr>
              </a:p>
            </p:txBody>
          </p:sp>
          <p:sp>
            <p:nvSpPr>
              <p:cNvPr id="17" name="Rectangle 14"/>
              <p:cNvSpPr/>
              <p:nvPr/>
            </p:nvSpPr>
            <p:spPr>
              <a:xfrm>
                <a:off x="2959264" y="1430530"/>
                <a:ext cx="1055555" cy="4572000"/>
              </a:xfrm>
              <a:custGeom>
                <a:avLst/>
                <a:gdLst/>
                <a:ahLst/>
                <a:cxnLst/>
                <a:rect l="l" t="t" r="r" b="b"/>
                <a:pathLst>
                  <a:path w="1055555" h="5177917">
                    <a:moveTo>
                      <a:pt x="0" y="0"/>
                    </a:moveTo>
                    <a:lnTo>
                      <a:pt x="353208" y="0"/>
                    </a:lnTo>
                    <a:cubicBezTo>
                      <a:pt x="788716" y="669822"/>
                      <a:pt x="1055555" y="1582852"/>
                      <a:pt x="1055555" y="2588959"/>
                    </a:cubicBezTo>
                    <a:cubicBezTo>
                      <a:pt x="1055555" y="3595065"/>
                      <a:pt x="788716" y="4508095"/>
                      <a:pt x="353208" y="5177917"/>
                    </a:cubicBezTo>
                    <a:lnTo>
                      <a:pt x="0" y="5177917"/>
                    </a:lnTo>
                    <a:cubicBezTo>
                      <a:pt x="453737" y="4508095"/>
                      <a:pt x="731744" y="3595065"/>
                      <a:pt x="731744" y="2588959"/>
                    </a:cubicBezTo>
                    <a:cubicBezTo>
                      <a:pt x="731744" y="1582852"/>
                      <a:pt x="453737" y="669822"/>
                      <a:pt x="0" y="0"/>
                    </a:cubicBezTo>
                    <a:close/>
                  </a:path>
                </a:pathLst>
              </a:custGeom>
              <a:solidFill>
                <a:schemeClr val="bg1">
                  <a:alpha val="25000"/>
                </a:schemeClr>
              </a:solidFill>
            </p:spPr>
            <p:txBody>
              <a:bodyPr wrap="square" rtlCol="0" anchor="ctr">
                <a:noAutofit/>
              </a:bodyPr>
              <a:lstStyle/>
              <a:p>
                <a:pPr algn="l"/>
                <a:endParaRPr lang="en-US" sz="2000" dirty="0">
                  <a:solidFill>
                    <a:srgbClr val="FFFFFF"/>
                  </a:solidFill>
                  <a:cs typeface="Segoe UI Light"/>
                </a:endParaRPr>
              </a:p>
            </p:txBody>
          </p:sp>
        </p:grpSp>
        <p:sp>
          <p:nvSpPr>
            <p:cNvPr id="19" name="Rectangle 18"/>
            <p:cNvSpPr/>
            <p:nvPr/>
          </p:nvSpPr>
          <p:spPr>
            <a:xfrm>
              <a:off x="4058153" y="2482407"/>
              <a:ext cx="8103685" cy="2246769"/>
            </a:xfrm>
            <a:prstGeom prst="rect">
              <a:avLst/>
            </a:prstGeom>
          </p:spPr>
          <p:txBody>
            <a:bodyPr wrap="square" lIns="91440" tIns="45720" rIns="91440" bIns="45720">
              <a:spAutoFit/>
            </a:bodyPr>
            <a:lstStyle/>
            <a:p>
              <a:pPr>
                <a:spcAft>
                  <a:spcPts val="600"/>
                </a:spcAft>
              </a:pPr>
              <a:r>
                <a:rPr lang="en-IN" sz="2800" dirty="0">
                  <a:solidFill>
                    <a:schemeClr val="bg1"/>
                  </a:solidFill>
                  <a:latin typeface="+mj-lt"/>
                  <a:ea typeface="Segoe UI" panose="020B0502040204020203" pitchFamily="34" charset="0"/>
                  <a:cs typeface="Segoe UI" panose="020B0502040204020203" pitchFamily="34" charset="0"/>
                </a:rPr>
                <a:t>Microsoft </a:t>
              </a:r>
              <a:r>
                <a:rPr lang="en-IN" sz="2800" dirty="0" smtClean="0">
                  <a:solidFill>
                    <a:schemeClr val="bg1"/>
                  </a:solidFill>
                  <a:latin typeface="+mj-lt"/>
                  <a:ea typeface="Segoe UI" panose="020B0502040204020203" pitchFamily="34" charset="0"/>
                  <a:cs typeface="Segoe UI" panose="020B0502040204020203" pitchFamily="34" charset="0"/>
                </a:rPr>
                <a:t>makes our commitment to the privacy of our customers a priority with independently audited </a:t>
              </a:r>
              <a:r>
                <a:rPr lang="en-IN" sz="2800" dirty="0">
                  <a:solidFill>
                    <a:schemeClr val="bg1"/>
                  </a:solidFill>
                  <a:latin typeface="+mj-lt"/>
                  <a:ea typeface="Segoe UI" panose="020B0502040204020203" pitchFamily="34" charset="0"/>
                  <a:cs typeface="Segoe UI" panose="020B0502040204020203" pitchFamily="34" charset="0"/>
                </a:rPr>
                <a:t>policies and practices that </a:t>
              </a:r>
              <a:r>
                <a:rPr lang="en-IN" sz="2800" dirty="0" smtClean="0">
                  <a:solidFill>
                    <a:schemeClr val="bg1"/>
                  </a:solidFill>
                  <a:latin typeface="+mj-lt"/>
                  <a:ea typeface="Segoe UI" panose="020B0502040204020203" pitchFamily="34" charset="0"/>
                  <a:cs typeface="Segoe UI" panose="020B0502040204020203" pitchFamily="34" charset="0"/>
                </a:rPr>
                <a:t>include restricting </a:t>
              </a:r>
              <a:r>
                <a:rPr lang="en-IN" sz="2800" dirty="0">
                  <a:solidFill>
                    <a:schemeClr val="bg1"/>
                  </a:solidFill>
                  <a:latin typeface="+mj-lt"/>
                  <a:ea typeface="Segoe UI" panose="020B0502040204020203" pitchFamily="34" charset="0"/>
                  <a:cs typeface="Segoe UI" panose="020B0502040204020203" pitchFamily="34" charset="0"/>
                </a:rPr>
                <a:t>the </a:t>
              </a:r>
              <a:r>
                <a:rPr lang="en-US" sz="2800" dirty="0">
                  <a:solidFill>
                    <a:schemeClr val="bg1"/>
                  </a:solidFill>
                  <a:latin typeface="+mj-lt"/>
                  <a:ea typeface="Segoe UI" panose="020B0502040204020203" pitchFamily="34" charset="0"/>
                  <a:cs typeface="Segoe UI" panose="020B0502040204020203" pitchFamily="34" charset="0"/>
                </a:rPr>
                <a:t>mining of Customer Data for advertising or similar commercial purposes</a:t>
              </a:r>
              <a:r>
                <a:rPr lang="en-US" sz="2800" dirty="0" smtClean="0">
                  <a:solidFill>
                    <a:schemeClr val="bg1"/>
                  </a:solidFill>
                  <a:latin typeface="+mj-lt"/>
                  <a:ea typeface="Segoe UI" panose="020B0502040204020203" pitchFamily="34" charset="0"/>
                  <a:cs typeface="Segoe UI" panose="020B0502040204020203" pitchFamily="34" charset="0"/>
                </a:rPr>
                <a:t>.</a:t>
              </a:r>
            </a:p>
          </p:txBody>
        </p:sp>
      </p:grpSp>
      <p:sp>
        <p:nvSpPr>
          <p:cNvPr id="8" name="Slide Number Placeholder 7"/>
          <p:cNvSpPr>
            <a:spLocks noGrp="1"/>
          </p:cNvSpPr>
          <p:nvPr>
            <p:ph type="sldNum" sz="quarter" idx="11"/>
          </p:nvPr>
        </p:nvSpPr>
        <p:spPr/>
        <p:txBody>
          <a:bodyPr/>
          <a:lstStyle/>
          <a:p>
            <a:fld id="{27258FFF-F925-446B-8502-81C933981705}" type="slidenum">
              <a:rPr lang="en-US" smtClean="0"/>
              <a:pPr/>
              <a:t>13</a:t>
            </a:fld>
            <a:endParaRPr lang="en-US" dirty="0"/>
          </a:p>
        </p:txBody>
      </p:sp>
      <p:grpSp>
        <p:nvGrpSpPr>
          <p:cNvPr id="3" name="Group 2"/>
          <p:cNvGrpSpPr/>
          <p:nvPr/>
        </p:nvGrpSpPr>
        <p:grpSpPr>
          <a:xfrm>
            <a:off x="11070579" y="297389"/>
            <a:ext cx="932340" cy="913874"/>
            <a:chOff x="11070579" y="297389"/>
            <a:chExt cx="932340" cy="913874"/>
          </a:xfrm>
        </p:grpSpPr>
        <p:sp>
          <p:nvSpPr>
            <p:cNvPr id="25" name="Rectangle 24"/>
            <p:cNvSpPr/>
            <p:nvPr/>
          </p:nvSpPr>
          <p:spPr bwMode="auto">
            <a:xfrm>
              <a:off x="11070579" y="297389"/>
              <a:ext cx="932340" cy="913874"/>
            </a:xfrm>
            <a:prstGeom prst="rect">
              <a:avLst/>
            </a:prstGeom>
            <a:solidFill>
              <a:schemeClr val="accent2"/>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p>
              <a:pPr algn="l" defTabSz="932563" fontAlgn="auto">
                <a:spcAft>
                  <a:spcPts val="587"/>
                </a:spcAft>
              </a:pPr>
              <a:endParaRPr lang="en-US" sz="2200" dirty="0">
                <a:solidFill>
                  <a:schemeClr val="bg1"/>
                </a:solidFill>
                <a:latin typeface="+mj-lt"/>
                <a:cs typeface="Segoe UI Semibold" panose="020B0702040204020203" pitchFamily="34" charset="0"/>
              </a:endParaRPr>
            </a:p>
          </p:txBody>
        </p:sp>
        <p:sp>
          <p:nvSpPr>
            <p:cNvPr id="26" name="Rectangle 25"/>
            <p:cNvSpPr/>
            <p:nvPr/>
          </p:nvSpPr>
          <p:spPr>
            <a:xfrm>
              <a:off x="11070579" y="1137623"/>
              <a:ext cx="932340" cy="73640"/>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sp>
          <p:nvSpPr>
            <p:cNvPr id="18" name="Freeform 17"/>
            <p:cNvSpPr>
              <a:spLocks noEditPoints="1"/>
            </p:cNvSpPr>
            <p:nvPr/>
          </p:nvSpPr>
          <p:spPr bwMode="black">
            <a:xfrm>
              <a:off x="11329732" y="467317"/>
              <a:ext cx="414034" cy="574018"/>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alpha val="22000"/>
              </a:schemeClr>
            </a:solidFill>
            <a:ln w="0">
              <a:noFill/>
              <a:prstDash val="solid"/>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grpSp>
    </p:spTree>
    <p:extLst>
      <p:ext uri="{BB962C8B-B14F-4D97-AF65-F5344CB8AC3E}">
        <p14:creationId xmlns:p14="http://schemas.microsoft.com/office/powerpoint/2010/main" val="37693131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04413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6326"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itle 1"/>
          <p:cNvSpPr txBox="1">
            <a:spLocks/>
          </p:cNvSpPr>
          <p:nvPr/>
        </p:nvSpPr>
        <p:spPr>
          <a:xfrm>
            <a:off x="572843" y="-20643"/>
            <a:ext cx="11300393" cy="1351952"/>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a:lstStyle>
          <a:p>
            <a:r>
              <a:rPr lang="en-US" sz="5507" dirty="0">
                <a:solidFill>
                  <a:prstClr val="white"/>
                </a:solidFill>
              </a:rPr>
              <a:t>Privacy</a:t>
            </a:r>
          </a:p>
        </p:txBody>
      </p:sp>
      <p:sp>
        <p:nvSpPr>
          <p:cNvPr id="6" name="Title 5"/>
          <p:cNvSpPr>
            <a:spLocks noGrp="1"/>
          </p:cNvSpPr>
          <p:nvPr>
            <p:ph type="title"/>
          </p:nvPr>
        </p:nvSpPr>
        <p:spPr/>
        <p:txBody>
          <a:bodyPr/>
          <a:lstStyle/>
          <a:p>
            <a:r>
              <a:rPr lang="en-IN" dirty="0"/>
              <a:t>Trustworthy foundation</a:t>
            </a:r>
          </a:p>
        </p:txBody>
      </p:sp>
      <p:grpSp>
        <p:nvGrpSpPr>
          <p:cNvPr id="2" name="Group 1"/>
          <p:cNvGrpSpPr/>
          <p:nvPr/>
        </p:nvGrpSpPr>
        <p:grpSpPr>
          <a:xfrm>
            <a:off x="0" y="1414030"/>
            <a:ext cx="12436475" cy="1367759"/>
            <a:chOff x="0" y="1414030"/>
            <a:chExt cx="12436475" cy="1367759"/>
          </a:xfrm>
        </p:grpSpPr>
        <p:sp>
          <p:nvSpPr>
            <p:cNvPr id="109" name="Rectangle 108"/>
            <p:cNvSpPr/>
            <p:nvPr/>
          </p:nvSpPr>
          <p:spPr bwMode="auto">
            <a:xfrm flipH="1">
              <a:off x="4121109" y="1414030"/>
              <a:ext cx="8315366" cy="1367759"/>
            </a:xfrm>
            <a:prstGeom prst="rect">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91440" bIns="91440" numCol="1" spcCol="0" rtlCol="0" fromWordArt="0" anchor="ctr" anchorCtr="0" forceAA="0" compatLnSpc="1">
              <a:prstTxWarp prst="textNoShape">
                <a:avLst/>
              </a:prstTxWarp>
              <a:noAutofit/>
            </a:bodyPr>
            <a:lstStyle/>
            <a:p>
              <a:pPr lvl="0" defTabSz="932472">
                <a:spcBef>
                  <a:spcPct val="0"/>
                </a:spcBef>
                <a:spcAft>
                  <a:spcPct val="0"/>
                </a:spcAft>
              </a:pPr>
              <a:r>
                <a:rPr lang="en-IN" sz="2000" dirty="0">
                  <a:solidFill>
                    <a:srgbClr val="FFFFFF"/>
                  </a:solidFill>
                  <a:latin typeface="Segoe UI Light"/>
                  <a:ea typeface="Segoe UI" pitchFamily="34" charset="0"/>
                  <a:cs typeface="Segoe UI" pitchFamily="34" charset="0"/>
                </a:rPr>
                <a:t>Microsoft privacy principles </a:t>
              </a:r>
              <a:r>
                <a:rPr lang="en-IN" sz="2000" dirty="0" smtClean="0">
                  <a:solidFill>
                    <a:srgbClr val="FFFFFF"/>
                  </a:solidFill>
                  <a:latin typeface="Segoe UI Light"/>
                  <a:ea typeface="Segoe UI" pitchFamily="34" charset="0"/>
                  <a:cs typeface="Segoe UI" pitchFamily="34" charset="0"/>
                </a:rPr>
                <a:t>are designed to facilitate the responsible use of customer data, be transparent about practices</a:t>
              </a:r>
              <a:r>
                <a:rPr lang="en-IN" sz="2000" dirty="0">
                  <a:solidFill>
                    <a:srgbClr val="FFFFFF"/>
                  </a:solidFill>
                  <a:latin typeface="Segoe UI Light"/>
                  <a:ea typeface="Segoe UI" pitchFamily="34" charset="0"/>
                  <a:cs typeface="Segoe UI" pitchFamily="34" charset="0"/>
                </a:rPr>
                <a:t>, and offer </a:t>
              </a:r>
              <a:r>
                <a:rPr lang="en-IN" sz="2000" dirty="0" smtClean="0">
                  <a:solidFill>
                    <a:srgbClr val="FFFFFF"/>
                  </a:solidFill>
                  <a:latin typeface="Segoe UI Light"/>
                  <a:ea typeface="Segoe UI" pitchFamily="34" charset="0"/>
                  <a:cs typeface="Segoe UI" pitchFamily="34" charset="0"/>
                </a:rPr>
                <a:t>meaningful</a:t>
              </a:r>
              <a:br>
                <a:rPr lang="en-IN" sz="2000" dirty="0" smtClean="0">
                  <a:solidFill>
                    <a:srgbClr val="FFFFFF"/>
                  </a:solidFill>
                  <a:latin typeface="Segoe UI Light"/>
                  <a:ea typeface="Segoe UI" pitchFamily="34" charset="0"/>
                  <a:cs typeface="Segoe UI" pitchFamily="34" charset="0"/>
                </a:rPr>
              </a:br>
              <a:r>
                <a:rPr lang="en-IN" sz="2000" dirty="0" smtClean="0">
                  <a:solidFill>
                    <a:srgbClr val="FFFFFF"/>
                  </a:solidFill>
                  <a:latin typeface="Segoe UI Light"/>
                  <a:ea typeface="Segoe UI" pitchFamily="34" charset="0"/>
                  <a:cs typeface="Segoe UI" pitchFamily="34" charset="0"/>
                </a:rPr>
                <a:t>privacy </a:t>
              </a:r>
              <a:r>
                <a:rPr lang="en-IN" sz="2000" dirty="0">
                  <a:solidFill>
                    <a:srgbClr val="FFFFFF"/>
                  </a:solidFill>
                  <a:latin typeface="Segoe UI Light"/>
                  <a:ea typeface="Segoe UI" pitchFamily="34" charset="0"/>
                  <a:cs typeface="Segoe UI" pitchFamily="34" charset="0"/>
                </a:rPr>
                <a:t>choices.</a:t>
              </a:r>
            </a:p>
          </p:txBody>
        </p:sp>
        <p:sp>
          <p:nvSpPr>
            <p:cNvPr id="110" name="Rectangle 109"/>
            <p:cNvSpPr/>
            <p:nvPr/>
          </p:nvSpPr>
          <p:spPr bwMode="auto">
            <a:xfrm flipH="1">
              <a:off x="0" y="1414030"/>
              <a:ext cx="4121109" cy="1367759"/>
            </a:xfrm>
            <a:prstGeom prst="rect">
              <a:avLst/>
            </a:prstGeom>
            <a:solidFill>
              <a:schemeClr val="bg1">
                <a:lumMod val="95000"/>
              </a:schemeClr>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457200" bIns="91440" numCol="1" spcCol="0" rtlCol="0" fromWordArt="0" anchor="ctr" anchorCtr="0" forceAA="0" compatLnSpc="1">
              <a:prstTxWarp prst="textNoShape">
                <a:avLst/>
              </a:prstTxWarp>
              <a:noAutofit/>
            </a:bodyPr>
            <a:lstStyle/>
            <a:p>
              <a:pPr lvl="0" defTabSz="932472">
                <a:spcBef>
                  <a:spcPct val="0"/>
                </a:spcBef>
                <a:spcAft>
                  <a:spcPct val="0"/>
                </a:spcAft>
              </a:pPr>
              <a:r>
                <a:rPr lang="en-IN" sz="2600" dirty="0">
                  <a:solidFill>
                    <a:schemeClr val="accent2"/>
                  </a:solidFill>
                  <a:latin typeface="Segoe UI Light"/>
                  <a:ea typeface="Segoe UI" pitchFamily="34" charset="0"/>
                  <a:cs typeface="Segoe UI" pitchFamily="34" charset="0"/>
                </a:rPr>
                <a:t>Privacy </a:t>
              </a:r>
              <a:r>
                <a:rPr lang="en-IN" sz="2600" dirty="0" smtClean="0">
                  <a:solidFill>
                    <a:schemeClr val="accent2"/>
                  </a:solidFill>
                  <a:latin typeface="Segoe UI Light"/>
                  <a:ea typeface="Segoe UI" pitchFamily="34" charset="0"/>
                  <a:cs typeface="Segoe UI" pitchFamily="34" charset="0"/>
                </a:rPr>
                <a:t>by</a:t>
              </a:r>
              <a:br>
                <a:rPr lang="en-IN" sz="2600" dirty="0" smtClean="0">
                  <a:solidFill>
                    <a:schemeClr val="accent2"/>
                  </a:solidFill>
                  <a:latin typeface="Segoe UI Light"/>
                  <a:ea typeface="Segoe UI" pitchFamily="34" charset="0"/>
                  <a:cs typeface="Segoe UI" pitchFamily="34" charset="0"/>
                </a:rPr>
              </a:br>
              <a:r>
                <a:rPr lang="en-IN" sz="2600" dirty="0" smtClean="0">
                  <a:solidFill>
                    <a:schemeClr val="accent2"/>
                  </a:solidFill>
                  <a:latin typeface="Segoe UI Light"/>
                  <a:ea typeface="Segoe UI" pitchFamily="34" charset="0"/>
                  <a:cs typeface="Segoe UI" pitchFamily="34" charset="0"/>
                </a:rPr>
                <a:t>Design</a:t>
              </a:r>
              <a:endParaRPr lang="en-IN" sz="2600" dirty="0">
                <a:solidFill>
                  <a:schemeClr val="accent2"/>
                </a:solidFill>
                <a:latin typeface="Segoe UI Light"/>
                <a:ea typeface="Segoe UI" pitchFamily="34" charset="0"/>
                <a:cs typeface="Segoe UI" pitchFamily="34" charset="0"/>
              </a:endParaRPr>
            </a:p>
          </p:txBody>
        </p:sp>
        <p:grpSp>
          <p:nvGrpSpPr>
            <p:cNvPr id="111" name="Group 110"/>
            <p:cNvGrpSpPr/>
            <p:nvPr/>
          </p:nvGrpSpPr>
          <p:grpSpPr>
            <a:xfrm flipH="1">
              <a:off x="2927035" y="1414030"/>
              <a:ext cx="1367759" cy="1367759"/>
              <a:chOff x="3135086" y="2554514"/>
              <a:chExt cx="914400" cy="914400"/>
            </a:xfrm>
          </p:grpSpPr>
          <p:sp>
            <p:nvSpPr>
              <p:cNvPr id="112" name="Rounded Rectangle 111"/>
              <p:cNvSpPr/>
              <p:nvPr/>
            </p:nvSpPr>
            <p:spPr bwMode="auto">
              <a:xfrm>
                <a:off x="3135086" y="2554514"/>
                <a:ext cx="914400" cy="914400"/>
              </a:xfrm>
              <a:prstGeom prst="roundRect">
                <a:avLst>
                  <a:gd name="adj" fmla="val 8731"/>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smtClean="0">
                  <a:solidFill>
                    <a:schemeClr val="accent2"/>
                  </a:solidFill>
                  <a:ea typeface="Segoe UI" pitchFamily="34" charset="0"/>
                  <a:cs typeface="Segoe UI" pitchFamily="34" charset="0"/>
                </a:endParaRPr>
              </a:p>
            </p:txBody>
          </p:sp>
          <p:sp>
            <p:nvSpPr>
              <p:cNvPr id="113" name="Rounded Rectangle 112"/>
              <p:cNvSpPr/>
              <p:nvPr/>
            </p:nvSpPr>
            <p:spPr bwMode="auto">
              <a:xfrm>
                <a:off x="3251201" y="2670629"/>
                <a:ext cx="682171" cy="682171"/>
              </a:xfrm>
              <a:prstGeom prst="roundRect">
                <a:avLst>
                  <a:gd name="adj" fmla="val 8731"/>
                </a:avLst>
              </a:prstGeom>
              <a:solidFill>
                <a:srgbClr val="F7F7F7"/>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3600" dirty="0" smtClean="0">
                  <a:solidFill>
                    <a:schemeClr val="accent2"/>
                  </a:solidFill>
                  <a:latin typeface="Segoe UI Semibold" panose="020B0702040204020203" pitchFamily="34" charset="0"/>
                  <a:ea typeface="Segoe UI" pitchFamily="34" charset="0"/>
                  <a:cs typeface="Segoe UI Semibold" panose="020B0702040204020203" pitchFamily="34" charset="0"/>
                </a:endParaRPr>
              </a:p>
            </p:txBody>
          </p:sp>
        </p:grpSp>
        <p:grpSp>
          <p:nvGrpSpPr>
            <p:cNvPr id="186" name="Group 185"/>
            <p:cNvGrpSpPr/>
            <p:nvPr/>
          </p:nvGrpSpPr>
          <p:grpSpPr>
            <a:xfrm>
              <a:off x="3428311" y="1927863"/>
              <a:ext cx="359082" cy="340093"/>
              <a:chOff x="-3227388" y="3256364"/>
              <a:chExt cx="1881884" cy="1782362"/>
            </a:xfrm>
            <a:solidFill>
              <a:schemeClr val="accent2"/>
            </a:solidFill>
            <a:effectLst>
              <a:outerShdw blurRad="50800" dist="38100" dir="8100000" algn="tr" rotWithShape="0">
                <a:prstClr val="black">
                  <a:alpha val="40000"/>
                </a:prstClr>
              </a:outerShdw>
            </a:effectLst>
          </p:grpSpPr>
          <p:sp>
            <p:nvSpPr>
              <p:cNvPr id="187" name="Freeform 8"/>
              <p:cNvSpPr>
                <a:spLocks/>
              </p:cNvSpPr>
              <p:nvPr/>
            </p:nvSpPr>
            <p:spPr bwMode="auto">
              <a:xfrm>
                <a:off x="-3227388" y="3490913"/>
                <a:ext cx="1550988" cy="1547813"/>
              </a:xfrm>
              <a:custGeom>
                <a:avLst/>
                <a:gdLst>
                  <a:gd name="T0" fmla="*/ 0 w 3907"/>
                  <a:gd name="T1" fmla="*/ 0 h 3900"/>
                  <a:gd name="T2" fmla="*/ 3706 w 3907"/>
                  <a:gd name="T3" fmla="*/ 0 h 3900"/>
                  <a:gd name="T4" fmla="*/ 3609 w 3907"/>
                  <a:gd name="T5" fmla="*/ 87 h 3900"/>
                  <a:gd name="T6" fmla="*/ 3516 w 3907"/>
                  <a:gd name="T7" fmla="*/ 171 h 3900"/>
                  <a:gd name="T8" fmla="*/ 3425 w 3907"/>
                  <a:gd name="T9" fmla="*/ 254 h 3900"/>
                  <a:gd name="T10" fmla="*/ 3336 w 3907"/>
                  <a:gd name="T11" fmla="*/ 334 h 3900"/>
                  <a:gd name="T12" fmla="*/ 3246 w 3907"/>
                  <a:gd name="T13" fmla="*/ 412 h 3900"/>
                  <a:gd name="T14" fmla="*/ 3157 w 3907"/>
                  <a:gd name="T15" fmla="*/ 489 h 3900"/>
                  <a:gd name="T16" fmla="*/ 3140 w 3907"/>
                  <a:gd name="T17" fmla="*/ 498 h 3900"/>
                  <a:gd name="T18" fmla="*/ 3121 w 3907"/>
                  <a:gd name="T19" fmla="*/ 504 h 3900"/>
                  <a:gd name="T20" fmla="*/ 3098 w 3907"/>
                  <a:gd name="T21" fmla="*/ 507 h 3900"/>
                  <a:gd name="T22" fmla="*/ 3075 w 3907"/>
                  <a:gd name="T23" fmla="*/ 508 h 3900"/>
                  <a:gd name="T24" fmla="*/ 3050 w 3907"/>
                  <a:gd name="T25" fmla="*/ 507 h 3900"/>
                  <a:gd name="T26" fmla="*/ 3026 w 3907"/>
                  <a:gd name="T27" fmla="*/ 507 h 3900"/>
                  <a:gd name="T28" fmla="*/ 3002 w 3907"/>
                  <a:gd name="T29" fmla="*/ 505 h 3900"/>
                  <a:gd name="T30" fmla="*/ 715 w 3907"/>
                  <a:gd name="T31" fmla="*/ 507 h 3900"/>
                  <a:gd name="T32" fmla="*/ 656 w 3907"/>
                  <a:gd name="T33" fmla="*/ 507 h 3900"/>
                  <a:gd name="T34" fmla="*/ 595 w 3907"/>
                  <a:gd name="T35" fmla="*/ 507 h 3900"/>
                  <a:gd name="T36" fmla="*/ 529 w 3907"/>
                  <a:gd name="T37" fmla="*/ 507 h 3900"/>
                  <a:gd name="T38" fmla="*/ 529 w 3907"/>
                  <a:gd name="T39" fmla="*/ 3382 h 3900"/>
                  <a:gd name="T40" fmla="*/ 3405 w 3907"/>
                  <a:gd name="T41" fmla="*/ 3382 h 3900"/>
                  <a:gd name="T42" fmla="*/ 3406 w 3907"/>
                  <a:gd name="T43" fmla="*/ 2980 h 3900"/>
                  <a:gd name="T44" fmla="*/ 3406 w 3907"/>
                  <a:gd name="T45" fmla="*/ 2584 h 3900"/>
                  <a:gd name="T46" fmla="*/ 3406 w 3907"/>
                  <a:gd name="T47" fmla="*/ 2191 h 3900"/>
                  <a:gd name="T48" fmla="*/ 3403 w 3907"/>
                  <a:gd name="T49" fmla="*/ 1799 h 3900"/>
                  <a:gd name="T50" fmla="*/ 3404 w 3907"/>
                  <a:gd name="T51" fmla="*/ 1751 h 3900"/>
                  <a:gd name="T52" fmla="*/ 3410 w 3907"/>
                  <a:gd name="T53" fmla="*/ 1706 h 3900"/>
                  <a:gd name="T54" fmla="*/ 3421 w 3907"/>
                  <a:gd name="T55" fmla="*/ 1665 h 3900"/>
                  <a:gd name="T56" fmla="*/ 3437 w 3907"/>
                  <a:gd name="T57" fmla="*/ 1627 h 3900"/>
                  <a:gd name="T58" fmla="*/ 3460 w 3907"/>
                  <a:gd name="T59" fmla="*/ 1591 h 3900"/>
                  <a:gd name="T60" fmla="*/ 3489 w 3907"/>
                  <a:gd name="T61" fmla="*/ 1557 h 3900"/>
                  <a:gd name="T62" fmla="*/ 3524 w 3907"/>
                  <a:gd name="T63" fmla="*/ 1524 h 3900"/>
                  <a:gd name="T64" fmla="*/ 3598 w 3907"/>
                  <a:gd name="T65" fmla="*/ 1461 h 3900"/>
                  <a:gd name="T66" fmla="*/ 3674 w 3907"/>
                  <a:gd name="T67" fmla="*/ 1394 h 3900"/>
                  <a:gd name="T68" fmla="*/ 3747 w 3907"/>
                  <a:gd name="T69" fmla="*/ 1324 h 3900"/>
                  <a:gd name="T70" fmla="*/ 3825 w 3907"/>
                  <a:gd name="T71" fmla="*/ 1250 h 3900"/>
                  <a:gd name="T72" fmla="*/ 3907 w 3907"/>
                  <a:gd name="T73" fmla="*/ 1173 h 3900"/>
                  <a:gd name="T74" fmla="*/ 3907 w 3907"/>
                  <a:gd name="T75" fmla="*/ 1724 h 3900"/>
                  <a:gd name="T76" fmla="*/ 3907 w 3907"/>
                  <a:gd name="T77" fmla="*/ 2271 h 3900"/>
                  <a:gd name="T78" fmla="*/ 3907 w 3907"/>
                  <a:gd name="T79" fmla="*/ 2815 h 3900"/>
                  <a:gd name="T80" fmla="*/ 3907 w 3907"/>
                  <a:gd name="T81" fmla="*/ 3356 h 3900"/>
                  <a:gd name="T82" fmla="*/ 3907 w 3907"/>
                  <a:gd name="T83" fmla="*/ 3900 h 3900"/>
                  <a:gd name="T84" fmla="*/ 0 w 3907"/>
                  <a:gd name="T85" fmla="*/ 3900 h 3900"/>
                  <a:gd name="T86" fmla="*/ 0 w 3907"/>
                  <a:gd name="T87"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7" h="3900">
                    <a:moveTo>
                      <a:pt x="0" y="0"/>
                    </a:moveTo>
                    <a:lnTo>
                      <a:pt x="3706" y="0"/>
                    </a:lnTo>
                    <a:lnTo>
                      <a:pt x="3609" y="87"/>
                    </a:lnTo>
                    <a:lnTo>
                      <a:pt x="3516" y="171"/>
                    </a:lnTo>
                    <a:lnTo>
                      <a:pt x="3425" y="254"/>
                    </a:lnTo>
                    <a:lnTo>
                      <a:pt x="3336" y="334"/>
                    </a:lnTo>
                    <a:lnTo>
                      <a:pt x="3246" y="412"/>
                    </a:lnTo>
                    <a:lnTo>
                      <a:pt x="3157" y="489"/>
                    </a:lnTo>
                    <a:lnTo>
                      <a:pt x="3140" y="498"/>
                    </a:lnTo>
                    <a:lnTo>
                      <a:pt x="3121" y="504"/>
                    </a:lnTo>
                    <a:lnTo>
                      <a:pt x="3098" y="507"/>
                    </a:lnTo>
                    <a:lnTo>
                      <a:pt x="3075" y="508"/>
                    </a:lnTo>
                    <a:lnTo>
                      <a:pt x="3050" y="507"/>
                    </a:lnTo>
                    <a:lnTo>
                      <a:pt x="3026" y="507"/>
                    </a:lnTo>
                    <a:lnTo>
                      <a:pt x="3002" y="505"/>
                    </a:lnTo>
                    <a:lnTo>
                      <a:pt x="715" y="507"/>
                    </a:lnTo>
                    <a:lnTo>
                      <a:pt x="656" y="507"/>
                    </a:lnTo>
                    <a:lnTo>
                      <a:pt x="595" y="507"/>
                    </a:lnTo>
                    <a:lnTo>
                      <a:pt x="529" y="507"/>
                    </a:lnTo>
                    <a:lnTo>
                      <a:pt x="529" y="3382"/>
                    </a:lnTo>
                    <a:lnTo>
                      <a:pt x="3405" y="3382"/>
                    </a:lnTo>
                    <a:lnTo>
                      <a:pt x="3406" y="2980"/>
                    </a:lnTo>
                    <a:lnTo>
                      <a:pt x="3406" y="2584"/>
                    </a:lnTo>
                    <a:lnTo>
                      <a:pt x="3406" y="2191"/>
                    </a:lnTo>
                    <a:lnTo>
                      <a:pt x="3403" y="1799"/>
                    </a:lnTo>
                    <a:lnTo>
                      <a:pt x="3404" y="1751"/>
                    </a:lnTo>
                    <a:lnTo>
                      <a:pt x="3410" y="1706"/>
                    </a:lnTo>
                    <a:lnTo>
                      <a:pt x="3421" y="1665"/>
                    </a:lnTo>
                    <a:lnTo>
                      <a:pt x="3437" y="1627"/>
                    </a:lnTo>
                    <a:lnTo>
                      <a:pt x="3460" y="1591"/>
                    </a:lnTo>
                    <a:lnTo>
                      <a:pt x="3489" y="1557"/>
                    </a:lnTo>
                    <a:lnTo>
                      <a:pt x="3524" y="1524"/>
                    </a:lnTo>
                    <a:lnTo>
                      <a:pt x="3598" y="1461"/>
                    </a:lnTo>
                    <a:lnTo>
                      <a:pt x="3674" y="1394"/>
                    </a:lnTo>
                    <a:lnTo>
                      <a:pt x="3747" y="1324"/>
                    </a:lnTo>
                    <a:lnTo>
                      <a:pt x="3825" y="1250"/>
                    </a:lnTo>
                    <a:lnTo>
                      <a:pt x="3907" y="1173"/>
                    </a:lnTo>
                    <a:lnTo>
                      <a:pt x="3907" y="1724"/>
                    </a:lnTo>
                    <a:lnTo>
                      <a:pt x="3907" y="2271"/>
                    </a:lnTo>
                    <a:lnTo>
                      <a:pt x="3907" y="2815"/>
                    </a:lnTo>
                    <a:lnTo>
                      <a:pt x="3907" y="3356"/>
                    </a:lnTo>
                    <a:lnTo>
                      <a:pt x="3907" y="3900"/>
                    </a:lnTo>
                    <a:lnTo>
                      <a:pt x="0" y="3900"/>
                    </a:lnTo>
                    <a:lnTo>
                      <a:pt x="0"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sp>
            <p:nvSpPr>
              <p:cNvPr id="188" name="Freeform 9"/>
              <p:cNvSpPr>
                <a:spLocks/>
              </p:cNvSpPr>
              <p:nvPr/>
            </p:nvSpPr>
            <p:spPr bwMode="auto">
              <a:xfrm>
                <a:off x="-2894015" y="3256364"/>
                <a:ext cx="1548511" cy="1351170"/>
              </a:xfrm>
              <a:custGeom>
                <a:avLst/>
                <a:gdLst>
                  <a:gd name="T0" fmla="*/ 3078 w 3078"/>
                  <a:gd name="T1" fmla="*/ 0 h 2682"/>
                  <a:gd name="T2" fmla="*/ 3078 w 3078"/>
                  <a:gd name="T3" fmla="*/ 157 h 2682"/>
                  <a:gd name="T4" fmla="*/ 3078 w 3078"/>
                  <a:gd name="T5" fmla="*/ 303 h 2682"/>
                  <a:gd name="T6" fmla="*/ 3078 w 3078"/>
                  <a:gd name="T7" fmla="*/ 315 h 2682"/>
                  <a:gd name="T8" fmla="*/ 3078 w 3078"/>
                  <a:gd name="T9" fmla="*/ 454 h 2682"/>
                  <a:gd name="T10" fmla="*/ 3077 w 3078"/>
                  <a:gd name="T11" fmla="*/ 597 h 2682"/>
                  <a:gd name="T12" fmla="*/ 3076 w 3078"/>
                  <a:gd name="T13" fmla="*/ 739 h 2682"/>
                  <a:gd name="T14" fmla="*/ 3072 w 3078"/>
                  <a:gd name="T15" fmla="*/ 755 h 2682"/>
                  <a:gd name="T16" fmla="*/ 3062 w 3078"/>
                  <a:gd name="T17" fmla="*/ 770 h 2682"/>
                  <a:gd name="T18" fmla="*/ 3050 w 3078"/>
                  <a:gd name="T19" fmla="*/ 787 h 2682"/>
                  <a:gd name="T20" fmla="*/ 3036 w 3078"/>
                  <a:gd name="T21" fmla="*/ 801 h 2682"/>
                  <a:gd name="T22" fmla="*/ 3023 w 3078"/>
                  <a:gd name="T23" fmla="*/ 814 h 2682"/>
                  <a:gd name="T24" fmla="*/ 1096 w 3078"/>
                  <a:gd name="T25" fmla="*/ 2666 h 2682"/>
                  <a:gd name="T26" fmla="*/ 1090 w 3078"/>
                  <a:gd name="T27" fmla="*/ 2669 h 2682"/>
                  <a:gd name="T28" fmla="*/ 1082 w 3078"/>
                  <a:gd name="T29" fmla="*/ 2673 h 2682"/>
                  <a:gd name="T30" fmla="*/ 1071 w 3078"/>
                  <a:gd name="T31" fmla="*/ 2676 h 2682"/>
                  <a:gd name="T32" fmla="*/ 1057 w 3078"/>
                  <a:gd name="T33" fmla="*/ 2682 h 2682"/>
                  <a:gd name="T34" fmla="*/ 531 w 3078"/>
                  <a:gd name="T35" fmla="*/ 2131 h 2682"/>
                  <a:gd name="T36" fmla="*/ 0 w 3078"/>
                  <a:gd name="T37" fmla="*/ 1576 h 2682"/>
                  <a:gd name="T38" fmla="*/ 83 w 3078"/>
                  <a:gd name="T39" fmla="*/ 1491 h 2682"/>
                  <a:gd name="T40" fmla="*/ 163 w 3078"/>
                  <a:gd name="T41" fmla="*/ 1408 h 2682"/>
                  <a:gd name="T42" fmla="*/ 240 w 3078"/>
                  <a:gd name="T43" fmla="*/ 1331 h 2682"/>
                  <a:gd name="T44" fmla="*/ 314 w 3078"/>
                  <a:gd name="T45" fmla="*/ 1256 h 2682"/>
                  <a:gd name="T46" fmla="*/ 383 w 3078"/>
                  <a:gd name="T47" fmla="*/ 1184 h 2682"/>
                  <a:gd name="T48" fmla="*/ 562 w 3078"/>
                  <a:gd name="T49" fmla="*/ 1347 h 2682"/>
                  <a:gd name="T50" fmla="*/ 739 w 3078"/>
                  <a:gd name="T51" fmla="*/ 1511 h 2682"/>
                  <a:gd name="T52" fmla="*/ 918 w 3078"/>
                  <a:gd name="T53" fmla="*/ 1674 h 2682"/>
                  <a:gd name="T54" fmla="*/ 1099 w 3078"/>
                  <a:gd name="T55" fmla="*/ 1840 h 2682"/>
                  <a:gd name="T56" fmla="*/ 1374 w 3078"/>
                  <a:gd name="T57" fmla="*/ 1584 h 2682"/>
                  <a:gd name="T58" fmla="*/ 1651 w 3078"/>
                  <a:gd name="T59" fmla="*/ 1326 h 2682"/>
                  <a:gd name="T60" fmla="*/ 1930 w 3078"/>
                  <a:gd name="T61" fmla="*/ 1066 h 2682"/>
                  <a:gd name="T62" fmla="*/ 2213 w 3078"/>
                  <a:gd name="T63" fmla="*/ 804 h 2682"/>
                  <a:gd name="T64" fmla="*/ 2498 w 3078"/>
                  <a:gd name="T65" fmla="*/ 539 h 2682"/>
                  <a:gd name="T66" fmla="*/ 2786 w 3078"/>
                  <a:gd name="T67" fmla="*/ 270 h 2682"/>
                  <a:gd name="T68" fmla="*/ 3078 w 3078"/>
                  <a:gd name="T69" fmla="*/ 0 h 2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8" h="2682">
                    <a:moveTo>
                      <a:pt x="3078" y="0"/>
                    </a:moveTo>
                    <a:lnTo>
                      <a:pt x="3078" y="157"/>
                    </a:lnTo>
                    <a:lnTo>
                      <a:pt x="3078" y="303"/>
                    </a:lnTo>
                    <a:lnTo>
                      <a:pt x="3078" y="315"/>
                    </a:lnTo>
                    <a:lnTo>
                      <a:pt x="3078" y="454"/>
                    </a:lnTo>
                    <a:lnTo>
                      <a:pt x="3077" y="597"/>
                    </a:lnTo>
                    <a:lnTo>
                      <a:pt x="3076" y="739"/>
                    </a:lnTo>
                    <a:lnTo>
                      <a:pt x="3072" y="755"/>
                    </a:lnTo>
                    <a:lnTo>
                      <a:pt x="3062" y="770"/>
                    </a:lnTo>
                    <a:lnTo>
                      <a:pt x="3050" y="787"/>
                    </a:lnTo>
                    <a:lnTo>
                      <a:pt x="3036" y="801"/>
                    </a:lnTo>
                    <a:lnTo>
                      <a:pt x="3023" y="814"/>
                    </a:lnTo>
                    <a:lnTo>
                      <a:pt x="1096" y="2666"/>
                    </a:lnTo>
                    <a:lnTo>
                      <a:pt x="1090" y="2669"/>
                    </a:lnTo>
                    <a:lnTo>
                      <a:pt x="1082" y="2673"/>
                    </a:lnTo>
                    <a:lnTo>
                      <a:pt x="1071" y="2676"/>
                    </a:lnTo>
                    <a:lnTo>
                      <a:pt x="1057" y="2682"/>
                    </a:lnTo>
                    <a:lnTo>
                      <a:pt x="531" y="2131"/>
                    </a:lnTo>
                    <a:lnTo>
                      <a:pt x="0" y="1576"/>
                    </a:lnTo>
                    <a:lnTo>
                      <a:pt x="83" y="1491"/>
                    </a:lnTo>
                    <a:lnTo>
                      <a:pt x="163" y="1408"/>
                    </a:lnTo>
                    <a:lnTo>
                      <a:pt x="240" y="1331"/>
                    </a:lnTo>
                    <a:lnTo>
                      <a:pt x="314" y="1256"/>
                    </a:lnTo>
                    <a:lnTo>
                      <a:pt x="383" y="1184"/>
                    </a:lnTo>
                    <a:lnTo>
                      <a:pt x="562" y="1347"/>
                    </a:lnTo>
                    <a:lnTo>
                      <a:pt x="739" y="1511"/>
                    </a:lnTo>
                    <a:lnTo>
                      <a:pt x="918" y="1674"/>
                    </a:lnTo>
                    <a:lnTo>
                      <a:pt x="1099" y="1840"/>
                    </a:lnTo>
                    <a:lnTo>
                      <a:pt x="1374" y="1584"/>
                    </a:lnTo>
                    <a:lnTo>
                      <a:pt x="1651" y="1326"/>
                    </a:lnTo>
                    <a:lnTo>
                      <a:pt x="1930" y="1066"/>
                    </a:lnTo>
                    <a:lnTo>
                      <a:pt x="2213" y="804"/>
                    </a:lnTo>
                    <a:lnTo>
                      <a:pt x="2498" y="539"/>
                    </a:lnTo>
                    <a:lnTo>
                      <a:pt x="2786" y="270"/>
                    </a:lnTo>
                    <a:lnTo>
                      <a:pt x="3078"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grpSp>
      </p:grpSp>
      <p:grpSp>
        <p:nvGrpSpPr>
          <p:cNvPr id="12" name="Group 11"/>
          <p:cNvGrpSpPr/>
          <p:nvPr/>
        </p:nvGrpSpPr>
        <p:grpSpPr>
          <a:xfrm>
            <a:off x="-2" y="2906693"/>
            <a:ext cx="12436477" cy="1367759"/>
            <a:chOff x="-2" y="2906693"/>
            <a:chExt cx="12436477" cy="1367759"/>
          </a:xfrm>
        </p:grpSpPr>
        <p:sp>
          <p:nvSpPr>
            <p:cNvPr id="114" name="Rectangle 113"/>
            <p:cNvSpPr/>
            <p:nvPr/>
          </p:nvSpPr>
          <p:spPr bwMode="auto">
            <a:xfrm flipH="1">
              <a:off x="5488867" y="2906693"/>
              <a:ext cx="6947608" cy="1367759"/>
            </a:xfrm>
            <a:prstGeom prst="rect">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91440" bIns="91440" numCol="1" spcCol="0" rtlCol="0" fromWordArt="0" anchor="ctr" anchorCtr="0" forceAA="0" compatLnSpc="1">
              <a:prstTxWarp prst="textNoShape">
                <a:avLst/>
              </a:prstTxWarp>
              <a:noAutofit/>
            </a:bodyPr>
            <a:lstStyle/>
            <a:p>
              <a:pPr lvl="0" defTabSz="932472">
                <a:spcBef>
                  <a:spcPct val="0"/>
                </a:spcBef>
                <a:spcAft>
                  <a:spcPct val="0"/>
                </a:spcAft>
              </a:pPr>
              <a:r>
                <a:rPr lang="en-IN" sz="2000" dirty="0">
                  <a:solidFill>
                    <a:srgbClr val="FFFFFF"/>
                  </a:solidFill>
                  <a:latin typeface="Segoe UI Light"/>
                  <a:ea typeface="Segoe UI" pitchFamily="34" charset="0"/>
                  <a:cs typeface="Segoe UI" pitchFamily="34" charset="0"/>
                </a:rPr>
                <a:t>Guidelines that help ensure privacy is applied in the development and deployment of products and services.</a:t>
              </a:r>
            </a:p>
          </p:txBody>
        </p:sp>
        <p:sp>
          <p:nvSpPr>
            <p:cNvPr id="115" name="Rectangle 114"/>
            <p:cNvSpPr/>
            <p:nvPr/>
          </p:nvSpPr>
          <p:spPr bwMode="auto">
            <a:xfrm flipH="1">
              <a:off x="-2" y="2906693"/>
              <a:ext cx="5488869" cy="1367759"/>
            </a:xfrm>
            <a:prstGeom prst="rect">
              <a:avLst/>
            </a:prstGeom>
            <a:solidFill>
              <a:schemeClr val="bg1">
                <a:lumMod val="95000"/>
              </a:schemeClr>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457200" bIns="91440" numCol="1" spcCol="0" rtlCol="0" fromWordArt="0" anchor="ctr" anchorCtr="0" forceAA="0" compatLnSpc="1">
              <a:prstTxWarp prst="textNoShape">
                <a:avLst/>
              </a:prstTxWarp>
              <a:noAutofit/>
            </a:bodyPr>
            <a:lstStyle/>
            <a:p>
              <a:pPr lvl="0" defTabSz="932472">
                <a:spcBef>
                  <a:spcPct val="0"/>
                </a:spcBef>
                <a:spcAft>
                  <a:spcPct val="0"/>
                </a:spcAft>
              </a:pPr>
              <a:r>
                <a:rPr lang="en-IN" sz="2600" dirty="0" smtClean="0">
                  <a:solidFill>
                    <a:schemeClr val="accent2"/>
                  </a:solidFill>
                  <a:latin typeface="Segoe UI Light"/>
                  <a:ea typeface="Segoe UI" pitchFamily="34" charset="0"/>
                  <a:cs typeface="Segoe UI" pitchFamily="34" charset="0"/>
                </a:rPr>
                <a:t>Microsoft</a:t>
              </a:r>
              <a:br>
                <a:rPr lang="en-IN" sz="2600" dirty="0" smtClean="0">
                  <a:solidFill>
                    <a:schemeClr val="accent2"/>
                  </a:solidFill>
                  <a:latin typeface="Segoe UI Light"/>
                  <a:ea typeface="Segoe UI" pitchFamily="34" charset="0"/>
                  <a:cs typeface="Segoe UI" pitchFamily="34" charset="0"/>
                </a:rPr>
              </a:br>
              <a:r>
                <a:rPr lang="en-IN" sz="2600" dirty="0" smtClean="0">
                  <a:solidFill>
                    <a:schemeClr val="accent2"/>
                  </a:solidFill>
                  <a:latin typeface="Segoe UI Light"/>
                  <a:ea typeface="Segoe UI" pitchFamily="34" charset="0"/>
                  <a:cs typeface="Segoe UI" pitchFamily="34" charset="0"/>
                </a:rPr>
                <a:t>Privacy </a:t>
              </a:r>
              <a:r>
                <a:rPr lang="en-IN" sz="2600" dirty="0">
                  <a:solidFill>
                    <a:schemeClr val="accent2"/>
                  </a:solidFill>
                  <a:latin typeface="Segoe UI Light"/>
                  <a:ea typeface="Segoe UI" pitchFamily="34" charset="0"/>
                  <a:cs typeface="Segoe UI" pitchFamily="34" charset="0"/>
                </a:rPr>
                <a:t>Standard</a:t>
              </a:r>
            </a:p>
          </p:txBody>
        </p:sp>
        <p:grpSp>
          <p:nvGrpSpPr>
            <p:cNvPr id="116" name="Group 115"/>
            <p:cNvGrpSpPr/>
            <p:nvPr/>
          </p:nvGrpSpPr>
          <p:grpSpPr>
            <a:xfrm flipH="1">
              <a:off x="4294793" y="2906693"/>
              <a:ext cx="1367759" cy="1367759"/>
              <a:chOff x="3135086" y="2554514"/>
              <a:chExt cx="914400" cy="914400"/>
            </a:xfrm>
          </p:grpSpPr>
          <p:sp>
            <p:nvSpPr>
              <p:cNvPr id="117" name="Rounded Rectangle 116"/>
              <p:cNvSpPr/>
              <p:nvPr/>
            </p:nvSpPr>
            <p:spPr bwMode="auto">
              <a:xfrm>
                <a:off x="3135086" y="2554514"/>
                <a:ext cx="914400" cy="914400"/>
              </a:xfrm>
              <a:prstGeom prst="roundRect">
                <a:avLst>
                  <a:gd name="adj" fmla="val 8731"/>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smtClean="0">
                  <a:solidFill>
                    <a:schemeClr val="accent2"/>
                  </a:solidFill>
                  <a:ea typeface="Segoe UI" pitchFamily="34" charset="0"/>
                  <a:cs typeface="Segoe UI" pitchFamily="34" charset="0"/>
                </a:endParaRPr>
              </a:p>
            </p:txBody>
          </p:sp>
          <p:sp>
            <p:nvSpPr>
              <p:cNvPr id="118" name="Rounded Rectangle 117"/>
              <p:cNvSpPr/>
              <p:nvPr/>
            </p:nvSpPr>
            <p:spPr bwMode="auto">
              <a:xfrm>
                <a:off x="3251201" y="2670629"/>
                <a:ext cx="682171" cy="682171"/>
              </a:xfrm>
              <a:prstGeom prst="roundRect">
                <a:avLst>
                  <a:gd name="adj" fmla="val 8731"/>
                </a:avLst>
              </a:prstGeom>
              <a:solidFill>
                <a:srgbClr val="F7F7F7"/>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3600" dirty="0" smtClean="0">
                  <a:solidFill>
                    <a:schemeClr val="accent2"/>
                  </a:solidFill>
                  <a:latin typeface="Segoe UI Semibold" panose="020B0702040204020203" pitchFamily="34" charset="0"/>
                  <a:ea typeface="Segoe UI" pitchFamily="34" charset="0"/>
                  <a:cs typeface="Segoe UI Semibold" panose="020B0702040204020203" pitchFamily="34" charset="0"/>
                </a:endParaRPr>
              </a:p>
            </p:txBody>
          </p:sp>
        </p:grpSp>
        <p:grpSp>
          <p:nvGrpSpPr>
            <p:cNvPr id="189" name="Group 188"/>
            <p:cNvGrpSpPr/>
            <p:nvPr/>
          </p:nvGrpSpPr>
          <p:grpSpPr>
            <a:xfrm>
              <a:off x="4799130" y="3421102"/>
              <a:ext cx="359082" cy="340093"/>
              <a:chOff x="-3227388" y="3256364"/>
              <a:chExt cx="1881884" cy="1782362"/>
            </a:xfrm>
            <a:solidFill>
              <a:schemeClr val="accent2"/>
            </a:solidFill>
            <a:effectLst>
              <a:outerShdw blurRad="50800" dist="38100" dir="8100000" algn="tr" rotWithShape="0">
                <a:prstClr val="black">
                  <a:alpha val="40000"/>
                </a:prstClr>
              </a:outerShdw>
            </a:effectLst>
          </p:grpSpPr>
          <p:sp>
            <p:nvSpPr>
              <p:cNvPr id="190" name="Freeform 8"/>
              <p:cNvSpPr>
                <a:spLocks/>
              </p:cNvSpPr>
              <p:nvPr/>
            </p:nvSpPr>
            <p:spPr bwMode="auto">
              <a:xfrm>
                <a:off x="-3227388" y="3490913"/>
                <a:ext cx="1550988" cy="1547813"/>
              </a:xfrm>
              <a:custGeom>
                <a:avLst/>
                <a:gdLst>
                  <a:gd name="T0" fmla="*/ 0 w 3907"/>
                  <a:gd name="T1" fmla="*/ 0 h 3900"/>
                  <a:gd name="T2" fmla="*/ 3706 w 3907"/>
                  <a:gd name="T3" fmla="*/ 0 h 3900"/>
                  <a:gd name="T4" fmla="*/ 3609 w 3907"/>
                  <a:gd name="T5" fmla="*/ 87 h 3900"/>
                  <a:gd name="T6" fmla="*/ 3516 w 3907"/>
                  <a:gd name="T7" fmla="*/ 171 h 3900"/>
                  <a:gd name="T8" fmla="*/ 3425 w 3907"/>
                  <a:gd name="T9" fmla="*/ 254 h 3900"/>
                  <a:gd name="T10" fmla="*/ 3336 w 3907"/>
                  <a:gd name="T11" fmla="*/ 334 h 3900"/>
                  <a:gd name="T12" fmla="*/ 3246 w 3907"/>
                  <a:gd name="T13" fmla="*/ 412 h 3900"/>
                  <a:gd name="T14" fmla="*/ 3157 w 3907"/>
                  <a:gd name="T15" fmla="*/ 489 h 3900"/>
                  <a:gd name="T16" fmla="*/ 3140 w 3907"/>
                  <a:gd name="T17" fmla="*/ 498 h 3900"/>
                  <a:gd name="T18" fmla="*/ 3121 w 3907"/>
                  <a:gd name="T19" fmla="*/ 504 h 3900"/>
                  <a:gd name="T20" fmla="*/ 3098 w 3907"/>
                  <a:gd name="T21" fmla="*/ 507 h 3900"/>
                  <a:gd name="T22" fmla="*/ 3075 w 3907"/>
                  <a:gd name="T23" fmla="*/ 508 h 3900"/>
                  <a:gd name="T24" fmla="*/ 3050 w 3907"/>
                  <a:gd name="T25" fmla="*/ 507 h 3900"/>
                  <a:gd name="T26" fmla="*/ 3026 w 3907"/>
                  <a:gd name="T27" fmla="*/ 507 h 3900"/>
                  <a:gd name="T28" fmla="*/ 3002 w 3907"/>
                  <a:gd name="T29" fmla="*/ 505 h 3900"/>
                  <a:gd name="T30" fmla="*/ 715 w 3907"/>
                  <a:gd name="T31" fmla="*/ 507 h 3900"/>
                  <a:gd name="T32" fmla="*/ 656 w 3907"/>
                  <a:gd name="T33" fmla="*/ 507 h 3900"/>
                  <a:gd name="T34" fmla="*/ 595 w 3907"/>
                  <a:gd name="T35" fmla="*/ 507 h 3900"/>
                  <a:gd name="T36" fmla="*/ 529 w 3907"/>
                  <a:gd name="T37" fmla="*/ 507 h 3900"/>
                  <a:gd name="T38" fmla="*/ 529 w 3907"/>
                  <a:gd name="T39" fmla="*/ 3382 h 3900"/>
                  <a:gd name="T40" fmla="*/ 3405 w 3907"/>
                  <a:gd name="T41" fmla="*/ 3382 h 3900"/>
                  <a:gd name="T42" fmla="*/ 3406 w 3907"/>
                  <a:gd name="T43" fmla="*/ 2980 h 3900"/>
                  <a:gd name="T44" fmla="*/ 3406 w 3907"/>
                  <a:gd name="T45" fmla="*/ 2584 h 3900"/>
                  <a:gd name="T46" fmla="*/ 3406 w 3907"/>
                  <a:gd name="T47" fmla="*/ 2191 h 3900"/>
                  <a:gd name="T48" fmla="*/ 3403 w 3907"/>
                  <a:gd name="T49" fmla="*/ 1799 h 3900"/>
                  <a:gd name="T50" fmla="*/ 3404 w 3907"/>
                  <a:gd name="T51" fmla="*/ 1751 h 3900"/>
                  <a:gd name="T52" fmla="*/ 3410 w 3907"/>
                  <a:gd name="T53" fmla="*/ 1706 h 3900"/>
                  <a:gd name="T54" fmla="*/ 3421 w 3907"/>
                  <a:gd name="T55" fmla="*/ 1665 h 3900"/>
                  <a:gd name="T56" fmla="*/ 3437 w 3907"/>
                  <a:gd name="T57" fmla="*/ 1627 h 3900"/>
                  <a:gd name="T58" fmla="*/ 3460 w 3907"/>
                  <a:gd name="T59" fmla="*/ 1591 h 3900"/>
                  <a:gd name="T60" fmla="*/ 3489 w 3907"/>
                  <a:gd name="T61" fmla="*/ 1557 h 3900"/>
                  <a:gd name="T62" fmla="*/ 3524 w 3907"/>
                  <a:gd name="T63" fmla="*/ 1524 h 3900"/>
                  <a:gd name="T64" fmla="*/ 3598 w 3907"/>
                  <a:gd name="T65" fmla="*/ 1461 h 3900"/>
                  <a:gd name="T66" fmla="*/ 3674 w 3907"/>
                  <a:gd name="T67" fmla="*/ 1394 h 3900"/>
                  <a:gd name="T68" fmla="*/ 3747 w 3907"/>
                  <a:gd name="T69" fmla="*/ 1324 h 3900"/>
                  <a:gd name="T70" fmla="*/ 3825 w 3907"/>
                  <a:gd name="T71" fmla="*/ 1250 h 3900"/>
                  <a:gd name="T72" fmla="*/ 3907 w 3907"/>
                  <a:gd name="T73" fmla="*/ 1173 h 3900"/>
                  <a:gd name="T74" fmla="*/ 3907 w 3907"/>
                  <a:gd name="T75" fmla="*/ 1724 h 3900"/>
                  <a:gd name="T76" fmla="*/ 3907 w 3907"/>
                  <a:gd name="T77" fmla="*/ 2271 h 3900"/>
                  <a:gd name="T78" fmla="*/ 3907 w 3907"/>
                  <a:gd name="T79" fmla="*/ 2815 h 3900"/>
                  <a:gd name="T80" fmla="*/ 3907 w 3907"/>
                  <a:gd name="T81" fmla="*/ 3356 h 3900"/>
                  <a:gd name="T82" fmla="*/ 3907 w 3907"/>
                  <a:gd name="T83" fmla="*/ 3900 h 3900"/>
                  <a:gd name="T84" fmla="*/ 0 w 3907"/>
                  <a:gd name="T85" fmla="*/ 3900 h 3900"/>
                  <a:gd name="T86" fmla="*/ 0 w 3907"/>
                  <a:gd name="T87"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7" h="3900">
                    <a:moveTo>
                      <a:pt x="0" y="0"/>
                    </a:moveTo>
                    <a:lnTo>
                      <a:pt x="3706" y="0"/>
                    </a:lnTo>
                    <a:lnTo>
                      <a:pt x="3609" y="87"/>
                    </a:lnTo>
                    <a:lnTo>
                      <a:pt x="3516" y="171"/>
                    </a:lnTo>
                    <a:lnTo>
                      <a:pt x="3425" y="254"/>
                    </a:lnTo>
                    <a:lnTo>
                      <a:pt x="3336" y="334"/>
                    </a:lnTo>
                    <a:lnTo>
                      <a:pt x="3246" y="412"/>
                    </a:lnTo>
                    <a:lnTo>
                      <a:pt x="3157" y="489"/>
                    </a:lnTo>
                    <a:lnTo>
                      <a:pt x="3140" y="498"/>
                    </a:lnTo>
                    <a:lnTo>
                      <a:pt x="3121" y="504"/>
                    </a:lnTo>
                    <a:lnTo>
                      <a:pt x="3098" y="507"/>
                    </a:lnTo>
                    <a:lnTo>
                      <a:pt x="3075" y="508"/>
                    </a:lnTo>
                    <a:lnTo>
                      <a:pt x="3050" y="507"/>
                    </a:lnTo>
                    <a:lnTo>
                      <a:pt x="3026" y="507"/>
                    </a:lnTo>
                    <a:lnTo>
                      <a:pt x="3002" y="505"/>
                    </a:lnTo>
                    <a:lnTo>
                      <a:pt x="715" y="507"/>
                    </a:lnTo>
                    <a:lnTo>
                      <a:pt x="656" y="507"/>
                    </a:lnTo>
                    <a:lnTo>
                      <a:pt x="595" y="507"/>
                    </a:lnTo>
                    <a:lnTo>
                      <a:pt x="529" y="507"/>
                    </a:lnTo>
                    <a:lnTo>
                      <a:pt x="529" y="3382"/>
                    </a:lnTo>
                    <a:lnTo>
                      <a:pt x="3405" y="3382"/>
                    </a:lnTo>
                    <a:lnTo>
                      <a:pt x="3406" y="2980"/>
                    </a:lnTo>
                    <a:lnTo>
                      <a:pt x="3406" y="2584"/>
                    </a:lnTo>
                    <a:lnTo>
                      <a:pt x="3406" y="2191"/>
                    </a:lnTo>
                    <a:lnTo>
                      <a:pt x="3403" y="1799"/>
                    </a:lnTo>
                    <a:lnTo>
                      <a:pt x="3404" y="1751"/>
                    </a:lnTo>
                    <a:lnTo>
                      <a:pt x="3410" y="1706"/>
                    </a:lnTo>
                    <a:lnTo>
                      <a:pt x="3421" y="1665"/>
                    </a:lnTo>
                    <a:lnTo>
                      <a:pt x="3437" y="1627"/>
                    </a:lnTo>
                    <a:lnTo>
                      <a:pt x="3460" y="1591"/>
                    </a:lnTo>
                    <a:lnTo>
                      <a:pt x="3489" y="1557"/>
                    </a:lnTo>
                    <a:lnTo>
                      <a:pt x="3524" y="1524"/>
                    </a:lnTo>
                    <a:lnTo>
                      <a:pt x="3598" y="1461"/>
                    </a:lnTo>
                    <a:lnTo>
                      <a:pt x="3674" y="1394"/>
                    </a:lnTo>
                    <a:lnTo>
                      <a:pt x="3747" y="1324"/>
                    </a:lnTo>
                    <a:lnTo>
                      <a:pt x="3825" y="1250"/>
                    </a:lnTo>
                    <a:lnTo>
                      <a:pt x="3907" y="1173"/>
                    </a:lnTo>
                    <a:lnTo>
                      <a:pt x="3907" y="1724"/>
                    </a:lnTo>
                    <a:lnTo>
                      <a:pt x="3907" y="2271"/>
                    </a:lnTo>
                    <a:lnTo>
                      <a:pt x="3907" y="2815"/>
                    </a:lnTo>
                    <a:lnTo>
                      <a:pt x="3907" y="3356"/>
                    </a:lnTo>
                    <a:lnTo>
                      <a:pt x="3907" y="3900"/>
                    </a:lnTo>
                    <a:lnTo>
                      <a:pt x="0" y="3900"/>
                    </a:lnTo>
                    <a:lnTo>
                      <a:pt x="0"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sp>
            <p:nvSpPr>
              <p:cNvPr id="191" name="Freeform 9"/>
              <p:cNvSpPr>
                <a:spLocks/>
              </p:cNvSpPr>
              <p:nvPr/>
            </p:nvSpPr>
            <p:spPr bwMode="auto">
              <a:xfrm>
                <a:off x="-2894015" y="3256364"/>
                <a:ext cx="1548511" cy="1351170"/>
              </a:xfrm>
              <a:custGeom>
                <a:avLst/>
                <a:gdLst>
                  <a:gd name="T0" fmla="*/ 3078 w 3078"/>
                  <a:gd name="T1" fmla="*/ 0 h 2682"/>
                  <a:gd name="T2" fmla="*/ 3078 w 3078"/>
                  <a:gd name="T3" fmla="*/ 157 h 2682"/>
                  <a:gd name="T4" fmla="*/ 3078 w 3078"/>
                  <a:gd name="T5" fmla="*/ 303 h 2682"/>
                  <a:gd name="T6" fmla="*/ 3078 w 3078"/>
                  <a:gd name="T7" fmla="*/ 315 h 2682"/>
                  <a:gd name="T8" fmla="*/ 3078 w 3078"/>
                  <a:gd name="T9" fmla="*/ 454 h 2682"/>
                  <a:gd name="T10" fmla="*/ 3077 w 3078"/>
                  <a:gd name="T11" fmla="*/ 597 h 2682"/>
                  <a:gd name="T12" fmla="*/ 3076 w 3078"/>
                  <a:gd name="T13" fmla="*/ 739 h 2682"/>
                  <a:gd name="T14" fmla="*/ 3072 w 3078"/>
                  <a:gd name="T15" fmla="*/ 755 h 2682"/>
                  <a:gd name="T16" fmla="*/ 3062 w 3078"/>
                  <a:gd name="T17" fmla="*/ 770 h 2682"/>
                  <a:gd name="T18" fmla="*/ 3050 w 3078"/>
                  <a:gd name="T19" fmla="*/ 787 h 2682"/>
                  <a:gd name="T20" fmla="*/ 3036 w 3078"/>
                  <a:gd name="T21" fmla="*/ 801 h 2682"/>
                  <a:gd name="T22" fmla="*/ 3023 w 3078"/>
                  <a:gd name="T23" fmla="*/ 814 h 2682"/>
                  <a:gd name="T24" fmla="*/ 1096 w 3078"/>
                  <a:gd name="T25" fmla="*/ 2666 h 2682"/>
                  <a:gd name="T26" fmla="*/ 1090 w 3078"/>
                  <a:gd name="T27" fmla="*/ 2669 h 2682"/>
                  <a:gd name="T28" fmla="*/ 1082 w 3078"/>
                  <a:gd name="T29" fmla="*/ 2673 h 2682"/>
                  <a:gd name="T30" fmla="*/ 1071 w 3078"/>
                  <a:gd name="T31" fmla="*/ 2676 h 2682"/>
                  <a:gd name="T32" fmla="*/ 1057 w 3078"/>
                  <a:gd name="T33" fmla="*/ 2682 h 2682"/>
                  <a:gd name="T34" fmla="*/ 531 w 3078"/>
                  <a:gd name="T35" fmla="*/ 2131 h 2682"/>
                  <a:gd name="T36" fmla="*/ 0 w 3078"/>
                  <a:gd name="T37" fmla="*/ 1576 h 2682"/>
                  <a:gd name="T38" fmla="*/ 83 w 3078"/>
                  <a:gd name="T39" fmla="*/ 1491 h 2682"/>
                  <a:gd name="T40" fmla="*/ 163 w 3078"/>
                  <a:gd name="T41" fmla="*/ 1408 h 2682"/>
                  <a:gd name="T42" fmla="*/ 240 w 3078"/>
                  <a:gd name="T43" fmla="*/ 1331 h 2682"/>
                  <a:gd name="T44" fmla="*/ 314 w 3078"/>
                  <a:gd name="T45" fmla="*/ 1256 h 2682"/>
                  <a:gd name="T46" fmla="*/ 383 w 3078"/>
                  <a:gd name="T47" fmla="*/ 1184 h 2682"/>
                  <a:gd name="T48" fmla="*/ 562 w 3078"/>
                  <a:gd name="T49" fmla="*/ 1347 h 2682"/>
                  <a:gd name="T50" fmla="*/ 739 w 3078"/>
                  <a:gd name="T51" fmla="*/ 1511 h 2682"/>
                  <a:gd name="T52" fmla="*/ 918 w 3078"/>
                  <a:gd name="T53" fmla="*/ 1674 h 2682"/>
                  <a:gd name="T54" fmla="*/ 1099 w 3078"/>
                  <a:gd name="T55" fmla="*/ 1840 h 2682"/>
                  <a:gd name="T56" fmla="*/ 1374 w 3078"/>
                  <a:gd name="T57" fmla="*/ 1584 h 2682"/>
                  <a:gd name="T58" fmla="*/ 1651 w 3078"/>
                  <a:gd name="T59" fmla="*/ 1326 h 2682"/>
                  <a:gd name="T60" fmla="*/ 1930 w 3078"/>
                  <a:gd name="T61" fmla="*/ 1066 h 2682"/>
                  <a:gd name="T62" fmla="*/ 2213 w 3078"/>
                  <a:gd name="T63" fmla="*/ 804 h 2682"/>
                  <a:gd name="T64" fmla="*/ 2498 w 3078"/>
                  <a:gd name="T65" fmla="*/ 539 h 2682"/>
                  <a:gd name="T66" fmla="*/ 2786 w 3078"/>
                  <a:gd name="T67" fmla="*/ 270 h 2682"/>
                  <a:gd name="T68" fmla="*/ 3078 w 3078"/>
                  <a:gd name="T69" fmla="*/ 0 h 2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8" h="2682">
                    <a:moveTo>
                      <a:pt x="3078" y="0"/>
                    </a:moveTo>
                    <a:lnTo>
                      <a:pt x="3078" y="157"/>
                    </a:lnTo>
                    <a:lnTo>
                      <a:pt x="3078" y="303"/>
                    </a:lnTo>
                    <a:lnTo>
                      <a:pt x="3078" y="315"/>
                    </a:lnTo>
                    <a:lnTo>
                      <a:pt x="3078" y="454"/>
                    </a:lnTo>
                    <a:lnTo>
                      <a:pt x="3077" y="597"/>
                    </a:lnTo>
                    <a:lnTo>
                      <a:pt x="3076" y="739"/>
                    </a:lnTo>
                    <a:lnTo>
                      <a:pt x="3072" y="755"/>
                    </a:lnTo>
                    <a:lnTo>
                      <a:pt x="3062" y="770"/>
                    </a:lnTo>
                    <a:lnTo>
                      <a:pt x="3050" y="787"/>
                    </a:lnTo>
                    <a:lnTo>
                      <a:pt x="3036" y="801"/>
                    </a:lnTo>
                    <a:lnTo>
                      <a:pt x="3023" y="814"/>
                    </a:lnTo>
                    <a:lnTo>
                      <a:pt x="1096" y="2666"/>
                    </a:lnTo>
                    <a:lnTo>
                      <a:pt x="1090" y="2669"/>
                    </a:lnTo>
                    <a:lnTo>
                      <a:pt x="1082" y="2673"/>
                    </a:lnTo>
                    <a:lnTo>
                      <a:pt x="1071" y="2676"/>
                    </a:lnTo>
                    <a:lnTo>
                      <a:pt x="1057" y="2682"/>
                    </a:lnTo>
                    <a:lnTo>
                      <a:pt x="531" y="2131"/>
                    </a:lnTo>
                    <a:lnTo>
                      <a:pt x="0" y="1576"/>
                    </a:lnTo>
                    <a:lnTo>
                      <a:pt x="83" y="1491"/>
                    </a:lnTo>
                    <a:lnTo>
                      <a:pt x="163" y="1408"/>
                    </a:lnTo>
                    <a:lnTo>
                      <a:pt x="240" y="1331"/>
                    </a:lnTo>
                    <a:lnTo>
                      <a:pt x="314" y="1256"/>
                    </a:lnTo>
                    <a:lnTo>
                      <a:pt x="383" y="1184"/>
                    </a:lnTo>
                    <a:lnTo>
                      <a:pt x="562" y="1347"/>
                    </a:lnTo>
                    <a:lnTo>
                      <a:pt x="739" y="1511"/>
                    </a:lnTo>
                    <a:lnTo>
                      <a:pt x="918" y="1674"/>
                    </a:lnTo>
                    <a:lnTo>
                      <a:pt x="1099" y="1840"/>
                    </a:lnTo>
                    <a:lnTo>
                      <a:pt x="1374" y="1584"/>
                    </a:lnTo>
                    <a:lnTo>
                      <a:pt x="1651" y="1326"/>
                    </a:lnTo>
                    <a:lnTo>
                      <a:pt x="1930" y="1066"/>
                    </a:lnTo>
                    <a:lnTo>
                      <a:pt x="2213" y="804"/>
                    </a:lnTo>
                    <a:lnTo>
                      <a:pt x="2498" y="539"/>
                    </a:lnTo>
                    <a:lnTo>
                      <a:pt x="2786" y="270"/>
                    </a:lnTo>
                    <a:lnTo>
                      <a:pt x="3078"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grpSp>
      </p:grpSp>
      <p:grpSp>
        <p:nvGrpSpPr>
          <p:cNvPr id="13" name="Group 12"/>
          <p:cNvGrpSpPr/>
          <p:nvPr/>
        </p:nvGrpSpPr>
        <p:grpSpPr>
          <a:xfrm>
            <a:off x="-3" y="4399357"/>
            <a:ext cx="12436478" cy="1367759"/>
            <a:chOff x="-3" y="4399357"/>
            <a:chExt cx="12436478" cy="1367759"/>
          </a:xfrm>
        </p:grpSpPr>
        <p:grpSp>
          <p:nvGrpSpPr>
            <p:cNvPr id="7" name="Group 6"/>
            <p:cNvGrpSpPr/>
            <p:nvPr/>
          </p:nvGrpSpPr>
          <p:grpSpPr>
            <a:xfrm>
              <a:off x="-3" y="4399357"/>
              <a:ext cx="12436478" cy="1367759"/>
              <a:chOff x="-3" y="4399357"/>
              <a:chExt cx="12436478" cy="1367759"/>
            </a:xfrm>
          </p:grpSpPr>
          <p:sp>
            <p:nvSpPr>
              <p:cNvPr id="119" name="Rectangle 118"/>
              <p:cNvSpPr/>
              <p:nvPr/>
            </p:nvSpPr>
            <p:spPr bwMode="auto">
              <a:xfrm flipH="1">
                <a:off x="6856626" y="4399357"/>
                <a:ext cx="5579849" cy="1367759"/>
              </a:xfrm>
              <a:prstGeom prst="rect">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91440" bIns="91440" numCol="1" spcCol="0" rtlCol="0" fromWordArt="0" anchor="ctr" anchorCtr="0" forceAA="0" compatLnSpc="1">
                <a:prstTxWarp prst="textNoShape">
                  <a:avLst/>
                </a:prstTxWarp>
                <a:noAutofit/>
              </a:bodyPr>
              <a:lstStyle/>
              <a:p>
                <a:pPr lvl="0" defTabSz="932472">
                  <a:spcBef>
                    <a:spcPct val="0"/>
                  </a:spcBef>
                  <a:spcAft>
                    <a:spcPct val="0"/>
                  </a:spcAft>
                </a:pPr>
                <a:r>
                  <a:rPr lang="en-IN" sz="2000" dirty="0">
                    <a:solidFill>
                      <a:srgbClr val="FFFFFF"/>
                    </a:solidFill>
                    <a:latin typeface="Segoe UI Light"/>
                    <a:ea typeface="Segoe UI" pitchFamily="34" charset="0"/>
                    <a:cs typeface="Segoe UI" pitchFamily="34" charset="0"/>
                  </a:rPr>
                  <a:t>Azure uses logical isolation to </a:t>
                </a:r>
                <a:r>
                  <a:rPr lang="en-IN" sz="2000" dirty="0" smtClean="0">
                    <a:solidFill>
                      <a:srgbClr val="FFFFFF"/>
                    </a:solidFill>
                    <a:latin typeface="Segoe UI Light"/>
                    <a:ea typeface="Segoe UI" pitchFamily="34" charset="0"/>
                    <a:cs typeface="Segoe UI" pitchFamily="34" charset="0"/>
                  </a:rPr>
                  <a:t>segregate</a:t>
                </a:r>
                <a:br>
                  <a:rPr lang="en-IN" sz="2000" dirty="0" smtClean="0">
                    <a:solidFill>
                      <a:srgbClr val="FFFFFF"/>
                    </a:solidFill>
                    <a:latin typeface="Segoe UI Light"/>
                    <a:ea typeface="Segoe UI" pitchFamily="34" charset="0"/>
                    <a:cs typeface="Segoe UI" pitchFamily="34" charset="0"/>
                  </a:rPr>
                </a:br>
                <a:r>
                  <a:rPr lang="en-IN" sz="2000" dirty="0" smtClean="0">
                    <a:solidFill>
                      <a:srgbClr val="FFFFFF"/>
                    </a:solidFill>
                    <a:latin typeface="Segoe UI Light"/>
                    <a:ea typeface="Segoe UI" pitchFamily="34" charset="0"/>
                    <a:cs typeface="Segoe UI" pitchFamily="34" charset="0"/>
                  </a:rPr>
                  <a:t>each </a:t>
                </a:r>
                <a:r>
                  <a:rPr lang="en-IN" sz="2000" dirty="0">
                    <a:solidFill>
                      <a:srgbClr val="FFFFFF"/>
                    </a:solidFill>
                    <a:latin typeface="Segoe UI Light"/>
                    <a:ea typeface="Segoe UI" pitchFamily="34" charset="0"/>
                    <a:cs typeface="Segoe UI" pitchFamily="34" charset="0"/>
                  </a:rPr>
                  <a:t>customer’s data from </a:t>
                </a:r>
                <a:r>
                  <a:rPr lang="en-IN" sz="2000" dirty="0" smtClean="0">
                    <a:solidFill>
                      <a:srgbClr val="FFFFFF"/>
                    </a:solidFill>
                    <a:latin typeface="Segoe UI Light"/>
                    <a:ea typeface="Segoe UI" pitchFamily="34" charset="0"/>
                    <a:cs typeface="Segoe UI" pitchFamily="34" charset="0"/>
                  </a:rPr>
                  <a:t>that</a:t>
                </a:r>
                <a:br>
                  <a:rPr lang="en-IN" sz="2000" dirty="0" smtClean="0">
                    <a:solidFill>
                      <a:srgbClr val="FFFFFF"/>
                    </a:solidFill>
                    <a:latin typeface="Segoe UI Light"/>
                    <a:ea typeface="Segoe UI" pitchFamily="34" charset="0"/>
                    <a:cs typeface="Segoe UI" pitchFamily="34" charset="0"/>
                  </a:rPr>
                </a:br>
                <a:r>
                  <a:rPr lang="en-IN" sz="2000" dirty="0" smtClean="0">
                    <a:solidFill>
                      <a:srgbClr val="FFFFFF"/>
                    </a:solidFill>
                    <a:latin typeface="Segoe UI Light"/>
                    <a:ea typeface="Segoe UI" pitchFamily="34" charset="0"/>
                    <a:cs typeface="Segoe UI" pitchFamily="34" charset="0"/>
                  </a:rPr>
                  <a:t>of </a:t>
                </a:r>
                <a:r>
                  <a:rPr lang="en-IN" sz="2000" dirty="0">
                    <a:solidFill>
                      <a:srgbClr val="FFFFFF"/>
                    </a:solidFill>
                    <a:latin typeface="Segoe UI Light"/>
                    <a:ea typeface="Segoe UI" pitchFamily="34" charset="0"/>
                    <a:cs typeface="Segoe UI" pitchFamily="34" charset="0"/>
                  </a:rPr>
                  <a:t>others.</a:t>
                </a:r>
              </a:p>
            </p:txBody>
          </p:sp>
          <p:sp>
            <p:nvSpPr>
              <p:cNvPr id="120" name="Rectangle 119"/>
              <p:cNvSpPr/>
              <p:nvPr/>
            </p:nvSpPr>
            <p:spPr bwMode="auto">
              <a:xfrm flipH="1">
                <a:off x="-3" y="4399357"/>
                <a:ext cx="6856629" cy="1367759"/>
              </a:xfrm>
              <a:prstGeom prst="rect">
                <a:avLst/>
              </a:prstGeom>
              <a:solidFill>
                <a:schemeClr val="bg1">
                  <a:lumMod val="95000"/>
                </a:schemeClr>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457200" bIns="91440" numCol="1" spcCol="0" rtlCol="0" fromWordArt="0" anchor="ctr" anchorCtr="0" forceAA="0" compatLnSpc="1">
                <a:prstTxWarp prst="textNoShape">
                  <a:avLst/>
                </a:prstTxWarp>
                <a:noAutofit/>
              </a:bodyPr>
              <a:lstStyle/>
              <a:p>
                <a:pPr lvl="0" defTabSz="932472">
                  <a:spcBef>
                    <a:spcPct val="0"/>
                  </a:spcBef>
                  <a:spcAft>
                    <a:spcPct val="0"/>
                  </a:spcAft>
                </a:pPr>
                <a:r>
                  <a:rPr lang="en-IN" sz="2600" dirty="0">
                    <a:solidFill>
                      <a:schemeClr val="accent2"/>
                    </a:solidFill>
                    <a:latin typeface="Segoe UI Light"/>
                    <a:ea typeface="Segoe UI" pitchFamily="34" charset="0"/>
                    <a:cs typeface="Segoe UI" pitchFamily="34" charset="0"/>
                  </a:rPr>
                  <a:t>Data segregation</a:t>
                </a:r>
              </a:p>
            </p:txBody>
          </p:sp>
          <p:grpSp>
            <p:nvGrpSpPr>
              <p:cNvPr id="121" name="Group 120"/>
              <p:cNvGrpSpPr/>
              <p:nvPr/>
            </p:nvGrpSpPr>
            <p:grpSpPr>
              <a:xfrm flipH="1">
                <a:off x="5662552" y="4399357"/>
                <a:ext cx="1367759" cy="1367759"/>
                <a:chOff x="3135086" y="2554514"/>
                <a:chExt cx="914400" cy="914400"/>
              </a:xfrm>
            </p:grpSpPr>
            <p:sp>
              <p:nvSpPr>
                <p:cNvPr id="122" name="Rounded Rectangle 121"/>
                <p:cNvSpPr/>
                <p:nvPr/>
              </p:nvSpPr>
              <p:spPr bwMode="auto">
                <a:xfrm>
                  <a:off x="3135086" y="2554514"/>
                  <a:ext cx="914400" cy="914400"/>
                </a:xfrm>
                <a:prstGeom prst="roundRect">
                  <a:avLst>
                    <a:gd name="adj" fmla="val 8731"/>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smtClean="0">
                    <a:solidFill>
                      <a:schemeClr val="accent2"/>
                    </a:solidFill>
                    <a:ea typeface="Segoe UI" pitchFamily="34" charset="0"/>
                    <a:cs typeface="Segoe UI" pitchFamily="34" charset="0"/>
                  </a:endParaRPr>
                </a:p>
              </p:txBody>
            </p:sp>
            <p:sp>
              <p:nvSpPr>
                <p:cNvPr id="123" name="Rounded Rectangle 122"/>
                <p:cNvSpPr/>
                <p:nvPr/>
              </p:nvSpPr>
              <p:spPr bwMode="auto">
                <a:xfrm>
                  <a:off x="3251201" y="2670629"/>
                  <a:ext cx="682171" cy="682171"/>
                </a:xfrm>
                <a:prstGeom prst="roundRect">
                  <a:avLst>
                    <a:gd name="adj" fmla="val 8731"/>
                  </a:avLst>
                </a:prstGeom>
                <a:solidFill>
                  <a:srgbClr val="F7F7F7"/>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3600" dirty="0" smtClean="0">
                    <a:solidFill>
                      <a:schemeClr val="accent2"/>
                    </a:solidFill>
                    <a:latin typeface="Segoe UI Semibold" panose="020B0702040204020203" pitchFamily="34" charset="0"/>
                    <a:ea typeface="Segoe UI" pitchFamily="34" charset="0"/>
                    <a:cs typeface="Segoe UI Semibold" panose="020B0702040204020203" pitchFamily="34" charset="0"/>
                  </a:endParaRPr>
                </a:p>
              </p:txBody>
            </p:sp>
          </p:grpSp>
        </p:grpSp>
        <p:grpSp>
          <p:nvGrpSpPr>
            <p:cNvPr id="192" name="Group 191"/>
            <p:cNvGrpSpPr/>
            <p:nvPr/>
          </p:nvGrpSpPr>
          <p:grpSpPr>
            <a:xfrm>
              <a:off x="6166889" y="4913189"/>
              <a:ext cx="359082" cy="340093"/>
              <a:chOff x="-3227388" y="3256364"/>
              <a:chExt cx="1881884" cy="1782362"/>
            </a:xfrm>
            <a:solidFill>
              <a:schemeClr val="accent2"/>
            </a:solidFill>
            <a:effectLst>
              <a:outerShdw blurRad="50800" dist="38100" dir="8100000" algn="tr" rotWithShape="0">
                <a:prstClr val="black">
                  <a:alpha val="40000"/>
                </a:prstClr>
              </a:outerShdw>
            </a:effectLst>
          </p:grpSpPr>
          <p:sp>
            <p:nvSpPr>
              <p:cNvPr id="193" name="Freeform 8"/>
              <p:cNvSpPr>
                <a:spLocks/>
              </p:cNvSpPr>
              <p:nvPr/>
            </p:nvSpPr>
            <p:spPr bwMode="auto">
              <a:xfrm>
                <a:off x="-3227388" y="3490913"/>
                <a:ext cx="1550988" cy="1547813"/>
              </a:xfrm>
              <a:custGeom>
                <a:avLst/>
                <a:gdLst>
                  <a:gd name="T0" fmla="*/ 0 w 3907"/>
                  <a:gd name="T1" fmla="*/ 0 h 3900"/>
                  <a:gd name="T2" fmla="*/ 3706 w 3907"/>
                  <a:gd name="T3" fmla="*/ 0 h 3900"/>
                  <a:gd name="T4" fmla="*/ 3609 w 3907"/>
                  <a:gd name="T5" fmla="*/ 87 h 3900"/>
                  <a:gd name="T6" fmla="*/ 3516 w 3907"/>
                  <a:gd name="T7" fmla="*/ 171 h 3900"/>
                  <a:gd name="T8" fmla="*/ 3425 w 3907"/>
                  <a:gd name="T9" fmla="*/ 254 h 3900"/>
                  <a:gd name="T10" fmla="*/ 3336 w 3907"/>
                  <a:gd name="T11" fmla="*/ 334 h 3900"/>
                  <a:gd name="T12" fmla="*/ 3246 w 3907"/>
                  <a:gd name="T13" fmla="*/ 412 h 3900"/>
                  <a:gd name="T14" fmla="*/ 3157 w 3907"/>
                  <a:gd name="T15" fmla="*/ 489 h 3900"/>
                  <a:gd name="T16" fmla="*/ 3140 w 3907"/>
                  <a:gd name="T17" fmla="*/ 498 h 3900"/>
                  <a:gd name="T18" fmla="*/ 3121 w 3907"/>
                  <a:gd name="T19" fmla="*/ 504 h 3900"/>
                  <a:gd name="T20" fmla="*/ 3098 w 3907"/>
                  <a:gd name="T21" fmla="*/ 507 h 3900"/>
                  <a:gd name="T22" fmla="*/ 3075 w 3907"/>
                  <a:gd name="T23" fmla="*/ 508 h 3900"/>
                  <a:gd name="T24" fmla="*/ 3050 w 3907"/>
                  <a:gd name="T25" fmla="*/ 507 h 3900"/>
                  <a:gd name="T26" fmla="*/ 3026 w 3907"/>
                  <a:gd name="T27" fmla="*/ 507 h 3900"/>
                  <a:gd name="T28" fmla="*/ 3002 w 3907"/>
                  <a:gd name="T29" fmla="*/ 505 h 3900"/>
                  <a:gd name="T30" fmla="*/ 715 w 3907"/>
                  <a:gd name="T31" fmla="*/ 507 h 3900"/>
                  <a:gd name="T32" fmla="*/ 656 w 3907"/>
                  <a:gd name="T33" fmla="*/ 507 h 3900"/>
                  <a:gd name="T34" fmla="*/ 595 w 3907"/>
                  <a:gd name="T35" fmla="*/ 507 h 3900"/>
                  <a:gd name="T36" fmla="*/ 529 w 3907"/>
                  <a:gd name="T37" fmla="*/ 507 h 3900"/>
                  <a:gd name="T38" fmla="*/ 529 w 3907"/>
                  <a:gd name="T39" fmla="*/ 3382 h 3900"/>
                  <a:gd name="T40" fmla="*/ 3405 w 3907"/>
                  <a:gd name="T41" fmla="*/ 3382 h 3900"/>
                  <a:gd name="T42" fmla="*/ 3406 w 3907"/>
                  <a:gd name="T43" fmla="*/ 2980 h 3900"/>
                  <a:gd name="T44" fmla="*/ 3406 w 3907"/>
                  <a:gd name="T45" fmla="*/ 2584 h 3900"/>
                  <a:gd name="T46" fmla="*/ 3406 w 3907"/>
                  <a:gd name="T47" fmla="*/ 2191 h 3900"/>
                  <a:gd name="T48" fmla="*/ 3403 w 3907"/>
                  <a:gd name="T49" fmla="*/ 1799 h 3900"/>
                  <a:gd name="T50" fmla="*/ 3404 w 3907"/>
                  <a:gd name="T51" fmla="*/ 1751 h 3900"/>
                  <a:gd name="T52" fmla="*/ 3410 w 3907"/>
                  <a:gd name="T53" fmla="*/ 1706 h 3900"/>
                  <a:gd name="T54" fmla="*/ 3421 w 3907"/>
                  <a:gd name="T55" fmla="*/ 1665 h 3900"/>
                  <a:gd name="T56" fmla="*/ 3437 w 3907"/>
                  <a:gd name="T57" fmla="*/ 1627 h 3900"/>
                  <a:gd name="T58" fmla="*/ 3460 w 3907"/>
                  <a:gd name="T59" fmla="*/ 1591 h 3900"/>
                  <a:gd name="T60" fmla="*/ 3489 w 3907"/>
                  <a:gd name="T61" fmla="*/ 1557 h 3900"/>
                  <a:gd name="T62" fmla="*/ 3524 w 3907"/>
                  <a:gd name="T63" fmla="*/ 1524 h 3900"/>
                  <a:gd name="T64" fmla="*/ 3598 w 3907"/>
                  <a:gd name="T65" fmla="*/ 1461 h 3900"/>
                  <a:gd name="T66" fmla="*/ 3674 w 3907"/>
                  <a:gd name="T67" fmla="*/ 1394 h 3900"/>
                  <a:gd name="T68" fmla="*/ 3747 w 3907"/>
                  <a:gd name="T69" fmla="*/ 1324 h 3900"/>
                  <a:gd name="T70" fmla="*/ 3825 w 3907"/>
                  <a:gd name="T71" fmla="*/ 1250 h 3900"/>
                  <a:gd name="T72" fmla="*/ 3907 w 3907"/>
                  <a:gd name="T73" fmla="*/ 1173 h 3900"/>
                  <a:gd name="T74" fmla="*/ 3907 w 3907"/>
                  <a:gd name="T75" fmla="*/ 1724 h 3900"/>
                  <a:gd name="T76" fmla="*/ 3907 w 3907"/>
                  <a:gd name="T77" fmla="*/ 2271 h 3900"/>
                  <a:gd name="T78" fmla="*/ 3907 w 3907"/>
                  <a:gd name="T79" fmla="*/ 2815 h 3900"/>
                  <a:gd name="T80" fmla="*/ 3907 w 3907"/>
                  <a:gd name="T81" fmla="*/ 3356 h 3900"/>
                  <a:gd name="T82" fmla="*/ 3907 w 3907"/>
                  <a:gd name="T83" fmla="*/ 3900 h 3900"/>
                  <a:gd name="T84" fmla="*/ 0 w 3907"/>
                  <a:gd name="T85" fmla="*/ 3900 h 3900"/>
                  <a:gd name="T86" fmla="*/ 0 w 3907"/>
                  <a:gd name="T87"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7" h="3900">
                    <a:moveTo>
                      <a:pt x="0" y="0"/>
                    </a:moveTo>
                    <a:lnTo>
                      <a:pt x="3706" y="0"/>
                    </a:lnTo>
                    <a:lnTo>
                      <a:pt x="3609" y="87"/>
                    </a:lnTo>
                    <a:lnTo>
                      <a:pt x="3516" y="171"/>
                    </a:lnTo>
                    <a:lnTo>
                      <a:pt x="3425" y="254"/>
                    </a:lnTo>
                    <a:lnTo>
                      <a:pt x="3336" y="334"/>
                    </a:lnTo>
                    <a:lnTo>
                      <a:pt x="3246" y="412"/>
                    </a:lnTo>
                    <a:lnTo>
                      <a:pt x="3157" y="489"/>
                    </a:lnTo>
                    <a:lnTo>
                      <a:pt x="3140" y="498"/>
                    </a:lnTo>
                    <a:lnTo>
                      <a:pt x="3121" y="504"/>
                    </a:lnTo>
                    <a:lnTo>
                      <a:pt x="3098" y="507"/>
                    </a:lnTo>
                    <a:lnTo>
                      <a:pt x="3075" y="508"/>
                    </a:lnTo>
                    <a:lnTo>
                      <a:pt x="3050" y="507"/>
                    </a:lnTo>
                    <a:lnTo>
                      <a:pt x="3026" y="507"/>
                    </a:lnTo>
                    <a:lnTo>
                      <a:pt x="3002" y="505"/>
                    </a:lnTo>
                    <a:lnTo>
                      <a:pt x="715" y="507"/>
                    </a:lnTo>
                    <a:lnTo>
                      <a:pt x="656" y="507"/>
                    </a:lnTo>
                    <a:lnTo>
                      <a:pt x="595" y="507"/>
                    </a:lnTo>
                    <a:lnTo>
                      <a:pt x="529" y="507"/>
                    </a:lnTo>
                    <a:lnTo>
                      <a:pt x="529" y="3382"/>
                    </a:lnTo>
                    <a:lnTo>
                      <a:pt x="3405" y="3382"/>
                    </a:lnTo>
                    <a:lnTo>
                      <a:pt x="3406" y="2980"/>
                    </a:lnTo>
                    <a:lnTo>
                      <a:pt x="3406" y="2584"/>
                    </a:lnTo>
                    <a:lnTo>
                      <a:pt x="3406" y="2191"/>
                    </a:lnTo>
                    <a:lnTo>
                      <a:pt x="3403" y="1799"/>
                    </a:lnTo>
                    <a:lnTo>
                      <a:pt x="3404" y="1751"/>
                    </a:lnTo>
                    <a:lnTo>
                      <a:pt x="3410" y="1706"/>
                    </a:lnTo>
                    <a:lnTo>
                      <a:pt x="3421" y="1665"/>
                    </a:lnTo>
                    <a:lnTo>
                      <a:pt x="3437" y="1627"/>
                    </a:lnTo>
                    <a:lnTo>
                      <a:pt x="3460" y="1591"/>
                    </a:lnTo>
                    <a:lnTo>
                      <a:pt x="3489" y="1557"/>
                    </a:lnTo>
                    <a:lnTo>
                      <a:pt x="3524" y="1524"/>
                    </a:lnTo>
                    <a:lnTo>
                      <a:pt x="3598" y="1461"/>
                    </a:lnTo>
                    <a:lnTo>
                      <a:pt x="3674" y="1394"/>
                    </a:lnTo>
                    <a:lnTo>
                      <a:pt x="3747" y="1324"/>
                    </a:lnTo>
                    <a:lnTo>
                      <a:pt x="3825" y="1250"/>
                    </a:lnTo>
                    <a:lnTo>
                      <a:pt x="3907" y="1173"/>
                    </a:lnTo>
                    <a:lnTo>
                      <a:pt x="3907" y="1724"/>
                    </a:lnTo>
                    <a:lnTo>
                      <a:pt x="3907" y="2271"/>
                    </a:lnTo>
                    <a:lnTo>
                      <a:pt x="3907" y="2815"/>
                    </a:lnTo>
                    <a:lnTo>
                      <a:pt x="3907" y="3356"/>
                    </a:lnTo>
                    <a:lnTo>
                      <a:pt x="3907" y="3900"/>
                    </a:lnTo>
                    <a:lnTo>
                      <a:pt x="0" y="3900"/>
                    </a:lnTo>
                    <a:lnTo>
                      <a:pt x="0"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sp>
            <p:nvSpPr>
              <p:cNvPr id="194" name="Freeform 9"/>
              <p:cNvSpPr>
                <a:spLocks/>
              </p:cNvSpPr>
              <p:nvPr/>
            </p:nvSpPr>
            <p:spPr bwMode="auto">
              <a:xfrm>
                <a:off x="-2894015" y="3256364"/>
                <a:ext cx="1548511" cy="1351170"/>
              </a:xfrm>
              <a:custGeom>
                <a:avLst/>
                <a:gdLst>
                  <a:gd name="T0" fmla="*/ 3078 w 3078"/>
                  <a:gd name="T1" fmla="*/ 0 h 2682"/>
                  <a:gd name="T2" fmla="*/ 3078 w 3078"/>
                  <a:gd name="T3" fmla="*/ 157 h 2682"/>
                  <a:gd name="T4" fmla="*/ 3078 w 3078"/>
                  <a:gd name="T5" fmla="*/ 303 h 2682"/>
                  <a:gd name="T6" fmla="*/ 3078 w 3078"/>
                  <a:gd name="T7" fmla="*/ 315 h 2682"/>
                  <a:gd name="T8" fmla="*/ 3078 w 3078"/>
                  <a:gd name="T9" fmla="*/ 454 h 2682"/>
                  <a:gd name="T10" fmla="*/ 3077 w 3078"/>
                  <a:gd name="T11" fmla="*/ 597 h 2682"/>
                  <a:gd name="T12" fmla="*/ 3076 w 3078"/>
                  <a:gd name="T13" fmla="*/ 739 h 2682"/>
                  <a:gd name="T14" fmla="*/ 3072 w 3078"/>
                  <a:gd name="T15" fmla="*/ 755 h 2682"/>
                  <a:gd name="T16" fmla="*/ 3062 w 3078"/>
                  <a:gd name="T17" fmla="*/ 770 h 2682"/>
                  <a:gd name="T18" fmla="*/ 3050 w 3078"/>
                  <a:gd name="T19" fmla="*/ 787 h 2682"/>
                  <a:gd name="T20" fmla="*/ 3036 w 3078"/>
                  <a:gd name="T21" fmla="*/ 801 h 2682"/>
                  <a:gd name="T22" fmla="*/ 3023 w 3078"/>
                  <a:gd name="T23" fmla="*/ 814 h 2682"/>
                  <a:gd name="T24" fmla="*/ 1096 w 3078"/>
                  <a:gd name="T25" fmla="*/ 2666 h 2682"/>
                  <a:gd name="T26" fmla="*/ 1090 w 3078"/>
                  <a:gd name="T27" fmla="*/ 2669 h 2682"/>
                  <a:gd name="T28" fmla="*/ 1082 w 3078"/>
                  <a:gd name="T29" fmla="*/ 2673 h 2682"/>
                  <a:gd name="T30" fmla="*/ 1071 w 3078"/>
                  <a:gd name="T31" fmla="*/ 2676 h 2682"/>
                  <a:gd name="T32" fmla="*/ 1057 w 3078"/>
                  <a:gd name="T33" fmla="*/ 2682 h 2682"/>
                  <a:gd name="T34" fmla="*/ 531 w 3078"/>
                  <a:gd name="T35" fmla="*/ 2131 h 2682"/>
                  <a:gd name="T36" fmla="*/ 0 w 3078"/>
                  <a:gd name="T37" fmla="*/ 1576 h 2682"/>
                  <a:gd name="T38" fmla="*/ 83 w 3078"/>
                  <a:gd name="T39" fmla="*/ 1491 h 2682"/>
                  <a:gd name="T40" fmla="*/ 163 w 3078"/>
                  <a:gd name="T41" fmla="*/ 1408 h 2682"/>
                  <a:gd name="T42" fmla="*/ 240 w 3078"/>
                  <a:gd name="T43" fmla="*/ 1331 h 2682"/>
                  <a:gd name="T44" fmla="*/ 314 w 3078"/>
                  <a:gd name="T45" fmla="*/ 1256 h 2682"/>
                  <a:gd name="T46" fmla="*/ 383 w 3078"/>
                  <a:gd name="T47" fmla="*/ 1184 h 2682"/>
                  <a:gd name="T48" fmla="*/ 562 w 3078"/>
                  <a:gd name="T49" fmla="*/ 1347 h 2682"/>
                  <a:gd name="T50" fmla="*/ 739 w 3078"/>
                  <a:gd name="T51" fmla="*/ 1511 h 2682"/>
                  <a:gd name="T52" fmla="*/ 918 w 3078"/>
                  <a:gd name="T53" fmla="*/ 1674 h 2682"/>
                  <a:gd name="T54" fmla="*/ 1099 w 3078"/>
                  <a:gd name="T55" fmla="*/ 1840 h 2682"/>
                  <a:gd name="T56" fmla="*/ 1374 w 3078"/>
                  <a:gd name="T57" fmla="*/ 1584 h 2682"/>
                  <a:gd name="T58" fmla="*/ 1651 w 3078"/>
                  <a:gd name="T59" fmla="*/ 1326 h 2682"/>
                  <a:gd name="T60" fmla="*/ 1930 w 3078"/>
                  <a:gd name="T61" fmla="*/ 1066 h 2682"/>
                  <a:gd name="T62" fmla="*/ 2213 w 3078"/>
                  <a:gd name="T63" fmla="*/ 804 h 2682"/>
                  <a:gd name="T64" fmla="*/ 2498 w 3078"/>
                  <a:gd name="T65" fmla="*/ 539 h 2682"/>
                  <a:gd name="T66" fmla="*/ 2786 w 3078"/>
                  <a:gd name="T67" fmla="*/ 270 h 2682"/>
                  <a:gd name="T68" fmla="*/ 3078 w 3078"/>
                  <a:gd name="T69" fmla="*/ 0 h 2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8" h="2682">
                    <a:moveTo>
                      <a:pt x="3078" y="0"/>
                    </a:moveTo>
                    <a:lnTo>
                      <a:pt x="3078" y="157"/>
                    </a:lnTo>
                    <a:lnTo>
                      <a:pt x="3078" y="303"/>
                    </a:lnTo>
                    <a:lnTo>
                      <a:pt x="3078" y="315"/>
                    </a:lnTo>
                    <a:lnTo>
                      <a:pt x="3078" y="454"/>
                    </a:lnTo>
                    <a:lnTo>
                      <a:pt x="3077" y="597"/>
                    </a:lnTo>
                    <a:lnTo>
                      <a:pt x="3076" y="739"/>
                    </a:lnTo>
                    <a:lnTo>
                      <a:pt x="3072" y="755"/>
                    </a:lnTo>
                    <a:lnTo>
                      <a:pt x="3062" y="770"/>
                    </a:lnTo>
                    <a:lnTo>
                      <a:pt x="3050" y="787"/>
                    </a:lnTo>
                    <a:lnTo>
                      <a:pt x="3036" y="801"/>
                    </a:lnTo>
                    <a:lnTo>
                      <a:pt x="3023" y="814"/>
                    </a:lnTo>
                    <a:lnTo>
                      <a:pt x="1096" y="2666"/>
                    </a:lnTo>
                    <a:lnTo>
                      <a:pt x="1090" y="2669"/>
                    </a:lnTo>
                    <a:lnTo>
                      <a:pt x="1082" y="2673"/>
                    </a:lnTo>
                    <a:lnTo>
                      <a:pt x="1071" y="2676"/>
                    </a:lnTo>
                    <a:lnTo>
                      <a:pt x="1057" y="2682"/>
                    </a:lnTo>
                    <a:lnTo>
                      <a:pt x="531" y="2131"/>
                    </a:lnTo>
                    <a:lnTo>
                      <a:pt x="0" y="1576"/>
                    </a:lnTo>
                    <a:lnTo>
                      <a:pt x="83" y="1491"/>
                    </a:lnTo>
                    <a:lnTo>
                      <a:pt x="163" y="1408"/>
                    </a:lnTo>
                    <a:lnTo>
                      <a:pt x="240" y="1331"/>
                    </a:lnTo>
                    <a:lnTo>
                      <a:pt x="314" y="1256"/>
                    </a:lnTo>
                    <a:lnTo>
                      <a:pt x="383" y="1184"/>
                    </a:lnTo>
                    <a:lnTo>
                      <a:pt x="562" y="1347"/>
                    </a:lnTo>
                    <a:lnTo>
                      <a:pt x="739" y="1511"/>
                    </a:lnTo>
                    <a:lnTo>
                      <a:pt x="918" y="1674"/>
                    </a:lnTo>
                    <a:lnTo>
                      <a:pt x="1099" y="1840"/>
                    </a:lnTo>
                    <a:lnTo>
                      <a:pt x="1374" y="1584"/>
                    </a:lnTo>
                    <a:lnTo>
                      <a:pt x="1651" y="1326"/>
                    </a:lnTo>
                    <a:lnTo>
                      <a:pt x="1930" y="1066"/>
                    </a:lnTo>
                    <a:lnTo>
                      <a:pt x="2213" y="804"/>
                    </a:lnTo>
                    <a:lnTo>
                      <a:pt x="2498" y="539"/>
                    </a:lnTo>
                    <a:lnTo>
                      <a:pt x="2786" y="270"/>
                    </a:lnTo>
                    <a:lnTo>
                      <a:pt x="3078"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grpSp>
      </p:grpSp>
      <p:grpSp>
        <p:nvGrpSpPr>
          <p:cNvPr id="9" name="Group 8"/>
          <p:cNvGrpSpPr/>
          <p:nvPr/>
        </p:nvGrpSpPr>
        <p:grpSpPr>
          <a:xfrm>
            <a:off x="0" y="5138592"/>
            <a:ext cx="12740481" cy="1860869"/>
            <a:chOff x="0" y="5138592"/>
            <a:chExt cx="12740481" cy="1860869"/>
          </a:xfrm>
        </p:grpSpPr>
        <p:grpSp>
          <p:nvGrpSpPr>
            <p:cNvPr id="8" name="Group 7"/>
            <p:cNvGrpSpPr/>
            <p:nvPr/>
          </p:nvGrpSpPr>
          <p:grpSpPr>
            <a:xfrm>
              <a:off x="0" y="5930645"/>
              <a:ext cx="12435840" cy="1066854"/>
              <a:chOff x="0" y="5930645"/>
              <a:chExt cx="12435840" cy="1066854"/>
            </a:xfrm>
          </p:grpSpPr>
          <p:sp>
            <p:nvSpPr>
              <p:cNvPr id="184" name="Rectangle 183"/>
              <p:cNvSpPr>
                <a:spLocks noChangeArrowheads="1"/>
              </p:cNvSpPr>
              <p:nvPr/>
            </p:nvSpPr>
            <p:spPr bwMode="auto">
              <a:xfrm>
                <a:off x="0" y="6923987"/>
                <a:ext cx="12435840" cy="70538"/>
              </a:xfrm>
              <a:prstGeom prst="rect">
                <a:avLst/>
              </a:prstGeom>
              <a:solidFill>
                <a:schemeClr val="tx2"/>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396" name="Group 395"/>
              <p:cNvGrpSpPr/>
              <p:nvPr/>
            </p:nvGrpSpPr>
            <p:grpSpPr>
              <a:xfrm>
                <a:off x="0" y="5930645"/>
                <a:ext cx="876300" cy="1066854"/>
                <a:chOff x="-2019937" y="2909868"/>
                <a:chExt cx="1109663" cy="1350962"/>
              </a:xfrm>
            </p:grpSpPr>
            <p:sp>
              <p:nvSpPr>
                <p:cNvPr id="335" name="Freeform 275"/>
                <p:cNvSpPr>
                  <a:spLocks noEditPoints="1"/>
                </p:cNvSpPr>
                <p:nvPr/>
              </p:nvSpPr>
              <p:spPr bwMode="auto">
                <a:xfrm>
                  <a:off x="-2019937" y="2909868"/>
                  <a:ext cx="1109663" cy="1317625"/>
                </a:xfrm>
                <a:custGeom>
                  <a:avLst/>
                  <a:gdLst>
                    <a:gd name="T0" fmla="*/ 195 w 391"/>
                    <a:gd name="T1" fmla="*/ 0 h 466"/>
                    <a:gd name="T2" fmla="*/ 0 w 391"/>
                    <a:gd name="T3" fmla="*/ 195 h 466"/>
                    <a:gd name="T4" fmla="*/ 0 w 391"/>
                    <a:gd name="T5" fmla="*/ 466 h 466"/>
                    <a:gd name="T6" fmla="*/ 324 w 391"/>
                    <a:gd name="T7" fmla="*/ 466 h 466"/>
                    <a:gd name="T8" fmla="*/ 324 w 391"/>
                    <a:gd name="T9" fmla="*/ 402 h 466"/>
                    <a:gd name="T10" fmla="*/ 320 w 391"/>
                    <a:gd name="T11" fmla="*/ 402 h 466"/>
                    <a:gd name="T12" fmla="*/ 257 w 391"/>
                    <a:gd name="T13" fmla="*/ 365 h 466"/>
                    <a:gd name="T14" fmla="*/ 324 w 391"/>
                    <a:gd name="T15" fmla="*/ 365 h 466"/>
                    <a:gd name="T16" fmla="*/ 324 w 391"/>
                    <a:gd name="T17" fmla="*/ 310 h 466"/>
                    <a:gd name="T18" fmla="*/ 391 w 391"/>
                    <a:gd name="T19" fmla="*/ 310 h 466"/>
                    <a:gd name="T20" fmla="*/ 391 w 391"/>
                    <a:gd name="T21" fmla="*/ 195 h 466"/>
                    <a:gd name="T22" fmla="*/ 195 w 391"/>
                    <a:gd name="T23" fmla="*/ 0 h 466"/>
                    <a:gd name="T24" fmla="*/ 263 w 391"/>
                    <a:gd name="T25" fmla="*/ 243 h 466"/>
                    <a:gd name="T26" fmla="*/ 240 w 391"/>
                    <a:gd name="T27" fmla="*/ 220 h 466"/>
                    <a:gd name="T28" fmla="*/ 263 w 391"/>
                    <a:gd name="T29" fmla="*/ 197 h 466"/>
                    <a:gd name="T30" fmla="*/ 286 w 391"/>
                    <a:gd name="T31" fmla="*/ 220 h 466"/>
                    <a:gd name="T32" fmla="*/ 263 w 391"/>
                    <a:gd name="T33" fmla="*/ 243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466">
                      <a:moveTo>
                        <a:pt x="195" y="0"/>
                      </a:moveTo>
                      <a:cubicBezTo>
                        <a:pt x="87" y="0"/>
                        <a:pt x="0" y="87"/>
                        <a:pt x="0" y="195"/>
                      </a:cubicBezTo>
                      <a:cubicBezTo>
                        <a:pt x="0" y="466"/>
                        <a:pt x="0" y="466"/>
                        <a:pt x="0" y="466"/>
                      </a:cubicBezTo>
                      <a:cubicBezTo>
                        <a:pt x="324" y="466"/>
                        <a:pt x="324" y="466"/>
                        <a:pt x="324" y="466"/>
                      </a:cubicBezTo>
                      <a:cubicBezTo>
                        <a:pt x="324" y="402"/>
                        <a:pt x="324" y="402"/>
                        <a:pt x="324" y="402"/>
                      </a:cubicBezTo>
                      <a:cubicBezTo>
                        <a:pt x="323" y="402"/>
                        <a:pt x="322" y="402"/>
                        <a:pt x="320" y="402"/>
                      </a:cubicBezTo>
                      <a:cubicBezTo>
                        <a:pt x="293" y="402"/>
                        <a:pt x="270" y="387"/>
                        <a:pt x="257" y="365"/>
                      </a:cubicBezTo>
                      <a:cubicBezTo>
                        <a:pt x="324" y="365"/>
                        <a:pt x="324" y="365"/>
                        <a:pt x="324" y="365"/>
                      </a:cubicBezTo>
                      <a:cubicBezTo>
                        <a:pt x="324" y="310"/>
                        <a:pt x="324" y="310"/>
                        <a:pt x="324" y="310"/>
                      </a:cubicBezTo>
                      <a:cubicBezTo>
                        <a:pt x="391" y="310"/>
                        <a:pt x="391" y="310"/>
                        <a:pt x="391" y="310"/>
                      </a:cubicBezTo>
                      <a:cubicBezTo>
                        <a:pt x="391" y="195"/>
                        <a:pt x="391" y="195"/>
                        <a:pt x="391" y="195"/>
                      </a:cubicBezTo>
                      <a:cubicBezTo>
                        <a:pt x="391" y="87"/>
                        <a:pt x="303" y="0"/>
                        <a:pt x="195" y="0"/>
                      </a:cubicBezTo>
                      <a:close/>
                      <a:moveTo>
                        <a:pt x="263" y="243"/>
                      </a:moveTo>
                      <a:cubicBezTo>
                        <a:pt x="250" y="243"/>
                        <a:pt x="240" y="232"/>
                        <a:pt x="240" y="220"/>
                      </a:cubicBezTo>
                      <a:cubicBezTo>
                        <a:pt x="240" y="207"/>
                        <a:pt x="250" y="197"/>
                        <a:pt x="263" y="197"/>
                      </a:cubicBezTo>
                      <a:cubicBezTo>
                        <a:pt x="275" y="197"/>
                        <a:pt x="286" y="207"/>
                        <a:pt x="286" y="220"/>
                      </a:cubicBezTo>
                      <a:cubicBezTo>
                        <a:pt x="286" y="232"/>
                        <a:pt x="275" y="243"/>
                        <a:pt x="263" y="24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36" name="Freeform 276"/>
                <p:cNvSpPr>
                  <a:spLocks/>
                </p:cNvSpPr>
                <p:nvPr/>
              </p:nvSpPr>
              <p:spPr bwMode="auto">
                <a:xfrm>
                  <a:off x="-1824674" y="2979718"/>
                  <a:ext cx="709613" cy="400050"/>
                </a:xfrm>
                <a:custGeom>
                  <a:avLst/>
                  <a:gdLst>
                    <a:gd name="T0" fmla="*/ 41 w 250"/>
                    <a:gd name="T1" fmla="*/ 59 h 141"/>
                    <a:gd name="T2" fmla="*/ 45 w 250"/>
                    <a:gd name="T3" fmla="*/ 59 h 141"/>
                    <a:gd name="T4" fmla="*/ 41 w 250"/>
                    <a:gd name="T5" fmla="*/ 41 h 141"/>
                    <a:gd name="T6" fmla="*/ 82 w 250"/>
                    <a:gd name="T7" fmla="*/ 0 h 141"/>
                    <a:gd name="T8" fmla="*/ 123 w 250"/>
                    <a:gd name="T9" fmla="*/ 36 h 141"/>
                    <a:gd name="T10" fmla="*/ 153 w 250"/>
                    <a:gd name="T11" fmla="*/ 23 h 141"/>
                    <a:gd name="T12" fmla="*/ 194 w 250"/>
                    <a:gd name="T13" fmla="*/ 62 h 141"/>
                    <a:gd name="T14" fmla="*/ 208 w 250"/>
                    <a:gd name="T15" fmla="*/ 59 h 141"/>
                    <a:gd name="T16" fmla="*/ 250 w 250"/>
                    <a:gd name="T17" fmla="*/ 100 h 141"/>
                    <a:gd name="T18" fmla="*/ 208 w 250"/>
                    <a:gd name="T19" fmla="*/ 141 h 141"/>
                    <a:gd name="T20" fmla="*/ 41 w 250"/>
                    <a:gd name="T21" fmla="*/ 141 h 141"/>
                    <a:gd name="T22" fmla="*/ 0 w 250"/>
                    <a:gd name="T23" fmla="*/ 100 h 141"/>
                    <a:gd name="T24" fmla="*/ 41 w 250"/>
                    <a:gd name="T25" fmla="*/ 5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141">
                      <a:moveTo>
                        <a:pt x="41" y="59"/>
                      </a:moveTo>
                      <a:cubicBezTo>
                        <a:pt x="42" y="59"/>
                        <a:pt x="44" y="59"/>
                        <a:pt x="45" y="59"/>
                      </a:cubicBezTo>
                      <a:cubicBezTo>
                        <a:pt x="43" y="54"/>
                        <a:pt x="41" y="48"/>
                        <a:pt x="41" y="41"/>
                      </a:cubicBezTo>
                      <a:cubicBezTo>
                        <a:pt x="41" y="19"/>
                        <a:pt x="59" y="0"/>
                        <a:pt x="82" y="0"/>
                      </a:cubicBezTo>
                      <a:cubicBezTo>
                        <a:pt x="103" y="0"/>
                        <a:pt x="120" y="16"/>
                        <a:pt x="123" y="36"/>
                      </a:cubicBezTo>
                      <a:cubicBezTo>
                        <a:pt x="130" y="28"/>
                        <a:pt x="141" y="23"/>
                        <a:pt x="153" y="23"/>
                      </a:cubicBezTo>
                      <a:cubicBezTo>
                        <a:pt x="175" y="23"/>
                        <a:pt x="193" y="40"/>
                        <a:pt x="194" y="62"/>
                      </a:cubicBezTo>
                      <a:cubicBezTo>
                        <a:pt x="199" y="60"/>
                        <a:pt x="203" y="59"/>
                        <a:pt x="208" y="59"/>
                      </a:cubicBezTo>
                      <a:cubicBezTo>
                        <a:pt x="231" y="59"/>
                        <a:pt x="250" y="78"/>
                        <a:pt x="250" y="100"/>
                      </a:cubicBezTo>
                      <a:cubicBezTo>
                        <a:pt x="250" y="123"/>
                        <a:pt x="231" y="141"/>
                        <a:pt x="208" y="141"/>
                      </a:cubicBezTo>
                      <a:cubicBezTo>
                        <a:pt x="41" y="141"/>
                        <a:pt x="41" y="141"/>
                        <a:pt x="41" y="141"/>
                      </a:cubicBezTo>
                      <a:cubicBezTo>
                        <a:pt x="18" y="141"/>
                        <a:pt x="0" y="123"/>
                        <a:pt x="0" y="100"/>
                      </a:cubicBezTo>
                      <a:cubicBezTo>
                        <a:pt x="0" y="78"/>
                        <a:pt x="18" y="59"/>
                        <a:pt x="41"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37" name="Rectangle 277"/>
                <p:cNvSpPr>
                  <a:spLocks noChangeArrowheads="1"/>
                </p:cNvSpPr>
                <p:nvPr/>
              </p:nvSpPr>
              <p:spPr bwMode="auto">
                <a:xfrm>
                  <a:off x="-1426211" y="4079855"/>
                  <a:ext cx="176213" cy="180975"/>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38" name="Rectangle 278"/>
                <p:cNvSpPr>
                  <a:spLocks noChangeArrowheads="1"/>
                </p:cNvSpPr>
                <p:nvPr/>
              </p:nvSpPr>
              <p:spPr bwMode="auto">
                <a:xfrm>
                  <a:off x="-1673862" y="3727430"/>
                  <a:ext cx="176213" cy="533400"/>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39" name="Rectangle 279"/>
                <p:cNvSpPr>
                  <a:spLocks noChangeArrowheads="1"/>
                </p:cNvSpPr>
                <p:nvPr/>
              </p:nvSpPr>
              <p:spPr bwMode="auto">
                <a:xfrm>
                  <a:off x="-1653224" y="3757593"/>
                  <a:ext cx="19050"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40" name="Rectangle 280"/>
                <p:cNvSpPr>
                  <a:spLocks noChangeArrowheads="1"/>
                </p:cNvSpPr>
                <p:nvPr/>
              </p:nvSpPr>
              <p:spPr bwMode="auto">
                <a:xfrm>
                  <a:off x="-1613537" y="3757593"/>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41" name="Rectangle 281"/>
                <p:cNvSpPr>
                  <a:spLocks noChangeArrowheads="1"/>
                </p:cNvSpPr>
                <p:nvPr/>
              </p:nvSpPr>
              <p:spPr bwMode="auto">
                <a:xfrm>
                  <a:off x="-1577024" y="3757593"/>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42" name="Rectangle 282"/>
                <p:cNvSpPr>
                  <a:spLocks noChangeArrowheads="1"/>
                </p:cNvSpPr>
                <p:nvPr/>
              </p:nvSpPr>
              <p:spPr bwMode="auto">
                <a:xfrm>
                  <a:off x="-1540512" y="3757593"/>
                  <a:ext cx="20638"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43" name="Rectangle 283"/>
                <p:cNvSpPr>
                  <a:spLocks noChangeArrowheads="1"/>
                </p:cNvSpPr>
                <p:nvPr/>
              </p:nvSpPr>
              <p:spPr bwMode="auto">
                <a:xfrm>
                  <a:off x="-1653224" y="3808393"/>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44" name="Rectangle 284"/>
                <p:cNvSpPr>
                  <a:spLocks noChangeArrowheads="1"/>
                </p:cNvSpPr>
                <p:nvPr/>
              </p:nvSpPr>
              <p:spPr bwMode="auto">
                <a:xfrm>
                  <a:off x="-1613537" y="3808393"/>
                  <a:ext cx="15875"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45" name="Rectangle 285"/>
                <p:cNvSpPr>
                  <a:spLocks noChangeArrowheads="1"/>
                </p:cNvSpPr>
                <p:nvPr/>
              </p:nvSpPr>
              <p:spPr bwMode="auto">
                <a:xfrm>
                  <a:off x="-1577024" y="3808393"/>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46" name="Rectangle 286"/>
                <p:cNvSpPr>
                  <a:spLocks noChangeArrowheads="1"/>
                </p:cNvSpPr>
                <p:nvPr/>
              </p:nvSpPr>
              <p:spPr bwMode="auto">
                <a:xfrm>
                  <a:off x="-1540512" y="3808393"/>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47" name="Rectangle 287"/>
                <p:cNvSpPr>
                  <a:spLocks noChangeArrowheads="1"/>
                </p:cNvSpPr>
                <p:nvPr/>
              </p:nvSpPr>
              <p:spPr bwMode="auto">
                <a:xfrm>
                  <a:off x="-1653224" y="3859193"/>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48" name="Rectangle 288"/>
                <p:cNvSpPr>
                  <a:spLocks noChangeArrowheads="1"/>
                </p:cNvSpPr>
                <p:nvPr/>
              </p:nvSpPr>
              <p:spPr bwMode="auto">
                <a:xfrm>
                  <a:off x="-1613537" y="3859193"/>
                  <a:ext cx="15875"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49" name="Rectangle 289"/>
                <p:cNvSpPr>
                  <a:spLocks noChangeArrowheads="1"/>
                </p:cNvSpPr>
                <p:nvPr/>
              </p:nvSpPr>
              <p:spPr bwMode="auto">
                <a:xfrm>
                  <a:off x="-1577024" y="3859193"/>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50" name="Rectangle 290"/>
                <p:cNvSpPr>
                  <a:spLocks noChangeArrowheads="1"/>
                </p:cNvSpPr>
                <p:nvPr/>
              </p:nvSpPr>
              <p:spPr bwMode="auto">
                <a:xfrm>
                  <a:off x="-1540512" y="3859193"/>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51" name="Rectangle 291"/>
                <p:cNvSpPr>
                  <a:spLocks noChangeArrowheads="1"/>
                </p:cNvSpPr>
                <p:nvPr/>
              </p:nvSpPr>
              <p:spPr bwMode="auto">
                <a:xfrm>
                  <a:off x="-1653224" y="3909993"/>
                  <a:ext cx="19050"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52" name="Rectangle 292"/>
                <p:cNvSpPr>
                  <a:spLocks noChangeArrowheads="1"/>
                </p:cNvSpPr>
                <p:nvPr/>
              </p:nvSpPr>
              <p:spPr bwMode="auto">
                <a:xfrm>
                  <a:off x="-1613537" y="3909993"/>
                  <a:ext cx="15875" cy="3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53" name="Rectangle 293"/>
                <p:cNvSpPr>
                  <a:spLocks noChangeArrowheads="1"/>
                </p:cNvSpPr>
                <p:nvPr/>
              </p:nvSpPr>
              <p:spPr bwMode="auto">
                <a:xfrm>
                  <a:off x="-1577024" y="3909993"/>
                  <a:ext cx="17463" cy="3175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54" name="Rectangle 294"/>
                <p:cNvSpPr>
                  <a:spLocks noChangeArrowheads="1"/>
                </p:cNvSpPr>
                <p:nvPr/>
              </p:nvSpPr>
              <p:spPr bwMode="auto">
                <a:xfrm>
                  <a:off x="-1540512" y="3909993"/>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55" name="Rectangle 295"/>
                <p:cNvSpPr>
                  <a:spLocks noChangeArrowheads="1"/>
                </p:cNvSpPr>
                <p:nvPr/>
              </p:nvSpPr>
              <p:spPr bwMode="auto">
                <a:xfrm>
                  <a:off x="-1653224" y="3960793"/>
                  <a:ext cx="19050"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56" name="Rectangle 296"/>
                <p:cNvSpPr>
                  <a:spLocks noChangeArrowheads="1"/>
                </p:cNvSpPr>
                <p:nvPr/>
              </p:nvSpPr>
              <p:spPr bwMode="auto">
                <a:xfrm>
                  <a:off x="-1613537" y="3960793"/>
                  <a:ext cx="15875"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57" name="Rectangle 297"/>
                <p:cNvSpPr>
                  <a:spLocks noChangeArrowheads="1"/>
                </p:cNvSpPr>
                <p:nvPr/>
              </p:nvSpPr>
              <p:spPr bwMode="auto">
                <a:xfrm>
                  <a:off x="-1577024" y="3960793"/>
                  <a:ext cx="17463"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58" name="Rectangle 298"/>
                <p:cNvSpPr>
                  <a:spLocks noChangeArrowheads="1"/>
                </p:cNvSpPr>
                <p:nvPr/>
              </p:nvSpPr>
              <p:spPr bwMode="auto">
                <a:xfrm>
                  <a:off x="-1540512" y="3960793"/>
                  <a:ext cx="20638" cy="317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59" name="Rectangle 299"/>
                <p:cNvSpPr>
                  <a:spLocks noChangeArrowheads="1"/>
                </p:cNvSpPr>
                <p:nvPr/>
              </p:nvSpPr>
              <p:spPr bwMode="auto">
                <a:xfrm>
                  <a:off x="-1653224" y="4013180"/>
                  <a:ext cx="19050" cy="301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60" name="Rectangle 300"/>
                <p:cNvSpPr>
                  <a:spLocks noChangeArrowheads="1"/>
                </p:cNvSpPr>
                <p:nvPr/>
              </p:nvSpPr>
              <p:spPr bwMode="auto">
                <a:xfrm>
                  <a:off x="-1613537" y="4013180"/>
                  <a:ext cx="15875" cy="3016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61" name="Rectangle 301"/>
                <p:cNvSpPr>
                  <a:spLocks noChangeArrowheads="1"/>
                </p:cNvSpPr>
                <p:nvPr/>
              </p:nvSpPr>
              <p:spPr bwMode="auto">
                <a:xfrm>
                  <a:off x="-1577024" y="4013180"/>
                  <a:ext cx="17463" cy="301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62" name="Rectangle 302"/>
                <p:cNvSpPr>
                  <a:spLocks noChangeArrowheads="1"/>
                </p:cNvSpPr>
                <p:nvPr/>
              </p:nvSpPr>
              <p:spPr bwMode="auto">
                <a:xfrm>
                  <a:off x="-1540512" y="4013180"/>
                  <a:ext cx="20638" cy="3016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63" name="Rectangle 303"/>
                <p:cNvSpPr>
                  <a:spLocks noChangeArrowheads="1"/>
                </p:cNvSpPr>
                <p:nvPr/>
              </p:nvSpPr>
              <p:spPr bwMode="auto">
                <a:xfrm>
                  <a:off x="-1653224" y="4063980"/>
                  <a:ext cx="19050" cy="3016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64" name="Rectangle 304"/>
                <p:cNvSpPr>
                  <a:spLocks noChangeArrowheads="1"/>
                </p:cNvSpPr>
                <p:nvPr/>
              </p:nvSpPr>
              <p:spPr bwMode="auto">
                <a:xfrm>
                  <a:off x="-1613537" y="4063980"/>
                  <a:ext cx="15875" cy="301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65" name="Rectangle 305"/>
                <p:cNvSpPr>
                  <a:spLocks noChangeArrowheads="1"/>
                </p:cNvSpPr>
                <p:nvPr/>
              </p:nvSpPr>
              <p:spPr bwMode="auto">
                <a:xfrm>
                  <a:off x="-1577024" y="4063980"/>
                  <a:ext cx="17463" cy="3016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66" name="Rectangle 306"/>
                <p:cNvSpPr>
                  <a:spLocks noChangeArrowheads="1"/>
                </p:cNvSpPr>
                <p:nvPr/>
              </p:nvSpPr>
              <p:spPr bwMode="auto">
                <a:xfrm>
                  <a:off x="-1540512" y="4063980"/>
                  <a:ext cx="20638" cy="301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67" name="Rectangle 307"/>
                <p:cNvSpPr>
                  <a:spLocks noChangeArrowheads="1"/>
                </p:cNvSpPr>
                <p:nvPr/>
              </p:nvSpPr>
              <p:spPr bwMode="auto">
                <a:xfrm>
                  <a:off x="-1653224" y="4114780"/>
                  <a:ext cx="19050" cy="301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68" name="Rectangle 308"/>
                <p:cNvSpPr>
                  <a:spLocks noChangeArrowheads="1"/>
                </p:cNvSpPr>
                <p:nvPr/>
              </p:nvSpPr>
              <p:spPr bwMode="auto">
                <a:xfrm>
                  <a:off x="-1613537" y="4114780"/>
                  <a:ext cx="15875" cy="301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69" name="Rectangle 309"/>
                <p:cNvSpPr>
                  <a:spLocks noChangeArrowheads="1"/>
                </p:cNvSpPr>
                <p:nvPr/>
              </p:nvSpPr>
              <p:spPr bwMode="auto">
                <a:xfrm>
                  <a:off x="-1577024" y="4114780"/>
                  <a:ext cx="17463" cy="301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70" name="Rectangle 310"/>
                <p:cNvSpPr>
                  <a:spLocks noChangeArrowheads="1"/>
                </p:cNvSpPr>
                <p:nvPr/>
              </p:nvSpPr>
              <p:spPr bwMode="auto">
                <a:xfrm>
                  <a:off x="-1540512" y="4114780"/>
                  <a:ext cx="20638" cy="301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71" name="Rectangle 311"/>
                <p:cNvSpPr>
                  <a:spLocks noChangeArrowheads="1"/>
                </p:cNvSpPr>
                <p:nvPr/>
              </p:nvSpPr>
              <p:spPr bwMode="auto">
                <a:xfrm>
                  <a:off x="-1653224" y="4165580"/>
                  <a:ext cx="19050" cy="301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72" name="Rectangle 312"/>
                <p:cNvSpPr>
                  <a:spLocks noChangeArrowheads="1"/>
                </p:cNvSpPr>
                <p:nvPr/>
              </p:nvSpPr>
              <p:spPr bwMode="auto">
                <a:xfrm>
                  <a:off x="-1613537" y="4165580"/>
                  <a:ext cx="15875" cy="3016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73" name="Rectangle 313"/>
                <p:cNvSpPr>
                  <a:spLocks noChangeArrowheads="1"/>
                </p:cNvSpPr>
                <p:nvPr/>
              </p:nvSpPr>
              <p:spPr bwMode="auto">
                <a:xfrm>
                  <a:off x="-1577024" y="4165580"/>
                  <a:ext cx="17463" cy="301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74" name="Rectangle 314"/>
                <p:cNvSpPr>
                  <a:spLocks noChangeArrowheads="1"/>
                </p:cNvSpPr>
                <p:nvPr/>
              </p:nvSpPr>
              <p:spPr bwMode="auto">
                <a:xfrm>
                  <a:off x="-1540512" y="4165580"/>
                  <a:ext cx="20638" cy="30162"/>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75" name="Rectangle 315"/>
                <p:cNvSpPr>
                  <a:spLocks noChangeArrowheads="1"/>
                </p:cNvSpPr>
                <p:nvPr/>
              </p:nvSpPr>
              <p:spPr bwMode="auto">
                <a:xfrm>
                  <a:off x="-1931037" y="3895705"/>
                  <a:ext cx="174625" cy="365125"/>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76" name="Rectangle 316"/>
                <p:cNvSpPr>
                  <a:spLocks noChangeArrowheads="1"/>
                </p:cNvSpPr>
                <p:nvPr/>
              </p:nvSpPr>
              <p:spPr bwMode="auto">
                <a:xfrm>
                  <a:off x="-1905637" y="3941743"/>
                  <a:ext cx="19050"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77" name="Rectangle 317"/>
                <p:cNvSpPr>
                  <a:spLocks noChangeArrowheads="1"/>
                </p:cNvSpPr>
                <p:nvPr/>
              </p:nvSpPr>
              <p:spPr bwMode="auto">
                <a:xfrm>
                  <a:off x="-1872299" y="3941743"/>
                  <a:ext cx="20638"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78" name="Rectangle 318"/>
                <p:cNvSpPr>
                  <a:spLocks noChangeArrowheads="1"/>
                </p:cNvSpPr>
                <p:nvPr/>
              </p:nvSpPr>
              <p:spPr bwMode="auto">
                <a:xfrm>
                  <a:off x="-1837374" y="3941743"/>
                  <a:ext cx="19050"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79" name="Rectangle 319"/>
                <p:cNvSpPr>
                  <a:spLocks noChangeArrowheads="1"/>
                </p:cNvSpPr>
                <p:nvPr/>
              </p:nvSpPr>
              <p:spPr bwMode="auto">
                <a:xfrm>
                  <a:off x="-1804037" y="3941743"/>
                  <a:ext cx="20638" cy="285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80" name="Rectangle 320"/>
                <p:cNvSpPr>
                  <a:spLocks noChangeArrowheads="1"/>
                </p:cNvSpPr>
                <p:nvPr/>
              </p:nvSpPr>
              <p:spPr bwMode="auto">
                <a:xfrm>
                  <a:off x="-1397636" y="4094143"/>
                  <a:ext cx="19050"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81" name="Rectangle 321"/>
                <p:cNvSpPr>
                  <a:spLocks noChangeArrowheads="1"/>
                </p:cNvSpPr>
                <p:nvPr/>
              </p:nvSpPr>
              <p:spPr bwMode="auto">
                <a:xfrm>
                  <a:off x="-1364299" y="4094143"/>
                  <a:ext cx="20638"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82" name="Rectangle 322"/>
                <p:cNvSpPr>
                  <a:spLocks noChangeArrowheads="1"/>
                </p:cNvSpPr>
                <p:nvPr/>
              </p:nvSpPr>
              <p:spPr bwMode="auto">
                <a:xfrm>
                  <a:off x="-1330961" y="4094143"/>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83" name="Rectangle 323"/>
                <p:cNvSpPr>
                  <a:spLocks noChangeArrowheads="1"/>
                </p:cNvSpPr>
                <p:nvPr/>
              </p:nvSpPr>
              <p:spPr bwMode="auto">
                <a:xfrm>
                  <a:off x="-1296036" y="4094143"/>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84" name="Rectangle 324"/>
                <p:cNvSpPr>
                  <a:spLocks noChangeArrowheads="1"/>
                </p:cNvSpPr>
                <p:nvPr/>
              </p:nvSpPr>
              <p:spPr bwMode="auto">
                <a:xfrm>
                  <a:off x="-1397636" y="4144943"/>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85" name="Rectangle 325"/>
                <p:cNvSpPr>
                  <a:spLocks noChangeArrowheads="1"/>
                </p:cNvSpPr>
                <p:nvPr/>
              </p:nvSpPr>
              <p:spPr bwMode="auto">
                <a:xfrm>
                  <a:off x="-1364299" y="4144943"/>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86" name="Rectangle 326"/>
                <p:cNvSpPr>
                  <a:spLocks noChangeArrowheads="1"/>
                </p:cNvSpPr>
                <p:nvPr/>
              </p:nvSpPr>
              <p:spPr bwMode="auto">
                <a:xfrm>
                  <a:off x="-1330961" y="4144943"/>
                  <a:ext cx="20638"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87" name="Rectangle 327"/>
                <p:cNvSpPr>
                  <a:spLocks noChangeArrowheads="1"/>
                </p:cNvSpPr>
                <p:nvPr/>
              </p:nvSpPr>
              <p:spPr bwMode="auto">
                <a:xfrm>
                  <a:off x="-1296036" y="4144943"/>
                  <a:ext cx="19050"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88" name="Rectangle 328"/>
                <p:cNvSpPr>
                  <a:spLocks noChangeArrowheads="1"/>
                </p:cNvSpPr>
                <p:nvPr/>
              </p:nvSpPr>
              <p:spPr bwMode="auto">
                <a:xfrm>
                  <a:off x="-1397636" y="4195743"/>
                  <a:ext cx="19050" cy="28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89" name="Rectangle 329"/>
                <p:cNvSpPr>
                  <a:spLocks noChangeArrowheads="1"/>
                </p:cNvSpPr>
                <p:nvPr/>
              </p:nvSpPr>
              <p:spPr bwMode="auto">
                <a:xfrm>
                  <a:off x="-1364299" y="4195743"/>
                  <a:ext cx="20638"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90" name="Rectangle 330"/>
                <p:cNvSpPr>
                  <a:spLocks noChangeArrowheads="1"/>
                </p:cNvSpPr>
                <p:nvPr/>
              </p:nvSpPr>
              <p:spPr bwMode="auto">
                <a:xfrm>
                  <a:off x="-1330961" y="4195743"/>
                  <a:ext cx="20638" cy="2857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91" name="Rectangle 331"/>
                <p:cNvSpPr>
                  <a:spLocks noChangeArrowheads="1"/>
                </p:cNvSpPr>
                <p:nvPr/>
              </p:nvSpPr>
              <p:spPr bwMode="auto">
                <a:xfrm>
                  <a:off x="-1296036" y="4195743"/>
                  <a:ext cx="19050" cy="285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92" name="Freeform 332"/>
                <p:cNvSpPr>
                  <a:spLocks/>
                </p:cNvSpPr>
                <p:nvPr/>
              </p:nvSpPr>
              <p:spPr bwMode="auto">
                <a:xfrm>
                  <a:off x="-1850074" y="3379768"/>
                  <a:ext cx="225425" cy="515937"/>
                </a:xfrm>
                <a:custGeom>
                  <a:avLst/>
                  <a:gdLst>
                    <a:gd name="T0" fmla="*/ 3 w 79"/>
                    <a:gd name="T1" fmla="*/ 183 h 183"/>
                    <a:gd name="T2" fmla="*/ 0 w 79"/>
                    <a:gd name="T3" fmla="*/ 183 h 183"/>
                    <a:gd name="T4" fmla="*/ 0 w 79"/>
                    <a:gd name="T5" fmla="*/ 92 h 183"/>
                    <a:gd name="T6" fmla="*/ 32 w 79"/>
                    <a:gd name="T7" fmla="*/ 60 h 183"/>
                    <a:gd name="T8" fmla="*/ 48 w 79"/>
                    <a:gd name="T9" fmla="*/ 60 h 183"/>
                    <a:gd name="T10" fmla="*/ 76 w 79"/>
                    <a:gd name="T11" fmla="*/ 32 h 183"/>
                    <a:gd name="T12" fmla="*/ 76 w 79"/>
                    <a:gd name="T13" fmla="*/ 0 h 183"/>
                    <a:gd name="T14" fmla="*/ 79 w 79"/>
                    <a:gd name="T15" fmla="*/ 0 h 183"/>
                    <a:gd name="T16" fmla="*/ 79 w 79"/>
                    <a:gd name="T17" fmla="*/ 32 h 183"/>
                    <a:gd name="T18" fmla="*/ 48 w 79"/>
                    <a:gd name="T19" fmla="*/ 63 h 183"/>
                    <a:gd name="T20" fmla="*/ 32 w 79"/>
                    <a:gd name="T21" fmla="*/ 63 h 183"/>
                    <a:gd name="T22" fmla="*/ 3 w 79"/>
                    <a:gd name="T23" fmla="*/ 92 h 183"/>
                    <a:gd name="T24" fmla="*/ 3 w 79"/>
                    <a:gd name="T2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83">
                      <a:moveTo>
                        <a:pt x="3" y="183"/>
                      </a:moveTo>
                      <a:cubicBezTo>
                        <a:pt x="0" y="183"/>
                        <a:pt x="0" y="183"/>
                        <a:pt x="0" y="183"/>
                      </a:cubicBezTo>
                      <a:cubicBezTo>
                        <a:pt x="0" y="92"/>
                        <a:pt x="0" y="92"/>
                        <a:pt x="0" y="92"/>
                      </a:cubicBezTo>
                      <a:cubicBezTo>
                        <a:pt x="0" y="74"/>
                        <a:pt x="14" y="60"/>
                        <a:pt x="32" y="60"/>
                      </a:cubicBezTo>
                      <a:cubicBezTo>
                        <a:pt x="48" y="60"/>
                        <a:pt x="48" y="60"/>
                        <a:pt x="48" y="60"/>
                      </a:cubicBezTo>
                      <a:cubicBezTo>
                        <a:pt x="63" y="60"/>
                        <a:pt x="76" y="48"/>
                        <a:pt x="76" y="32"/>
                      </a:cubicBezTo>
                      <a:cubicBezTo>
                        <a:pt x="76" y="0"/>
                        <a:pt x="76" y="0"/>
                        <a:pt x="76" y="0"/>
                      </a:cubicBezTo>
                      <a:cubicBezTo>
                        <a:pt x="79" y="0"/>
                        <a:pt x="79" y="0"/>
                        <a:pt x="79" y="0"/>
                      </a:cubicBezTo>
                      <a:cubicBezTo>
                        <a:pt x="79" y="32"/>
                        <a:pt x="79" y="32"/>
                        <a:pt x="79" y="32"/>
                      </a:cubicBezTo>
                      <a:cubicBezTo>
                        <a:pt x="79" y="49"/>
                        <a:pt x="65" y="63"/>
                        <a:pt x="48" y="63"/>
                      </a:cubicBezTo>
                      <a:cubicBezTo>
                        <a:pt x="32" y="63"/>
                        <a:pt x="32" y="63"/>
                        <a:pt x="32" y="63"/>
                      </a:cubicBezTo>
                      <a:cubicBezTo>
                        <a:pt x="16" y="63"/>
                        <a:pt x="3" y="76"/>
                        <a:pt x="3" y="92"/>
                      </a:cubicBezTo>
                      <a:lnTo>
                        <a:pt x="3" y="18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93" name="Freeform 333"/>
                <p:cNvSpPr>
                  <a:spLocks/>
                </p:cNvSpPr>
                <p:nvPr/>
              </p:nvSpPr>
              <p:spPr bwMode="auto">
                <a:xfrm>
                  <a:off x="-1435736" y="3379768"/>
                  <a:ext cx="117475" cy="696912"/>
                </a:xfrm>
                <a:custGeom>
                  <a:avLst/>
                  <a:gdLst>
                    <a:gd name="T0" fmla="*/ 41 w 41"/>
                    <a:gd name="T1" fmla="*/ 247 h 247"/>
                    <a:gd name="T2" fmla="*/ 38 w 41"/>
                    <a:gd name="T3" fmla="*/ 247 h 247"/>
                    <a:gd name="T4" fmla="*/ 38 w 41"/>
                    <a:gd name="T5" fmla="*/ 123 h 247"/>
                    <a:gd name="T6" fmla="*/ 21 w 41"/>
                    <a:gd name="T7" fmla="*/ 106 h 247"/>
                    <a:gd name="T8" fmla="*/ 20 w 41"/>
                    <a:gd name="T9" fmla="*/ 106 h 247"/>
                    <a:gd name="T10" fmla="*/ 0 w 41"/>
                    <a:gd name="T11" fmla="*/ 86 h 247"/>
                    <a:gd name="T12" fmla="*/ 0 w 41"/>
                    <a:gd name="T13" fmla="*/ 0 h 247"/>
                    <a:gd name="T14" fmla="*/ 3 w 41"/>
                    <a:gd name="T15" fmla="*/ 0 h 247"/>
                    <a:gd name="T16" fmla="*/ 3 w 41"/>
                    <a:gd name="T17" fmla="*/ 86 h 247"/>
                    <a:gd name="T18" fmla="*/ 20 w 41"/>
                    <a:gd name="T19" fmla="*/ 103 h 247"/>
                    <a:gd name="T20" fmla="*/ 21 w 41"/>
                    <a:gd name="T21" fmla="*/ 103 h 247"/>
                    <a:gd name="T22" fmla="*/ 41 w 41"/>
                    <a:gd name="T23" fmla="*/ 123 h 247"/>
                    <a:gd name="T24" fmla="*/ 41 w 41"/>
                    <a:gd name="T25" fmla="*/ 24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247">
                      <a:moveTo>
                        <a:pt x="41" y="247"/>
                      </a:moveTo>
                      <a:cubicBezTo>
                        <a:pt x="38" y="247"/>
                        <a:pt x="38" y="247"/>
                        <a:pt x="38" y="247"/>
                      </a:cubicBezTo>
                      <a:cubicBezTo>
                        <a:pt x="38" y="123"/>
                        <a:pt x="38" y="123"/>
                        <a:pt x="38" y="123"/>
                      </a:cubicBezTo>
                      <a:cubicBezTo>
                        <a:pt x="38" y="113"/>
                        <a:pt x="31" y="106"/>
                        <a:pt x="21" y="106"/>
                      </a:cubicBezTo>
                      <a:cubicBezTo>
                        <a:pt x="20" y="106"/>
                        <a:pt x="20" y="106"/>
                        <a:pt x="20" y="106"/>
                      </a:cubicBezTo>
                      <a:cubicBezTo>
                        <a:pt x="9" y="106"/>
                        <a:pt x="0" y="97"/>
                        <a:pt x="0" y="86"/>
                      </a:cubicBezTo>
                      <a:cubicBezTo>
                        <a:pt x="0" y="0"/>
                        <a:pt x="0" y="0"/>
                        <a:pt x="0" y="0"/>
                      </a:cubicBezTo>
                      <a:cubicBezTo>
                        <a:pt x="3" y="0"/>
                        <a:pt x="3" y="0"/>
                        <a:pt x="3" y="0"/>
                      </a:cubicBezTo>
                      <a:cubicBezTo>
                        <a:pt x="3" y="86"/>
                        <a:pt x="3" y="86"/>
                        <a:pt x="3" y="86"/>
                      </a:cubicBezTo>
                      <a:cubicBezTo>
                        <a:pt x="3" y="95"/>
                        <a:pt x="11" y="103"/>
                        <a:pt x="20" y="103"/>
                      </a:cubicBezTo>
                      <a:cubicBezTo>
                        <a:pt x="21" y="103"/>
                        <a:pt x="21" y="103"/>
                        <a:pt x="21" y="103"/>
                      </a:cubicBezTo>
                      <a:cubicBezTo>
                        <a:pt x="32" y="103"/>
                        <a:pt x="41" y="112"/>
                        <a:pt x="41" y="123"/>
                      </a:cubicBezTo>
                      <a:lnTo>
                        <a:pt x="41" y="24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94" name="Rectangle 334"/>
                <p:cNvSpPr>
                  <a:spLocks noChangeArrowheads="1"/>
                </p:cNvSpPr>
                <p:nvPr/>
              </p:nvSpPr>
              <p:spPr bwMode="auto">
                <a:xfrm>
                  <a:off x="-1562737" y="3379768"/>
                  <a:ext cx="7938" cy="3476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grpSp>
          <p:nvGrpSpPr>
            <p:cNvPr id="397" name="Group 396"/>
            <p:cNvGrpSpPr/>
            <p:nvPr/>
          </p:nvGrpSpPr>
          <p:grpSpPr>
            <a:xfrm>
              <a:off x="10299700" y="5138592"/>
              <a:ext cx="2440781" cy="1860869"/>
              <a:chOff x="11091162" y="5853286"/>
              <a:chExt cx="1503363" cy="1146175"/>
            </a:xfrm>
          </p:grpSpPr>
          <p:sp>
            <p:nvSpPr>
              <p:cNvPr id="154" name="Freeform 65"/>
              <p:cNvSpPr>
                <a:spLocks noEditPoints="1"/>
              </p:cNvSpPr>
              <p:nvPr/>
            </p:nvSpPr>
            <p:spPr bwMode="auto">
              <a:xfrm>
                <a:off x="12008037" y="5853286"/>
                <a:ext cx="276225" cy="123825"/>
              </a:xfrm>
              <a:custGeom>
                <a:avLst/>
                <a:gdLst>
                  <a:gd name="T0" fmla="*/ 0 w 371"/>
                  <a:gd name="T1" fmla="*/ 83 h 166"/>
                  <a:gd name="T2" fmla="*/ 35 w 371"/>
                  <a:gd name="T3" fmla="*/ 151 h 166"/>
                  <a:gd name="T4" fmla="*/ 84 w 371"/>
                  <a:gd name="T5" fmla="*/ 166 h 166"/>
                  <a:gd name="T6" fmla="*/ 161 w 371"/>
                  <a:gd name="T7" fmla="*/ 116 h 166"/>
                  <a:gd name="T8" fmla="*/ 189 w 371"/>
                  <a:gd name="T9" fmla="*/ 116 h 166"/>
                  <a:gd name="T10" fmla="*/ 189 w 371"/>
                  <a:gd name="T11" fmla="*/ 100 h 166"/>
                  <a:gd name="T12" fmla="*/ 207 w 371"/>
                  <a:gd name="T13" fmla="*/ 111 h 166"/>
                  <a:gd name="T14" fmla="*/ 228 w 371"/>
                  <a:gd name="T15" fmla="*/ 96 h 166"/>
                  <a:gd name="T16" fmla="*/ 245 w 371"/>
                  <a:gd name="T17" fmla="*/ 111 h 166"/>
                  <a:gd name="T18" fmla="*/ 264 w 371"/>
                  <a:gd name="T19" fmla="*/ 96 h 166"/>
                  <a:gd name="T20" fmla="*/ 280 w 371"/>
                  <a:gd name="T21" fmla="*/ 111 h 166"/>
                  <a:gd name="T22" fmla="*/ 315 w 371"/>
                  <a:gd name="T23" fmla="*/ 93 h 166"/>
                  <a:gd name="T24" fmla="*/ 325 w 371"/>
                  <a:gd name="T25" fmla="*/ 108 h 166"/>
                  <a:gd name="T26" fmla="*/ 340 w 371"/>
                  <a:gd name="T27" fmla="*/ 108 h 166"/>
                  <a:gd name="T28" fmla="*/ 371 w 371"/>
                  <a:gd name="T29" fmla="*/ 63 h 166"/>
                  <a:gd name="T30" fmla="*/ 371 w 371"/>
                  <a:gd name="T31" fmla="*/ 49 h 166"/>
                  <a:gd name="T32" fmla="*/ 160 w 371"/>
                  <a:gd name="T33" fmla="*/ 49 h 166"/>
                  <a:gd name="T34" fmla="*/ 156 w 371"/>
                  <a:gd name="T35" fmla="*/ 40 h 166"/>
                  <a:gd name="T36" fmla="*/ 84 w 371"/>
                  <a:gd name="T37" fmla="*/ 0 h 166"/>
                  <a:gd name="T38" fmla="*/ 0 w 371"/>
                  <a:gd name="T39" fmla="*/ 83 h 166"/>
                  <a:gd name="T40" fmla="*/ 72 w 371"/>
                  <a:gd name="T41" fmla="*/ 83 h 166"/>
                  <a:gd name="T42" fmla="*/ 50 w 371"/>
                  <a:gd name="T43" fmla="*/ 108 h 166"/>
                  <a:gd name="T44" fmla="*/ 27 w 371"/>
                  <a:gd name="T45" fmla="*/ 83 h 166"/>
                  <a:gd name="T46" fmla="*/ 50 w 371"/>
                  <a:gd name="T47" fmla="*/ 59 h 166"/>
                  <a:gd name="T48" fmla="*/ 72 w 371"/>
                  <a:gd name="T49"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166">
                    <a:moveTo>
                      <a:pt x="0" y="83"/>
                    </a:moveTo>
                    <a:cubicBezTo>
                      <a:pt x="0" y="111"/>
                      <a:pt x="14" y="136"/>
                      <a:pt x="35" y="151"/>
                    </a:cubicBezTo>
                    <a:cubicBezTo>
                      <a:pt x="49" y="161"/>
                      <a:pt x="66" y="166"/>
                      <a:pt x="84" y="166"/>
                    </a:cubicBezTo>
                    <a:cubicBezTo>
                      <a:pt x="118" y="166"/>
                      <a:pt x="148" y="146"/>
                      <a:pt x="161" y="116"/>
                    </a:cubicBezTo>
                    <a:cubicBezTo>
                      <a:pt x="189" y="116"/>
                      <a:pt x="189" y="116"/>
                      <a:pt x="189" y="116"/>
                    </a:cubicBezTo>
                    <a:cubicBezTo>
                      <a:pt x="189" y="100"/>
                      <a:pt x="189" y="100"/>
                      <a:pt x="189" y="100"/>
                    </a:cubicBezTo>
                    <a:cubicBezTo>
                      <a:pt x="207" y="111"/>
                      <a:pt x="207" y="111"/>
                      <a:pt x="207" y="111"/>
                    </a:cubicBezTo>
                    <a:cubicBezTo>
                      <a:pt x="228" y="96"/>
                      <a:pt x="228" y="96"/>
                      <a:pt x="228" y="96"/>
                    </a:cubicBezTo>
                    <a:cubicBezTo>
                      <a:pt x="245" y="111"/>
                      <a:pt x="245" y="111"/>
                      <a:pt x="245" y="111"/>
                    </a:cubicBezTo>
                    <a:cubicBezTo>
                      <a:pt x="264" y="96"/>
                      <a:pt x="264" y="96"/>
                      <a:pt x="264" y="96"/>
                    </a:cubicBezTo>
                    <a:cubicBezTo>
                      <a:pt x="280" y="111"/>
                      <a:pt x="280" y="111"/>
                      <a:pt x="280" y="111"/>
                    </a:cubicBezTo>
                    <a:cubicBezTo>
                      <a:pt x="315" y="93"/>
                      <a:pt x="315" y="93"/>
                      <a:pt x="315" y="93"/>
                    </a:cubicBezTo>
                    <a:cubicBezTo>
                      <a:pt x="325" y="108"/>
                      <a:pt x="325" y="108"/>
                      <a:pt x="325" y="108"/>
                    </a:cubicBezTo>
                    <a:cubicBezTo>
                      <a:pt x="340" y="108"/>
                      <a:pt x="340" y="108"/>
                      <a:pt x="340" y="108"/>
                    </a:cubicBezTo>
                    <a:cubicBezTo>
                      <a:pt x="371" y="63"/>
                      <a:pt x="371" y="63"/>
                      <a:pt x="371" y="63"/>
                    </a:cubicBezTo>
                    <a:cubicBezTo>
                      <a:pt x="371" y="49"/>
                      <a:pt x="371" y="49"/>
                      <a:pt x="371" y="49"/>
                    </a:cubicBezTo>
                    <a:cubicBezTo>
                      <a:pt x="160" y="49"/>
                      <a:pt x="160" y="49"/>
                      <a:pt x="160" y="49"/>
                    </a:cubicBezTo>
                    <a:cubicBezTo>
                      <a:pt x="159" y="46"/>
                      <a:pt x="157" y="43"/>
                      <a:pt x="156" y="40"/>
                    </a:cubicBezTo>
                    <a:cubicBezTo>
                      <a:pt x="141" y="16"/>
                      <a:pt x="114" y="0"/>
                      <a:pt x="84" y="0"/>
                    </a:cubicBezTo>
                    <a:cubicBezTo>
                      <a:pt x="38" y="0"/>
                      <a:pt x="0" y="38"/>
                      <a:pt x="0" y="83"/>
                    </a:cubicBezTo>
                    <a:close/>
                    <a:moveTo>
                      <a:pt x="72" y="83"/>
                    </a:moveTo>
                    <a:cubicBezTo>
                      <a:pt x="72" y="97"/>
                      <a:pt x="62" y="108"/>
                      <a:pt x="50" y="108"/>
                    </a:cubicBezTo>
                    <a:cubicBezTo>
                      <a:pt x="37" y="108"/>
                      <a:pt x="27" y="97"/>
                      <a:pt x="27" y="83"/>
                    </a:cubicBezTo>
                    <a:cubicBezTo>
                      <a:pt x="27" y="70"/>
                      <a:pt x="37" y="59"/>
                      <a:pt x="50" y="59"/>
                    </a:cubicBezTo>
                    <a:cubicBezTo>
                      <a:pt x="62" y="59"/>
                      <a:pt x="72" y="70"/>
                      <a:pt x="72" y="8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74" name="Freeform 81"/>
              <p:cNvSpPr>
                <a:spLocks/>
              </p:cNvSpPr>
              <p:nvPr/>
            </p:nvSpPr>
            <p:spPr bwMode="auto">
              <a:xfrm>
                <a:off x="11607987" y="5929486"/>
                <a:ext cx="433388" cy="260350"/>
              </a:xfrm>
              <a:custGeom>
                <a:avLst/>
                <a:gdLst>
                  <a:gd name="T0" fmla="*/ 523 w 581"/>
                  <a:gd name="T1" fmla="*/ 173 h 349"/>
                  <a:gd name="T2" fmla="*/ 427 w 581"/>
                  <a:gd name="T3" fmla="*/ 98 h 349"/>
                  <a:gd name="T4" fmla="*/ 426 w 581"/>
                  <a:gd name="T5" fmla="*/ 98 h 349"/>
                  <a:gd name="T6" fmla="*/ 426 w 581"/>
                  <a:gd name="T7" fmla="*/ 98 h 349"/>
                  <a:gd name="T8" fmla="*/ 328 w 581"/>
                  <a:gd name="T9" fmla="*/ 0 h 349"/>
                  <a:gd name="T10" fmla="*/ 241 w 581"/>
                  <a:gd name="T11" fmla="*/ 52 h 349"/>
                  <a:gd name="T12" fmla="*/ 210 w 581"/>
                  <a:gd name="T13" fmla="*/ 46 h 349"/>
                  <a:gd name="T14" fmla="*/ 118 w 581"/>
                  <a:gd name="T15" fmla="*/ 139 h 349"/>
                  <a:gd name="T16" fmla="*/ 118 w 581"/>
                  <a:gd name="T17" fmla="*/ 140 h 349"/>
                  <a:gd name="T18" fmla="*/ 105 w 581"/>
                  <a:gd name="T19" fmla="*/ 139 h 349"/>
                  <a:gd name="T20" fmla="*/ 0 w 581"/>
                  <a:gd name="T21" fmla="*/ 244 h 349"/>
                  <a:gd name="T22" fmla="*/ 105 w 581"/>
                  <a:gd name="T23" fmla="*/ 349 h 349"/>
                  <a:gd name="T24" fmla="*/ 490 w 581"/>
                  <a:gd name="T25" fmla="*/ 349 h 349"/>
                  <a:gd name="T26" fmla="*/ 581 w 581"/>
                  <a:gd name="T27" fmla="*/ 258 h 349"/>
                  <a:gd name="T28" fmla="*/ 523 w 581"/>
                  <a:gd name="T29" fmla="*/ 173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349">
                    <a:moveTo>
                      <a:pt x="523" y="173"/>
                    </a:moveTo>
                    <a:cubicBezTo>
                      <a:pt x="513" y="130"/>
                      <a:pt x="474" y="98"/>
                      <a:pt x="427" y="98"/>
                    </a:cubicBezTo>
                    <a:cubicBezTo>
                      <a:pt x="426" y="98"/>
                      <a:pt x="426" y="98"/>
                      <a:pt x="426" y="98"/>
                    </a:cubicBezTo>
                    <a:cubicBezTo>
                      <a:pt x="426" y="98"/>
                      <a:pt x="426" y="98"/>
                      <a:pt x="426" y="98"/>
                    </a:cubicBezTo>
                    <a:cubicBezTo>
                      <a:pt x="426" y="44"/>
                      <a:pt x="382" y="0"/>
                      <a:pt x="328" y="0"/>
                    </a:cubicBezTo>
                    <a:cubicBezTo>
                      <a:pt x="290" y="0"/>
                      <a:pt x="258" y="21"/>
                      <a:pt x="241" y="52"/>
                    </a:cubicBezTo>
                    <a:cubicBezTo>
                      <a:pt x="231" y="48"/>
                      <a:pt x="221" y="46"/>
                      <a:pt x="210" y="46"/>
                    </a:cubicBezTo>
                    <a:cubicBezTo>
                      <a:pt x="159" y="46"/>
                      <a:pt x="118" y="88"/>
                      <a:pt x="118" y="139"/>
                    </a:cubicBezTo>
                    <a:cubicBezTo>
                      <a:pt x="118" y="140"/>
                      <a:pt x="118" y="140"/>
                      <a:pt x="118" y="140"/>
                    </a:cubicBezTo>
                    <a:cubicBezTo>
                      <a:pt x="113" y="139"/>
                      <a:pt x="109" y="139"/>
                      <a:pt x="105" y="139"/>
                    </a:cubicBezTo>
                    <a:cubicBezTo>
                      <a:pt x="47" y="139"/>
                      <a:pt x="0" y="186"/>
                      <a:pt x="0" y="244"/>
                    </a:cubicBezTo>
                    <a:cubicBezTo>
                      <a:pt x="0" y="302"/>
                      <a:pt x="47" y="349"/>
                      <a:pt x="105" y="349"/>
                    </a:cubicBezTo>
                    <a:cubicBezTo>
                      <a:pt x="490" y="349"/>
                      <a:pt x="490" y="349"/>
                      <a:pt x="490" y="349"/>
                    </a:cubicBezTo>
                    <a:cubicBezTo>
                      <a:pt x="540" y="349"/>
                      <a:pt x="581" y="308"/>
                      <a:pt x="581" y="258"/>
                    </a:cubicBezTo>
                    <a:cubicBezTo>
                      <a:pt x="581" y="220"/>
                      <a:pt x="557" y="187"/>
                      <a:pt x="523" y="173"/>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75" name="Freeform 82"/>
              <p:cNvSpPr>
                <a:spLocks noEditPoints="1"/>
              </p:cNvSpPr>
              <p:nvPr/>
            </p:nvSpPr>
            <p:spPr bwMode="auto">
              <a:xfrm>
                <a:off x="11903962" y="6024736"/>
                <a:ext cx="0" cy="7938"/>
              </a:xfrm>
              <a:custGeom>
                <a:avLst/>
                <a:gdLst>
                  <a:gd name="T0" fmla="*/ 10 h 10"/>
                  <a:gd name="T1" fmla="*/ 10 h 10"/>
                  <a:gd name="T2" fmla="*/ 10 h 10"/>
                  <a:gd name="T3" fmla="*/ 9 h 10"/>
                  <a:gd name="T4" fmla="*/ 9 h 10"/>
                  <a:gd name="T5" fmla="*/ 9 h 10"/>
                  <a:gd name="T6" fmla="*/ 9 h 10"/>
                  <a:gd name="T7" fmla="*/ 9 h 10"/>
                  <a:gd name="T8" fmla="*/ 9 h 10"/>
                  <a:gd name="T9" fmla="*/ 8 h 10"/>
                  <a:gd name="T10" fmla="*/ 8 h 10"/>
                  <a:gd name="T11" fmla="*/ 8 h 10"/>
                  <a:gd name="T12" fmla="*/ 7 h 10"/>
                  <a:gd name="T13" fmla="*/ 7 h 10"/>
                  <a:gd name="T14" fmla="*/ 7 h 10"/>
                  <a:gd name="T15" fmla="*/ 7 h 10"/>
                  <a:gd name="T16" fmla="*/ 7 h 10"/>
                  <a:gd name="T17" fmla="*/ 7 h 10"/>
                  <a:gd name="T18" fmla="*/ 6 h 10"/>
                  <a:gd name="T19" fmla="*/ 6 h 10"/>
                  <a:gd name="T20" fmla="*/ 6 h 10"/>
                  <a:gd name="T21" fmla="*/ 5 h 10"/>
                  <a:gd name="T22" fmla="*/ 5 h 10"/>
                  <a:gd name="T23" fmla="*/ 5 h 10"/>
                  <a:gd name="T24" fmla="*/ 4 h 10"/>
                  <a:gd name="T25" fmla="*/ 5 h 10"/>
                  <a:gd name="T26" fmla="*/ 4 h 10"/>
                  <a:gd name="T27" fmla="*/ 4 h 10"/>
                  <a:gd name="T28" fmla="*/ 4 h 10"/>
                  <a:gd name="T29" fmla="*/ 4 h 10"/>
                  <a:gd name="T30" fmla="*/ 2 h 10"/>
                  <a:gd name="T31" fmla="*/ 2 h 10"/>
                  <a:gd name="T32" fmla="*/ 2 h 10"/>
                  <a:gd name="T33" fmla="*/ 1 h 10"/>
                  <a:gd name="T34" fmla="*/ 1 h 10"/>
                  <a:gd name="T35" fmla="*/ 1 h 10"/>
                  <a:gd name="T36" fmla="*/ 0 h 10"/>
                  <a:gd name="T37" fmla="*/ 0 h 10"/>
                  <a:gd name="T38" fmla="*/ 0 h 1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Lst>
                <a:rect l="0" t="0" r="r" b="b"/>
                <a:pathLst>
                  <a:path h="10">
                    <a:moveTo>
                      <a:pt x="0" y="10"/>
                    </a:moveTo>
                    <a:cubicBezTo>
                      <a:pt x="0" y="10"/>
                      <a:pt x="0" y="10"/>
                      <a:pt x="0" y="10"/>
                    </a:cubicBezTo>
                    <a:cubicBezTo>
                      <a:pt x="0" y="10"/>
                      <a:pt x="0" y="10"/>
                      <a:pt x="0" y="10"/>
                    </a:cubicBezTo>
                    <a:moveTo>
                      <a:pt x="0" y="9"/>
                    </a:moveTo>
                    <a:cubicBezTo>
                      <a:pt x="0" y="9"/>
                      <a:pt x="0" y="9"/>
                      <a:pt x="0" y="9"/>
                    </a:cubicBezTo>
                    <a:cubicBezTo>
                      <a:pt x="0" y="9"/>
                      <a:pt x="0" y="9"/>
                      <a:pt x="0" y="9"/>
                    </a:cubicBezTo>
                    <a:moveTo>
                      <a:pt x="0" y="9"/>
                    </a:moveTo>
                    <a:cubicBezTo>
                      <a:pt x="0" y="9"/>
                      <a:pt x="0" y="9"/>
                      <a:pt x="0" y="9"/>
                    </a:cubicBezTo>
                    <a:cubicBezTo>
                      <a:pt x="0" y="9"/>
                      <a:pt x="0" y="9"/>
                      <a:pt x="0" y="9"/>
                    </a:cubicBezTo>
                    <a:moveTo>
                      <a:pt x="0" y="8"/>
                    </a:moveTo>
                    <a:cubicBezTo>
                      <a:pt x="0" y="8"/>
                      <a:pt x="0" y="8"/>
                      <a:pt x="0" y="8"/>
                    </a:cubicBezTo>
                    <a:cubicBezTo>
                      <a:pt x="0" y="8"/>
                      <a:pt x="0" y="8"/>
                      <a:pt x="0" y="8"/>
                    </a:cubicBezTo>
                    <a:moveTo>
                      <a:pt x="0" y="7"/>
                    </a:moveTo>
                    <a:cubicBezTo>
                      <a:pt x="0" y="7"/>
                      <a:pt x="0" y="7"/>
                      <a:pt x="0" y="7"/>
                    </a:cubicBezTo>
                    <a:cubicBezTo>
                      <a:pt x="0" y="7"/>
                      <a:pt x="0" y="7"/>
                      <a:pt x="0" y="7"/>
                    </a:cubicBezTo>
                    <a:moveTo>
                      <a:pt x="0" y="7"/>
                    </a:moveTo>
                    <a:cubicBezTo>
                      <a:pt x="0" y="7"/>
                      <a:pt x="0" y="7"/>
                      <a:pt x="0" y="7"/>
                    </a:cubicBezTo>
                    <a:cubicBezTo>
                      <a:pt x="0" y="7"/>
                      <a:pt x="0" y="7"/>
                      <a:pt x="0" y="7"/>
                    </a:cubicBezTo>
                    <a:moveTo>
                      <a:pt x="0" y="6"/>
                    </a:moveTo>
                    <a:cubicBezTo>
                      <a:pt x="0" y="6"/>
                      <a:pt x="0" y="6"/>
                      <a:pt x="0" y="6"/>
                    </a:cubicBezTo>
                    <a:cubicBezTo>
                      <a:pt x="0" y="6"/>
                      <a:pt x="0" y="6"/>
                      <a:pt x="0" y="6"/>
                    </a:cubicBezTo>
                    <a:moveTo>
                      <a:pt x="0" y="5"/>
                    </a:moveTo>
                    <a:cubicBezTo>
                      <a:pt x="0" y="5"/>
                      <a:pt x="0" y="5"/>
                      <a:pt x="0" y="5"/>
                    </a:cubicBezTo>
                    <a:cubicBezTo>
                      <a:pt x="0" y="5"/>
                      <a:pt x="0" y="5"/>
                      <a:pt x="0" y="5"/>
                    </a:cubicBezTo>
                    <a:moveTo>
                      <a:pt x="0" y="4"/>
                    </a:moveTo>
                    <a:cubicBezTo>
                      <a:pt x="0" y="5"/>
                      <a:pt x="0" y="5"/>
                      <a:pt x="0" y="5"/>
                    </a:cubicBezTo>
                    <a:cubicBezTo>
                      <a:pt x="0" y="5"/>
                      <a:pt x="0" y="5"/>
                      <a:pt x="0" y="4"/>
                    </a:cubicBezTo>
                    <a:moveTo>
                      <a:pt x="0" y="4"/>
                    </a:moveTo>
                    <a:cubicBezTo>
                      <a:pt x="0" y="4"/>
                      <a:pt x="0" y="4"/>
                      <a:pt x="0" y="4"/>
                    </a:cubicBezTo>
                    <a:cubicBezTo>
                      <a:pt x="0" y="4"/>
                      <a:pt x="0" y="4"/>
                      <a:pt x="0" y="4"/>
                    </a:cubicBezTo>
                    <a:moveTo>
                      <a:pt x="0" y="2"/>
                    </a:moveTo>
                    <a:cubicBezTo>
                      <a:pt x="0" y="2"/>
                      <a:pt x="0" y="2"/>
                      <a:pt x="0" y="2"/>
                    </a:cubicBezTo>
                    <a:cubicBezTo>
                      <a:pt x="0" y="2"/>
                      <a:pt x="0" y="2"/>
                      <a:pt x="0" y="2"/>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path>
                </a:pathLst>
              </a:custGeom>
              <a:solidFill>
                <a:srgbClr val="00C2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6" name="Freeform 83"/>
              <p:cNvSpPr>
                <a:spLocks/>
              </p:cNvSpPr>
              <p:nvPr/>
            </p:nvSpPr>
            <p:spPr bwMode="auto">
              <a:xfrm>
                <a:off x="11607987" y="5978698"/>
                <a:ext cx="333375" cy="211138"/>
              </a:xfrm>
              <a:custGeom>
                <a:avLst/>
                <a:gdLst>
                  <a:gd name="T0" fmla="*/ 154 w 448"/>
                  <a:gd name="T1" fmla="*/ 0 h 284"/>
                  <a:gd name="T2" fmla="*/ 118 w 448"/>
                  <a:gd name="T3" fmla="*/ 63 h 284"/>
                  <a:gd name="T4" fmla="*/ 118 w 448"/>
                  <a:gd name="T5" fmla="*/ 63 h 284"/>
                  <a:gd name="T6" fmla="*/ 118 w 448"/>
                  <a:gd name="T7" fmla="*/ 64 h 284"/>
                  <a:gd name="T8" fmla="*/ 118 w 448"/>
                  <a:gd name="T9" fmla="*/ 64 h 284"/>
                  <a:gd name="T10" fmla="*/ 118 w 448"/>
                  <a:gd name="T11" fmla="*/ 65 h 284"/>
                  <a:gd name="T12" fmla="*/ 118 w 448"/>
                  <a:gd name="T13" fmla="*/ 65 h 284"/>
                  <a:gd name="T14" fmla="*/ 118 w 448"/>
                  <a:gd name="T15" fmla="*/ 67 h 284"/>
                  <a:gd name="T16" fmla="*/ 118 w 448"/>
                  <a:gd name="T17" fmla="*/ 67 h 284"/>
                  <a:gd name="T18" fmla="*/ 118 w 448"/>
                  <a:gd name="T19" fmla="*/ 67 h 284"/>
                  <a:gd name="T20" fmla="*/ 118 w 448"/>
                  <a:gd name="T21" fmla="*/ 68 h 284"/>
                  <a:gd name="T22" fmla="*/ 118 w 448"/>
                  <a:gd name="T23" fmla="*/ 68 h 284"/>
                  <a:gd name="T24" fmla="*/ 118 w 448"/>
                  <a:gd name="T25" fmla="*/ 68 h 284"/>
                  <a:gd name="T26" fmla="*/ 118 w 448"/>
                  <a:gd name="T27" fmla="*/ 69 h 284"/>
                  <a:gd name="T28" fmla="*/ 118 w 448"/>
                  <a:gd name="T29" fmla="*/ 69 h 284"/>
                  <a:gd name="T30" fmla="*/ 118 w 448"/>
                  <a:gd name="T31" fmla="*/ 70 h 284"/>
                  <a:gd name="T32" fmla="*/ 118 w 448"/>
                  <a:gd name="T33" fmla="*/ 70 h 284"/>
                  <a:gd name="T34" fmla="*/ 118 w 448"/>
                  <a:gd name="T35" fmla="*/ 70 h 284"/>
                  <a:gd name="T36" fmla="*/ 118 w 448"/>
                  <a:gd name="T37" fmla="*/ 70 h 284"/>
                  <a:gd name="T38" fmla="*/ 118 w 448"/>
                  <a:gd name="T39" fmla="*/ 71 h 284"/>
                  <a:gd name="T40" fmla="*/ 118 w 448"/>
                  <a:gd name="T41" fmla="*/ 71 h 284"/>
                  <a:gd name="T42" fmla="*/ 118 w 448"/>
                  <a:gd name="T43" fmla="*/ 72 h 284"/>
                  <a:gd name="T44" fmla="*/ 118 w 448"/>
                  <a:gd name="T45" fmla="*/ 72 h 284"/>
                  <a:gd name="T46" fmla="*/ 118 w 448"/>
                  <a:gd name="T47" fmla="*/ 72 h 284"/>
                  <a:gd name="T48" fmla="*/ 118 w 448"/>
                  <a:gd name="T49" fmla="*/ 72 h 284"/>
                  <a:gd name="T50" fmla="*/ 118 w 448"/>
                  <a:gd name="T51" fmla="*/ 73 h 284"/>
                  <a:gd name="T52" fmla="*/ 118 w 448"/>
                  <a:gd name="T53" fmla="*/ 73 h 284"/>
                  <a:gd name="T54" fmla="*/ 118 w 448"/>
                  <a:gd name="T55" fmla="*/ 74 h 284"/>
                  <a:gd name="T56" fmla="*/ 118 w 448"/>
                  <a:gd name="T57" fmla="*/ 74 h 284"/>
                  <a:gd name="T58" fmla="*/ 118 w 448"/>
                  <a:gd name="T59" fmla="*/ 75 h 284"/>
                  <a:gd name="T60" fmla="*/ 118 w 448"/>
                  <a:gd name="T61" fmla="*/ 75 h 284"/>
                  <a:gd name="T62" fmla="*/ 105 w 448"/>
                  <a:gd name="T63" fmla="*/ 74 h 284"/>
                  <a:gd name="T64" fmla="*/ 0 w 448"/>
                  <a:gd name="T65" fmla="*/ 179 h 284"/>
                  <a:gd name="T66" fmla="*/ 105 w 448"/>
                  <a:gd name="T67" fmla="*/ 284 h 284"/>
                  <a:gd name="T68" fmla="*/ 448 w 448"/>
                  <a:gd name="T69" fmla="*/ 284 h 284"/>
                  <a:gd name="T70" fmla="*/ 154 w 448"/>
                  <a:gd name="T71"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8" h="284">
                    <a:moveTo>
                      <a:pt x="154" y="0"/>
                    </a:moveTo>
                    <a:cubicBezTo>
                      <a:pt x="134" y="15"/>
                      <a:pt x="121" y="38"/>
                      <a:pt x="118" y="63"/>
                    </a:cubicBezTo>
                    <a:cubicBezTo>
                      <a:pt x="118" y="63"/>
                      <a:pt x="118" y="63"/>
                      <a:pt x="118" y="63"/>
                    </a:cubicBezTo>
                    <a:cubicBezTo>
                      <a:pt x="118" y="64"/>
                      <a:pt x="118" y="64"/>
                      <a:pt x="118" y="64"/>
                    </a:cubicBezTo>
                    <a:cubicBezTo>
                      <a:pt x="118" y="64"/>
                      <a:pt x="118" y="64"/>
                      <a:pt x="118" y="64"/>
                    </a:cubicBezTo>
                    <a:cubicBezTo>
                      <a:pt x="118" y="64"/>
                      <a:pt x="118" y="65"/>
                      <a:pt x="118" y="65"/>
                    </a:cubicBezTo>
                    <a:cubicBezTo>
                      <a:pt x="118" y="65"/>
                      <a:pt x="118" y="65"/>
                      <a:pt x="118" y="65"/>
                    </a:cubicBezTo>
                    <a:cubicBezTo>
                      <a:pt x="118" y="65"/>
                      <a:pt x="118" y="66"/>
                      <a:pt x="118" y="67"/>
                    </a:cubicBezTo>
                    <a:cubicBezTo>
                      <a:pt x="118" y="67"/>
                      <a:pt x="118" y="67"/>
                      <a:pt x="118" y="67"/>
                    </a:cubicBezTo>
                    <a:cubicBezTo>
                      <a:pt x="118" y="67"/>
                      <a:pt x="118" y="67"/>
                      <a:pt x="118" y="67"/>
                    </a:cubicBezTo>
                    <a:cubicBezTo>
                      <a:pt x="118" y="68"/>
                      <a:pt x="118" y="68"/>
                      <a:pt x="118" y="68"/>
                    </a:cubicBezTo>
                    <a:cubicBezTo>
                      <a:pt x="118" y="68"/>
                      <a:pt x="118" y="68"/>
                      <a:pt x="118" y="68"/>
                    </a:cubicBezTo>
                    <a:cubicBezTo>
                      <a:pt x="118" y="68"/>
                      <a:pt x="118" y="68"/>
                      <a:pt x="118" y="68"/>
                    </a:cubicBezTo>
                    <a:cubicBezTo>
                      <a:pt x="118" y="68"/>
                      <a:pt x="118" y="69"/>
                      <a:pt x="118" y="69"/>
                    </a:cubicBezTo>
                    <a:cubicBezTo>
                      <a:pt x="118" y="69"/>
                      <a:pt x="118" y="69"/>
                      <a:pt x="118" y="69"/>
                    </a:cubicBezTo>
                    <a:cubicBezTo>
                      <a:pt x="118" y="69"/>
                      <a:pt x="118" y="69"/>
                      <a:pt x="118" y="70"/>
                    </a:cubicBezTo>
                    <a:cubicBezTo>
                      <a:pt x="118" y="70"/>
                      <a:pt x="118" y="70"/>
                      <a:pt x="118" y="70"/>
                    </a:cubicBezTo>
                    <a:cubicBezTo>
                      <a:pt x="118" y="70"/>
                      <a:pt x="118" y="70"/>
                      <a:pt x="118" y="70"/>
                    </a:cubicBezTo>
                    <a:cubicBezTo>
                      <a:pt x="118" y="70"/>
                      <a:pt x="118" y="70"/>
                      <a:pt x="118" y="70"/>
                    </a:cubicBezTo>
                    <a:cubicBezTo>
                      <a:pt x="118" y="71"/>
                      <a:pt x="118" y="71"/>
                      <a:pt x="118" y="71"/>
                    </a:cubicBezTo>
                    <a:cubicBezTo>
                      <a:pt x="118" y="71"/>
                      <a:pt x="118" y="71"/>
                      <a:pt x="118" y="71"/>
                    </a:cubicBezTo>
                    <a:cubicBezTo>
                      <a:pt x="118" y="71"/>
                      <a:pt x="118" y="71"/>
                      <a:pt x="118" y="72"/>
                    </a:cubicBezTo>
                    <a:cubicBezTo>
                      <a:pt x="118" y="72"/>
                      <a:pt x="118" y="72"/>
                      <a:pt x="118" y="72"/>
                    </a:cubicBezTo>
                    <a:cubicBezTo>
                      <a:pt x="118" y="72"/>
                      <a:pt x="118" y="72"/>
                      <a:pt x="118" y="72"/>
                    </a:cubicBezTo>
                    <a:cubicBezTo>
                      <a:pt x="118" y="72"/>
                      <a:pt x="118" y="72"/>
                      <a:pt x="118" y="72"/>
                    </a:cubicBezTo>
                    <a:cubicBezTo>
                      <a:pt x="118" y="73"/>
                      <a:pt x="118" y="73"/>
                      <a:pt x="118" y="73"/>
                    </a:cubicBezTo>
                    <a:cubicBezTo>
                      <a:pt x="118" y="73"/>
                      <a:pt x="118" y="73"/>
                      <a:pt x="118" y="73"/>
                    </a:cubicBezTo>
                    <a:cubicBezTo>
                      <a:pt x="118" y="73"/>
                      <a:pt x="118" y="74"/>
                      <a:pt x="118" y="74"/>
                    </a:cubicBezTo>
                    <a:cubicBezTo>
                      <a:pt x="118" y="74"/>
                      <a:pt x="118" y="74"/>
                      <a:pt x="118" y="74"/>
                    </a:cubicBezTo>
                    <a:cubicBezTo>
                      <a:pt x="118" y="75"/>
                      <a:pt x="118" y="75"/>
                      <a:pt x="118" y="75"/>
                    </a:cubicBezTo>
                    <a:cubicBezTo>
                      <a:pt x="118" y="75"/>
                      <a:pt x="118" y="75"/>
                      <a:pt x="118" y="75"/>
                    </a:cubicBezTo>
                    <a:cubicBezTo>
                      <a:pt x="113" y="74"/>
                      <a:pt x="109" y="74"/>
                      <a:pt x="105" y="74"/>
                    </a:cubicBezTo>
                    <a:cubicBezTo>
                      <a:pt x="47" y="74"/>
                      <a:pt x="0" y="121"/>
                      <a:pt x="0" y="179"/>
                    </a:cubicBezTo>
                    <a:cubicBezTo>
                      <a:pt x="0" y="237"/>
                      <a:pt x="47" y="284"/>
                      <a:pt x="105" y="284"/>
                    </a:cubicBezTo>
                    <a:cubicBezTo>
                      <a:pt x="448" y="284"/>
                      <a:pt x="448" y="284"/>
                      <a:pt x="448" y="284"/>
                    </a:cubicBezTo>
                    <a:cubicBezTo>
                      <a:pt x="154" y="0"/>
                      <a:pt x="154" y="0"/>
                      <a:pt x="154"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7" name="Freeform 84"/>
              <p:cNvSpPr>
                <a:spLocks/>
              </p:cNvSpPr>
              <p:nvPr/>
            </p:nvSpPr>
            <p:spPr bwMode="auto">
              <a:xfrm>
                <a:off x="11359450" y="6320011"/>
                <a:ext cx="1074738" cy="679450"/>
              </a:xfrm>
              <a:custGeom>
                <a:avLst/>
                <a:gdLst>
                  <a:gd name="T0" fmla="*/ 541 w 677"/>
                  <a:gd name="T1" fmla="*/ 0 h 428"/>
                  <a:gd name="T2" fmla="*/ 541 w 677"/>
                  <a:gd name="T3" fmla="*/ 85 h 428"/>
                  <a:gd name="T4" fmla="*/ 406 w 677"/>
                  <a:gd name="T5" fmla="*/ 85 h 428"/>
                  <a:gd name="T6" fmla="*/ 406 w 677"/>
                  <a:gd name="T7" fmla="*/ 170 h 428"/>
                  <a:gd name="T8" fmla="*/ 271 w 677"/>
                  <a:gd name="T9" fmla="*/ 170 h 428"/>
                  <a:gd name="T10" fmla="*/ 271 w 677"/>
                  <a:gd name="T11" fmla="*/ 257 h 428"/>
                  <a:gd name="T12" fmla="*/ 272 w 677"/>
                  <a:gd name="T13" fmla="*/ 257 h 428"/>
                  <a:gd name="T14" fmla="*/ 271 w 677"/>
                  <a:gd name="T15" fmla="*/ 257 h 428"/>
                  <a:gd name="T16" fmla="*/ 271 w 677"/>
                  <a:gd name="T17" fmla="*/ 257 h 428"/>
                  <a:gd name="T18" fmla="*/ 135 w 677"/>
                  <a:gd name="T19" fmla="*/ 257 h 428"/>
                  <a:gd name="T20" fmla="*/ 135 w 677"/>
                  <a:gd name="T21" fmla="*/ 341 h 428"/>
                  <a:gd name="T22" fmla="*/ 0 w 677"/>
                  <a:gd name="T23" fmla="*/ 341 h 428"/>
                  <a:gd name="T24" fmla="*/ 0 w 677"/>
                  <a:gd name="T25" fmla="*/ 428 h 428"/>
                  <a:gd name="T26" fmla="*/ 135 w 677"/>
                  <a:gd name="T27" fmla="*/ 428 h 428"/>
                  <a:gd name="T28" fmla="*/ 677 w 677"/>
                  <a:gd name="T29" fmla="*/ 428 h 428"/>
                  <a:gd name="T30" fmla="*/ 677 w 677"/>
                  <a:gd name="T31" fmla="*/ 87 h 428"/>
                  <a:gd name="T32" fmla="*/ 677 w 677"/>
                  <a:gd name="T33" fmla="*/ 0 h 428"/>
                  <a:gd name="T34" fmla="*/ 541 w 677"/>
                  <a:gd name="T35" fmla="*/ 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428">
                    <a:moveTo>
                      <a:pt x="541" y="0"/>
                    </a:moveTo>
                    <a:lnTo>
                      <a:pt x="541" y="85"/>
                    </a:lnTo>
                    <a:lnTo>
                      <a:pt x="406" y="85"/>
                    </a:lnTo>
                    <a:lnTo>
                      <a:pt x="406" y="170"/>
                    </a:lnTo>
                    <a:lnTo>
                      <a:pt x="271" y="170"/>
                    </a:lnTo>
                    <a:lnTo>
                      <a:pt x="271" y="257"/>
                    </a:lnTo>
                    <a:lnTo>
                      <a:pt x="272" y="257"/>
                    </a:lnTo>
                    <a:lnTo>
                      <a:pt x="271" y="257"/>
                    </a:lnTo>
                    <a:lnTo>
                      <a:pt x="271" y="257"/>
                    </a:lnTo>
                    <a:lnTo>
                      <a:pt x="135" y="257"/>
                    </a:lnTo>
                    <a:lnTo>
                      <a:pt x="135" y="341"/>
                    </a:lnTo>
                    <a:lnTo>
                      <a:pt x="0" y="341"/>
                    </a:lnTo>
                    <a:lnTo>
                      <a:pt x="0" y="428"/>
                    </a:lnTo>
                    <a:lnTo>
                      <a:pt x="135" y="428"/>
                    </a:lnTo>
                    <a:lnTo>
                      <a:pt x="677" y="428"/>
                    </a:lnTo>
                    <a:lnTo>
                      <a:pt x="677" y="87"/>
                    </a:lnTo>
                    <a:lnTo>
                      <a:pt x="677" y="0"/>
                    </a:lnTo>
                    <a:lnTo>
                      <a:pt x="541"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Freeform 85"/>
              <p:cNvSpPr>
                <a:spLocks/>
              </p:cNvSpPr>
              <p:nvPr/>
            </p:nvSpPr>
            <p:spPr bwMode="auto">
              <a:xfrm>
                <a:off x="11359450" y="6320011"/>
                <a:ext cx="1074738" cy="679450"/>
              </a:xfrm>
              <a:custGeom>
                <a:avLst/>
                <a:gdLst>
                  <a:gd name="T0" fmla="*/ 541 w 677"/>
                  <a:gd name="T1" fmla="*/ 0 h 428"/>
                  <a:gd name="T2" fmla="*/ 541 w 677"/>
                  <a:gd name="T3" fmla="*/ 85 h 428"/>
                  <a:gd name="T4" fmla="*/ 406 w 677"/>
                  <a:gd name="T5" fmla="*/ 85 h 428"/>
                  <a:gd name="T6" fmla="*/ 406 w 677"/>
                  <a:gd name="T7" fmla="*/ 170 h 428"/>
                  <a:gd name="T8" fmla="*/ 271 w 677"/>
                  <a:gd name="T9" fmla="*/ 170 h 428"/>
                  <a:gd name="T10" fmla="*/ 271 w 677"/>
                  <a:gd name="T11" fmla="*/ 257 h 428"/>
                  <a:gd name="T12" fmla="*/ 272 w 677"/>
                  <a:gd name="T13" fmla="*/ 257 h 428"/>
                  <a:gd name="T14" fmla="*/ 271 w 677"/>
                  <a:gd name="T15" fmla="*/ 257 h 428"/>
                  <a:gd name="T16" fmla="*/ 271 w 677"/>
                  <a:gd name="T17" fmla="*/ 257 h 428"/>
                  <a:gd name="T18" fmla="*/ 135 w 677"/>
                  <a:gd name="T19" fmla="*/ 257 h 428"/>
                  <a:gd name="T20" fmla="*/ 135 w 677"/>
                  <a:gd name="T21" fmla="*/ 341 h 428"/>
                  <a:gd name="T22" fmla="*/ 0 w 677"/>
                  <a:gd name="T23" fmla="*/ 341 h 428"/>
                  <a:gd name="T24" fmla="*/ 0 w 677"/>
                  <a:gd name="T25" fmla="*/ 428 h 428"/>
                  <a:gd name="T26" fmla="*/ 135 w 677"/>
                  <a:gd name="T27" fmla="*/ 428 h 428"/>
                  <a:gd name="T28" fmla="*/ 677 w 677"/>
                  <a:gd name="T29" fmla="*/ 428 h 428"/>
                  <a:gd name="T30" fmla="*/ 677 w 677"/>
                  <a:gd name="T31" fmla="*/ 87 h 428"/>
                  <a:gd name="T32" fmla="*/ 677 w 677"/>
                  <a:gd name="T33" fmla="*/ 0 h 428"/>
                  <a:gd name="T34" fmla="*/ 541 w 677"/>
                  <a:gd name="T35" fmla="*/ 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428">
                    <a:moveTo>
                      <a:pt x="541" y="0"/>
                    </a:moveTo>
                    <a:lnTo>
                      <a:pt x="541" y="85"/>
                    </a:lnTo>
                    <a:lnTo>
                      <a:pt x="406" y="85"/>
                    </a:lnTo>
                    <a:lnTo>
                      <a:pt x="406" y="170"/>
                    </a:lnTo>
                    <a:lnTo>
                      <a:pt x="271" y="170"/>
                    </a:lnTo>
                    <a:lnTo>
                      <a:pt x="271" y="257"/>
                    </a:lnTo>
                    <a:lnTo>
                      <a:pt x="272" y="257"/>
                    </a:lnTo>
                    <a:lnTo>
                      <a:pt x="271" y="257"/>
                    </a:lnTo>
                    <a:lnTo>
                      <a:pt x="271" y="257"/>
                    </a:lnTo>
                    <a:lnTo>
                      <a:pt x="135" y="257"/>
                    </a:lnTo>
                    <a:lnTo>
                      <a:pt x="135" y="341"/>
                    </a:lnTo>
                    <a:lnTo>
                      <a:pt x="0" y="341"/>
                    </a:lnTo>
                    <a:lnTo>
                      <a:pt x="0" y="428"/>
                    </a:lnTo>
                    <a:lnTo>
                      <a:pt x="135" y="428"/>
                    </a:lnTo>
                    <a:lnTo>
                      <a:pt x="677" y="428"/>
                    </a:lnTo>
                    <a:lnTo>
                      <a:pt x="677" y="87"/>
                    </a:lnTo>
                    <a:lnTo>
                      <a:pt x="677" y="0"/>
                    </a:lnTo>
                    <a:lnTo>
                      <a:pt x="5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9" name="Rectangle 86"/>
              <p:cNvSpPr>
                <a:spLocks noChangeArrowheads="1"/>
              </p:cNvSpPr>
              <p:nvPr/>
            </p:nvSpPr>
            <p:spPr bwMode="auto">
              <a:xfrm>
                <a:off x="12102400" y="6539086"/>
                <a:ext cx="50800" cy="23813"/>
              </a:xfrm>
              <a:prstGeom prst="rect">
                <a:avLst/>
              </a:prstGeom>
              <a:solidFill>
                <a:srgbClr val="C65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0" name="Rectangle 87"/>
              <p:cNvSpPr>
                <a:spLocks noChangeArrowheads="1"/>
              </p:cNvSpPr>
              <p:nvPr/>
            </p:nvSpPr>
            <p:spPr bwMode="auto">
              <a:xfrm>
                <a:off x="12102400" y="6539086"/>
                <a:ext cx="50800" cy="2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1" name="Rectangle 88"/>
              <p:cNvSpPr>
                <a:spLocks noChangeArrowheads="1"/>
              </p:cNvSpPr>
              <p:nvPr/>
            </p:nvSpPr>
            <p:spPr bwMode="auto">
              <a:xfrm>
                <a:off x="12142087" y="6578773"/>
                <a:ext cx="50800" cy="23813"/>
              </a:xfrm>
              <a:prstGeom prst="rect">
                <a:avLst/>
              </a:prstGeom>
              <a:solidFill>
                <a:srgbClr val="C65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2" name="Rectangle 89"/>
              <p:cNvSpPr>
                <a:spLocks noChangeArrowheads="1"/>
              </p:cNvSpPr>
              <p:nvPr/>
            </p:nvSpPr>
            <p:spPr bwMode="auto">
              <a:xfrm>
                <a:off x="12142087" y="6578773"/>
                <a:ext cx="50800" cy="2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3" name="Freeform 90"/>
              <p:cNvSpPr>
                <a:spLocks/>
              </p:cNvSpPr>
              <p:nvPr/>
            </p:nvSpPr>
            <p:spPr bwMode="auto">
              <a:xfrm>
                <a:off x="12357987" y="6515273"/>
                <a:ext cx="76200" cy="128588"/>
              </a:xfrm>
              <a:custGeom>
                <a:avLst/>
                <a:gdLst>
                  <a:gd name="T0" fmla="*/ 101 w 101"/>
                  <a:gd name="T1" fmla="*/ 0 h 173"/>
                  <a:gd name="T2" fmla="*/ 39 w 101"/>
                  <a:gd name="T3" fmla="*/ 52 h 173"/>
                  <a:gd name="T4" fmla="*/ 0 w 101"/>
                  <a:gd name="T5" fmla="*/ 110 h 173"/>
                  <a:gd name="T6" fmla="*/ 63 w 101"/>
                  <a:gd name="T7" fmla="*/ 173 h 173"/>
                  <a:gd name="T8" fmla="*/ 101 w 101"/>
                  <a:gd name="T9" fmla="*/ 173 h 173"/>
                  <a:gd name="T10" fmla="*/ 101 w 101"/>
                  <a:gd name="T11" fmla="*/ 0 h 173"/>
                </a:gdLst>
                <a:ahLst/>
                <a:cxnLst>
                  <a:cxn ang="0">
                    <a:pos x="T0" y="T1"/>
                  </a:cxn>
                  <a:cxn ang="0">
                    <a:pos x="T2" y="T3"/>
                  </a:cxn>
                  <a:cxn ang="0">
                    <a:pos x="T4" y="T5"/>
                  </a:cxn>
                  <a:cxn ang="0">
                    <a:pos x="T6" y="T7"/>
                  </a:cxn>
                  <a:cxn ang="0">
                    <a:pos x="T8" y="T9"/>
                  </a:cxn>
                  <a:cxn ang="0">
                    <a:pos x="T10" y="T11"/>
                  </a:cxn>
                </a:cxnLst>
                <a:rect l="0" t="0" r="r" b="b"/>
                <a:pathLst>
                  <a:path w="101" h="173">
                    <a:moveTo>
                      <a:pt x="101" y="0"/>
                    </a:moveTo>
                    <a:cubicBezTo>
                      <a:pt x="71" y="2"/>
                      <a:pt x="46" y="24"/>
                      <a:pt x="39" y="52"/>
                    </a:cubicBezTo>
                    <a:cubicBezTo>
                      <a:pt x="16" y="61"/>
                      <a:pt x="0" y="84"/>
                      <a:pt x="0" y="110"/>
                    </a:cubicBezTo>
                    <a:cubicBezTo>
                      <a:pt x="0" y="145"/>
                      <a:pt x="28" y="173"/>
                      <a:pt x="63" y="173"/>
                    </a:cubicBezTo>
                    <a:cubicBezTo>
                      <a:pt x="101" y="173"/>
                      <a:pt x="101" y="173"/>
                      <a:pt x="101" y="173"/>
                    </a:cubicBezTo>
                    <a:cubicBezTo>
                      <a:pt x="101" y="0"/>
                      <a:pt x="101" y="0"/>
                      <a:pt x="101" y="0"/>
                    </a:cubicBezTo>
                  </a:path>
                </a:pathLst>
              </a:custGeom>
              <a:solidFill>
                <a:srgbClr val="C65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91"/>
              <p:cNvSpPr>
                <a:spLocks/>
              </p:cNvSpPr>
              <p:nvPr/>
            </p:nvSpPr>
            <p:spPr bwMode="auto">
              <a:xfrm>
                <a:off x="12296075" y="6351761"/>
                <a:ext cx="298450" cy="179388"/>
              </a:xfrm>
              <a:custGeom>
                <a:avLst/>
                <a:gdLst>
                  <a:gd name="T0" fmla="*/ 39 w 401"/>
                  <a:gd name="T1" fmla="*/ 120 h 241"/>
                  <a:gd name="T2" fmla="*/ 106 w 401"/>
                  <a:gd name="T3" fmla="*/ 68 h 241"/>
                  <a:gd name="T4" fmla="*/ 106 w 401"/>
                  <a:gd name="T5" fmla="*/ 68 h 241"/>
                  <a:gd name="T6" fmla="*/ 106 w 401"/>
                  <a:gd name="T7" fmla="*/ 68 h 241"/>
                  <a:gd name="T8" fmla="*/ 174 w 401"/>
                  <a:gd name="T9" fmla="*/ 0 h 241"/>
                  <a:gd name="T10" fmla="*/ 234 w 401"/>
                  <a:gd name="T11" fmla="*/ 36 h 241"/>
                  <a:gd name="T12" fmla="*/ 256 w 401"/>
                  <a:gd name="T13" fmla="*/ 32 h 241"/>
                  <a:gd name="T14" fmla="*/ 320 w 401"/>
                  <a:gd name="T15" fmla="*/ 96 h 241"/>
                  <a:gd name="T16" fmla="*/ 320 w 401"/>
                  <a:gd name="T17" fmla="*/ 96 h 241"/>
                  <a:gd name="T18" fmla="*/ 328 w 401"/>
                  <a:gd name="T19" fmla="*/ 96 h 241"/>
                  <a:gd name="T20" fmla="*/ 401 w 401"/>
                  <a:gd name="T21" fmla="*/ 168 h 241"/>
                  <a:gd name="T22" fmla="*/ 328 w 401"/>
                  <a:gd name="T23" fmla="*/ 241 h 241"/>
                  <a:gd name="T24" fmla="*/ 63 w 401"/>
                  <a:gd name="T25" fmla="*/ 241 h 241"/>
                  <a:gd name="T26" fmla="*/ 0 w 401"/>
                  <a:gd name="T27" fmla="*/ 178 h 241"/>
                  <a:gd name="T28" fmla="*/ 39 w 401"/>
                  <a:gd name="T29" fmla="*/ 12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1" h="241">
                    <a:moveTo>
                      <a:pt x="39" y="120"/>
                    </a:moveTo>
                    <a:cubicBezTo>
                      <a:pt x="47" y="90"/>
                      <a:pt x="74" y="68"/>
                      <a:pt x="106" y="68"/>
                    </a:cubicBezTo>
                    <a:cubicBezTo>
                      <a:pt x="106" y="68"/>
                      <a:pt x="106" y="68"/>
                      <a:pt x="106" y="68"/>
                    </a:cubicBezTo>
                    <a:cubicBezTo>
                      <a:pt x="106" y="68"/>
                      <a:pt x="106" y="68"/>
                      <a:pt x="106" y="68"/>
                    </a:cubicBezTo>
                    <a:cubicBezTo>
                      <a:pt x="106" y="30"/>
                      <a:pt x="137" y="0"/>
                      <a:pt x="174" y="0"/>
                    </a:cubicBezTo>
                    <a:cubicBezTo>
                      <a:pt x="200" y="0"/>
                      <a:pt x="223" y="14"/>
                      <a:pt x="234" y="36"/>
                    </a:cubicBezTo>
                    <a:cubicBezTo>
                      <a:pt x="241" y="33"/>
                      <a:pt x="248" y="32"/>
                      <a:pt x="256" y="32"/>
                    </a:cubicBezTo>
                    <a:cubicBezTo>
                      <a:pt x="291" y="32"/>
                      <a:pt x="320" y="61"/>
                      <a:pt x="320" y="96"/>
                    </a:cubicBezTo>
                    <a:cubicBezTo>
                      <a:pt x="320" y="96"/>
                      <a:pt x="320" y="96"/>
                      <a:pt x="320" y="96"/>
                    </a:cubicBezTo>
                    <a:cubicBezTo>
                      <a:pt x="323" y="96"/>
                      <a:pt x="325" y="96"/>
                      <a:pt x="328" y="96"/>
                    </a:cubicBezTo>
                    <a:cubicBezTo>
                      <a:pt x="368" y="96"/>
                      <a:pt x="401" y="128"/>
                      <a:pt x="401" y="168"/>
                    </a:cubicBezTo>
                    <a:cubicBezTo>
                      <a:pt x="401" y="209"/>
                      <a:pt x="368" y="241"/>
                      <a:pt x="328" y="241"/>
                    </a:cubicBezTo>
                    <a:cubicBezTo>
                      <a:pt x="63" y="241"/>
                      <a:pt x="63" y="241"/>
                      <a:pt x="63" y="241"/>
                    </a:cubicBezTo>
                    <a:cubicBezTo>
                      <a:pt x="28" y="241"/>
                      <a:pt x="0" y="213"/>
                      <a:pt x="0" y="178"/>
                    </a:cubicBezTo>
                    <a:cubicBezTo>
                      <a:pt x="0" y="152"/>
                      <a:pt x="16" y="129"/>
                      <a:pt x="39" y="1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6" name="Freeform 92"/>
              <p:cNvSpPr>
                <a:spLocks noEditPoints="1"/>
              </p:cNvSpPr>
              <p:nvPr/>
            </p:nvSpPr>
            <p:spPr bwMode="auto">
              <a:xfrm>
                <a:off x="11359450" y="6589886"/>
                <a:ext cx="1074738" cy="409575"/>
              </a:xfrm>
              <a:custGeom>
                <a:avLst/>
                <a:gdLst>
                  <a:gd name="T0" fmla="*/ 271 w 677"/>
                  <a:gd name="T1" fmla="*/ 87 h 258"/>
                  <a:gd name="T2" fmla="*/ 272 w 677"/>
                  <a:gd name="T3" fmla="*/ 87 h 258"/>
                  <a:gd name="T4" fmla="*/ 271 w 677"/>
                  <a:gd name="T5" fmla="*/ 87 h 258"/>
                  <a:gd name="T6" fmla="*/ 271 w 677"/>
                  <a:gd name="T7" fmla="*/ 87 h 258"/>
                  <a:gd name="T8" fmla="*/ 271 w 677"/>
                  <a:gd name="T9" fmla="*/ 0 h 258"/>
                  <a:gd name="T10" fmla="*/ 271 w 677"/>
                  <a:gd name="T11" fmla="*/ 0 h 258"/>
                  <a:gd name="T12" fmla="*/ 271 w 677"/>
                  <a:gd name="T13" fmla="*/ 87 h 258"/>
                  <a:gd name="T14" fmla="*/ 135 w 677"/>
                  <a:gd name="T15" fmla="*/ 87 h 258"/>
                  <a:gd name="T16" fmla="*/ 135 w 677"/>
                  <a:gd name="T17" fmla="*/ 171 h 258"/>
                  <a:gd name="T18" fmla="*/ 16 w 677"/>
                  <a:gd name="T19" fmla="*/ 171 h 258"/>
                  <a:gd name="T20" fmla="*/ 0 w 677"/>
                  <a:gd name="T21" fmla="*/ 171 h 258"/>
                  <a:gd name="T22" fmla="*/ 0 w 677"/>
                  <a:gd name="T23" fmla="*/ 258 h 258"/>
                  <a:gd name="T24" fmla="*/ 135 w 677"/>
                  <a:gd name="T25" fmla="*/ 258 h 258"/>
                  <a:gd name="T26" fmla="*/ 677 w 677"/>
                  <a:gd name="T27" fmla="*/ 258 h 258"/>
                  <a:gd name="T28" fmla="*/ 271 w 677"/>
                  <a:gd name="T2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7" h="258">
                    <a:moveTo>
                      <a:pt x="271" y="87"/>
                    </a:moveTo>
                    <a:lnTo>
                      <a:pt x="272" y="87"/>
                    </a:lnTo>
                    <a:lnTo>
                      <a:pt x="271" y="87"/>
                    </a:lnTo>
                    <a:lnTo>
                      <a:pt x="271" y="87"/>
                    </a:lnTo>
                    <a:close/>
                    <a:moveTo>
                      <a:pt x="271" y="0"/>
                    </a:moveTo>
                    <a:lnTo>
                      <a:pt x="271" y="0"/>
                    </a:lnTo>
                    <a:lnTo>
                      <a:pt x="271" y="87"/>
                    </a:lnTo>
                    <a:lnTo>
                      <a:pt x="135" y="87"/>
                    </a:lnTo>
                    <a:lnTo>
                      <a:pt x="135" y="171"/>
                    </a:lnTo>
                    <a:lnTo>
                      <a:pt x="16" y="171"/>
                    </a:lnTo>
                    <a:lnTo>
                      <a:pt x="0" y="171"/>
                    </a:lnTo>
                    <a:lnTo>
                      <a:pt x="0" y="258"/>
                    </a:lnTo>
                    <a:lnTo>
                      <a:pt x="135" y="258"/>
                    </a:lnTo>
                    <a:lnTo>
                      <a:pt x="677" y="258"/>
                    </a:lnTo>
                    <a:lnTo>
                      <a:pt x="271" y="0"/>
                    </a:lnTo>
                    <a:close/>
                  </a:path>
                </a:pathLst>
              </a:custGeom>
              <a:solidFill>
                <a:srgbClr val="C65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7" name="Freeform 93"/>
              <p:cNvSpPr>
                <a:spLocks noEditPoints="1"/>
              </p:cNvSpPr>
              <p:nvPr/>
            </p:nvSpPr>
            <p:spPr bwMode="auto">
              <a:xfrm>
                <a:off x="11359450" y="6589886"/>
                <a:ext cx="1074738" cy="409575"/>
              </a:xfrm>
              <a:custGeom>
                <a:avLst/>
                <a:gdLst>
                  <a:gd name="T0" fmla="*/ 271 w 677"/>
                  <a:gd name="T1" fmla="*/ 87 h 258"/>
                  <a:gd name="T2" fmla="*/ 272 w 677"/>
                  <a:gd name="T3" fmla="*/ 87 h 258"/>
                  <a:gd name="T4" fmla="*/ 271 w 677"/>
                  <a:gd name="T5" fmla="*/ 87 h 258"/>
                  <a:gd name="T6" fmla="*/ 271 w 677"/>
                  <a:gd name="T7" fmla="*/ 87 h 258"/>
                  <a:gd name="T8" fmla="*/ 271 w 677"/>
                  <a:gd name="T9" fmla="*/ 0 h 258"/>
                  <a:gd name="T10" fmla="*/ 271 w 677"/>
                  <a:gd name="T11" fmla="*/ 0 h 258"/>
                  <a:gd name="T12" fmla="*/ 271 w 677"/>
                  <a:gd name="T13" fmla="*/ 87 h 258"/>
                  <a:gd name="T14" fmla="*/ 135 w 677"/>
                  <a:gd name="T15" fmla="*/ 87 h 258"/>
                  <a:gd name="T16" fmla="*/ 135 w 677"/>
                  <a:gd name="T17" fmla="*/ 171 h 258"/>
                  <a:gd name="T18" fmla="*/ 16 w 677"/>
                  <a:gd name="T19" fmla="*/ 171 h 258"/>
                  <a:gd name="T20" fmla="*/ 0 w 677"/>
                  <a:gd name="T21" fmla="*/ 171 h 258"/>
                  <a:gd name="T22" fmla="*/ 0 w 677"/>
                  <a:gd name="T23" fmla="*/ 258 h 258"/>
                  <a:gd name="T24" fmla="*/ 135 w 677"/>
                  <a:gd name="T25" fmla="*/ 258 h 258"/>
                  <a:gd name="T26" fmla="*/ 677 w 677"/>
                  <a:gd name="T27" fmla="*/ 258 h 258"/>
                  <a:gd name="T28" fmla="*/ 271 w 677"/>
                  <a:gd name="T2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7" h="258">
                    <a:moveTo>
                      <a:pt x="271" y="87"/>
                    </a:moveTo>
                    <a:lnTo>
                      <a:pt x="272" y="87"/>
                    </a:lnTo>
                    <a:lnTo>
                      <a:pt x="271" y="87"/>
                    </a:lnTo>
                    <a:lnTo>
                      <a:pt x="271" y="87"/>
                    </a:lnTo>
                    <a:moveTo>
                      <a:pt x="271" y="0"/>
                    </a:moveTo>
                    <a:lnTo>
                      <a:pt x="271" y="0"/>
                    </a:lnTo>
                    <a:lnTo>
                      <a:pt x="271" y="87"/>
                    </a:lnTo>
                    <a:lnTo>
                      <a:pt x="135" y="87"/>
                    </a:lnTo>
                    <a:lnTo>
                      <a:pt x="135" y="171"/>
                    </a:lnTo>
                    <a:lnTo>
                      <a:pt x="16" y="171"/>
                    </a:lnTo>
                    <a:lnTo>
                      <a:pt x="0" y="171"/>
                    </a:lnTo>
                    <a:lnTo>
                      <a:pt x="0" y="258"/>
                    </a:lnTo>
                    <a:lnTo>
                      <a:pt x="135" y="258"/>
                    </a:lnTo>
                    <a:lnTo>
                      <a:pt x="677" y="258"/>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nvGrpSpPr>
              <p:cNvPr id="183" name="Group 182"/>
              <p:cNvGrpSpPr/>
              <p:nvPr/>
            </p:nvGrpSpPr>
            <p:grpSpPr>
              <a:xfrm>
                <a:off x="11091162" y="6072360"/>
                <a:ext cx="363538" cy="927101"/>
                <a:chOff x="11091162" y="6077123"/>
                <a:chExt cx="363538" cy="927101"/>
              </a:xfrm>
            </p:grpSpPr>
            <p:sp>
              <p:nvSpPr>
                <p:cNvPr id="155" name="Rectangle 66"/>
                <p:cNvSpPr>
                  <a:spLocks noChangeArrowheads="1"/>
                </p:cNvSpPr>
                <p:nvPr/>
              </p:nvSpPr>
              <p:spPr bwMode="auto">
                <a:xfrm>
                  <a:off x="11184825" y="6615286"/>
                  <a:ext cx="50800" cy="3365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6" name="Rectangle 67"/>
                <p:cNvSpPr>
                  <a:spLocks noChangeArrowheads="1"/>
                </p:cNvSpPr>
                <p:nvPr/>
              </p:nvSpPr>
              <p:spPr bwMode="auto">
                <a:xfrm>
                  <a:off x="11184825" y="6615286"/>
                  <a:ext cx="508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7" name="Freeform 68"/>
                <p:cNvSpPr>
                  <a:spLocks/>
                </p:cNvSpPr>
                <p:nvPr/>
              </p:nvSpPr>
              <p:spPr bwMode="auto">
                <a:xfrm>
                  <a:off x="11184825" y="6951836"/>
                  <a:ext cx="92075" cy="52388"/>
                </a:xfrm>
                <a:custGeom>
                  <a:avLst/>
                  <a:gdLst>
                    <a:gd name="T0" fmla="*/ 58 w 58"/>
                    <a:gd name="T1" fmla="*/ 25 h 33"/>
                    <a:gd name="T2" fmla="*/ 33 w 58"/>
                    <a:gd name="T3" fmla="*/ 0 h 33"/>
                    <a:gd name="T4" fmla="*/ 0 w 58"/>
                    <a:gd name="T5" fmla="*/ 0 h 33"/>
                    <a:gd name="T6" fmla="*/ 0 w 58"/>
                    <a:gd name="T7" fmla="*/ 33 h 33"/>
                    <a:gd name="T8" fmla="*/ 58 w 58"/>
                    <a:gd name="T9" fmla="*/ 33 h 33"/>
                    <a:gd name="T10" fmla="*/ 58 w 58"/>
                    <a:gd name="T11" fmla="*/ 25 h 33"/>
                  </a:gdLst>
                  <a:ahLst/>
                  <a:cxnLst>
                    <a:cxn ang="0">
                      <a:pos x="T0" y="T1"/>
                    </a:cxn>
                    <a:cxn ang="0">
                      <a:pos x="T2" y="T3"/>
                    </a:cxn>
                    <a:cxn ang="0">
                      <a:pos x="T4" y="T5"/>
                    </a:cxn>
                    <a:cxn ang="0">
                      <a:pos x="T6" y="T7"/>
                    </a:cxn>
                    <a:cxn ang="0">
                      <a:pos x="T8" y="T9"/>
                    </a:cxn>
                    <a:cxn ang="0">
                      <a:pos x="T10" y="T11"/>
                    </a:cxn>
                  </a:cxnLst>
                  <a:rect l="0" t="0" r="r" b="b"/>
                  <a:pathLst>
                    <a:path w="58" h="33">
                      <a:moveTo>
                        <a:pt x="58" y="25"/>
                      </a:moveTo>
                      <a:lnTo>
                        <a:pt x="33" y="0"/>
                      </a:lnTo>
                      <a:lnTo>
                        <a:pt x="0" y="0"/>
                      </a:lnTo>
                      <a:lnTo>
                        <a:pt x="0" y="33"/>
                      </a:lnTo>
                      <a:lnTo>
                        <a:pt x="58" y="33"/>
                      </a:lnTo>
                      <a:lnTo>
                        <a:pt x="58" y="25"/>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8" name="Freeform 69"/>
                <p:cNvSpPr>
                  <a:spLocks/>
                </p:cNvSpPr>
                <p:nvPr/>
              </p:nvSpPr>
              <p:spPr bwMode="auto">
                <a:xfrm>
                  <a:off x="11184825" y="6951836"/>
                  <a:ext cx="92075" cy="52388"/>
                </a:xfrm>
                <a:custGeom>
                  <a:avLst/>
                  <a:gdLst>
                    <a:gd name="T0" fmla="*/ 58 w 58"/>
                    <a:gd name="T1" fmla="*/ 25 h 33"/>
                    <a:gd name="T2" fmla="*/ 33 w 58"/>
                    <a:gd name="T3" fmla="*/ 0 h 33"/>
                    <a:gd name="T4" fmla="*/ 0 w 58"/>
                    <a:gd name="T5" fmla="*/ 0 h 33"/>
                    <a:gd name="T6" fmla="*/ 0 w 58"/>
                    <a:gd name="T7" fmla="*/ 33 h 33"/>
                    <a:gd name="T8" fmla="*/ 58 w 58"/>
                    <a:gd name="T9" fmla="*/ 33 h 33"/>
                    <a:gd name="T10" fmla="*/ 58 w 58"/>
                    <a:gd name="T11" fmla="*/ 25 h 33"/>
                  </a:gdLst>
                  <a:ahLst/>
                  <a:cxnLst>
                    <a:cxn ang="0">
                      <a:pos x="T0" y="T1"/>
                    </a:cxn>
                    <a:cxn ang="0">
                      <a:pos x="T2" y="T3"/>
                    </a:cxn>
                    <a:cxn ang="0">
                      <a:pos x="T4" y="T5"/>
                    </a:cxn>
                    <a:cxn ang="0">
                      <a:pos x="T6" y="T7"/>
                    </a:cxn>
                    <a:cxn ang="0">
                      <a:pos x="T8" y="T9"/>
                    </a:cxn>
                    <a:cxn ang="0">
                      <a:pos x="T10" y="T11"/>
                    </a:cxn>
                  </a:cxnLst>
                  <a:rect l="0" t="0" r="r" b="b"/>
                  <a:pathLst>
                    <a:path w="58" h="33">
                      <a:moveTo>
                        <a:pt x="58" y="25"/>
                      </a:moveTo>
                      <a:lnTo>
                        <a:pt x="33" y="0"/>
                      </a:lnTo>
                      <a:lnTo>
                        <a:pt x="0" y="0"/>
                      </a:lnTo>
                      <a:lnTo>
                        <a:pt x="0" y="33"/>
                      </a:lnTo>
                      <a:lnTo>
                        <a:pt x="58" y="33"/>
                      </a:lnTo>
                      <a:lnTo>
                        <a:pt x="58" y="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9" name="Rectangle 70"/>
                <p:cNvSpPr>
                  <a:spLocks noChangeArrowheads="1"/>
                </p:cNvSpPr>
                <p:nvPr/>
              </p:nvSpPr>
              <p:spPr bwMode="auto">
                <a:xfrm>
                  <a:off x="11184825" y="6629573"/>
                  <a:ext cx="23813" cy="322263"/>
                </a:xfrm>
                <a:prstGeom prst="rect">
                  <a:avLst/>
                </a:prstGeom>
                <a:solidFill>
                  <a:srgbClr val="591C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4" name="Rectangle 71"/>
                <p:cNvSpPr>
                  <a:spLocks noChangeArrowheads="1"/>
                </p:cNvSpPr>
                <p:nvPr/>
              </p:nvSpPr>
              <p:spPr bwMode="auto">
                <a:xfrm>
                  <a:off x="11184825" y="6629573"/>
                  <a:ext cx="23813"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5" name="Rectangle 72"/>
                <p:cNvSpPr>
                  <a:spLocks noChangeArrowheads="1"/>
                </p:cNvSpPr>
                <p:nvPr/>
              </p:nvSpPr>
              <p:spPr bwMode="auto">
                <a:xfrm>
                  <a:off x="11184825" y="6951836"/>
                  <a:ext cx="23813" cy="52388"/>
                </a:xfrm>
                <a:prstGeom prst="rect">
                  <a:avLst/>
                </a:prstGeom>
                <a:solidFill>
                  <a:srgbClr val="006F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6" name="Rectangle 73"/>
                <p:cNvSpPr>
                  <a:spLocks noChangeArrowheads="1"/>
                </p:cNvSpPr>
                <p:nvPr/>
              </p:nvSpPr>
              <p:spPr bwMode="auto">
                <a:xfrm>
                  <a:off x="11184825" y="6951836"/>
                  <a:ext cx="23813"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7" name="Freeform 74"/>
                <p:cNvSpPr>
                  <a:spLocks noEditPoints="1"/>
                </p:cNvSpPr>
                <p:nvPr/>
              </p:nvSpPr>
              <p:spPr bwMode="auto">
                <a:xfrm>
                  <a:off x="11256262" y="6586711"/>
                  <a:ext cx="198438" cy="254000"/>
                </a:xfrm>
                <a:custGeom>
                  <a:avLst/>
                  <a:gdLst>
                    <a:gd name="T0" fmla="*/ 138 w 266"/>
                    <a:gd name="T1" fmla="*/ 318 h 341"/>
                    <a:gd name="T2" fmla="*/ 192 w 266"/>
                    <a:gd name="T3" fmla="*/ 176 h 341"/>
                    <a:gd name="T4" fmla="*/ 0 w 266"/>
                    <a:gd name="T5" fmla="*/ 54 h 341"/>
                    <a:gd name="T6" fmla="*/ 34 w 266"/>
                    <a:gd name="T7" fmla="*/ 0 h 341"/>
                    <a:gd name="T8" fmla="*/ 248 w 266"/>
                    <a:gd name="T9" fmla="*/ 136 h 341"/>
                    <a:gd name="T10" fmla="*/ 261 w 266"/>
                    <a:gd name="T11" fmla="*/ 175 h 341"/>
                    <a:gd name="T12" fmla="*/ 198 w 266"/>
                    <a:gd name="T13" fmla="*/ 341 h 341"/>
                    <a:gd name="T14" fmla="*/ 138 w 266"/>
                    <a:gd name="T15" fmla="*/ 318 h 341"/>
                    <a:gd name="T16" fmla="*/ 0 w 266"/>
                    <a:gd name="T17" fmla="*/ 54 h 341"/>
                    <a:gd name="T18" fmla="*/ 0 w 266"/>
                    <a:gd name="T19" fmla="*/ 54 h 341"/>
                    <a:gd name="T20" fmla="*/ 0 w 266"/>
                    <a:gd name="T21" fmla="*/ 54 h 341"/>
                    <a:gd name="T22" fmla="*/ 0 w 266"/>
                    <a:gd name="T23" fmla="*/ 54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6" h="341">
                      <a:moveTo>
                        <a:pt x="138" y="318"/>
                      </a:moveTo>
                      <a:cubicBezTo>
                        <a:pt x="192" y="176"/>
                        <a:pt x="192" y="176"/>
                        <a:pt x="192" y="176"/>
                      </a:cubicBezTo>
                      <a:cubicBezTo>
                        <a:pt x="0" y="54"/>
                        <a:pt x="0" y="54"/>
                        <a:pt x="0" y="54"/>
                      </a:cubicBezTo>
                      <a:cubicBezTo>
                        <a:pt x="34" y="0"/>
                        <a:pt x="34" y="0"/>
                        <a:pt x="34" y="0"/>
                      </a:cubicBezTo>
                      <a:cubicBezTo>
                        <a:pt x="248" y="136"/>
                        <a:pt x="248" y="136"/>
                        <a:pt x="248" y="136"/>
                      </a:cubicBezTo>
                      <a:cubicBezTo>
                        <a:pt x="261" y="144"/>
                        <a:pt x="266" y="160"/>
                        <a:pt x="261" y="175"/>
                      </a:cubicBezTo>
                      <a:cubicBezTo>
                        <a:pt x="198" y="341"/>
                        <a:pt x="198" y="341"/>
                        <a:pt x="198" y="341"/>
                      </a:cubicBezTo>
                      <a:cubicBezTo>
                        <a:pt x="138" y="318"/>
                        <a:pt x="138" y="318"/>
                        <a:pt x="138" y="318"/>
                      </a:cubicBezTo>
                      <a:moveTo>
                        <a:pt x="0" y="54"/>
                      </a:moveTo>
                      <a:cubicBezTo>
                        <a:pt x="0" y="54"/>
                        <a:pt x="0" y="54"/>
                        <a:pt x="0" y="54"/>
                      </a:cubicBezTo>
                      <a:cubicBezTo>
                        <a:pt x="0" y="54"/>
                        <a:pt x="0" y="54"/>
                        <a:pt x="0" y="54"/>
                      </a:cubicBezTo>
                      <a:cubicBezTo>
                        <a:pt x="0" y="54"/>
                        <a:pt x="0" y="54"/>
                        <a:pt x="0" y="54"/>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8" name="Freeform 75"/>
                <p:cNvSpPr>
                  <a:spLocks/>
                </p:cNvSpPr>
                <p:nvPr/>
              </p:nvSpPr>
              <p:spPr bwMode="auto">
                <a:xfrm>
                  <a:off x="11359450" y="6821661"/>
                  <a:ext cx="92075" cy="52388"/>
                </a:xfrm>
                <a:custGeom>
                  <a:avLst/>
                  <a:gdLst>
                    <a:gd name="T0" fmla="*/ 58 w 58"/>
                    <a:gd name="T1" fmla="*/ 25 h 33"/>
                    <a:gd name="T2" fmla="*/ 33 w 58"/>
                    <a:gd name="T3" fmla="*/ 0 h 33"/>
                    <a:gd name="T4" fmla="*/ 0 w 58"/>
                    <a:gd name="T5" fmla="*/ 0 h 33"/>
                    <a:gd name="T6" fmla="*/ 0 w 58"/>
                    <a:gd name="T7" fmla="*/ 33 h 33"/>
                    <a:gd name="T8" fmla="*/ 58 w 58"/>
                    <a:gd name="T9" fmla="*/ 33 h 33"/>
                    <a:gd name="T10" fmla="*/ 58 w 58"/>
                    <a:gd name="T11" fmla="*/ 25 h 33"/>
                  </a:gdLst>
                  <a:ahLst/>
                  <a:cxnLst>
                    <a:cxn ang="0">
                      <a:pos x="T0" y="T1"/>
                    </a:cxn>
                    <a:cxn ang="0">
                      <a:pos x="T2" y="T3"/>
                    </a:cxn>
                    <a:cxn ang="0">
                      <a:pos x="T4" y="T5"/>
                    </a:cxn>
                    <a:cxn ang="0">
                      <a:pos x="T6" y="T7"/>
                    </a:cxn>
                    <a:cxn ang="0">
                      <a:pos x="T8" y="T9"/>
                    </a:cxn>
                    <a:cxn ang="0">
                      <a:pos x="T10" y="T11"/>
                    </a:cxn>
                  </a:cxnLst>
                  <a:rect l="0" t="0" r="r" b="b"/>
                  <a:pathLst>
                    <a:path w="58" h="33">
                      <a:moveTo>
                        <a:pt x="58" y="25"/>
                      </a:moveTo>
                      <a:lnTo>
                        <a:pt x="33" y="0"/>
                      </a:lnTo>
                      <a:lnTo>
                        <a:pt x="0" y="0"/>
                      </a:lnTo>
                      <a:lnTo>
                        <a:pt x="0" y="33"/>
                      </a:lnTo>
                      <a:lnTo>
                        <a:pt x="58" y="33"/>
                      </a:lnTo>
                      <a:lnTo>
                        <a:pt x="58" y="25"/>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9" name="Freeform 76"/>
                <p:cNvSpPr>
                  <a:spLocks/>
                </p:cNvSpPr>
                <p:nvPr/>
              </p:nvSpPr>
              <p:spPr bwMode="auto">
                <a:xfrm>
                  <a:off x="11359450" y="6821661"/>
                  <a:ext cx="92075" cy="52388"/>
                </a:xfrm>
                <a:custGeom>
                  <a:avLst/>
                  <a:gdLst>
                    <a:gd name="T0" fmla="*/ 58 w 58"/>
                    <a:gd name="T1" fmla="*/ 25 h 33"/>
                    <a:gd name="T2" fmla="*/ 33 w 58"/>
                    <a:gd name="T3" fmla="*/ 0 h 33"/>
                    <a:gd name="T4" fmla="*/ 0 w 58"/>
                    <a:gd name="T5" fmla="*/ 0 h 33"/>
                    <a:gd name="T6" fmla="*/ 0 w 58"/>
                    <a:gd name="T7" fmla="*/ 33 h 33"/>
                    <a:gd name="T8" fmla="*/ 58 w 58"/>
                    <a:gd name="T9" fmla="*/ 33 h 33"/>
                    <a:gd name="T10" fmla="*/ 58 w 58"/>
                    <a:gd name="T11" fmla="*/ 25 h 33"/>
                  </a:gdLst>
                  <a:ahLst/>
                  <a:cxnLst>
                    <a:cxn ang="0">
                      <a:pos x="T0" y="T1"/>
                    </a:cxn>
                    <a:cxn ang="0">
                      <a:pos x="T2" y="T3"/>
                    </a:cxn>
                    <a:cxn ang="0">
                      <a:pos x="T4" y="T5"/>
                    </a:cxn>
                    <a:cxn ang="0">
                      <a:pos x="T6" y="T7"/>
                    </a:cxn>
                    <a:cxn ang="0">
                      <a:pos x="T8" y="T9"/>
                    </a:cxn>
                    <a:cxn ang="0">
                      <a:pos x="T10" y="T11"/>
                    </a:cxn>
                  </a:cxnLst>
                  <a:rect l="0" t="0" r="r" b="b"/>
                  <a:pathLst>
                    <a:path w="58" h="33">
                      <a:moveTo>
                        <a:pt x="58" y="25"/>
                      </a:moveTo>
                      <a:lnTo>
                        <a:pt x="33" y="0"/>
                      </a:lnTo>
                      <a:lnTo>
                        <a:pt x="0" y="0"/>
                      </a:lnTo>
                      <a:lnTo>
                        <a:pt x="0" y="33"/>
                      </a:lnTo>
                      <a:lnTo>
                        <a:pt x="58" y="33"/>
                      </a:lnTo>
                      <a:lnTo>
                        <a:pt x="58" y="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0" name="Freeform 77"/>
                <p:cNvSpPr>
                  <a:spLocks/>
                </p:cNvSpPr>
                <p:nvPr/>
              </p:nvSpPr>
              <p:spPr bwMode="auto">
                <a:xfrm>
                  <a:off x="11261025" y="6629573"/>
                  <a:ext cx="163513" cy="192088"/>
                </a:xfrm>
                <a:custGeom>
                  <a:avLst/>
                  <a:gdLst>
                    <a:gd name="T0" fmla="*/ 24 w 103"/>
                    <a:gd name="T1" fmla="*/ 0 h 121"/>
                    <a:gd name="T2" fmla="*/ 0 w 103"/>
                    <a:gd name="T3" fmla="*/ 0 h 121"/>
                    <a:gd name="T4" fmla="*/ 87 w 103"/>
                    <a:gd name="T5" fmla="*/ 56 h 121"/>
                    <a:gd name="T6" fmla="*/ 62 w 103"/>
                    <a:gd name="T7" fmla="*/ 121 h 121"/>
                    <a:gd name="T8" fmla="*/ 62 w 103"/>
                    <a:gd name="T9" fmla="*/ 121 h 121"/>
                    <a:gd name="T10" fmla="*/ 78 w 103"/>
                    <a:gd name="T11" fmla="*/ 121 h 121"/>
                    <a:gd name="T12" fmla="*/ 78 w 103"/>
                    <a:gd name="T13" fmla="*/ 120 h 121"/>
                    <a:gd name="T14" fmla="*/ 103 w 103"/>
                    <a:gd name="T15" fmla="*/ 50 h 121"/>
                    <a:gd name="T16" fmla="*/ 24 w 103"/>
                    <a:gd name="T1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21">
                      <a:moveTo>
                        <a:pt x="24" y="0"/>
                      </a:moveTo>
                      <a:lnTo>
                        <a:pt x="0" y="0"/>
                      </a:lnTo>
                      <a:lnTo>
                        <a:pt x="87" y="56"/>
                      </a:lnTo>
                      <a:lnTo>
                        <a:pt x="62" y="121"/>
                      </a:lnTo>
                      <a:lnTo>
                        <a:pt x="62" y="121"/>
                      </a:lnTo>
                      <a:lnTo>
                        <a:pt x="78" y="121"/>
                      </a:lnTo>
                      <a:lnTo>
                        <a:pt x="78" y="120"/>
                      </a:lnTo>
                      <a:lnTo>
                        <a:pt x="103" y="50"/>
                      </a:lnTo>
                      <a:lnTo>
                        <a:pt x="24"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1" name="Freeform 78"/>
                <p:cNvSpPr>
                  <a:spLocks/>
                </p:cNvSpPr>
                <p:nvPr/>
              </p:nvSpPr>
              <p:spPr bwMode="auto">
                <a:xfrm>
                  <a:off x="11261025" y="6629573"/>
                  <a:ext cx="163513" cy="192088"/>
                </a:xfrm>
                <a:custGeom>
                  <a:avLst/>
                  <a:gdLst>
                    <a:gd name="T0" fmla="*/ 24 w 103"/>
                    <a:gd name="T1" fmla="*/ 0 h 121"/>
                    <a:gd name="T2" fmla="*/ 0 w 103"/>
                    <a:gd name="T3" fmla="*/ 0 h 121"/>
                    <a:gd name="T4" fmla="*/ 87 w 103"/>
                    <a:gd name="T5" fmla="*/ 56 h 121"/>
                    <a:gd name="T6" fmla="*/ 62 w 103"/>
                    <a:gd name="T7" fmla="*/ 121 h 121"/>
                    <a:gd name="T8" fmla="*/ 62 w 103"/>
                    <a:gd name="T9" fmla="*/ 121 h 121"/>
                    <a:gd name="T10" fmla="*/ 78 w 103"/>
                    <a:gd name="T11" fmla="*/ 121 h 121"/>
                    <a:gd name="T12" fmla="*/ 78 w 103"/>
                    <a:gd name="T13" fmla="*/ 120 h 121"/>
                    <a:gd name="T14" fmla="*/ 103 w 103"/>
                    <a:gd name="T15" fmla="*/ 50 h 121"/>
                    <a:gd name="T16" fmla="*/ 24 w 103"/>
                    <a:gd name="T1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21">
                      <a:moveTo>
                        <a:pt x="24" y="0"/>
                      </a:moveTo>
                      <a:lnTo>
                        <a:pt x="0" y="0"/>
                      </a:lnTo>
                      <a:lnTo>
                        <a:pt x="87" y="56"/>
                      </a:lnTo>
                      <a:lnTo>
                        <a:pt x="62" y="121"/>
                      </a:lnTo>
                      <a:lnTo>
                        <a:pt x="62" y="121"/>
                      </a:lnTo>
                      <a:lnTo>
                        <a:pt x="78" y="121"/>
                      </a:lnTo>
                      <a:lnTo>
                        <a:pt x="78" y="120"/>
                      </a:lnTo>
                      <a:lnTo>
                        <a:pt x="103" y="5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2" name="Freeform 79"/>
                <p:cNvSpPr>
                  <a:spLocks/>
                </p:cNvSpPr>
                <p:nvPr/>
              </p:nvSpPr>
              <p:spPr bwMode="auto">
                <a:xfrm>
                  <a:off x="11359450" y="6821661"/>
                  <a:ext cx="25400" cy="52388"/>
                </a:xfrm>
                <a:custGeom>
                  <a:avLst/>
                  <a:gdLst>
                    <a:gd name="T0" fmla="*/ 16 w 16"/>
                    <a:gd name="T1" fmla="*/ 0 h 33"/>
                    <a:gd name="T2" fmla="*/ 0 w 16"/>
                    <a:gd name="T3" fmla="*/ 0 h 33"/>
                    <a:gd name="T4" fmla="*/ 0 w 16"/>
                    <a:gd name="T5" fmla="*/ 0 h 33"/>
                    <a:gd name="T6" fmla="*/ 0 w 16"/>
                    <a:gd name="T7" fmla="*/ 33 h 33"/>
                    <a:gd name="T8" fmla="*/ 0 w 16"/>
                    <a:gd name="T9" fmla="*/ 25 h 33"/>
                    <a:gd name="T10" fmla="*/ 16 w 16"/>
                    <a:gd name="T11" fmla="*/ 25 h 33"/>
                    <a:gd name="T12" fmla="*/ 16 w 16"/>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16" h="33">
                      <a:moveTo>
                        <a:pt x="16" y="0"/>
                      </a:moveTo>
                      <a:lnTo>
                        <a:pt x="0" y="0"/>
                      </a:lnTo>
                      <a:lnTo>
                        <a:pt x="0" y="0"/>
                      </a:lnTo>
                      <a:lnTo>
                        <a:pt x="0" y="33"/>
                      </a:lnTo>
                      <a:lnTo>
                        <a:pt x="0" y="25"/>
                      </a:lnTo>
                      <a:lnTo>
                        <a:pt x="16" y="25"/>
                      </a:lnTo>
                      <a:lnTo>
                        <a:pt x="16" y="0"/>
                      </a:lnTo>
                      <a:close/>
                    </a:path>
                  </a:pathLst>
                </a:custGeom>
                <a:solidFill>
                  <a:srgbClr val="006F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3" name="Freeform 80"/>
                <p:cNvSpPr>
                  <a:spLocks/>
                </p:cNvSpPr>
                <p:nvPr/>
              </p:nvSpPr>
              <p:spPr bwMode="auto">
                <a:xfrm>
                  <a:off x="11359450" y="6821661"/>
                  <a:ext cx="25400" cy="52388"/>
                </a:xfrm>
                <a:custGeom>
                  <a:avLst/>
                  <a:gdLst>
                    <a:gd name="T0" fmla="*/ 16 w 16"/>
                    <a:gd name="T1" fmla="*/ 0 h 33"/>
                    <a:gd name="T2" fmla="*/ 0 w 16"/>
                    <a:gd name="T3" fmla="*/ 0 h 33"/>
                    <a:gd name="T4" fmla="*/ 0 w 16"/>
                    <a:gd name="T5" fmla="*/ 0 h 33"/>
                    <a:gd name="T6" fmla="*/ 0 w 16"/>
                    <a:gd name="T7" fmla="*/ 33 h 33"/>
                    <a:gd name="T8" fmla="*/ 0 w 16"/>
                    <a:gd name="T9" fmla="*/ 25 h 33"/>
                    <a:gd name="T10" fmla="*/ 16 w 16"/>
                    <a:gd name="T11" fmla="*/ 25 h 33"/>
                    <a:gd name="T12" fmla="*/ 16 w 16"/>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16" h="33">
                      <a:moveTo>
                        <a:pt x="16" y="0"/>
                      </a:moveTo>
                      <a:lnTo>
                        <a:pt x="0" y="0"/>
                      </a:lnTo>
                      <a:lnTo>
                        <a:pt x="0" y="0"/>
                      </a:lnTo>
                      <a:lnTo>
                        <a:pt x="0" y="33"/>
                      </a:lnTo>
                      <a:lnTo>
                        <a:pt x="0" y="25"/>
                      </a:lnTo>
                      <a:lnTo>
                        <a:pt x="16" y="25"/>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8" name="Freeform 94"/>
                <p:cNvSpPr>
                  <a:spLocks/>
                </p:cNvSpPr>
                <p:nvPr/>
              </p:nvSpPr>
              <p:spPr bwMode="auto">
                <a:xfrm>
                  <a:off x="11154662" y="6245398"/>
                  <a:ext cx="195263" cy="384175"/>
                </a:xfrm>
                <a:custGeom>
                  <a:avLst/>
                  <a:gdLst>
                    <a:gd name="T0" fmla="*/ 262 w 262"/>
                    <a:gd name="T1" fmla="*/ 192 h 517"/>
                    <a:gd name="T2" fmla="*/ 262 w 262"/>
                    <a:gd name="T3" fmla="*/ 0 h 517"/>
                    <a:gd name="T4" fmla="*/ 0 w 262"/>
                    <a:gd name="T5" fmla="*/ 0 h 517"/>
                    <a:gd name="T6" fmla="*/ 0 w 262"/>
                    <a:gd name="T7" fmla="*/ 517 h 517"/>
                    <a:gd name="T8" fmla="*/ 262 w 262"/>
                    <a:gd name="T9" fmla="*/ 517 h 517"/>
                    <a:gd name="T10" fmla="*/ 253 w 262"/>
                    <a:gd name="T11" fmla="*/ 254 h 517"/>
                    <a:gd name="T12" fmla="*/ 262 w 262"/>
                    <a:gd name="T13" fmla="*/ 192 h 517"/>
                  </a:gdLst>
                  <a:ahLst/>
                  <a:cxnLst>
                    <a:cxn ang="0">
                      <a:pos x="T0" y="T1"/>
                    </a:cxn>
                    <a:cxn ang="0">
                      <a:pos x="T2" y="T3"/>
                    </a:cxn>
                    <a:cxn ang="0">
                      <a:pos x="T4" y="T5"/>
                    </a:cxn>
                    <a:cxn ang="0">
                      <a:pos x="T6" y="T7"/>
                    </a:cxn>
                    <a:cxn ang="0">
                      <a:pos x="T8" y="T9"/>
                    </a:cxn>
                    <a:cxn ang="0">
                      <a:pos x="T10" y="T11"/>
                    </a:cxn>
                    <a:cxn ang="0">
                      <a:pos x="T12" y="T13"/>
                    </a:cxn>
                  </a:cxnLst>
                  <a:rect l="0" t="0" r="r" b="b"/>
                  <a:pathLst>
                    <a:path w="262" h="517">
                      <a:moveTo>
                        <a:pt x="262" y="192"/>
                      </a:moveTo>
                      <a:cubicBezTo>
                        <a:pt x="262" y="0"/>
                        <a:pt x="262" y="0"/>
                        <a:pt x="262" y="0"/>
                      </a:cubicBezTo>
                      <a:cubicBezTo>
                        <a:pt x="0" y="0"/>
                        <a:pt x="0" y="0"/>
                        <a:pt x="0" y="0"/>
                      </a:cubicBezTo>
                      <a:cubicBezTo>
                        <a:pt x="0" y="517"/>
                        <a:pt x="0" y="517"/>
                        <a:pt x="0" y="517"/>
                      </a:cubicBezTo>
                      <a:cubicBezTo>
                        <a:pt x="262" y="517"/>
                        <a:pt x="262" y="517"/>
                        <a:pt x="262" y="517"/>
                      </a:cubicBezTo>
                      <a:cubicBezTo>
                        <a:pt x="260" y="452"/>
                        <a:pt x="253" y="254"/>
                        <a:pt x="253" y="254"/>
                      </a:cubicBezTo>
                      <a:cubicBezTo>
                        <a:pt x="258" y="242"/>
                        <a:pt x="262" y="192"/>
                        <a:pt x="262" y="192"/>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9" name="Freeform 95"/>
                <p:cNvSpPr>
                  <a:spLocks/>
                </p:cNvSpPr>
                <p:nvPr/>
              </p:nvSpPr>
              <p:spPr bwMode="auto">
                <a:xfrm>
                  <a:off x="11235625" y="6186661"/>
                  <a:ext cx="49213" cy="60325"/>
                </a:xfrm>
                <a:custGeom>
                  <a:avLst/>
                  <a:gdLst>
                    <a:gd name="T0" fmla="*/ 67 w 67"/>
                    <a:gd name="T1" fmla="*/ 8 h 81"/>
                    <a:gd name="T2" fmla="*/ 45 w 67"/>
                    <a:gd name="T3" fmla="*/ 0 h 81"/>
                    <a:gd name="T4" fmla="*/ 38 w 67"/>
                    <a:gd name="T5" fmla="*/ 18 h 81"/>
                    <a:gd name="T6" fmla="*/ 0 w 67"/>
                    <a:gd name="T7" fmla="*/ 18 h 81"/>
                    <a:gd name="T8" fmla="*/ 0 w 67"/>
                    <a:gd name="T9" fmla="*/ 81 h 81"/>
                    <a:gd name="T10" fmla="*/ 46 w 67"/>
                    <a:gd name="T11" fmla="*/ 81 h 81"/>
                    <a:gd name="T12" fmla="*/ 46 w 67"/>
                    <a:gd name="T13" fmla="*/ 45 h 81"/>
                    <a:gd name="T14" fmla="*/ 67 w 67"/>
                    <a:gd name="T15" fmla="*/ 8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81">
                      <a:moveTo>
                        <a:pt x="67" y="8"/>
                      </a:moveTo>
                      <a:cubicBezTo>
                        <a:pt x="45" y="0"/>
                        <a:pt x="45" y="0"/>
                        <a:pt x="45" y="0"/>
                      </a:cubicBezTo>
                      <a:cubicBezTo>
                        <a:pt x="38" y="18"/>
                        <a:pt x="38" y="18"/>
                        <a:pt x="38" y="18"/>
                      </a:cubicBezTo>
                      <a:cubicBezTo>
                        <a:pt x="0" y="18"/>
                        <a:pt x="0" y="18"/>
                        <a:pt x="0" y="18"/>
                      </a:cubicBezTo>
                      <a:cubicBezTo>
                        <a:pt x="0" y="81"/>
                        <a:pt x="0" y="81"/>
                        <a:pt x="0" y="81"/>
                      </a:cubicBezTo>
                      <a:cubicBezTo>
                        <a:pt x="46" y="81"/>
                        <a:pt x="46" y="81"/>
                        <a:pt x="46" y="81"/>
                      </a:cubicBezTo>
                      <a:cubicBezTo>
                        <a:pt x="46" y="45"/>
                        <a:pt x="46" y="45"/>
                        <a:pt x="46" y="45"/>
                      </a:cubicBezTo>
                      <a:cubicBezTo>
                        <a:pt x="46" y="33"/>
                        <a:pt x="50" y="13"/>
                        <a:pt x="67" y="8"/>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0" name="Freeform 96"/>
                <p:cNvSpPr>
                  <a:spLocks/>
                </p:cNvSpPr>
                <p:nvPr/>
              </p:nvSpPr>
              <p:spPr bwMode="auto">
                <a:xfrm>
                  <a:off x="11264200" y="6119986"/>
                  <a:ext cx="46038" cy="44450"/>
                </a:xfrm>
                <a:custGeom>
                  <a:avLst/>
                  <a:gdLst>
                    <a:gd name="T0" fmla="*/ 0 w 29"/>
                    <a:gd name="T1" fmla="*/ 0 h 28"/>
                    <a:gd name="T2" fmla="*/ 29 w 29"/>
                    <a:gd name="T3" fmla="*/ 16 h 28"/>
                    <a:gd name="T4" fmla="*/ 17 w 29"/>
                    <a:gd name="T5" fmla="*/ 28 h 28"/>
                    <a:gd name="T6" fmla="*/ 0 w 29"/>
                    <a:gd name="T7" fmla="*/ 0 h 28"/>
                  </a:gdLst>
                  <a:ahLst/>
                  <a:cxnLst>
                    <a:cxn ang="0">
                      <a:pos x="T0" y="T1"/>
                    </a:cxn>
                    <a:cxn ang="0">
                      <a:pos x="T2" y="T3"/>
                    </a:cxn>
                    <a:cxn ang="0">
                      <a:pos x="T4" y="T5"/>
                    </a:cxn>
                    <a:cxn ang="0">
                      <a:pos x="T6" y="T7"/>
                    </a:cxn>
                  </a:cxnLst>
                  <a:rect l="0" t="0" r="r" b="b"/>
                  <a:pathLst>
                    <a:path w="29" h="28">
                      <a:moveTo>
                        <a:pt x="0" y="0"/>
                      </a:moveTo>
                      <a:lnTo>
                        <a:pt x="29" y="16"/>
                      </a:lnTo>
                      <a:lnTo>
                        <a:pt x="17" y="28"/>
                      </a:lnTo>
                      <a:lnTo>
                        <a:pt x="0" y="0"/>
                      </a:lnTo>
                      <a:close/>
                    </a:path>
                  </a:pathLst>
                </a:custGeom>
                <a:solidFill>
                  <a:srgbClr val="9A8D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1" name="Freeform 97"/>
                <p:cNvSpPr>
                  <a:spLocks/>
                </p:cNvSpPr>
                <p:nvPr/>
              </p:nvSpPr>
              <p:spPr bwMode="auto">
                <a:xfrm>
                  <a:off x="11253087" y="6142211"/>
                  <a:ext cx="7938" cy="7938"/>
                </a:xfrm>
                <a:custGeom>
                  <a:avLst/>
                  <a:gdLst>
                    <a:gd name="T0" fmla="*/ 8 w 10"/>
                    <a:gd name="T1" fmla="*/ 2 h 10"/>
                    <a:gd name="T2" fmla="*/ 8 w 10"/>
                    <a:gd name="T3" fmla="*/ 8 h 10"/>
                    <a:gd name="T4" fmla="*/ 1 w 10"/>
                    <a:gd name="T5" fmla="*/ 8 h 10"/>
                    <a:gd name="T6" fmla="*/ 1 w 10"/>
                    <a:gd name="T7" fmla="*/ 2 h 10"/>
                    <a:gd name="T8" fmla="*/ 8 w 10"/>
                    <a:gd name="T9" fmla="*/ 2 h 10"/>
                  </a:gdLst>
                  <a:ahLst/>
                  <a:cxnLst>
                    <a:cxn ang="0">
                      <a:pos x="T0" y="T1"/>
                    </a:cxn>
                    <a:cxn ang="0">
                      <a:pos x="T2" y="T3"/>
                    </a:cxn>
                    <a:cxn ang="0">
                      <a:pos x="T4" y="T5"/>
                    </a:cxn>
                    <a:cxn ang="0">
                      <a:pos x="T6" y="T7"/>
                    </a:cxn>
                    <a:cxn ang="0">
                      <a:pos x="T8" y="T9"/>
                    </a:cxn>
                  </a:cxnLst>
                  <a:rect l="0" t="0" r="r" b="b"/>
                  <a:pathLst>
                    <a:path w="10" h="10">
                      <a:moveTo>
                        <a:pt x="8" y="2"/>
                      </a:moveTo>
                      <a:cubicBezTo>
                        <a:pt x="10" y="4"/>
                        <a:pt x="10" y="7"/>
                        <a:pt x="8" y="8"/>
                      </a:cubicBezTo>
                      <a:cubicBezTo>
                        <a:pt x="6" y="10"/>
                        <a:pt x="3" y="10"/>
                        <a:pt x="1" y="8"/>
                      </a:cubicBezTo>
                      <a:cubicBezTo>
                        <a:pt x="0" y="7"/>
                        <a:pt x="0" y="3"/>
                        <a:pt x="1" y="2"/>
                      </a:cubicBezTo>
                      <a:cubicBezTo>
                        <a:pt x="3" y="0"/>
                        <a:pt x="6" y="0"/>
                        <a:pt x="8" y="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2" name="Freeform 98"/>
                <p:cNvSpPr>
                  <a:spLocks/>
                </p:cNvSpPr>
                <p:nvPr/>
              </p:nvSpPr>
              <p:spPr bwMode="auto">
                <a:xfrm>
                  <a:off x="11264200" y="6119986"/>
                  <a:ext cx="46038" cy="44450"/>
                </a:xfrm>
                <a:custGeom>
                  <a:avLst/>
                  <a:gdLst>
                    <a:gd name="T0" fmla="*/ 0 w 29"/>
                    <a:gd name="T1" fmla="*/ 0 h 28"/>
                    <a:gd name="T2" fmla="*/ 29 w 29"/>
                    <a:gd name="T3" fmla="*/ 16 h 28"/>
                    <a:gd name="T4" fmla="*/ 17 w 29"/>
                    <a:gd name="T5" fmla="*/ 28 h 28"/>
                    <a:gd name="T6" fmla="*/ 0 w 29"/>
                    <a:gd name="T7" fmla="*/ 0 h 28"/>
                  </a:gdLst>
                  <a:ahLst/>
                  <a:cxnLst>
                    <a:cxn ang="0">
                      <a:pos x="T0" y="T1"/>
                    </a:cxn>
                    <a:cxn ang="0">
                      <a:pos x="T2" y="T3"/>
                    </a:cxn>
                    <a:cxn ang="0">
                      <a:pos x="T4" y="T5"/>
                    </a:cxn>
                    <a:cxn ang="0">
                      <a:pos x="T6" y="T7"/>
                    </a:cxn>
                  </a:cxnLst>
                  <a:rect l="0" t="0" r="r" b="b"/>
                  <a:pathLst>
                    <a:path w="29" h="28">
                      <a:moveTo>
                        <a:pt x="0" y="0"/>
                      </a:moveTo>
                      <a:lnTo>
                        <a:pt x="29" y="16"/>
                      </a:lnTo>
                      <a:lnTo>
                        <a:pt x="17" y="28"/>
                      </a:lnTo>
                      <a:lnTo>
                        <a:pt x="0"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3" name="Freeform 99"/>
                <p:cNvSpPr>
                  <a:spLocks/>
                </p:cNvSpPr>
                <p:nvPr/>
              </p:nvSpPr>
              <p:spPr bwMode="auto">
                <a:xfrm>
                  <a:off x="11175300" y="6096173"/>
                  <a:ext cx="153988" cy="139700"/>
                </a:xfrm>
                <a:custGeom>
                  <a:avLst/>
                  <a:gdLst>
                    <a:gd name="T0" fmla="*/ 0 w 205"/>
                    <a:gd name="T1" fmla="*/ 85 h 188"/>
                    <a:gd name="T2" fmla="*/ 60 w 205"/>
                    <a:gd name="T3" fmla="*/ 146 h 188"/>
                    <a:gd name="T4" fmla="*/ 61 w 205"/>
                    <a:gd name="T5" fmla="*/ 146 h 188"/>
                    <a:gd name="T6" fmla="*/ 205 w 205"/>
                    <a:gd name="T7" fmla="*/ 119 h 188"/>
                    <a:gd name="T8" fmla="*/ 201 w 205"/>
                    <a:gd name="T9" fmla="*/ 115 h 188"/>
                    <a:gd name="T10" fmla="*/ 167 w 205"/>
                    <a:gd name="T11" fmla="*/ 81 h 188"/>
                    <a:gd name="T12" fmla="*/ 123 w 205"/>
                    <a:gd name="T13" fmla="*/ 38 h 188"/>
                    <a:gd name="T14" fmla="*/ 86 w 205"/>
                    <a:gd name="T15" fmla="*/ 0 h 188"/>
                    <a:gd name="T16" fmla="*/ 0 w 205"/>
                    <a:gd name="T17" fmla="*/ 85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188">
                      <a:moveTo>
                        <a:pt x="0" y="85"/>
                      </a:moveTo>
                      <a:cubicBezTo>
                        <a:pt x="60" y="146"/>
                        <a:pt x="60" y="146"/>
                        <a:pt x="60" y="146"/>
                      </a:cubicBezTo>
                      <a:cubicBezTo>
                        <a:pt x="61" y="146"/>
                        <a:pt x="61" y="146"/>
                        <a:pt x="61" y="146"/>
                      </a:cubicBezTo>
                      <a:cubicBezTo>
                        <a:pt x="108" y="188"/>
                        <a:pt x="159" y="165"/>
                        <a:pt x="205" y="119"/>
                      </a:cubicBezTo>
                      <a:cubicBezTo>
                        <a:pt x="201" y="115"/>
                        <a:pt x="201" y="115"/>
                        <a:pt x="201" y="115"/>
                      </a:cubicBezTo>
                      <a:cubicBezTo>
                        <a:pt x="167" y="81"/>
                        <a:pt x="167" y="81"/>
                        <a:pt x="167" y="81"/>
                      </a:cubicBezTo>
                      <a:cubicBezTo>
                        <a:pt x="123" y="38"/>
                        <a:pt x="123" y="38"/>
                        <a:pt x="123" y="38"/>
                      </a:cubicBezTo>
                      <a:cubicBezTo>
                        <a:pt x="86" y="0"/>
                        <a:pt x="86" y="0"/>
                        <a:pt x="86" y="0"/>
                      </a:cubicBezTo>
                      <a:cubicBezTo>
                        <a:pt x="0" y="85"/>
                        <a:pt x="0" y="85"/>
                        <a:pt x="0" y="85"/>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4" name="Freeform 100"/>
                <p:cNvSpPr>
                  <a:spLocks/>
                </p:cNvSpPr>
                <p:nvPr/>
              </p:nvSpPr>
              <p:spPr bwMode="auto">
                <a:xfrm>
                  <a:off x="11253087" y="6142211"/>
                  <a:ext cx="7938" cy="7938"/>
                </a:xfrm>
                <a:custGeom>
                  <a:avLst/>
                  <a:gdLst>
                    <a:gd name="T0" fmla="*/ 8 w 10"/>
                    <a:gd name="T1" fmla="*/ 2 h 10"/>
                    <a:gd name="T2" fmla="*/ 8 w 10"/>
                    <a:gd name="T3" fmla="*/ 8 h 10"/>
                    <a:gd name="T4" fmla="*/ 1 w 10"/>
                    <a:gd name="T5" fmla="*/ 8 h 10"/>
                    <a:gd name="T6" fmla="*/ 1 w 10"/>
                    <a:gd name="T7" fmla="*/ 2 h 10"/>
                    <a:gd name="T8" fmla="*/ 8 w 10"/>
                    <a:gd name="T9" fmla="*/ 2 h 10"/>
                  </a:gdLst>
                  <a:ahLst/>
                  <a:cxnLst>
                    <a:cxn ang="0">
                      <a:pos x="T0" y="T1"/>
                    </a:cxn>
                    <a:cxn ang="0">
                      <a:pos x="T2" y="T3"/>
                    </a:cxn>
                    <a:cxn ang="0">
                      <a:pos x="T4" y="T5"/>
                    </a:cxn>
                    <a:cxn ang="0">
                      <a:pos x="T6" y="T7"/>
                    </a:cxn>
                    <a:cxn ang="0">
                      <a:pos x="T8" y="T9"/>
                    </a:cxn>
                  </a:cxnLst>
                  <a:rect l="0" t="0" r="r" b="b"/>
                  <a:pathLst>
                    <a:path w="10" h="10">
                      <a:moveTo>
                        <a:pt x="8" y="2"/>
                      </a:moveTo>
                      <a:cubicBezTo>
                        <a:pt x="10" y="4"/>
                        <a:pt x="10" y="7"/>
                        <a:pt x="8" y="8"/>
                      </a:cubicBezTo>
                      <a:cubicBezTo>
                        <a:pt x="6" y="10"/>
                        <a:pt x="3" y="10"/>
                        <a:pt x="1" y="8"/>
                      </a:cubicBezTo>
                      <a:cubicBezTo>
                        <a:pt x="0" y="7"/>
                        <a:pt x="0" y="3"/>
                        <a:pt x="1" y="2"/>
                      </a:cubicBezTo>
                      <a:cubicBezTo>
                        <a:pt x="3" y="0"/>
                        <a:pt x="6" y="0"/>
                        <a:pt x="8" y="2"/>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5" name="Freeform 101"/>
                <p:cNvSpPr>
                  <a:spLocks/>
                </p:cNvSpPr>
                <p:nvPr/>
              </p:nvSpPr>
              <p:spPr bwMode="auto">
                <a:xfrm>
                  <a:off x="11153075" y="6077123"/>
                  <a:ext cx="93663" cy="142875"/>
                </a:xfrm>
                <a:custGeom>
                  <a:avLst/>
                  <a:gdLst>
                    <a:gd name="T0" fmla="*/ 85 w 126"/>
                    <a:gd name="T1" fmla="*/ 113 h 191"/>
                    <a:gd name="T2" fmla="*/ 85 w 126"/>
                    <a:gd name="T3" fmla="*/ 109 h 191"/>
                    <a:gd name="T4" fmla="*/ 102 w 126"/>
                    <a:gd name="T5" fmla="*/ 81 h 191"/>
                    <a:gd name="T6" fmla="*/ 116 w 126"/>
                    <a:gd name="T7" fmla="*/ 24 h 191"/>
                    <a:gd name="T8" fmla="*/ 116 w 126"/>
                    <a:gd name="T9" fmla="*/ 25 h 191"/>
                    <a:gd name="T10" fmla="*/ 116 w 126"/>
                    <a:gd name="T11" fmla="*/ 24 h 191"/>
                    <a:gd name="T12" fmla="*/ 40 w 126"/>
                    <a:gd name="T13" fmla="*/ 42 h 191"/>
                    <a:gd name="T14" fmla="*/ 28 w 126"/>
                    <a:gd name="T15" fmla="*/ 63 h 191"/>
                    <a:gd name="T16" fmla="*/ 17 w 126"/>
                    <a:gd name="T17" fmla="*/ 80 h 191"/>
                    <a:gd name="T18" fmla="*/ 20 w 126"/>
                    <a:gd name="T19" fmla="*/ 95 h 191"/>
                    <a:gd name="T20" fmla="*/ 2 w 126"/>
                    <a:gd name="T21" fmla="*/ 120 h 191"/>
                    <a:gd name="T22" fmla="*/ 34 w 126"/>
                    <a:gd name="T23" fmla="*/ 157 h 191"/>
                    <a:gd name="T24" fmla="*/ 74 w 126"/>
                    <a:gd name="T25" fmla="*/ 168 h 191"/>
                    <a:gd name="T26" fmla="*/ 112 w 126"/>
                    <a:gd name="T27" fmla="*/ 185 h 191"/>
                    <a:gd name="T28" fmla="*/ 113 w 126"/>
                    <a:gd name="T29" fmla="*/ 185 h 191"/>
                    <a:gd name="T30" fmla="*/ 85 w 126"/>
                    <a:gd name="T31" fmla="*/ 11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191">
                      <a:moveTo>
                        <a:pt x="85" y="113"/>
                      </a:moveTo>
                      <a:cubicBezTo>
                        <a:pt x="85" y="112"/>
                        <a:pt x="85" y="110"/>
                        <a:pt x="85" y="109"/>
                      </a:cubicBezTo>
                      <a:cubicBezTo>
                        <a:pt x="86" y="95"/>
                        <a:pt x="93" y="91"/>
                        <a:pt x="102" y="81"/>
                      </a:cubicBezTo>
                      <a:cubicBezTo>
                        <a:pt x="114" y="68"/>
                        <a:pt x="126" y="40"/>
                        <a:pt x="116" y="24"/>
                      </a:cubicBezTo>
                      <a:cubicBezTo>
                        <a:pt x="116" y="25"/>
                        <a:pt x="116" y="25"/>
                        <a:pt x="116" y="25"/>
                      </a:cubicBezTo>
                      <a:cubicBezTo>
                        <a:pt x="116" y="24"/>
                        <a:pt x="116" y="24"/>
                        <a:pt x="116" y="24"/>
                      </a:cubicBezTo>
                      <a:cubicBezTo>
                        <a:pt x="94" y="0"/>
                        <a:pt x="48" y="13"/>
                        <a:pt x="40" y="42"/>
                      </a:cubicBezTo>
                      <a:cubicBezTo>
                        <a:pt x="38" y="51"/>
                        <a:pt x="35" y="56"/>
                        <a:pt x="28" y="63"/>
                      </a:cubicBezTo>
                      <a:cubicBezTo>
                        <a:pt x="23" y="68"/>
                        <a:pt x="19" y="73"/>
                        <a:pt x="17" y="80"/>
                      </a:cubicBezTo>
                      <a:cubicBezTo>
                        <a:pt x="16" y="84"/>
                        <a:pt x="17" y="90"/>
                        <a:pt x="20" y="95"/>
                      </a:cubicBezTo>
                      <a:cubicBezTo>
                        <a:pt x="11" y="100"/>
                        <a:pt x="3" y="109"/>
                        <a:pt x="2" y="120"/>
                      </a:cubicBezTo>
                      <a:cubicBezTo>
                        <a:pt x="0" y="136"/>
                        <a:pt x="20" y="153"/>
                        <a:pt x="34" y="157"/>
                      </a:cubicBezTo>
                      <a:cubicBezTo>
                        <a:pt x="46" y="160"/>
                        <a:pt x="65" y="161"/>
                        <a:pt x="74" y="168"/>
                      </a:cubicBezTo>
                      <a:cubicBezTo>
                        <a:pt x="87" y="177"/>
                        <a:pt x="94" y="191"/>
                        <a:pt x="112" y="185"/>
                      </a:cubicBezTo>
                      <a:cubicBezTo>
                        <a:pt x="112" y="185"/>
                        <a:pt x="113" y="185"/>
                        <a:pt x="113" y="185"/>
                      </a:cubicBezTo>
                      <a:cubicBezTo>
                        <a:pt x="121" y="148"/>
                        <a:pt x="85" y="113"/>
                        <a:pt x="85" y="113"/>
                      </a:cubicBezTo>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0" name="Freeform 102"/>
                <p:cNvSpPr>
                  <a:spLocks/>
                </p:cNvSpPr>
                <p:nvPr/>
              </p:nvSpPr>
              <p:spPr bwMode="auto">
                <a:xfrm>
                  <a:off x="11229275" y="6262861"/>
                  <a:ext cx="46038" cy="168275"/>
                </a:xfrm>
                <a:custGeom>
                  <a:avLst/>
                  <a:gdLst>
                    <a:gd name="T0" fmla="*/ 29 w 29"/>
                    <a:gd name="T1" fmla="*/ 0 h 106"/>
                    <a:gd name="T2" fmla="*/ 14 w 29"/>
                    <a:gd name="T3" fmla="*/ 106 h 106"/>
                    <a:gd name="T4" fmla="*/ 0 w 29"/>
                    <a:gd name="T5" fmla="*/ 0 h 106"/>
                    <a:gd name="T6" fmla="*/ 29 w 29"/>
                    <a:gd name="T7" fmla="*/ 0 h 106"/>
                  </a:gdLst>
                  <a:ahLst/>
                  <a:cxnLst>
                    <a:cxn ang="0">
                      <a:pos x="T0" y="T1"/>
                    </a:cxn>
                    <a:cxn ang="0">
                      <a:pos x="T2" y="T3"/>
                    </a:cxn>
                    <a:cxn ang="0">
                      <a:pos x="T4" y="T5"/>
                    </a:cxn>
                    <a:cxn ang="0">
                      <a:pos x="T6" y="T7"/>
                    </a:cxn>
                  </a:cxnLst>
                  <a:rect l="0" t="0" r="r" b="b"/>
                  <a:pathLst>
                    <a:path w="29" h="106">
                      <a:moveTo>
                        <a:pt x="29" y="0"/>
                      </a:moveTo>
                      <a:lnTo>
                        <a:pt x="14" y="106"/>
                      </a:lnTo>
                      <a:lnTo>
                        <a:pt x="0" y="0"/>
                      </a:lnTo>
                      <a:lnTo>
                        <a:pt x="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1" name="Freeform 103"/>
                <p:cNvSpPr>
                  <a:spLocks/>
                </p:cNvSpPr>
                <p:nvPr/>
              </p:nvSpPr>
              <p:spPr bwMode="auto">
                <a:xfrm>
                  <a:off x="11229275" y="6262861"/>
                  <a:ext cx="46038" cy="168275"/>
                </a:xfrm>
                <a:custGeom>
                  <a:avLst/>
                  <a:gdLst>
                    <a:gd name="T0" fmla="*/ 29 w 29"/>
                    <a:gd name="T1" fmla="*/ 0 h 106"/>
                    <a:gd name="T2" fmla="*/ 14 w 29"/>
                    <a:gd name="T3" fmla="*/ 106 h 106"/>
                    <a:gd name="T4" fmla="*/ 0 w 29"/>
                    <a:gd name="T5" fmla="*/ 0 h 106"/>
                    <a:gd name="T6" fmla="*/ 29 w 29"/>
                    <a:gd name="T7" fmla="*/ 0 h 106"/>
                  </a:gdLst>
                  <a:ahLst/>
                  <a:cxnLst>
                    <a:cxn ang="0">
                      <a:pos x="T0" y="T1"/>
                    </a:cxn>
                    <a:cxn ang="0">
                      <a:pos x="T2" y="T3"/>
                    </a:cxn>
                    <a:cxn ang="0">
                      <a:pos x="T4" y="T5"/>
                    </a:cxn>
                    <a:cxn ang="0">
                      <a:pos x="T6" y="T7"/>
                    </a:cxn>
                  </a:cxnLst>
                  <a:rect l="0" t="0" r="r" b="b"/>
                  <a:pathLst>
                    <a:path w="29" h="106">
                      <a:moveTo>
                        <a:pt x="29" y="0"/>
                      </a:moveTo>
                      <a:lnTo>
                        <a:pt x="14" y="106"/>
                      </a:lnTo>
                      <a:lnTo>
                        <a:pt x="0" y="0"/>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2" name="Freeform 104"/>
                <p:cNvSpPr>
                  <a:spLocks/>
                </p:cNvSpPr>
                <p:nvPr/>
              </p:nvSpPr>
              <p:spPr bwMode="auto">
                <a:xfrm>
                  <a:off x="11229275" y="6262861"/>
                  <a:ext cx="46038" cy="71438"/>
                </a:xfrm>
                <a:custGeom>
                  <a:avLst/>
                  <a:gdLst>
                    <a:gd name="T0" fmla="*/ 29 w 29"/>
                    <a:gd name="T1" fmla="*/ 0 h 45"/>
                    <a:gd name="T2" fmla="*/ 0 w 29"/>
                    <a:gd name="T3" fmla="*/ 0 h 45"/>
                    <a:gd name="T4" fmla="*/ 6 w 29"/>
                    <a:gd name="T5" fmla="*/ 45 h 45"/>
                    <a:gd name="T6" fmla="*/ 11 w 29"/>
                    <a:gd name="T7" fmla="*/ 20 h 45"/>
                    <a:gd name="T8" fmla="*/ 20 w 29"/>
                    <a:gd name="T9" fmla="*/ 20 h 45"/>
                    <a:gd name="T10" fmla="*/ 24 w 29"/>
                    <a:gd name="T11" fmla="*/ 41 h 45"/>
                    <a:gd name="T12" fmla="*/ 29 w 29"/>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9" h="45">
                      <a:moveTo>
                        <a:pt x="29" y="0"/>
                      </a:moveTo>
                      <a:lnTo>
                        <a:pt x="0" y="0"/>
                      </a:lnTo>
                      <a:lnTo>
                        <a:pt x="6" y="45"/>
                      </a:lnTo>
                      <a:lnTo>
                        <a:pt x="11" y="20"/>
                      </a:lnTo>
                      <a:lnTo>
                        <a:pt x="20" y="20"/>
                      </a:lnTo>
                      <a:lnTo>
                        <a:pt x="24" y="41"/>
                      </a:lnTo>
                      <a:lnTo>
                        <a:pt x="29"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3" name="Freeform 105"/>
                <p:cNvSpPr>
                  <a:spLocks/>
                </p:cNvSpPr>
                <p:nvPr/>
              </p:nvSpPr>
              <p:spPr bwMode="auto">
                <a:xfrm>
                  <a:off x="11229275" y="6262861"/>
                  <a:ext cx="46038" cy="71438"/>
                </a:xfrm>
                <a:custGeom>
                  <a:avLst/>
                  <a:gdLst>
                    <a:gd name="T0" fmla="*/ 29 w 29"/>
                    <a:gd name="T1" fmla="*/ 0 h 45"/>
                    <a:gd name="T2" fmla="*/ 0 w 29"/>
                    <a:gd name="T3" fmla="*/ 0 h 45"/>
                    <a:gd name="T4" fmla="*/ 6 w 29"/>
                    <a:gd name="T5" fmla="*/ 45 h 45"/>
                    <a:gd name="T6" fmla="*/ 11 w 29"/>
                    <a:gd name="T7" fmla="*/ 20 h 45"/>
                    <a:gd name="T8" fmla="*/ 20 w 29"/>
                    <a:gd name="T9" fmla="*/ 20 h 45"/>
                    <a:gd name="T10" fmla="*/ 24 w 29"/>
                    <a:gd name="T11" fmla="*/ 41 h 45"/>
                    <a:gd name="T12" fmla="*/ 29 w 29"/>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9" h="45">
                      <a:moveTo>
                        <a:pt x="29" y="0"/>
                      </a:moveTo>
                      <a:lnTo>
                        <a:pt x="0" y="0"/>
                      </a:lnTo>
                      <a:lnTo>
                        <a:pt x="6" y="45"/>
                      </a:lnTo>
                      <a:lnTo>
                        <a:pt x="11" y="20"/>
                      </a:lnTo>
                      <a:lnTo>
                        <a:pt x="20" y="20"/>
                      </a:lnTo>
                      <a:lnTo>
                        <a:pt x="24" y="41"/>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4" name="Freeform 106"/>
                <p:cNvSpPr>
                  <a:spLocks/>
                </p:cNvSpPr>
                <p:nvPr/>
              </p:nvSpPr>
              <p:spPr bwMode="auto">
                <a:xfrm>
                  <a:off x="11241975" y="6262861"/>
                  <a:ext cx="22225" cy="31750"/>
                </a:xfrm>
                <a:custGeom>
                  <a:avLst/>
                  <a:gdLst>
                    <a:gd name="T0" fmla="*/ 14 w 14"/>
                    <a:gd name="T1" fmla="*/ 13 h 20"/>
                    <a:gd name="T2" fmla="*/ 12 w 14"/>
                    <a:gd name="T3" fmla="*/ 20 h 20"/>
                    <a:gd name="T4" fmla="*/ 3 w 14"/>
                    <a:gd name="T5" fmla="*/ 20 h 20"/>
                    <a:gd name="T6" fmla="*/ 0 w 14"/>
                    <a:gd name="T7" fmla="*/ 9 h 20"/>
                    <a:gd name="T8" fmla="*/ 7 w 14"/>
                    <a:gd name="T9" fmla="*/ 0 h 20"/>
                    <a:gd name="T10" fmla="*/ 14 w 14"/>
                    <a:gd name="T11" fmla="*/ 13 h 20"/>
                  </a:gdLst>
                  <a:ahLst/>
                  <a:cxnLst>
                    <a:cxn ang="0">
                      <a:pos x="T0" y="T1"/>
                    </a:cxn>
                    <a:cxn ang="0">
                      <a:pos x="T2" y="T3"/>
                    </a:cxn>
                    <a:cxn ang="0">
                      <a:pos x="T4" y="T5"/>
                    </a:cxn>
                    <a:cxn ang="0">
                      <a:pos x="T6" y="T7"/>
                    </a:cxn>
                    <a:cxn ang="0">
                      <a:pos x="T8" y="T9"/>
                    </a:cxn>
                    <a:cxn ang="0">
                      <a:pos x="T10" y="T11"/>
                    </a:cxn>
                  </a:cxnLst>
                  <a:rect l="0" t="0" r="r" b="b"/>
                  <a:pathLst>
                    <a:path w="14" h="20">
                      <a:moveTo>
                        <a:pt x="14" y="13"/>
                      </a:moveTo>
                      <a:lnTo>
                        <a:pt x="12" y="20"/>
                      </a:lnTo>
                      <a:lnTo>
                        <a:pt x="3" y="20"/>
                      </a:lnTo>
                      <a:lnTo>
                        <a:pt x="0" y="9"/>
                      </a:lnTo>
                      <a:lnTo>
                        <a:pt x="7" y="0"/>
                      </a:lnTo>
                      <a:lnTo>
                        <a:pt x="14" y="13"/>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5" name="Freeform 107"/>
                <p:cNvSpPr>
                  <a:spLocks/>
                </p:cNvSpPr>
                <p:nvPr/>
              </p:nvSpPr>
              <p:spPr bwMode="auto">
                <a:xfrm>
                  <a:off x="11238800" y="6294611"/>
                  <a:ext cx="28575" cy="139700"/>
                </a:xfrm>
                <a:custGeom>
                  <a:avLst/>
                  <a:gdLst>
                    <a:gd name="T0" fmla="*/ 5 w 18"/>
                    <a:gd name="T1" fmla="*/ 0 h 88"/>
                    <a:gd name="T2" fmla="*/ 14 w 18"/>
                    <a:gd name="T3" fmla="*/ 0 h 88"/>
                    <a:gd name="T4" fmla="*/ 18 w 18"/>
                    <a:gd name="T5" fmla="*/ 22 h 88"/>
                    <a:gd name="T6" fmla="*/ 8 w 18"/>
                    <a:gd name="T7" fmla="*/ 88 h 88"/>
                    <a:gd name="T8" fmla="*/ 0 w 18"/>
                    <a:gd name="T9" fmla="*/ 26 h 88"/>
                    <a:gd name="T10" fmla="*/ 5 w 18"/>
                    <a:gd name="T11" fmla="*/ 0 h 88"/>
                  </a:gdLst>
                  <a:ahLst/>
                  <a:cxnLst>
                    <a:cxn ang="0">
                      <a:pos x="T0" y="T1"/>
                    </a:cxn>
                    <a:cxn ang="0">
                      <a:pos x="T2" y="T3"/>
                    </a:cxn>
                    <a:cxn ang="0">
                      <a:pos x="T4" y="T5"/>
                    </a:cxn>
                    <a:cxn ang="0">
                      <a:pos x="T6" y="T7"/>
                    </a:cxn>
                    <a:cxn ang="0">
                      <a:pos x="T8" y="T9"/>
                    </a:cxn>
                    <a:cxn ang="0">
                      <a:pos x="T10" y="T11"/>
                    </a:cxn>
                  </a:cxnLst>
                  <a:rect l="0" t="0" r="r" b="b"/>
                  <a:pathLst>
                    <a:path w="18" h="88">
                      <a:moveTo>
                        <a:pt x="5" y="0"/>
                      </a:moveTo>
                      <a:lnTo>
                        <a:pt x="14" y="0"/>
                      </a:lnTo>
                      <a:lnTo>
                        <a:pt x="18" y="22"/>
                      </a:lnTo>
                      <a:lnTo>
                        <a:pt x="8" y="88"/>
                      </a:lnTo>
                      <a:lnTo>
                        <a:pt x="0" y="26"/>
                      </a:lnTo>
                      <a:lnTo>
                        <a:pt x="5"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6" name="Freeform 108"/>
                <p:cNvSpPr>
                  <a:spLocks/>
                </p:cNvSpPr>
                <p:nvPr/>
              </p:nvSpPr>
              <p:spPr bwMode="auto">
                <a:xfrm>
                  <a:off x="11238800" y="6294611"/>
                  <a:ext cx="28575" cy="139700"/>
                </a:xfrm>
                <a:custGeom>
                  <a:avLst/>
                  <a:gdLst>
                    <a:gd name="T0" fmla="*/ 5 w 18"/>
                    <a:gd name="T1" fmla="*/ 0 h 88"/>
                    <a:gd name="T2" fmla="*/ 14 w 18"/>
                    <a:gd name="T3" fmla="*/ 0 h 88"/>
                    <a:gd name="T4" fmla="*/ 18 w 18"/>
                    <a:gd name="T5" fmla="*/ 22 h 88"/>
                    <a:gd name="T6" fmla="*/ 8 w 18"/>
                    <a:gd name="T7" fmla="*/ 88 h 88"/>
                    <a:gd name="T8" fmla="*/ 0 w 18"/>
                    <a:gd name="T9" fmla="*/ 26 h 88"/>
                    <a:gd name="T10" fmla="*/ 5 w 18"/>
                    <a:gd name="T11" fmla="*/ 0 h 88"/>
                  </a:gdLst>
                  <a:ahLst/>
                  <a:cxnLst>
                    <a:cxn ang="0">
                      <a:pos x="T0" y="T1"/>
                    </a:cxn>
                    <a:cxn ang="0">
                      <a:pos x="T2" y="T3"/>
                    </a:cxn>
                    <a:cxn ang="0">
                      <a:pos x="T4" y="T5"/>
                    </a:cxn>
                    <a:cxn ang="0">
                      <a:pos x="T6" y="T7"/>
                    </a:cxn>
                    <a:cxn ang="0">
                      <a:pos x="T8" y="T9"/>
                    </a:cxn>
                    <a:cxn ang="0">
                      <a:pos x="T10" y="T11"/>
                    </a:cxn>
                  </a:cxnLst>
                  <a:rect l="0" t="0" r="r" b="b"/>
                  <a:pathLst>
                    <a:path w="18" h="88">
                      <a:moveTo>
                        <a:pt x="5" y="0"/>
                      </a:moveTo>
                      <a:lnTo>
                        <a:pt x="14" y="0"/>
                      </a:lnTo>
                      <a:lnTo>
                        <a:pt x="18" y="22"/>
                      </a:lnTo>
                      <a:lnTo>
                        <a:pt x="8" y="88"/>
                      </a:lnTo>
                      <a:lnTo>
                        <a:pt x="0" y="26"/>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7" name="Freeform 109"/>
                <p:cNvSpPr>
                  <a:spLocks/>
                </p:cNvSpPr>
                <p:nvPr/>
              </p:nvSpPr>
              <p:spPr bwMode="auto">
                <a:xfrm>
                  <a:off x="11251500" y="6245398"/>
                  <a:ext cx="23813" cy="42863"/>
                </a:xfrm>
                <a:custGeom>
                  <a:avLst/>
                  <a:gdLst>
                    <a:gd name="T0" fmla="*/ 0 w 15"/>
                    <a:gd name="T1" fmla="*/ 11 h 27"/>
                    <a:gd name="T2" fmla="*/ 10 w 15"/>
                    <a:gd name="T3" fmla="*/ 27 h 27"/>
                    <a:gd name="T4" fmla="*/ 15 w 15"/>
                    <a:gd name="T5" fmla="*/ 11 h 27"/>
                    <a:gd name="T6" fmla="*/ 15 w 15"/>
                    <a:gd name="T7" fmla="*/ 0 h 27"/>
                    <a:gd name="T8" fmla="*/ 0 w 15"/>
                    <a:gd name="T9" fmla="*/ 11 h 27"/>
                  </a:gdLst>
                  <a:ahLst/>
                  <a:cxnLst>
                    <a:cxn ang="0">
                      <a:pos x="T0" y="T1"/>
                    </a:cxn>
                    <a:cxn ang="0">
                      <a:pos x="T2" y="T3"/>
                    </a:cxn>
                    <a:cxn ang="0">
                      <a:pos x="T4" y="T5"/>
                    </a:cxn>
                    <a:cxn ang="0">
                      <a:pos x="T6" y="T7"/>
                    </a:cxn>
                    <a:cxn ang="0">
                      <a:pos x="T8" y="T9"/>
                    </a:cxn>
                  </a:cxnLst>
                  <a:rect l="0" t="0" r="r" b="b"/>
                  <a:pathLst>
                    <a:path w="15" h="27">
                      <a:moveTo>
                        <a:pt x="0" y="11"/>
                      </a:moveTo>
                      <a:lnTo>
                        <a:pt x="10" y="27"/>
                      </a:lnTo>
                      <a:lnTo>
                        <a:pt x="15" y="11"/>
                      </a:lnTo>
                      <a:lnTo>
                        <a:pt x="15" y="0"/>
                      </a:lnTo>
                      <a:lnTo>
                        <a:pt x="0"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8" name="Freeform 110"/>
                <p:cNvSpPr>
                  <a:spLocks/>
                </p:cNvSpPr>
                <p:nvPr/>
              </p:nvSpPr>
              <p:spPr bwMode="auto">
                <a:xfrm>
                  <a:off x="11229275" y="6245398"/>
                  <a:ext cx="23813" cy="42863"/>
                </a:xfrm>
                <a:custGeom>
                  <a:avLst/>
                  <a:gdLst>
                    <a:gd name="T0" fmla="*/ 15 w 15"/>
                    <a:gd name="T1" fmla="*/ 11 h 27"/>
                    <a:gd name="T2" fmla="*/ 5 w 15"/>
                    <a:gd name="T3" fmla="*/ 27 h 27"/>
                    <a:gd name="T4" fmla="*/ 0 w 15"/>
                    <a:gd name="T5" fmla="*/ 11 h 27"/>
                    <a:gd name="T6" fmla="*/ 0 w 15"/>
                    <a:gd name="T7" fmla="*/ 0 h 27"/>
                    <a:gd name="T8" fmla="*/ 15 w 15"/>
                    <a:gd name="T9" fmla="*/ 11 h 27"/>
                  </a:gdLst>
                  <a:ahLst/>
                  <a:cxnLst>
                    <a:cxn ang="0">
                      <a:pos x="T0" y="T1"/>
                    </a:cxn>
                    <a:cxn ang="0">
                      <a:pos x="T2" y="T3"/>
                    </a:cxn>
                    <a:cxn ang="0">
                      <a:pos x="T4" y="T5"/>
                    </a:cxn>
                    <a:cxn ang="0">
                      <a:pos x="T6" y="T7"/>
                    </a:cxn>
                    <a:cxn ang="0">
                      <a:pos x="T8" y="T9"/>
                    </a:cxn>
                  </a:cxnLst>
                  <a:rect l="0" t="0" r="r" b="b"/>
                  <a:pathLst>
                    <a:path w="15" h="27">
                      <a:moveTo>
                        <a:pt x="15" y="11"/>
                      </a:moveTo>
                      <a:lnTo>
                        <a:pt x="5" y="27"/>
                      </a:lnTo>
                      <a:lnTo>
                        <a:pt x="0" y="11"/>
                      </a:lnTo>
                      <a:lnTo>
                        <a:pt x="0" y="0"/>
                      </a:lnTo>
                      <a:lnTo>
                        <a:pt x="1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Freeform 111"/>
                <p:cNvSpPr>
                  <a:spLocks/>
                </p:cNvSpPr>
                <p:nvPr/>
              </p:nvSpPr>
              <p:spPr bwMode="auto">
                <a:xfrm>
                  <a:off x="11229275" y="6245398"/>
                  <a:ext cx="46038" cy="17463"/>
                </a:xfrm>
                <a:custGeom>
                  <a:avLst/>
                  <a:gdLst>
                    <a:gd name="T0" fmla="*/ 0 w 29"/>
                    <a:gd name="T1" fmla="*/ 0 h 11"/>
                    <a:gd name="T2" fmla="*/ 15 w 29"/>
                    <a:gd name="T3" fmla="*/ 11 h 11"/>
                    <a:gd name="T4" fmla="*/ 29 w 29"/>
                    <a:gd name="T5" fmla="*/ 0 h 11"/>
                    <a:gd name="T6" fmla="*/ 0 w 29"/>
                    <a:gd name="T7" fmla="*/ 0 h 11"/>
                  </a:gdLst>
                  <a:ahLst/>
                  <a:cxnLst>
                    <a:cxn ang="0">
                      <a:pos x="T0" y="T1"/>
                    </a:cxn>
                    <a:cxn ang="0">
                      <a:pos x="T2" y="T3"/>
                    </a:cxn>
                    <a:cxn ang="0">
                      <a:pos x="T4" y="T5"/>
                    </a:cxn>
                    <a:cxn ang="0">
                      <a:pos x="T6" y="T7"/>
                    </a:cxn>
                  </a:cxnLst>
                  <a:rect l="0" t="0" r="r" b="b"/>
                  <a:pathLst>
                    <a:path w="29" h="11">
                      <a:moveTo>
                        <a:pt x="0" y="0"/>
                      </a:moveTo>
                      <a:lnTo>
                        <a:pt x="15" y="11"/>
                      </a:lnTo>
                      <a:lnTo>
                        <a:pt x="29" y="0"/>
                      </a:lnTo>
                      <a:lnTo>
                        <a:pt x="0"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Freeform 112"/>
                <p:cNvSpPr>
                  <a:spLocks/>
                </p:cNvSpPr>
                <p:nvPr/>
              </p:nvSpPr>
              <p:spPr bwMode="auto">
                <a:xfrm>
                  <a:off x="11092750" y="6245398"/>
                  <a:ext cx="100013" cy="320675"/>
                </a:xfrm>
                <a:custGeom>
                  <a:avLst/>
                  <a:gdLst>
                    <a:gd name="T0" fmla="*/ 0 w 134"/>
                    <a:gd name="T1" fmla="*/ 427 h 430"/>
                    <a:gd name="T2" fmla="*/ 83 w 134"/>
                    <a:gd name="T3" fmla="*/ 0 h 430"/>
                    <a:gd name="T4" fmla="*/ 83 w 134"/>
                    <a:gd name="T5" fmla="*/ 0 h 430"/>
                    <a:gd name="T6" fmla="*/ 134 w 134"/>
                    <a:gd name="T7" fmla="*/ 21 h 430"/>
                    <a:gd name="T8" fmla="*/ 123 w 134"/>
                    <a:gd name="T9" fmla="*/ 49 h 430"/>
                    <a:gd name="T10" fmla="*/ 99 w 134"/>
                    <a:gd name="T11" fmla="*/ 131 h 430"/>
                    <a:gd name="T12" fmla="*/ 55 w 134"/>
                    <a:gd name="T13" fmla="*/ 430 h 430"/>
                    <a:gd name="T14" fmla="*/ 0 w 134"/>
                    <a:gd name="T15" fmla="*/ 427 h 4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430">
                      <a:moveTo>
                        <a:pt x="0" y="427"/>
                      </a:moveTo>
                      <a:cubicBezTo>
                        <a:pt x="14" y="168"/>
                        <a:pt x="82" y="2"/>
                        <a:pt x="83" y="0"/>
                      </a:cubicBezTo>
                      <a:cubicBezTo>
                        <a:pt x="83" y="0"/>
                        <a:pt x="83" y="0"/>
                        <a:pt x="83" y="0"/>
                      </a:cubicBezTo>
                      <a:cubicBezTo>
                        <a:pt x="134" y="21"/>
                        <a:pt x="134" y="21"/>
                        <a:pt x="134" y="21"/>
                      </a:cubicBezTo>
                      <a:cubicBezTo>
                        <a:pt x="134" y="21"/>
                        <a:pt x="130" y="30"/>
                        <a:pt x="123" y="49"/>
                      </a:cubicBezTo>
                      <a:cubicBezTo>
                        <a:pt x="117" y="67"/>
                        <a:pt x="109" y="95"/>
                        <a:pt x="99" y="131"/>
                      </a:cubicBezTo>
                      <a:cubicBezTo>
                        <a:pt x="81" y="202"/>
                        <a:pt x="61" y="304"/>
                        <a:pt x="55" y="430"/>
                      </a:cubicBezTo>
                      <a:cubicBezTo>
                        <a:pt x="0" y="427"/>
                        <a:pt x="0" y="427"/>
                        <a:pt x="0" y="427"/>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113"/>
                <p:cNvSpPr>
                  <a:spLocks/>
                </p:cNvSpPr>
                <p:nvPr/>
              </p:nvSpPr>
              <p:spPr bwMode="auto">
                <a:xfrm>
                  <a:off x="11091162" y="6562898"/>
                  <a:ext cx="42863" cy="44450"/>
                </a:xfrm>
                <a:custGeom>
                  <a:avLst/>
                  <a:gdLst>
                    <a:gd name="T0" fmla="*/ 1 w 58"/>
                    <a:gd name="T1" fmla="*/ 30 h 60"/>
                    <a:gd name="T2" fmla="*/ 27 w 58"/>
                    <a:gd name="T3" fmla="*/ 59 h 60"/>
                    <a:gd name="T4" fmla="*/ 56 w 58"/>
                    <a:gd name="T5" fmla="*/ 33 h 60"/>
                    <a:gd name="T6" fmla="*/ 56 w 58"/>
                    <a:gd name="T7" fmla="*/ 32 h 60"/>
                    <a:gd name="T8" fmla="*/ 58 w 58"/>
                    <a:gd name="T9" fmla="*/ 3 h 60"/>
                    <a:gd name="T10" fmla="*/ 3 w 58"/>
                    <a:gd name="T11" fmla="*/ 0 h 60"/>
                    <a:gd name="T12" fmla="*/ 1 w 58"/>
                    <a:gd name="T13" fmla="*/ 29 h 60"/>
                    <a:gd name="T14" fmla="*/ 1 w 58"/>
                    <a:gd name="T15" fmla="*/ 3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60">
                      <a:moveTo>
                        <a:pt x="1" y="30"/>
                      </a:moveTo>
                      <a:cubicBezTo>
                        <a:pt x="0" y="46"/>
                        <a:pt x="12" y="59"/>
                        <a:pt x="27" y="59"/>
                      </a:cubicBezTo>
                      <a:cubicBezTo>
                        <a:pt x="42" y="60"/>
                        <a:pt x="55" y="49"/>
                        <a:pt x="56" y="33"/>
                      </a:cubicBezTo>
                      <a:cubicBezTo>
                        <a:pt x="56" y="33"/>
                        <a:pt x="56" y="32"/>
                        <a:pt x="56" y="32"/>
                      </a:cubicBezTo>
                      <a:cubicBezTo>
                        <a:pt x="58" y="3"/>
                        <a:pt x="58" y="3"/>
                        <a:pt x="58" y="3"/>
                      </a:cubicBezTo>
                      <a:cubicBezTo>
                        <a:pt x="3" y="0"/>
                        <a:pt x="3" y="0"/>
                        <a:pt x="3" y="0"/>
                      </a:cubicBezTo>
                      <a:cubicBezTo>
                        <a:pt x="1" y="29"/>
                        <a:pt x="1" y="29"/>
                        <a:pt x="1" y="29"/>
                      </a:cubicBezTo>
                      <a:cubicBezTo>
                        <a:pt x="1" y="29"/>
                        <a:pt x="1" y="30"/>
                        <a:pt x="1" y="3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2" name="Freeform 114"/>
                <p:cNvSpPr>
                  <a:spLocks/>
                </p:cNvSpPr>
                <p:nvPr/>
              </p:nvSpPr>
              <p:spPr bwMode="auto">
                <a:xfrm>
                  <a:off x="11311825" y="6245398"/>
                  <a:ext cx="100013" cy="320675"/>
                </a:xfrm>
                <a:custGeom>
                  <a:avLst/>
                  <a:gdLst>
                    <a:gd name="T0" fmla="*/ 134 w 134"/>
                    <a:gd name="T1" fmla="*/ 427 h 430"/>
                    <a:gd name="T2" fmla="*/ 51 w 134"/>
                    <a:gd name="T3" fmla="*/ 0 h 430"/>
                    <a:gd name="T4" fmla="*/ 51 w 134"/>
                    <a:gd name="T5" fmla="*/ 0 h 430"/>
                    <a:gd name="T6" fmla="*/ 0 w 134"/>
                    <a:gd name="T7" fmla="*/ 21 h 430"/>
                    <a:gd name="T8" fmla="*/ 10 w 134"/>
                    <a:gd name="T9" fmla="*/ 49 h 430"/>
                    <a:gd name="T10" fmla="*/ 34 w 134"/>
                    <a:gd name="T11" fmla="*/ 131 h 430"/>
                    <a:gd name="T12" fmla="*/ 79 w 134"/>
                    <a:gd name="T13" fmla="*/ 430 h 430"/>
                    <a:gd name="T14" fmla="*/ 134 w 134"/>
                    <a:gd name="T15" fmla="*/ 427 h 4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430">
                      <a:moveTo>
                        <a:pt x="134" y="427"/>
                      </a:moveTo>
                      <a:cubicBezTo>
                        <a:pt x="120" y="168"/>
                        <a:pt x="51" y="2"/>
                        <a:pt x="51" y="0"/>
                      </a:cubicBezTo>
                      <a:cubicBezTo>
                        <a:pt x="51" y="0"/>
                        <a:pt x="51" y="0"/>
                        <a:pt x="51" y="0"/>
                      </a:cubicBezTo>
                      <a:cubicBezTo>
                        <a:pt x="0" y="21"/>
                        <a:pt x="0" y="21"/>
                        <a:pt x="0" y="21"/>
                      </a:cubicBezTo>
                      <a:cubicBezTo>
                        <a:pt x="0" y="21"/>
                        <a:pt x="4" y="30"/>
                        <a:pt x="10" y="49"/>
                      </a:cubicBezTo>
                      <a:cubicBezTo>
                        <a:pt x="16" y="67"/>
                        <a:pt x="25" y="95"/>
                        <a:pt x="34" y="131"/>
                      </a:cubicBezTo>
                      <a:cubicBezTo>
                        <a:pt x="52" y="202"/>
                        <a:pt x="72" y="304"/>
                        <a:pt x="79" y="430"/>
                      </a:cubicBezTo>
                      <a:lnTo>
                        <a:pt x="134" y="427"/>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3" name="Freeform 115"/>
                <p:cNvSpPr>
                  <a:spLocks/>
                </p:cNvSpPr>
                <p:nvPr/>
              </p:nvSpPr>
              <p:spPr bwMode="auto">
                <a:xfrm>
                  <a:off x="11372150" y="6562898"/>
                  <a:ext cx="41275" cy="44450"/>
                </a:xfrm>
                <a:custGeom>
                  <a:avLst/>
                  <a:gdLst>
                    <a:gd name="T0" fmla="*/ 56 w 57"/>
                    <a:gd name="T1" fmla="*/ 29 h 59"/>
                    <a:gd name="T2" fmla="*/ 30 w 57"/>
                    <a:gd name="T3" fmla="*/ 59 h 59"/>
                    <a:gd name="T4" fmla="*/ 1 w 57"/>
                    <a:gd name="T5" fmla="*/ 32 h 59"/>
                    <a:gd name="T6" fmla="*/ 1 w 57"/>
                    <a:gd name="T7" fmla="*/ 31 h 59"/>
                    <a:gd name="T8" fmla="*/ 0 w 57"/>
                    <a:gd name="T9" fmla="*/ 3 h 59"/>
                    <a:gd name="T10" fmla="*/ 55 w 57"/>
                    <a:gd name="T11" fmla="*/ 0 h 59"/>
                    <a:gd name="T12" fmla="*/ 56 w 57"/>
                    <a:gd name="T13" fmla="*/ 28 h 59"/>
                    <a:gd name="T14" fmla="*/ 56 w 57"/>
                    <a:gd name="T15" fmla="*/ 2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56" y="29"/>
                      </a:moveTo>
                      <a:cubicBezTo>
                        <a:pt x="57" y="45"/>
                        <a:pt x="45" y="58"/>
                        <a:pt x="30" y="59"/>
                      </a:cubicBezTo>
                      <a:cubicBezTo>
                        <a:pt x="15" y="59"/>
                        <a:pt x="2" y="48"/>
                        <a:pt x="1" y="32"/>
                      </a:cubicBezTo>
                      <a:cubicBezTo>
                        <a:pt x="1" y="32"/>
                        <a:pt x="1" y="31"/>
                        <a:pt x="1" y="31"/>
                      </a:cubicBezTo>
                      <a:cubicBezTo>
                        <a:pt x="0" y="3"/>
                        <a:pt x="0" y="3"/>
                        <a:pt x="0" y="3"/>
                      </a:cubicBezTo>
                      <a:cubicBezTo>
                        <a:pt x="55" y="0"/>
                        <a:pt x="55" y="0"/>
                        <a:pt x="55" y="0"/>
                      </a:cubicBezTo>
                      <a:cubicBezTo>
                        <a:pt x="56" y="28"/>
                        <a:pt x="56" y="28"/>
                        <a:pt x="56" y="28"/>
                      </a:cubicBezTo>
                      <a:cubicBezTo>
                        <a:pt x="56" y="28"/>
                        <a:pt x="56" y="29"/>
                        <a:pt x="56" y="2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4" name="Freeform 116"/>
                <p:cNvSpPr>
                  <a:spLocks noEditPoints="1"/>
                </p:cNvSpPr>
                <p:nvPr/>
              </p:nvSpPr>
              <p:spPr bwMode="auto">
                <a:xfrm>
                  <a:off x="11348337" y="6554961"/>
                  <a:ext cx="1588" cy="74613"/>
                </a:xfrm>
                <a:custGeom>
                  <a:avLst/>
                  <a:gdLst>
                    <a:gd name="T0" fmla="*/ 3 w 3"/>
                    <a:gd name="T1" fmla="*/ 101 h 102"/>
                    <a:gd name="T2" fmla="*/ 3 w 3"/>
                    <a:gd name="T3" fmla="*/ 102 h 102"/>
                    <a:gd name="T4" fmla="*/ 3 w 3"/>
                    <a:gd name="T5" fmla="*/ 102 h 102"/>
                    <a:gd name="T6" fmla="*/ 3 w 3"/>
                    <a:gd name="T7" fmla="*/ 101 h 102"/>
                    <a:gd name="T8" fmla="*/ 3 w 3"/>
                    <a:gd name="T9" fmla="*/ 100 h 102"/>
                    <a:gd name="T10" fmla="*/ 3 w 3"/>
                    <a:gd name="T11" fmla="*/ 101 h 102"/>
                    <a:gd name="T12" fmla="*/ 3 w 3"/>
                    <a:gd name="T13" fmla="*/ 100 h 102"/>
                    <a:gd name="T14" fmla="*/ 0 w 3"/>
                    <a:gd name="T15" fmla="*/ 1 h 102"/>
                    <a:gd name="T16" fmla="*/ 2 w 3"/>
                    <a:gd name="T17" fmla="*/ 77 h 102"/>
                    <a:gd name="T18" fmla="*/ 0 w 3"/>
                    <a:gd name="T19" fmla="*/ 1 h 102"/>
                    <a:gd name="T20" fmla="*/ 0 w 3"/>
                    <a:gd name="T21" fmla="*/ 0 h 102"/>
                    <a:gd name="T22" fmla="*/ 0 w 3"/>
                    <a:gd name="T23" fmla="*/ 1 h 102"/>
                    <a:gd name="T24" fmla="*/ 0 w 3"/>
                    <a:gd name="T2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02">
                      <a:moveTo>
                        <a:pt x="3" y="101"/>
                      </a:moveTo>
                      <a:cubicBezTo>
                        <a:pt x="3" y="101"/>
                        <a:pt x="3" y="101"/>
                        <a:pt x="3" y="102"/>
                      </a:cubicBezTo>
                      <a:cubicBezTo>
                        <a:pt x="3" y="102"/>
                        <a:pt x="3" y="102"/>
                        <a:pt x="3" y="102"/>
                      </a:cubicBezTo>
                      <a:cubicBezTo>
                        <a:pt x="3" y="101"/>
                        <a:pt x="3" y="101"/>
                        <a:pt x="3" y="101"/>
                      </a:cubicBezTo>
                      <a:moveTo>
                        <a:pt x="3" y="100"/>
                      </a:moveTo>
                      <a:cubicBezTo>
                        <a:pt x="3" y="100"/>
                        <a:pt x="3" y="101"/>
                        <a:pt x="3" y="101"/>
                      </a:cubicBezTo>
                      <a:cubicBezTo>
                        <a:pt x="3" y="101"/>
                        <a:pt x="3" y="100"/>
                        <a:pt x="3" y="100"/>
                      </a:cubicBezTo>
                      <a:moveTo>
                        <a:pt x="0" y="1"/>
                      </a:moveTo>
                      <a:cubicBezTo>
                        <a:pt x="1" y="29"/>
                        <a:pt x="1" y="56"/>
                        <a:pt x="2" y="77"/>
                      </a:cubicBezTo>
                      <a:cubicBezTo>
                        <a:pt x="1" y="56"/>
                        <a:pt x="1" y="29"/>
                        <a:pt x="0" y="1"/>
                      </a:cubicBezTo>
                      <a:moveTo>
                        <a:pt x="0" y="0"/>
                      </a:moveTo>
                      <a:cubicBezTo>
                        <a:pt x="0" y="0"/>
                        <a:pt x="0" y="1"/>
                        <a:pt x="0" y="1"/>
                      </a:cubicBezTo>
                      <a:cubicBezTo>
                        <a:pt x="0" y="1"/>
                        <a:pt x="0" y="0"/>
                        <a:pt x="0" y="0"/>
                      </a:cubicBezTo>
                    </a:path>
                  </a:pathLst>
                </a:custGeom>
                <a:solidFill>
                  <a:srgbClr val="00C2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5" name="Freeform 117"/>
                <p:cNvSpPr>
                  <a:spLocks/>
                </p:cNvSpPr>
                <p:nvPr/>
              </p:nvSpPr>
              <p:spPr bwMode="auto">
                <a:xfrm>
                  <a:off x="11154662" y="6356523"/>
                  <a:ext cx="195263" cy="273050"/>
                </a:xfrm>
                <a:custGeom>
                  <a:avLst/>
                  <a:gdLst>
                    <a:gd name="T0" fmla="*/ 12 w 262"/>
                    <a:gd name="T1" fmla="*/ 0 h 368"/>
                    <a:gd name="T2" fmla="*/ 0 w 262"/>
                    <a:gd name="T3" fmla="*/ 52 h 368"/>
                    <a:gd name="T4" fmla="*/ 0 w 262"/>
                    <a:gd name="T5" fmla="*/ 368 h 368"/>
                    <a:gd name="T6" fmla="*/ 262 w 262"/>
                    <a:gd name="T7" fmla="*/ 368 h 368"/>
                    <a:gd name="T8" fmla="*/ 262 w 262"/>
                    <a:gd name="T9" fmla="*/ 367 h 368"/>
                    <a:gd name="T10" fmla="*/ 262 w 262"/>
                    <a:gd name="T11" fmla="*/ 367 h 368"/>
                    <a:gd name="T12" fmla="*/ 262 w 262"/>
                    <a:gd name="T13" fmla="*/ 366 h 368"/>
                    <a:gd name="T14" fmla="*/ 261 w 262"/>
                    <a:gd name="T15" fmla="*/ 343 h 368"/>
                    <a:gd name="T16" fmla="*/ 259 w 262"/>
                    <a:gd name="T17" fmla="*/ 267 h 368"/>
                    <a:gd name="T18" fmla="*/ 259 w 262"/>
                    <a:gd name="T19" fmla="*/ 267 h 368"/>
                    <a:gd name="T20" fmla="*/ 259 w 262"/>
                    <a:gd name="T21" fmla="*/ 266 h 368"/>
                    <a:gd name="T22" fmla="*/ 257 w 262"/>
                    <a:gd name="T23" fmla="*/ 211 h 368"/>
                    <a:gd name="T24" fmla="*/ 130 w 262"/>
                    <a:gd name="T25" fmla="*/ 102 h 368"/>
                    <a:gd name="T26" fmla="*/ 130 w 262"/>
                    <a:gd name="T27" fmla="*/ 105 h 368"/>
                    <a:gd name="T28" fmla="*/ 129 w 262"/>
                    <a:gd name="T29" fmla="*/ 101 h 368"/>
                    <a:gd name="T30" fmla="*/ 12 w 262"/>
                    <a:gd name="T31" fmla="*/ 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2" h="368">
                      <a:moveTo>
                        <a:pt x="12" y="0"/>
                      </a:moveTo>
                      <a:cubicBezTo>
                        <a:pt x="8" y="16"/>
                        <a:pt x="4" y="33"/>
                        <a:pt x="0" y="52"/>
                      </a:cubicBezTo>
                      <a:cubicBezTo>
                        <a:pt x="0" y="368"/>
                        <a:pt x="0" y="368"/>
                        <a:pt x="0" y="368"/>
                      </a:cubicBezTo>
                      <a:cubicBezTo>
                        <a:pt x="262" y="368"/>
                        <a:pt x="262" y="368"/>
                        <a:pt x="262" y="368"/>
                      </a:cubicBezTo>
                      <a:cubicBezTo>
                        <a:pt x="262" y="367"/>
                        <a:pt x="262" y="367"/>
                        <a:pt x="262" y="367"/>
                      </a:cubicBezTo>
                      <a:cubicBezTo>
                        <a:pt x="262" y="367"/>
                        <a:pt x="262" y="367"/>
                        <a:pt x="262" y="367"/>
                      </a:cubicBezTo>
                      <a:cubicBezTo>
                        <a:pt x="262" y="367"/>
                        <a:pt x="262" y="366"/>
                        <a:pt x="262" y="366"/>
                      </a:cubicBezTo>
                      <a:cubicBezTo>
                        <a:pt x="261" y="360"/>
                        <a:pt x="261" y="352"/>
                        <a:pt x="261" y="343"/>
                      </a:cubicBezTo>
                      <a:cubicBezTo>
                        <a:pt x="260" y="322"/>
                        <a:pt x="260" y="295"/>
                        <a:pt x="259" y="267"/>
                      </a:cubicBezTo>
                      <a:cubicBezTo>
                        <a:pt x="259" y="267"/>
                        <a:pt x="259" y="267"/>
                        <a:pt x="259" y="267"/>
                      </a:cubicBezTo>
                      <a:cubicBezTo>
                        <a:pt x="259" y="267"/>
                        <a:pt x="259" y="266"/>
                        <a:pt x="259" y="266"/>
                      </a:cubicBezTo>
                      <a:cubicBezTo>
                        <a:pt x="258" y="248"/>
                        <a:pt x="257" y="229"/>
                        <a:pt x="257" y="211"/>
                      </a:cubicBezTo>
                      <a:cubicBezTo>
                        <a:pt x="130" y="102"/>
                        <a:pt x="130" y="102"/>
                        <a:pt x="130" y="102"/>
                      </a:cubicBezTo>
                      <a:cubicBezTo>
                        <a:pt x="130" y="105"/>
                        <a:pt x="130" y="105"/>
                        <a:pt x="130" y="105"/>
                      </a:cubicBezTo>
                      <a:cubicBezTo>
                        <a:pt x="129" y="101"/>
                        <a:pt x="129" y="101"/>
                        <a:pt x="129" y="101"/>
                      </a:cubicBezTo>
                      <a:cubicBezTo>
                        <a:pt x="12" y="0"/>
                        <a:pt x="12" y="0"/>
                        <a:pt x="12" y="0"/>
                      </a:cubicBezTo>
                    </a:path>
                  </a:pathLst>
                </a:custGeom>
                <a:solidFill>
                  <a:srgbClr val="0075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6" name="Freeform 118"/>
                <p:cNvSpPr>
                  <a:spLocks/>
                </p:cNvSpPr>
                <p:nvPr/>
              </p:nvSpPr>
              <p:spPr bwMode="auto">
                <a:xfrm>
                  <a:off x="11251500" y="6431136"/>
                  <a:ext cx="0" cy="3175"/>
                </a:xfrm>
                <a:custGeom>
                  <a:avLst/>
                  <a:gdLst>
                    <a:gd name="T0" fmla="*/ 0 h 2"/>
                    <a:gd name="T1" fmla="*/ 2 h 2"/>
                    <a:gd name="T2" fmla="*/ 0 h 2"/>
                    <a:gd name="T3" fmla="*/ 0 h 2"/>
                  </a:gdLst>
                  <a:ahLst/>
                  <a:cxnLst>
                    <a:cxn ang="0">
                      <a:pos x="0" y="T0"/>
                    </a:cxn>
                    <a:cxn ang="0">
                      <a:pos x="0" y="T1"/>
                    </a:cxn>
                    <a:cxn ang="0">
                      <a:pos x="0" y="T2"/>
                    </a:cxn>
                    <a:cxn ang="0">
                      <a:pos x="0" y="T3"/>
                    </a:cxn>
                  </a:cxnLst>
                  <a:rect l="0" t="0" r="r" b="b"/>
                  <a:pathLst>
                    <a:path h="2">
                      <a:moveTo>
                        <a:pt x="0" y="0"/>
                      </a:moveTo>
                      <a:lnTo>
                        <a:pt x="0" y="2"/>
                      </a:lnTo>
                      <a:lnTo>
                        <a:pt x="0" y="0"/>
                      </a:lnTo>
                      <a:lnTo>
                        <a:pt x="0" y="0"/>
                      </a:lnTo>
                      <a:close/>
                    </a:path>
                  </a:pathLst>
                </a:custGeom>
                <a:solidFill>
                  <a:srgbClr val="C65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7" name="Freeform 119"/>
                <p:cNvSpPr>
                  <a:spLocks/>
                </p:cNvSpPr>
                <p:nvPr/>
              </p:nvSpPr>
              <p:spPr bwMode="auto">
                <a:xfrm>
                  <a:off x="11251500" y="6431136"/>
                  <a:ext cx="0" cy="3175"/>
                </a:xfrm>
                <a:custGeom>
                  <a:avLst/>
                  <a:gdLst>
                    <a:gd name="T0" fmla="*/ 0 h 2"/>
                    <a:gd name="T1" fmla="*/ 2 h 2"/>
                    <a:gd name="T2" fmla="*/ 0 h 2"/>
                    <a:gd name="T3" fmla="*/ 0 h 2"/>
                  </a:gdLst>
                  <a:ahLst/>
                  <a:cxnLst>
                    <a:cxn ang="0">
                      <a:pos x="0" y="T0"/>
                    </a:cxn>
                    <a:cxn ang="0">
                      <a:pos x="0" y="T1"/>
                    </a:cxn>
                    <a:cxn ang="0">
                      <a:pos x="0" y="T2"/>
                    </a:cxn>
                    <a:cxn ang="0">
                      <a:pos x="0" y="T3"/>
                    </a:cxn>
                  </a:cxnLst>
                  <a:rect l="0" t="0" r="r" b="b"/>
                  <a:pathLst>
                    <a:path h="2">
                      <a:moveTo>
                        <a:pt x="0" y="0"/>
                      </a:moveTo>
                      <a:lnTo>
                        <a:pt x="0" y="2"/>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8" name="Freeform 120"/>
                <p:cNvSpPr>
                  <a:spLocks/>
                </p:cNvSpPr>
                <p:nvPr/>
              </p:nvSpPr>
              <p:spPr bwMode="auto">
                <a:xfrm>
                  <a:off x="11154662" y="6348586"/>
                  <a:ext cx="9525" cy="46038"/>
                </a:xfrm>
                <a:custGeom>
                  <a:avLst/>
                  <a:gdLst>
                    <a:gd name="T0" fmla="*/ 0 w 12"/>
                    <a:gd name="T1" fmla="*/ 0 h 62"/>
                    <a:gd name="T2" fmla="*/ 0 w 12"/>
                    <a:gd name="T3" fmla="*/ 62 h 62"/>
                    <a:gd name="T4" fmla="*/ 12 w 12"/>
                    <a:gd name="T5" fmla="*/ 10 h 62"/>
                    <a:gd name="T6" fmla="*/ 0 w 12"/>
                    <a:gd name="T7" fmla="*/ 0 h 62"/>
                  </a:gdLst>
                  <a:ahLst/>
                  <a:cxnLst>
                    <a:cxn ang="0">
                      <a:pos x="T0" y="T1"/>
                    </a:cxn>
                    <a:cxn ang="0">
                      <a:pos x="T2" y="T3"/>
                    </a:cxn>
                    <a:cxn ang="0">
                      <a:pos x="T4" y="T5"/>
                    </a:cxn>
                    <a:cxn ang="0">
                      <a:pos x="T6" y="T7"/>
                    </a:cxn>
                  </a:cxnLst>
                  <a:rect l="0" t="0" r="r" b="b"/>
                  <a:pathLst>
                    <a:path w="12" h="62">
                      <a:moveTo>
                        <a:pt x="0" y="0"/>
                      </a:moveTo>
                      <a:cubicBezTo>
                        <a:pt x="0" y="62"/>
                        <a:pt x="0" y="62"/>
                        <a:pt x="0" y="62"/>
                      </a:cubicBezTo>
                      <a:cubicBezTo>
                        <a:pt x="4" y="43"/>
                        <a:pt x="8" y="26"/>
                        <a:pt x="12" y="10"/>
                      </a:cubicBezTo>
                      <a:cubicBezTo>
                        <a:pt x="0" y="0"/>
                        <a:pt x="0" y="0"/>
                        <a:pt x="0" y="0"/>
                      </a:cubicBezTo>
                    </a:path>
                  </a:pathLst>
                </a:custGeom>
                <a:solidFill>
                  <a:srgbClr val="0075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9" name="Freeform 121"/>
                <p:cNvSpPr>
                  <a:spLocks/>
                </p:cNvSpPr>
                <p:nvPr/>
              </p:nvSpPr>
              <p:spPr bwMode="auto">
                <a:xfrm>
                  <a:off x="11208637" y="6161261"/>
                  <a:ext cx="36513" cy="36513"/>
                </a:xfrm>
                <a:custGeom>
                  <a:avLst/>
                  <a:gdLst>
                    <a:gd name="T0" fmla="*/ 10 w 49"/>
                    <a:gd name="T1" fmla="*/ 0 h 49"/>
                    <a:gd name="T2" fmla="*/ 10 w 49"/>
                    <a:gd name="T3" fmla="*/ 38 h 49"/>
                    <a:gd name="T4" fmla="*/ 49 w 49"/>
                    <a:gd name="T5" fmla="*/ 38 h 49"/>
                    <a:gd name="T6" fmla="*/ 10 w 49"/>
                    <a:gd name="T7" fmla="*/ 0 h 49"/>
                  </a:gdLst>
                  <a:ahLst/>
                  <a:cxnLst>
                    <a:cxn ang="0">
                      <a:pos x="T0" y="T1"/>
                    </a:cxn>
                    <a:cxn ang="0">
                      <a:pos x="T2" y="T3"/>
                    </a:cxn>
                    <a:cxn ang="0">
                      <a:pos x="T4" y="T5"/>
                    </a:cxn>
                    <a:cxn ang="0">
                      <a:pos x="T6" y="T7"/>
                    </a:cxn>
                  </a:cxnLst>
                  <a:rect l="0" t="0" r="r" b="b"/>
                  <a:pathLst>
                    <a:path w="49" h="49">
                      <a:moveTo>
                        <a:pt x="10" y="0"/>
                      </a:moveTo>
                      <a:cubicBezTo>
                        <a:pt x="0" y="10"/>
                        <a:pt x="0" y="27"/>
                        <a:pt x="10" y="38"/>
                      </a:cubicBezTo>
                      <a:cubicBezTo>
                        <a:pt x="21" y="49"/>
                        <a:pt x="38" y="49"/>
                        <a:pt x="49" y="38"/>
                      </a:cubicBezTo>
                      <a:cubicBezTo>
                        <a:pt x="10" y="0"/>
                        <a:pt x="10" y="0"/>
                        <a:pt x="10" y="0"/>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0" name="Freeform 122"/>
                <p:cNvSpPr>
                  <a:spLocks/>
                </p:cNvSpPr>
                <p:nvPr/>
              </p:nvSpPr>
              <p:spPr bwMode="auto">
                <a:xfrm>
                  <a:off x="11222925" y="6169198"/>
                  <a:ext cx="14288" cy="14288"/>
                </a:xfrm>
                <a:custGeom>
                  <a:avLst/>
                  <a:gdLst>
                    <a:gd name="T0" fmla="*/ 0 w 19"/>
                    <a:gd name="T1" fmla="*/ 0 h 19"/>
                    <a:gd name="T2" fmla="*/ 0 w 19"/>
                    <a:gd name="T3" fmla="*/ 0 h 19"/>
                    <a:gd name="T4" fmla="*/ 19 w 19"/>
                    <a:gd name="T5" fmla="*/ 19 h 19"/>
                    <a:gd name="T6" fmla="*/ 19 w 19"/>
                    <a:gd name="T7" fmla="*/ 19 h 19"/>
                    <a:gd name="T8" fmla="*/ 0 w 19"/>
                    <a:gd name="T9" fmla="*/ 0 h 19"/>
                  </a:gdLst>
                  <a:ahLst/>
                  <a:cxnLst>
                    <a:cxn ang="0">
                      <a:pos x="T0" y="T1"/>
                    </a:cxn>
                    <a:cxn ang="0">
                      <a:pos x="T2" y="T3"/>
                    </a:cxn>
                    <a:cxn ang="0">
                      <a:pos x="T4" y="T5"/>
                    </a:cxn>
                    <a:cxn ang="0">
                      <a:pos x="T6" y="T7"/>
                    </a:cxn>
                    <a:cxn ang="0">
                      <a:pos x="T8" y="T9"/>
                    </a:cxn>
                  </a:cxnLst>
                  <a:rect l="0" t="0" r="r" b="b"/>
                  <a:pathLst>
                    <a:path w="19" h="19">
                      <a:moveTo>
                        <a:pt x="0" y="0"/>
                      </a:moveTo>
                      <a:cubicBezTo>
                        <a:pt x="0" y="0"/>
                        <a:pt x="0" y="0"/>
                        <a:pt x="0" y="0"/>
                      </a:cubicBezTo>
                      <a:cubicBezTo>
                        <a:pt x="19" y="19"/>
                        <a:pt x="19" y="19"/>
                        <a:pt x="19" y="19"/>
                      </a:cubicBezTo>
                      <a:cubicBezTo>
                        <a:pt x="19" y="19"/>
                        <a:pt x="19" y="19"/>
                        <a:pt x="19" y="19"/>
                      </a:cubicBezTo>
                      <a:cubicBezTo>
                        <a:pt x="0" y="0"/>
                        <a:pt x="0" y="0"/>
                        <a:pt x="0" y="0"/>
                      </a:cubicBezTo>
                    </a:path>
                  </a:pathLst>
                </a:custGeom>
                <a:solidFill>
                  <a:srgbClr val="B697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1" name="Freeform 123"/>
                <p:cNvSpPr>
                  <a:spLocks/>
                </p:cNvSpPr>
                <p:nvPr/>
              </p:nvSpPr>
              <p:spPr bwMode="auto">
                <a:xfrm>
                  <a:off x="11219750" y="6169198"/>
                  <a:ext cx="17463" cy="15875"/>
                </a:xfrm>
                <a:custGeom>
                  <a:avLst/>
                  <a:gdLst>
                    <a:gd name="T0" fmla="*/ 5 w 24"/>
                    <a:gd name="T1" fmla="*/ 0 h 23"/>
                    <a:gd name="T2" fmla="*/ 5 w 24"/>
                    <a:gd name="T3" fmla="*/ 19 h 23"/>
                    <a:gd name="T4" fmla="*/ 15 w 24"/>
                    <a:gd name="T5" fmla="*/ 23 h 23"/>
                    <a:gd name="T6" fmla="*/ 24 w 24"/>
                    <a:gd name="T7" fmla="*/ 19 h 23"/>
                    <a:gd name="T8" fmla="*/ 5 w 24"/>
                    <a:gd name="T9" fmla="*/ 0 h 23"/>
                  </a:gdLst>
                  <a:ahLst/>
                  <a:cxnLst>
                    <a:cxn ang="0">
                      <a:pos x="T0" y="T1"/>
                    </a:cxn>
                    <a:cxn ang="0">
                      <a:pos x="T2" y="T3"/>
                    </a:cxn>
                    <a:cxn ang="0">
                      <a:pos x="T4" y="T5"/>
                    </a:cxn>
                    <a:cxn ang="0">
                      <a:pos x="T6" y="T7"/>
                    </a:cxn>
                    <a:cxn ang="0">
                      <a:pos x="T8" y="T9"/>
                    </a:cxn>
                  </a:cxnLst>
                  <a:rect l="0" t="0" r="r" b="b"/>
                  <a:pathLst>
                    <a:path w="24" h="23">
                      <a:moveTo>
                        <a:pt x="5" y="0"/>
                      </a:moveTo>
                      <a:cubicBezTo>
                        <a:pt x="0" y="6"/>
                        <a:pt x="0" y="14"/>
                        <a:pt x="5" y="19"/>
                      </a:cubicBezTo>
                      <a:cubicBezTo>
                        <a:pt x="8" y="22"/>
                        <a:pt x="11" y="23"/>
                        <a:pt x="15" y="23"/>
                      </a:cubicBezTo>
                      <a:cubicBezTo>
                        <a:pt x="18" y="23"/>
                        <a:pt x="22" y="22"/>
                        <a:pt x="24" y="19"/>
                      </a:cubicBezTo>
                      <a:cubicBezTo>
                        <a:pt x="5" y="0"/>
                        <a:pt x="5" y="0"/>
                        <a:pt x="5" y="0"/>
                      </a:cubicBezTo>
                    </a:path>
                  </a:pathLst>
                </a:custGeom>
                <a:solidFill>
                  <a:srgbClr val="D6B2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grpSp>
      <p:sp>
        <p:nvSpPr>
          <p:cNvPr id="10" name="Slide Number Placeholder 9"/>
          <p:cNvSpPr>
            <a:spLocks noGrp="1"/>
          </p:cNvSpPr>
          <p:nvPr>
            <p:ph type="sldNum" sz="quarter" idx="11"/>
          </p:nvPr>
        </p:nvSpPr>
        <p:spPr/>
        <p:txBody>
          <a:bodyPr/>
          <a:lstStyle/>
          <a:p>
            <a:fld id="{27258FFF-F925-446B-8502-81C933981705}" type="slidenum">
              <a:rPr lang="en-US" smtClean="0">
                <a:solidFill>
                  <a:schemeClr val="bg1"/>
                </a:solidFill>
              </a:rPr>
              <a:pPr/>
              <a:t>14</a:t>
            </a:fld>
            <a:endParaRPr lang="en-US" dirty="0">
              <a:solidFill>
                <a:schemeClr val="bg1"/>
              </a:solidFill>
            </a:endParaRPr>
          </a:p>
        </p:txBody>
      </p:sp>
      <p:grpSp>
        <p:nvGrpSpPr>
          <p:cNvPr id="182" name="Group 181"/>
          <p:cNvGrpSpPr/>
          <p:nvPr/>
        </p:nvGrpSpPr>
        <p:grpSpPr>
          <a:xfrm>
            <a:off x="11070579" y="297389"/>
            <a:ext cx="932340" cy="913874"/>
            <a:chOff x="11070579" y="297389"/>
            <a:chExt cx="932340" cy="913874"/>
          </a:xfrm>
        </p:grpSpPr>
        <p:sp>
          <p:nvSpPr>
            <p:cNvPr id="185" name="Rectangle 184"/>
            <p:cNvSpPr/>
            <p:nvPr/>
          </p:nvSpPr>
          <p:spPr bwMode="auto">
            <a:xfrm>
              <a:off x="11070579" y="297389"/>
              <a:ext cx="932340" cy="913874"/>
            </a:xfrm>
            <a:prstGeom prst="rect">
              <a:avLst/>
            </a:prstGeom>
            <a:solidFill>
              <a:schemeClr val="accent2"/>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p>
              <a:pPr algn="l" defTabSz="932563" fontAlgn="auto">
                <a:spcAft>
                  <a:spcPts val="587"/>
                </a:spcAft>
              </a:pPr>
              <a:endParaRPr lang="en-US" sz="2200" dirty="0">
                <a:solidFill>
                  <a:schemeClr val="bg1"/>
                </a:solidFill>
                <a:latin typeface="+mj-lt"/>
                <a:cs typeface="Segoe UI Semibold" panose="020B0702040204020203" pitchFamily="34" charset="0"/>
              </a:endParaRPr>
            </a:p>
          </p:txBody>
        </p:sp>
        <p:sp>
          <p:nvSpPr>
            <p:cNvPr id="195" name="Rectangle 194"/>
            <p:cNvSpPr/>
            <p:nvPr/>
          </p:nvSpPr>
          <p:spPr>
            <a:xfrm>
              <a:off x="11070579" y="1137623"/>
              <a:ext cx="932340" cy="73640"/>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sp>
          <p:nvSpPr>
            <p:cNvPr id="196" name="Freeform 195"/>
            <p:cNvSpPr>
              <a:spLocks noEditPoints="1"/>
            </p:cNvSpPr>
            <p:nvPr/>
          </p:nvSpPr>
          <p:spPr bwMode="black">
            <a:xfrm>
              <a:off x="11329732" y="467317"/>
              <a:ext cx="414034" cy="574018"/>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alpha val="22000"/>
              </a:schemeClr>
            </a:solidFill>
            <a:ln w="0">
              <a:noFill/>
              <a:prstDash val="solid"/>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grpSp>
    </p:spTree>
    <p:extLst>
      <p:ext uri="{BB962C8B-B14F-4D97-AF65-F5344CB8AC3E}">
        <p14:creationId xmlns:p14="http://schemas.microsoft.com/office/powerpoint/2010/main" val="103455135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0-#ppt_w/2"/>
                                          </p:val>
                                        </p:tav>
                                        <p:tav tm="100000">
                                          <p:val>
                                            <p:strVal val="#ppt_x"/>
                                          </p:val>
                                        </p:tav>
                                      </p:tavLst>
                                    </p:anim>
                                    <p:anim calcmode="lin" valueType="num">
                                      <p:cBhvr additive="base">
                                        <p:cTn id="8" dur="75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25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750" fill="hold"/>
                                        <p:tgtEl>
                                          <p:spTgt spid="12"/>
                                        </p:tgtEl>
                                        <p:attrNameLst>
                                          <p:attrName>ppt_x</p:attrName>
                                        </p:attrNameLst>
                                      </p:cBhvr>
                                      <p:tavLst>
                                        <p:tav tm="0">
                                          <p:val>
                                            <p:strVal val="0-#ppt_w/2"/>
                                          </p:val>
                                        </p:tav>
                                        <p:tav tm="100000">
                                          <p:val>
                                            <p:strVal val="#ppt_x"/>
                                          </p:val>
                                        </p:tav>
                                      </p:tavLst>
                                    </p:anim>
                                    <p:anim calcmode="lin" valueType="num">
                                      <p:cBhvr additive="base">
                                        <p:cTn id="12" dur="750" fill="hold"/>
                                        <p:tgtEl>
                                          <p:spTgt spid="12"/>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50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750" fill="hold"/>
                                        <p:tgtEl>
                                          <p:spTgt spid="13"/>
                                        </p:tgtEl>
                                        <p:attrNameLst>
                                          <p:attrName>ppt_x</p:attrName>
                                        </p:attrNameLst>
                                      </p:cBhvr>
                                      <p:tavLst>
                                        <p:tav tm="0">
                                          <p:val>
                                            <p:strVal val="0-#ppt_w/2"/>
                                          </p:val>
                                        </p:tav>
                                        <p:tav tm="100000">
                                          <p:val>
                                            <p:strVal val="#ppt_x"/>
                                          </p:val>
                                        </p:tav>
                                      </p:tavLst>
                                    </p:anim>
                                    <p:anim calcmode="lin" valueType="num">
                                      <p:cBhvr additive="base">
                                        <p:cTn id="16" dur="750" fill="hold"/>
                                        <p:tgtEl>
                                          <p:spTgt spid="13"/>
                                        </p:tgtEl>
                                        <p:attrNameLst>
                                          <p:attrName>ppt_y</p:attrName>
                                        </p:attrNameLst>
                                      </p:cBhvr>
                                      <p:tavLst>
                                        <p:tav tm="0">
                                          <p:val>
                                            <p:strVal val="#ppt_y"/>
                                          </p:val>
                                        </p:tav>
                                        <p:tav tm="100000">
                                          <p:val>
                                            <p:strVal val="#ppt_y"/>
                                          </p:val>
                                        </p:tav>
                                      </p:tavLst>
                                    </p:anim>
                                  </p:childTnLst>
                                </p:cTn>
                              </p:par>
                            </p:childTnLst>
                          </p:cTn>
                        </p:par>
                        <p:par>
                          <p:cTn id="17" fill="hold">
                            <p:stCondLst>
                              <p:cond delay="1250"/>
                            </p:stCondLst>
                            <p:childTnLst>
                              <p:par>
                                <p:cTn id="18" presetID="2" presetClass="entr" presetSubtype="4" decel="100000" fill="hold" nodeType="after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750" fill="hold"/>
                                        <p:tgtEl>
                                          <p:spTgt spid="9"/>
                                        </p:tgtEl>
                                        <p:attrNameLst>
                                          <p:attrName>ppt_x</p:attrName>
                                        </p:attrNameLst>
                                      </p:cBhvr>
                                      <p:tavLst>
                                        <p:tav tm="0">
                                          <p:val>
                                            <p:strVal val="#ppt_x"/>
                                          </p:val>
                                        </p:tav>
                                        <p:tav tm="100000">
                                          <p:val>
                                            <p:strVal val="#ppt_x"/>
                                          </p:val>
                                        </p:tav>
                                      </p:tavLst>
                                    </p:anim>
                                    <p:anim calcmode="lin" valueType="num">
                                      <p:cBhvr additive="base">
                                        <p:cTn id="21" dur="75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687481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8747"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IN" dirty="0"/>
              <a:t>ISO/IEC </a:t>
            </a:r>
            <a:r>
              <a:rPr lang="en-IN" dirty="0" smtClean="0"/>
              <a:t>27018</a:t>
            </a:r>
            <a:endParaRPr lang="en-IN" dirty="0"/>
          </a:p>
        </p:txBody>
      </p:sp>
      <p:grpSp>
        <p:nvGrpSpPr>
          <p:cNvPr id="7" name="Group 6"/>
          <p:cNvGrpSpPr/>
          <p:nvPr/>
        </p:nvGrpSpPr>
        <p:grpSpPr>
          <a:xfrm>
            <a:off x="0" y="1450198"/>
            <a:ext cx="12436475" cy="4343400"/>
            <a:chOff x="0" y="1450198"/>
            <a:chExt cx="12436475" cy="4343400"/>
          </a:xfrm>
        </p:grpSpPr>
        <p:sp>
          <p:nvSpPr>
            <p:cNvPr id="188" name="Rectangle 187"/>
            <p:cNvSpPr/>
            <p:nvPr/>
          </p:nvSpPr>
          <p:spPr>
            <a:xfrm flipH="1">
              <a:off x="4144617" y="3663046"/>
              <a:ext cx="5396948" cy="21305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45720" rIns="548640" bIns="45720" rtlCol="0" anchor="ctr"/>
            <a:lstStyle/>
            <a:p>
              <a:pPr marL="4763" lvl="1"/>
              <a:r>
                <a:rPr lang="en-IN" sz="2000" dirty="0">
                  <a:solidFill>
                    <a:schemeClr val="tx2"/>
                  </a:solidFill>
                  <a:latin typeface="Segoe UI Light"/>
                  <a:cs typeface="Segoe UI" panose="020B0502040204020203" pitchFamily="34" charset="0"/>
                </a:rPr>
                <a:t>Prevents use of customer data </a:t>
              </a:r>
              <a:r>
                <a:rPr lang="en-IN" sz="2000" dirty="0" smtClean="0">
                  <a:solidFill>
                    <a:schemeClr val="tx2"/>
                  </a:solidFill>
                  <a:latin typeface="Segoe UI Light"/>
                  <a:cs typeface="Segoe UI" panose="020B0502040204020203" pitchFamily="34" charset="0"/>
                </a:rPr>
                <a:t>for</a:t>
              </a:r>
              <a:br>
                <a:rPr lang="en-IN" sz="2000" dirty="0" smtClean="0">
                  <a:solidFill>
                    <a:schemeClr val="tx2"/>
                  </a:solidFill>
                  <a:latin typeface="Segoe UI Light"/>
                  <a:cs typeface="Segoe UI" panose="020B0502040204020203" pitchFamily="34" charset="0"/>
                </a:rPr>
              </a:br>
              <a:r>
                <a:rPr lang="en-IN" sz="2000" dirty="0" smtClean="0">
                  <a:solidFill>
                    <a:schemeClr val="tx2"/>
                  </a:solidFill>
                  <a:latin typeface="Segoe UI Light"/>
                  <a:cs typeface="Segoe UI" panose="020B0502040204020203" pitchFamily="34" charset="0"/>
                </a:rPr>
                <a:t>purposes </a:t>
              </a:r>
              <a:r>
                <a:rPr lang="en-IN" sz="2000" dirty="0">
                  <a:solidFill>
                    <a:schemeClr val="tx2"/>
                  </a:solidFill>
                  <a:latin typeface="Segoe UI Light"/>
                  <a:cs typeface="Segoe UI" panose="020B0502040204020203" pitchFamily="34" charset="0"/>
                </a:rPr>
                <a:t>unrelated to providing </a:t>
              </a:r>
              <a:r>
                <a:rPr lang="en-IN" sz="2000" dirty="0" smtClean="0">
                  <a:solidFill>
                    <a:schemeClr val="tx2"/>
                  </a:solidFill>
                  <a:latin typeface="Segoe UI Light"/>
                  <a:cs typeface="Segoe UI" panose="020B0502040204020203" pitchFamily="34" charset="0"/>
                </a:rPr>
                <a:t>the</a:t>
              </a:r>
              <a:br>
                <a:rPr lang="en-IN" sz="2000" dirty="0" smtClean="0">
                  <a:solidFill>
                    <a:schemeClr val="tx2"/>
                  </a:solidFill>
                  <a:latin typeface="Segoe UI Light"/>
                  <a:cs typeface="Segoe UI" panose="020B0502040204020203" pitchFamily="34" charset="0"/>
                </a:rPr>
              </a:br>
              <a:r>
                <a:rPr lang="en-IN" sz="2000" dirty="0" smtClean="0">
                  <a:solidFill>
                    <a:schemeClr val="tx2"/>
                  </a:solidFill>
                  <a:latin typeface="Segoe UI Light"/>
                  <a:cs typeface="Segoe UI" panose="020B0502040204020203" pitchFamily="34" charset="0"/>
                </a:rPr>
                <a:t>cloud </a:t>
              </a:r>
              <a:r>
                <a:rPr lang="en-IN" sz="2000" dirty="0">
                  <a:solidFill>
                    <a:schemeClr val="tx2"/>
                  </a:solidFill>
                  <a:latin typeface="Segoe UI Light"/>
                  <a:cs typeface="Segoe UI" panose="020B0502040204020203" pitchFamily="34" charset="0"/>
                </a:rPr>
                <a:t>service.</a:t>
              </a:r>
            </a:p>
          </p:txBody>
        </p:sp>
        <p:sp>
          <p:nvSpPr>
            <p:cNvPr id="102" name="Rectangle 101"/>
            <p:cNvSpPr/>
            <p:nvPr/>
          </p:nvSpPr>
          <p:spPr>
            <a:xfrm flipH="1">
              <a:off x="4144617" y="1450198"/>
              <a:ext cx="5396948" cy="21305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45720" rIns="548640" bIns="45720" rtlCol="0" anchor="ctr"/>
            <a:lstStyle/>
            <a:p>
              <a:pPr marL="4763" lvl="1"/>
              <a:r>
                <a:rPr lang="en-IN" sz="2000" dirty="0">
                  <a:solidFill>
                    <a:schemeClr val="tx2"/>
                  </a:solidFill>
                  <a:latin typeface="Segoe UI Light"/>
                  <a:cs typeface="Segoe UI" panose="020B0502040204020203" pitchFamily="34" charset="0"/>
                </a:rPr>
                <a:t>Prohibits use of customer data for advertising and marketing </a:t>
              </a:r>
              <a:r>
                <a:rPr lang="en-IN" sz="2000" dirty="0" smtClean="0">
                  <a:solidFill>
                    <a:schemeClr val="tx2"/>
                  </a:solidFill>
                  <a:latin typeface="Segoe UI Light"/>
                  <a:cs typeface="Segoe UI" panose="020B0502040204020203" pitchFamily="34" charset="0"/>
                </a:rPr>
                <a:t>purposes</a:t>
              </a:r>
              <a:br>
                <a:rPr lang="en-IN" sz="2000" dirty="0" smtClean="0">
                  <a:solidFill>
                    <a:schemeClr val="tx2"/>
                  </a:solidFill>
                  <a:latin typeface="Segoe UI Light"/>
                  <a:cs typeface="Segoe UI" panose="020B0502040204020203" pitchFamily="34" charset="0"/>
                </a:rPr>
              </a:br>
              <a:r>
                <a:rPr lang="en-IN" sz="2000" dirty="0" smtClean="0">
                  <a:solidFill>
                    <a:schemeClr val="tx2"/>
                  </a:solidFill>
                  <a:latin typeface="Segoe UI Light"/>
                  <a:cs typeface="Segoe UI" panose="020B0502040204020203" pitchFamily="34" charset="0"/>
                </a:rPr>
                <a:t>without </a:t>
              </a:r>
              <a:r>
                <a:rPr lang="en-IN" sz="2000" dirty="0">
                  <a:solidFill>
                    <a:schemeClr val="tx2"/>
                  </a:solidFill>
                  <a:latin typeface="Segoe UI Light"/>
                  <a:cs typeface="Segoe UI" panose="020B0502040204020203" pitchFamily="34" charset="0"/>
                </a:rPr>
                <a:t>customer’s express consent.</a:t>
              </a:r>
            </a:p>
          </p:txBody>
        </p:sp>
        <p:sp>
          <p:nvSpPr>
            <p:cNvPr id="103" name="Rectangle 14"/>
            <p:cNvSpPr/>
            <p:nvPr/>
          </p:nvSpPr>
          <p:spPr>
            <a:xfrm>
              <a:off x="0" y="1450198"/>
              <a:ext cx="4144617" cy="4343400"/>
            </a:xfrm>
            <a:prstGeom prst="rect">
              <a:avLst/>
            </a:prstGeom>
            <a:solidFill>
              <a:schemeClr val="accent2"/>
            </a:solidFill>
          </p:spPr>
          <p:txBody>
            <a:bodyPr wrap="square" lIns="548640" rIns="274320" rtlCol="0" anchor="ctr">
              <a:noAutofit/>
            </a:bodyPr>
            <a:lstStyle/>
            <a:p>
              <a:pPr>
                <a:spcAft>
                  <a:spcPts val="1200"/>
                </a:spcAft>
              </a:pPr>
              <a:r>
                <a:rPr lang="en-IN" sz="2800" dirty="0">
                  <a:solidFill>
                    <a:srgbClr val="FFFFFF"/>
                  </a:solidFill>
                  <a:latin typeface="+mj-lt"/>
                </a:rPr>
                <a:t>Microsoft is the first major cloud provider to adopt the first international code of practice for governing the processing of personal information by cloud service providers. </a:t>
              </a:r>
            </a:p>
          </p:txBody>
        </p:sp>
        <p:sp>
          <p:nvSpPr>
            <p:cNvPr id="104" name="Rectangle 14"/>
            <p:cNvSpPr/>
            <p:nvPr/>
          </p:nvSpPr>
          <p:spPr>
            <a:xfrm>
              <a:off x="4071465" y="1450198"/>
              <a:ext cx="73152" cy="4343400"/>
            </a:xfrm>
            <a:prstGeom prst="rect">
              <a:avLst/>
            </a:prstGeom>
            <a:solidFill>
              <a:schemeClr val="bg1">
                <a:alpha val="25000"/>
              </a:schemeClr>
            </a:solidFill>
          </p:spPr>
          <p:txBody>
            <a:bodyPr wrap="square" rtlCol="0" anchor="ctr">
              <a:noAutofit/>
            </a:bodyPr>
            <a:lstStyle/>
            <a:p>
              <a:endParaRPr lang="en-IN" sz="2000" dirty="0">
                <a:solidFill>
                  <a:srgbClr val="FFFFFF"/>
                </a:solidFill>
                <a:cs typeface="Segoe UI Light"/>
              </a:endParaRPr>
            </a:p>
          </p:txBody>
        </p:sp>
        <p:sp>
          <p:nvSpPr>
            <p:cNvPr id="105" name="Freeform 104"/>
            <p:cNvSpPr/>
            <p:nvPr/>
          </p:nvSpPr>
          <p:spPr bwMode="auto">
            <a:xfrm>
              <a:off x="8460133" y="1450198"/>
              <a:ext cx="3976342" cy="4343400"/>
            </a:xfrm>
            <a:custGeom>
              <a:avLst/>
              <a:gdLst>
                <a:gd name="connsiteX0" fmla="*/ 1468270 w 3976342"/>
                <a:gd name="connsiteY0" fmla="*/ 0 h 4343400"/>
                <a:gd name="connsiteX1" fmla="*/ 3976342 w 3976342"/>
                <a:gd name="connsiteY1" fmla="*/ 0 h 4343400"/>
                <a:gd name="connsiteX2" fmla="*/ 3976342 w 3976342"/>
                <a:gd name="connsiteY2" fmla="*/ 4343399 h 4343400"/>
                <a:gd name="connsiteX3" fmla="*/ 2778692 w 3976342"/>
                <a:gd name="connsiteY3" fmla="*/ 4343399 h 4343400"/>
                <a:gd name="connsiteX4" fmla="*/ 2778691 w 3976342"/>
                <a:gd name="connsiteY4" fmla="*/ 4343400 h 4343400"/>
                <a:gd name="connsiteX5" fmla="*/ 717948 w 3976342"/>
                <a:gd name="connsiteY5" fmla="*/ 4343400 h 4343400"/>
                <a:gd name="connsiteX6" fmla="*/ 636226 w 3976342"/>
                <a:gd name="connsiteY6" fmla="*/ 4249301 h 4343400"/>
                <a:gd name="connsiteX7" fmla="*/ 0 w 3976342"/>
                <a:gd name="connsiteY7" fmla="*/ 2171947 h 4343400"/>
                <a:gd name="connsiteX8" fmla="*/ 636226 w 3976342"/>
                <a:gd name="connsiteY8" fmla="*/ 94593 h 4343400"/>
                <a:gd name="connsiteX9" fmla="*/ 718376 w 3976342"/>
                <a:gd name="connsiteY9" fmla="*/ 1 h 4343400"/>
                <a:gd name="connsiteX10" fmla="*/ 1468270 w 3976342"/>
                <a:gd name="connsiteY10" fmla="*/ 1 h 434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76342" h="4343400">
                  <a:moveTo>
                    <a:pt x="1468270" y="0"/>
                  </a:moveTo>
                  <a:lnTo>
                    <a:pt x="3976342" y="0"/>
                  </a:lnTo>
                  <a:lnTo>
                    <a:pt x="3976342" y="4343399"/>
                  </a:lnTo>
                  <a:lnTo>
                    <a:pt x="2778692" y="4343399"/>
                  </a:lnTo>
                  <a:lnTo>
                    <a:pt x="2778691" y="4343400"/>
                  </a:lnTo>
                  <a:lnTo>
                    <a:pt x="717948" y="4343400"/>
                  </a:lnTo>
                  <a:lnTo>
                    <a:pt x="636226" y="4249301"/>
                  </a:lnTo>
                  <a:cubicBezTo>
                    <a:pt x="247667" y="3755531"/>
                    <a:pt x="0" y="3008274"/>
                    <a:pt x="0" y="2171947"/>
                  </a:cubicBezTo>
                  <a:cubicBezTo>
                    <a:pt x="0" y="1335619"/>
                    <a:pt x="247667" y="588364"/>
                    <a:pt x="636226" y="94593"/>
                  </a:cubicBezTo>
                  <a:lnTo>
                    <a:pt x="718376" y="1"/>
                  </a:lnTo>
                  <a:lnTo>
                    <a:pt x="1468270" y="1"/>
                  </a:lnTo>
                  <a:close/>
                </a:path>
              </a:pathLst>
            </a:custGeom>
            <a:solidFill>
              <a:srgbClr val="E4E4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105"/>
            <p:cNvSpPr/>
            <p:nvPr/>
          </p:nvSpPr>
          <p:spPr bwMode="auto">
            <a:xfrm>
              <a:off x="8381150" y="1450198"/>
              <a:ext cx="1612833" cy="4343400"/>
            </a:xfrm>
            <a:custGeom>
              <a:avLst/>
              <a:gdLst>
                <a:gd name="connsiteX0" fmla="*/ 718376 w 1612833"/>
                <a:gd name="connsiteY0" fmla="*/ 1 h 3946614"/>
                <a:gd name="connsiteX1" fmla="*/ 862939 w 1612833"/>
                <a:gd name="connsiteY1" fmla="*/ 1 h 3946614"/>
                <a:gd name="connsiteX2" fmla="*/ 780789 w 1612833"/>
                <a:gd name="connsiteY2" fmla="*/ 85951 h 3946614"/>
                <a:gd name="connsiteX3" fmla="*/ 144563 w 1612833"/>
                <a:gd name="connsiteY3" fmla="*/ 1973531 h 3946614"/>
                <a:gd name="connsiteX4" fmla="*/ 780789 w 1612833"/>
                <a:gd name="connsiteY4" fmla="*/ 3861111 h 3946614"/>
                <a:gd name="connsiteX5" fmla="*/ 862511 w 1612833"/>
                <a:gd name="connsiteY5" fmla="*/ 3946614 h 3946614"/>
                <a:gd name="connsiteX6" fmla="*/ 717948 w 1612833"/>
                <a:gd name="connsiteY6" fmla="*/ 3946614 h 3946614"/>
                <a:gd name="connsiteX7" fmla="*/ 636226 w 1612833"/>
                <a:gd name="connsiteY7" fmla="*/ 3861111 h 3946614"/>
                <a:gd name="connsiteX8" fmla="*/ 0 w 1612833"/>
                <a:gd name="connsiteY8" fmla="*/ 1973531 h 3946614"/>
                <a:gd name="connsiteX9" fmla="*/ 636226 w 1612833"/>
                <a:gd name="connsiteY9" fmla="*/ 85951 h 3946614"/>
                <a:gd name="connsiteX10" fmla="*/ 1468270 w 1612833"/>
                <a:gd name="connsiteY10" fmla="*/ 0 h 3946614"/>
                <a:gd name="connsiteX11" fmla="*/ 1612833 w 1612833"/>
                <a:gd name="connsiteY11" fmla="*/ 0 h 3946614"/>
                <a:gd name="connsiteX12" fmla="*/ 1612833 w 1612833"/>
                <a:gd name="connsiteY12" fmla="*/ 1 h 3946614"/>
                <a:gd name="connsiteX13" fmla="*/ 1468270 w 1612833"/>
                <a:gd name="connsiteY13" fmla="*/ 1 h 394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12833" h="3946614">
                  <a:moveTo>
                    <a:pt x="718376" y="1"/>
                  </a:moveTo>
                  <a:lnTo>
                    <a:pt x="862939" y="1"/>
                  </a:lnTo>
                  <a:lnTo>
                    <a:pt x="780789" y="85951"/>
                  </a:lnTo>
                  <a:cubicBezTo>
                    <a:pt x="392230" y="534614"/>
                    <a:pt x="144563" y="1213605"/>
                    <a:pt x="144563" y="1973531"/>
                  </a:cubicBezTo>
                  <a:cubicBezTo>
                    <a:pt x="144563" y="2733457"/>
                    <a:pt x="392230" y="3412449"/>
                    <a:pt x="780789" y="3861111"/>
                  </a:cubicBezTo>
                  <a:lnTo>
                    <a:pt x="862511" y="3946614"/>
                  </a:lnTo>
                  <a:lnTo>
                    <a:pt x="717948" y="3946614"/>
                  </a:lnTo>
                  <a:lnTo>
                    <a:pt x="636226" y="3861111"/>
                  </a:lnTo>
                  <a:cubicBezTo>
                    <a:pt x="247667" y="3412449"/>
                    <a:pt x="0" y="2733457"/>
                    <a:pt x="0" y="1973531"/>
                  </a:cubicBezTo>
                  <a:cubicBezTo>
                    <a:pt x="0" y="1213605"/>
                    <a:pt x="247667" y="534614"/>
                    <a:pt x="636226" y="85951"/>
                  </a:cubicBezTo>
                  <a:close/>
                  <a:moveTo>
                    <a:pt x="1468270" y="0"/>
                  </a:moveTo>
                  <a:lnTo>
                    <a:pt x="1612833" y="0"/>
                  </a:lnTo>
                  <a:lnTo>
                    <a:pt x="1612833" y="1"/>
                  </a:lnTo>
                  <a:lnTo>
                    <a:pt x="1468270" y="1"/>
                  </a:lnTo>
                  <a:close/>
                </a:path>
              </a:pathLst>
            </a:custGeom>
            <a:solidFill>
              <a:schemeClr val="bg1">
                <a:alpha val="25000"/>
              </a:schemeClr>
            </a:solidFill>
          </p:spPr>
          <p:txBody>
            <a:bodyPr wrap="square" rtlCol="0" anchor="ctr">
              <a:noAutofit/>
            </a:bodyPr>
            <a:lstStyle/>
            <a:p>
              <a:pPr fontAlgn="base"/>
              <a:endParaRPr lang="en-IN" sz="2000" dirty="0">
                <a:solidFill>
                  <a:srgbClr val="FFFFFF"/>
                </a:solidFill>
                <a:cs typeface="Segoe UI Light"/>
              </a:endParaRPr>
            </a:p>
          </p:txBody>
        </p:sp>
        <p:grpSp>
          <p:nvGrpSpPr>
            <p:cNvPr id="189" name="Group 188"/>
            <p:cNvGrpSpPr/>
            <p:nvPr/>
          </p:nvGrpSpPr>
          <p:grpSpPr>
            <a:xfrm>
              <a:off x="9068554" y="2059338"/>
              <a:ext cx="2932946" cy="3137478"/>
              <a:chOff x="9187566" y="2863372"/>
              <a:chExt cx="2694922" cy="2882857"/>
            </a:xfrm>
          </p:grpSpPr>
          <p:sp>
            <p:nvSpPr>
              <p:cNvPr id="190" name="Rectangle 189"/>
              <p:cNvSpPr/>
              <p:nvPr/>
            </p:nvSpPr>
            <p:spPr bwMode="auto">
              <a:xfrm>
                <a:off x="9535668" y="5093673"/>
                <a:ext cx="476866" cy="5824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91" name="Rectangle 73"/>
              <p:cNvSpPr>
                <a:spLocks noChangeArrowheads="1"/>
              </p:cNvSpPr>
              <p:nvPr/>
            </p:nvSpPr>
            <p:spPr bwMode="auto">
              <a:xfrm>
                <a:off x="11157361" y="5150177"/>
                <a:ext cx="326761" cy="49507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92" name="Rectangle 74"/>
              <p:cNvSpPr>
                <a:spLocks noChangeArrowheads="1"/>
              </p:cNvSpPr>
              <p:nvPr/>
            </p:nvSpPr>
            <p:spPr bwMode="auto">
              <a:xfrm>
                <a:off x="10579126" y="5150177"/>
                <a:ext cx="140500" cy="49507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93" name="Rectangle 75"/>
              <p:cNvSpPr>
                <a:spLocks noChangeArrowheads="1"/>
              </p:cNvSpPr>
              <p:nvPr/>
            </p:nvSpPr>
            <p:spPr bwMode="auto">
              <a:xfrm>
                <a:off x="10615912" y="5187984"/>
                <a:ext cx="174220" cy="45726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94" name="Rectangle 76"/>
              <p:cNvSpPr>
                <a:spLocks noChangeArrowheads="1"/>
              </p:cNvSpPr>
              <p:nvPr/>
            </p:nvSpPr>
            <p:spPr bwMode="auto">
              <a:xfrm>
                <a:off x="11021626" y="5254402"/>
                <a:ext cx="174220" cy="39084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95" name="Rectangle 77"/>
              <p:cNvSpPr>
                <a:spLocks noChangeArrowheads="1"/>
              </p:cNvSpPr>
              <p:nvPr/>
            </p:nvSpPr>
            <p:spPr bwMode="auto">
              <a:xfrm>
                <a:off x="10762031" y="5324396"/>
                <a:ext cx="256476" cy="320850"/>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96" name="Freeform 6"/>
              <p:cNvSpPr>
                <a:spLocks/>
              </p:cNvSpPr>
              <p:nvPr/>
            </p:nvSpPr>
            <p:spPr bwMode="auto">
              <a:xfrm>
                <a:off x="10112917" y="5241798"/>
                <a:ext cx="516662" cy="434325"/>
              </a:xfrm>
              <a:custGeom>
                <a:avLst/>
                <a:gdLst>
                  <a:gd name="T0" fmla="*/ 413 w 753"/>
                  <a:gd name="T1" fmla="*/ 106 h 633"/>
                  <a:gd name="T2" fmla="*/ 413 w 753"/>
                  <a:gd name="T3" fmla="*/ 0 h 633"/>
                  <a:gd name="T4" fmla="*/ 495 w 753"/>
                  <a:gd name="T5" fmla="*/ 0 h 633"/>
                  <a:gd name="T6" fmla="*/ 495 w 753"/>
                  <a:gd name="T7" fmla="*/ 106 h 633"/>
                  <a:gd name="T8" fmla="*/ 523 w 753"/>
                  <a:gd name="T9" fmla="*/ 106 h 633"/>
                  <a:gd name="T10" fmla="*/ 523 w 753"/>
                  <a:gd name="T11" fmla="*/ 0 h 633"/>
                  <a:gd name="T12" fmla="*/ 605 w 753"/>
                  <a:gd name="T13" fmla="*/ 0 h 633"/>
                  <a:gd name="T14" fmla="*/ 605 w 753"/>
                  <a:gd name="T15" fmla="*/ 106 h 633"/>
                  <a:gd name="T16" fmla="*/ 753 w 753"/>
                  <a:gd name="T17" fmla="*/ 106 h 633"/>
                  <a:gd name="T18" fmla="*/ 753 w 753"/>
                  <a:gd name="T19" fmla="*/ 132 h 633"/>
                  <a:gd name="T20" fmla="*/ 717 w 753"/>
                  <a:gd name="T21" fmla="*/ 132 h 633"/>
                  <a:gd name="T22" fmla="*/ 717 w 753"/>
                  <a:gd name="T23" fmla="*/ 633 h 633"/>
                  <a:gd name="T24" fmla="*/ 34 w 753"/>
                  <a:gd name="T25" fmla="*/ 633 h 633"/>
                  <a:gd name="T26" fmla="*/ 34 w 753"/>
                  <a:gd name="T27" fmla="*/ 132 h 633"/>
                  <a:gd name="T28" fmla="*/ 0 w 753"/>
                  <a:gd name="T29" fmla="*/ 132 h 633"/>
                  <a:gd name="T30" fmla="*/ 0 w 753"/>
                  <a:gd name="T31" fmla="*/ 106 h 633"/>
                  <a:gd name="T32" fmla="*/ 413 w 753"/>
                  <a:gd name="T33" fmla="*/ 106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3" h="633">
                    <a:moveTo>
                      <a:pt x="413" y="106"/>
                    </a:moveTo>
                    <a:lnTo>
                      <a:pt x="413" y="0"/>
                    </a:lnTo>
                    <a:lnTo>
                      <a:pt x="495" y="0"/>
                    </a:lnTo>
                    <a:lnTo>
                      <a:pt x="495" y="106"/>
                    </a:lnTo>
                    <a:lnTo>
                      <a:pt x="523" y="106"/>
                    </a:lnTo>
                    <a:lnTo>
                      <a:pt x="523" y="0"/>
                    </a:lnTo>
                    <a:lnTo>
                      <a:pt x="605" y="0"/>
                    </a:lnTo>
                    <a:lnTo>
                      <a:pt x="605" y="106"/>
                    </a:lnTo>
                    <a:lnTo>
                      <a:pt x="753" y="106"/>
                    </a:lnTo>
                    <a:lnTo>
                      <a:pt x="753" y="132"/>
                    </a:lnTo>
                    <a:lnTo>
                      <a:pt x="717" y="132"/>
                    </a:lnTo>
                    <a:lnTo>
                      <a:pt x="717" y="633"/>
                    </a:lnTo>
                    <a:lnTo>
                      <a:pt x="34" y="633"/>
                    </a:lnTo>
                    <a:lnTo>
                      <a:pt x="34" y="132"/>
                    </a:lnTo>
                    <a:lnTo>
                      <a:pt x="0" y="132"/>
                    </a:lnTo>
                    <a:lnTo>
                      <a:pt x="0" y="106"/>
                    </a:lnTo>
                    <a:lnTo>
                      <a:pt x="413" y="106"/>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97" name="Freeform 7"/>
              <p:cNvSpPr>
                <a:spLocks/>
              </p:cNvSpPr>
              <p:nvPr/>
            </p:nvSpPr>
            <p:spPr bwMode="auto">
              <a:xfrm>
                <a:off x="9513685" y="5013427"/>
                <a:ext cx="516662" cy="434325"/>
              </a:xfrm>
              <a:custGeom>
                <a:avLst/>
                <a:gdLst>
                  <a:gd name="T0" fmla="*/ 415 w 753"/>
                  <a:gd name="T1" fmla="*/ 106 h 633"/>
                  <a:gd name="T2" fmla="*/ 415 w 753"/>
                  <a:gd name="T3" fmla="*/ 0 h 633"/>
                  <a:gd name="T4" fmla="*/ 497 w 753"/>
                  <a:gd name="T5" fmla="*/ 0 h 633"/>
                  <a:gd name="T6" fmla="*/ 497 w 753"/>
                  <a:gd name="T7" fmla="*/ 106 h 633"/>
                  <a:gd name="T8" fmla="*/ 525 w 753"/>
                  <a:gd name="T9" fmla="*/ 106 h 633"/>
                  <a:gd name="T10" fmla="*/ 525 w 753"/>
                  <a:gd name="T11" fmla="*/ 0 h 633"/>
                  <a:gd name="T12" fmla="*/ 607 w 753"/>
                  <a:gd name="T13" fmla="*/ 0 h 633"/>
                  <a:gd name="T14" fmla="*/ 607 w 753"/>
                  <a:gd name="T15" fmla="*/ 106 h 633"/>
                  <a:gd name="T16" fmla="*/ 753 w 753"/>
                  <a:gd name="T17" fmla="*/ 106 h 633"/>
                  <a:gd name="T18" fmla="*/ 753 w 753"/>
                  <a:gd name="T19" fmla="*/ 132 h 633"/>
                  <a:gd name="T20" fmla="*/ 719 w 753"/>
                  <a:gd name="T21" fmla="*/ 132 h 633"/>
                  <a:gd name="T22" fmla="*/ 719 w 753"/>
                  <a:gd name="T23" fmla="*/ 633 h 633"/>
                  <a:gd name="T24" fmla="*/ 34 w 753"/>
                  <a:gd name="T25" fmla="*/ 633 h 633"/>
                  <a:gd name="T26" fmla="*/ 34 w 753"/>
                  <a:gd name="T27" fmla="*/ 132 h 633"/>
                  <a:gd name="T28" fmla="*/ 0 w 753"/>
                  <a:gd name="T29" fmla="*/ 132 h 633"/>
                  <a:gd name="T30" fmla="*/ 0 w 753"/>
                  <a:gd name="T31" fmla="*/ 106 h 633"/>
                  <a:gd name="T32" fmla="*/ 415 w 753"/>
                  <a:gd name="T33" fmla="*/ 106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3" h="633">
                    <a:moveTo>
                      <a:pt x="415" y="106"/>
                    </a:moveTo>
                    <a:lnTo>
                      <a:pt x="415" y="0"/>
                    </a:lnTo>
                    <a:lnTo>
                      <a:pt x="497" y="0"/>
                    </a:lnTo>
                    <a:lnTo>
                      <a:pt x="497" y="106"/>
                    </a:lnTo>
                    <a:lnTo>
                      <a:pt x="525" y="106"/>
                    </a:lnTo>
                    <a:lnTo>
                      <a:pt x="525" y="0"/>
                    </a:lnTo>
                    <a:lnTo>
                      <a:pt x="607" y="0"/>
                    </a:lnTo>
                    <a:lnTo>
                      <a:pt x="607" y="106"/>
                    </a:lnTo>
                    <a:lnTo>
                      <a:pt x="753" y="106"/>
                    </a:lnTo>
                    <a:lnTo>
                      <a:pt x="753" y="132"/>
                    </a:lnTo>
                    <a:lnTo>
                      <a:pt x="719" y="132"/>
                    </a:lnTo>
                    <a:lnTo>
                      <a:pt x="719" y="633"/>
                    </a:lnTo>
                    <a:lnTo>
                      <a:pt x="34" y="633"/>
                    </a:lnTo>
                    <a:lnTo>
                      <a:pt x="34" y="132"/>
                    </a:lnTo>
                    <a:lnTo>
                      <a:pt x="0" y="132"/>
                    </a:lnTo>
                    <a:lnTo>
                      <a:pt x="0" y="106"/>
                    </a:lnTo>
                    <a:lnTo>
                      <a:pt x="415" y="106"/>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98" name="Group 197"/>
              <p:cNvGrpSpPr/>
              <p:nvPr/>
            </p:nvGrpSpPr>
            <p:grpSpPr>
              <a:xfrm>
                <a:off x="9407587" y="5294152"/>
                <a:ext cx="222975" cy="377947"/>
                <a:chOff x="4915428" y="5493229"/>
                <a:chExt cx="515890" cy="874446"/>
              </a:xfrm>
            </p:grpSpPr>
            <p:sp>
              <p:nvSpPr>
                <p:cNvPr id="269" name="Rectangle 268"/>
                <p:cNvSpPr/>
                <p:nvPr/>
              </p:nvSpPr>
              <p:spPr bwMode="auto">
                <a:xfrm>
                  <a:off x="4946145" y="5505451"/>
                  <a:ext cx="455117" cy="84534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70" name="Freeform 269"/>
                <p:cNvSpPr/>
                <p:nvPr/>
              </p:nvSpPr>
              <p:spPr>
                <a:xfrm>
                  <a:off x="4915428" y="5493229"/>
                  <a:ext cx="515890" cy="874446"/>
                </a:xfrm>
                <a:custGeom>
                  <a:avLst/>
                  <a:gdLst>
                    <a:gd name="connsiteX0" fmla="*/ 663689 w 1327374"/>
                    <a:gd name="connsiteY0" fmla="*/ 2055464 h 2249930"/>
                    <a:gd name="connsiteX1" fmla="*/ 589190 w 1327374"/>
                    <a:gd name="connsiteY1" fmla="*/ 2129963 h 2249930"/>
                    <a:gd name="connsiteX2" fmla="*/ 663689 w 1327374"/>
                    <a:gd name="connsiteY2" fmla="*/ 2204462 h 2249930"/>
                    <a:gd name="connsiteX3" fmla="*/ 738186 w 1327374"/>
                    <a:gd name="connsiteY3" fmla="*/ 2129963 h 2249930"/>
                    <a:gd name="connsiteX4" fmla="*/ 663689 w 1327374"/>
                    <a:gd name="connsiteY4" fmla="*/ 2055464 h 2249930"/>
                    <a:gd name="connsiteX5" fmla="*/ 568202 w 1327374"/>
                    <a:gd name="connsiteY5" fmla="*/ 53291 h 2249930"/>
                    <a:gd name="connsiteX6" fmla="*/ 544080 w 1327374"/>
                    <a:gd name="connsiteY6" fmla="*/ 77413 h 2249930"/>
                    <a:gd name="connsiteX7" fmla="*/ 568202 w 1327374"/>
                    <a:gd name="connsiteY7" fmla="*/ 101538 h 2249930"/>
                    <a:gd name="connsiteX8" fmla="*/ 759174 w 1327374"/>
                    <a:gd name="connsiteY8" fmla="*/ 101538 h 2249930"/>
                    <a:gd name="connsiteX9" fmla="*/ 783296 w 1327374"/>
                    <a:gd name="connsiteY9" fmla="*/ 77413 h 2249930"/>
                    <a:gd name="connsiteX10" fmla="*/ 759174 w 1327374"/>
                    <a:gd name="connsiteY10" fmla="*/ 53291 h 2249930"/>
                    <a:gd name="connsiteX11" fmla="*/ 72329 w 1327374"/>
                    <a:gd name="connsiteY11" fmla="*/ 0 h 2249930"/>
                    <a:gd name="connsiteX12" fmla="*/ 1255045 w 1327374"/>
                    <a:gd name="connsiteY12" fmla="*/ 0 h 2249930"/>
                    <a:gd name="connsiteX13" fmla="*/ 1327374 w 1327374"/>
                    <a:gd name="connsiteY13" fmla="*/ 72330 h 2249930"/>
                    <a:gd name="connsiteX14" fmla="*/ 1327374 w 1327374"/>
                    <a:gd name="connsiteY14" fmla="*/ 1657469 h 2249930"/>
                    <a:gd name="connsiteX15" fmla="*/ 1327374 w 1327374"/>
                    <a:gd name="connsiteY15" fmla="*/ 1666456 h 2249930"/>
                    <a:gd name="connsiteX16" fmla="*/ 1327374 w 1327374"/>
                    <a:gd name="connsiteY16" fmla="*/ 2177600 h 2249930"/>
                    <a:gd name="connsiteX17" fmla="*/ 1255045 w 1327374"/>
                    <a:gd name="connsiteY17" fmla="*/ 2249930 h 2249930"/>
                    <a:gd name="connsiteX18" fmla="*/ 72329 w 1327374"/>
                    <a:gd name="connsiteY18" fmla="*/ 2249930 h 2249930"/>
                    <a:gd name="connsiteX19" fmla="*/ 0 w 1327374"/>
                    <a:gd name="connsiteY19" fmla="*/ 2177600 h 2249930"/>
                    <a:gd name="connsiteX20" fmla="*/ 0 w 1327374"/>
                    <a:gd name="connsiteY20" fmla="*/ 1819065 h 2249930"/>
                    <a:gd name="connsiteX21" fmla="*/ 120333 w 1327374"/>
                    <a:gd name="connsiteY21" fmla="*/ 1731661 h 2249930"/>
                    <a:gd name="connsiteX22" fmla="*/ 120333 w 1327374"/>
                    <a:gd name="connsiteY22" fmla="*/ 1978661 h 2249930"/>
                    <a:gd name="connsiteX23" fmla="*/ 156258 w 1327374"/>
                    <a:gd name="connsiteY23" fmla="*/ 2014589 h 2249930"/>
                    <a:gd name="connsiteX24" fmla="*/ 1171115 w 1327374"/>
                    <a:gd name="connsiteY24" fmla="*/ 2014589 h 2249930"/>
                    <a:gd name="connsiteX25" fmla="*/ 1207043 w 1327374"/>
                    <a:gd name="connsiteY25" fmla="*/ 1978661 h 2249930"/>
                    <a:gd name="connsiteX26" fmla="*/ 1207043 w 1327374"/>
                    <a:gd name="connsiteY26" fmla="*/ 206532 h 2249930"/>
                    <a:gd name="connsiteX27" fmla="*/ 1171115 w 1327374"/>
                    <a:gd name="connsiteY27" fmla="*/ 170607 h 2249930"/>
                    <a:gd name="connsiteX28" fmla="*/ 1164626 w 1327374"/>
                    <a:gd name="connsiteY28" fmla="*/ 170607 h 2249930"/>
                    <a:gd name="connsiteX29" fmla="*/ 1159907 w 1327374"/>
                    <a:gd name="connsiteY29" fmla="*/ 169654 h 2249930"/>
                    <a:gd name="connsiteX30" fmla="*/ 167469 w 1327374"/>
                    <a:gd name="connsiteY30" fmla="*/ 169654 h 2249930"/>
                    <a:gd name="connsiteX31" fmla="*/ 162752 w 1327374"/>
                    <a:gd name="connsiteY31" fmla="*/ 170607 h 2249930"/>
                    <a:gd name="connsiteX32" fmla="*/ 156258 w 1327374"/>
                    <a:gd name="connsiteY32" fmla="*/ 170607 h 2249930"/>
                    <a:gd name="connsiteX33" fmla="*/ 120333 w 1327374"/>
                    <a:gd name="connsiteY33" fmla="*/ 206532 h 2249930"/>
                    <a:gd name="connsiteX34" fmla="*/ 120333 w 1327374"/>
                    <a:gd name="connsiteY34" fmla="*/ 1469505 h 2249930"/>
                    <a:gd name="connsiteX35" fmla="*/ 111560 w 1327374"/>
                    <a:gd name="connsiteY35" fmla="*/ 1471611 h 2249930"/>
                    <a:gd name="connsiteX36" fmla="*/ 0 w 1327374"/>
                    <a:gd name="connsiteY36" fmla="*/ 1552646 h 2249930"/>
                    <a:gd name="connsiteX37" fmla="*/ 0 w 1327374"/>
                    <a:gd name="connsiteY37" fmla="*/ 72330 h 2249930"/>
                    <a:gd name="connsiteX38" fmla="*/ 72329 w 1327374"/>
                    <a:gd name="connsiteY38" fmla="*/ 0 h 2249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27374" h="2249930">
                      <a:moveTo>
                        <a:pt x="663689" y="2055464"/>
                      </a:moveTo>
                      <a:cubicBezTo>
                        <a:pt x="622544" y="2055464"/>
                        <a:pt x="589190" y="2088818"/>
                        <a:pt x="589190" y="2129963"/>
                      </a:cubicBezTo>
                      <a:cubicBezTo>
                        <a:pt x="589190" y="2171108"/>
                        <a:pt x="622544" y="2204462"/>
                        <a:pt x="663689" y="2204462"/>
                      </a:cubicBezTo>
                      <a:cubicBezTo>
                        <a:pt x="704832" y="2204462"/>
                        <a:pt x="738186" y="2171108"/>
                        <a:pt x="738186" y="2129963"/>
                      </a:cubicBezTo>
                      <a:cubicBezTo>
                        <a:pt x="738186" y="2088818"/>
                        <a:pt x="704832" y="2055464"/>
                        <a:pt x="663689" y="2055464"/>
                      </a:cubicBezTo>
                      <a:close/>
                      <a:moveTo>
                        <a:pt x="568202" y="53291"/>
                      </a:moveTo>
                      <a:cubicBezTo>
                        <a:pt x="554879" y="53291"/>
                        <a:pt x="544080" y="64092"/>
                        <a:pt x="544080" y="77413"/>
                      </a:cubicBezTo>
                      <a:cubicBezTo>
                        <a:pt x="544080" y="90736"/>
                        <a:pt x="554879" y="101538"/>
                        <a:pt x="568202" y="101538"/>
                      </a:cubicBezTo>
                      <a:lnTo>
                        <a:pt x="759174" y="101538"/>
                      </a:lnTo>
                      <a:cubicBezTo>
                        <a:pt x="772497" y="101538"/>
                        <a:pt x="783296" y="90736"/>
                        <a:pt x="783296" y="77413"/>
                      </a:cubicBezTo>
                      <a:cubicBezTo>
                        <a:pt x="783296" y="64092"/>
                        <a:pt x="772497" y="53291"/>
                        <a:pt x="759174" y="53291"/>
                      </a:cubicBezTo>
                      <a:close/>
                      <a:moveTo>
                        <a:pt x="72329" y="0"/>
                      </a:moveTo>
                      <a:lnTo>
                        <a:pt x="1255045" y="0"/>
                      </a:lnTo>
                      <a:cubicBezTo>
                        <a:pt x="1294992" y="0"/>
                        <a:pt x="1327374" y="32385"/>
                        <a:pt x="1327374" y="72330"/>
                      </a:cubicBezTo>
                      <a:lnTo>
                        <a:pt x="1327374" y="1657469"/>
                      </a:lnTo>
                      <a:lnTo>
                        <a:pt x="1327374" y="1666456"/>
                      </a:lnTo>
                      <a:lnTo>
                        <a:pt x="1327374" y="2177600"/>
                      </a:lnTo>
                      <a:cubicBezTo>
                        <a:pt x="1327374" y="2217548"/>
                        <a:pt x="1294992" y="2249930"/>
                        <a:pt x="1255045" y="2249930"/>
                      </a:cubicBezTo>
                      <a:lnTo>
                        <a:pt x="72329" y="2249930"/>
                      </a:lnTo>
                      <a:cubicBezTo>
                        <a:pt x="32384" y="2249930"/>
                        <a:pt x="0" y="2217548"/>
                        <a:pt x="0" y="2177600"/>
                      </a:cubicBezTo>
                      <a:lnTo>
                        <a:pt x="0" y="1819065"/>
                      </a:lnTo>
                      <a:lnTo>
                        <a:pt x="120333" y="1731661"/>
                      </a:lnTo>
                      <a:lnTo>
                        <a:pt x="120333" y="1978661"/>
                      </a:lnTo>
                      <a:cubicBezTo>
                        <a:pt x="120333" y="1998503"/>
                        <a:pt x="136416" y="2014589"/>
                        <a:pt x="156258" y="2014589"/>
                      </a:cubicBezTo>
                      <a:lnTo>
                        <a:pt x="1171115" y="2014589"/>
                      </a:lnTo>
                      <a:cubicBezTo>
                        <a:pt x="1190958" y="2014589"/>
                        <a:pt x="1207043" y="1998503"/>
                        <a:pt x="1207043" y="1978661"/>
                      </a:cubicBezTo>
                      <a:lnTo>
                        <a:pt x="1207043" y="206532"/>
                      </a:lnTo>
                      <a:cubicBezTo>
                        <a:pt x="1207043" y="186690"/>
                        <a:pt x="1190958" y="170607"/>
                        <a:pt x="1171115" y="170607"/>
                      </a:cubicBezTo>
                      <a:lnTo>
                        <a:pt x="1164626" y="170607"/>
                      </a:lnTo>
                      <a:cubicBezTo>
                        <a:pt x="1163126" y="169744"/>
                        <a:pt x="1161527" y="169654"/>
                        <a:pt x="1159907" y="169654"/>
                      </a:cubicBezTo>
                      <a:lnTo>
                        <a:pt x="167469" y="169654"/>
                      </a:lnTo>
                      <a:lnTo>
                        <a:pt x="162752" y="170607"/>
                      </a:lnTo>
                      <a:lnTo>
                        <a:pt x="156258" y="170607"/>
                      </a:lnTo>
                      <a:cubicBezTo>
                        <a:pt x="136416" y="170607"/>
                        <a:pt x="120333" y="186690"/>
                        <a:pt x="120333" y="206532"/>
                      </a:cubicBezTo>
                      <a:lnTo>
                        <a:pt x="120333" y="1469505"/>
                      </a:lnTo>
                      <a:lnTo>
                        <a:pt x="111560" y="1471611"/>
                      </a:lnTo>
                      <a:lnTo>
                        <a:pt x="0" y="1552646"/>
                      </a:lnTo>
                      <a:lnTo>
                        <a:pt x="0" y="72330"/>
                      </a:lnTo>
                      <a:cubicBezTo>
                        <a:pt x="0" y="32385"/>
                        <a:pt x="32384" y="0"/>
                        <a:pt x="7232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949"/>
                  <a:endParaRPr lang="en-US" sz="1836" dirty="0">
                    <a:solidFill>
                      <a:srgbClr val="FFFFFF"/>
                    </a:solidFill>
                  </a:endParaRPr>
                </a:p>
              </p:txBody>
            </p:sp>
          </p:grpSp>
          <p:grpSp>
            <p:nvGrpSpPr>
              <p:cNvPr id="199" name="Group 198"/>
              <p:cNvGrpSpPr/>
              <p:nvPr/>
            </p:nvGrpSpPr>
            <p:grpSpPr>
              <a:xfrm>
                <a:off x="9187566" y="5534039"/>
                <a:ext cx="251249" cy="212190"/>
                <a:chOff x="5449638" y="4347825"/>
                <a:chExt cx="581309" cy="490938"/>
              </a:xfrm>
            </p:grpSpPr>
            <p:sp>
              <p:nvSpPr>
                <p:cNvPr id="267" name="Freeform 7"/>
                <p:cNvSpPr>
                  <a:spLocks/>
                </p:cNvSpPr>
                <p:nvPr/>
              </p:nvSpPr>
              <p:spPr bwMode="auto">
                <a:xfrm rot="350675" flipH="1">
                  <a:off x="5449638" y="4533307"/>
                  <a:ext cx="300336" cy="305456"/>
                </a:xfrm>
                <a:custGeom>
                  <a:avLst/>
                  <a:gdLst>
                    <a:gd name="T0" fmla="*/ 176 w 176"/>
                    <a:gd name="T1" fmla="*/ 84 h 179"/>
                    <a:gd name="T2" fmla="*/ 81 w 176"/>
                    <a:gd name="T3" fmla="*/ 179 h 179"/>
                    <a:gd name="T4" fmla="*/ 0 w 176"/>
                    <a:gd name="T5" fmla="*/ 95 h 179"/>
                    <a:gd name="T6" fmla="*/ 94 w 176"/>
                    <a:gd name="T7" fmla="*/ 0 h 179"/>
                    <a:gd name="T8" fmla="*/ 176 w 176"/>
                    <a:gd name="T9" fmla="*/ 84 h 179"/>
                  </a:gdLst>
                  <a:ahLst/>
                  <a:cxnLst>
                    <a:cxn ang="0">
                      <a:pos x="T0" y="T1"/>
                    </a:cxn>
                    <a:cxn ang="0">
                      <a:pos x="T2" y="T3"/>
                    </a:cxn>
                    <a:cxn ang="0">
                      <a:pos x="T4" y="T5"/>
                    </a:cxn>
                    <a:cxn ang="0">
                      <a:pos x="T6" y="T7"/>
                    </a:cxn>
                    <a:cxn ang="0">
                      <a:pos x="T8" y="T9"/>
                    </a:cxn>
                  </a:cxnLst>
                  <a:rect l="0" t="0" r="r" b="b"/>
                  <a:pathLst>
                    <a:path w="176" h="179">
                      <a:moveTo>
                        <a:pt x="176" y="84"/>
                      </a:moveTo>
                      <a:lnTo>
                        <a:pt x="81" y="179"/>
                      </a:lnTo>
                      <a:lnTo>
                        <a:pt x="0" y="95"/>
                      </a:lnTo>
                      <a:lnTo>
                        <a:pt x="94" y="0"/>
                      </a:lnTo>
                      <a:lnTo>
                        <a:pt x="176" y="84"/>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68" name="Freeform 8"/>
                <p:cNvSpPr>
                  <a:spLocks/>
                </p:cNvSpPr>
                <p:nvPr/>
              </p:nvSpPr>
              <p:spPr bwMode="auto">
                <a:xfrm rot="350675" flipH="1">
                  <a:off x="5631637" y="4347825"/>
                  <a:ext cx="399310" cy="342998"/>
                </a:xfrm>
                <a:custGeom>
                  <a:avLst/>
                  <a:gdLst>
                    <a:gd name="T0" fmla="*/ 137 w 198"/>
                    <a:gd name="T1" fmla="*/ 30 h 170"/>
                    <a:gd name="T2" fmla="*/ 91 w 198"/>
                    <a:gd name="T3" fmla="*/ 23 h 170"/>
                    <a:gd name="T4" fmla="*/ 91 w 198"/>
                    <a:gd name="T5" fmla="*/ 23 h 170"/>
                    <a:gd name="T6" fmla="*/ 90 w 198"/>
                    <a:gd name="T7" fmla="*/ 23 h 170"/>
                    <a:gd name="T8" fmla="*/ 87 w 198"/>
                    <a:gd name="T9" fmla="*/ 26 h 170"/>
                    <a:gd name="T10" fmla="*/ 60 w 198"/>
                    <a:gd name="T11" fmla="*/ 43 h 170"/>
                    <a:gd name="T12" fmla="*/ 23 w 198"/>
                    <a:gd name="T13" fmla="*/ 6 h 170"/>
                    <a:gd name="T14" fmla="*/ 5 w 198"/>
                    <a:gd name="T15" fmla="*/ 5 h 170"/>
                    <a:gd name="T16" fmla="*/ 6 w 198"/>
                    <a:gd name="T17" fmla="*/ 23 h 170"/>
                    <a:gd name="T18" fmla="*/ 62 w 198"/>
                    <a:gd name="T19" fmla="*/ 80 h 170"/>
                    <a:gd name="T20" fmla="*/ 63 w 198"/>
                    <a:gd name="T21" fmla="*/ 114 h 170"/>
                    <a:gd name="T22" fmla="*/ 101 w 198"/>
                    <a:gd name="T23" fmla="*/ 152 h 170"/>
                    <a:gd name="T24" fmla="*/ 125 w 198"/>
                    <a:gd name="T25" fmla="*/ 152 h 170"/>
                    <a:gd name="T26" fmla="*/ 143 w 198"/>
                    <a:gd name="T27" fmla="*/ 170 h 170"/>
                    <a:gd name="T28" fmla="*/ 198 w 198"/>
                    <a:gd name="T29" fmla="*/ 115 h 170"/>
                    <a:gd name="T30" fmla="*/ 180 w 198"/>
                    <a:gd name="T31" fmla="*/ 97 h 170"/>
                    <a:gd name="T32" fmla="*/ 180 w 198"/>
                    <a:gd name="T33" fmla="*/ 72 h 170"/>
                    <a:gd name="T34" fmla="*/ 138 w 198"/>
                    <a:gd name="T35" fmla="*/ 31 h 170"/>
                    <a:gd name="T36" fmla="*/ 138 w 198"/>
                    <a:gd name="T37" fmla="*/ 31 h 170"/>
                    <a:gd name="T38" fmla="*/ 137 w 198"/>
                    <a:gd name="T39" fmla="*/ 3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170">
                      <a:moveTo>
                        <a:pt x="137" y="30"/>
                      </a:moveTo>
                      <a:cubicBezTo>
                        <a:pt x="125" y="17"/>
                        <a:pt x="106" y="15"/>
                        <a:pt x="91" y="23"/>
                      </a:cubicBezTo>
                      <a:cubicBezTo>
                        <a:pt x="91" y="23"/>
                        <a:pt x="91" y="23"/>
                        <a:pt x="91" y="23"/>
                      </a:cubicBezTo>
                      <a:cubicBezTo>
                        <a:pt x="90" y="23"/>
                        <a:pt x="90" y="23"/>
                        <a:pt x="90" y="23"/>
                      </a:cubicBezTo>
                      <a:cubicBezTo>
                        <a:pt x="89" y="24"/>
                        <a:pt x="88" y="25"/>
                        <a:pt x="87" y="26"/>
                      </a:cubicBezTo>
                      <a:cubicBezTo>
                        <a:pt x="60" y="43"/>
                        <a:pt x="60" y="43"/>
                        <a:pt x="60" y="43"/>
                      </a:cubicBezTo>
                      <a:cubicBezTo>
                        <a:pt x="23" y="6"/>
                        <a:pt x="23" y="6"/>
                        <a:pt x="23" y="6"/>
                      </a:cubicBezTo>
                      <a:cubicBezTo>
                        <a:pt x="18" y="1"/>
                        <a:pt x="10" y="0"/>
                        <a:pt x="5" y="5"/>
                      </a:cubicBezTo>
                      <a:cubicBezTo>
                        <a:pt x="0" y="10"/>
                        <a:pt x="0" y="18"/>
                        <a:pt x="6" y="23"/>
                      </a:cubicBezTo>
                      <a:cubicBezTo>
                        <a:pt x="62" y="80"/>
                        <a:pt x="62" y="80"/>
                        <a:pt x="62" y="80"/>
                      </a:cubicBezTo>
                      <a:cubicBezTo>
                        <a:pt x="53" y="89"/>
                        <a:pt x="54" y="104"/>
                        <a:pt x="63" y="114"/>
                      </a:cubicBezTo>
                      <a:cubicBezTo>
                        <a:pt x="101" y="152"/>
                        <a:pt x="101" y="152"/>
                        <a:pt x="101" y="152"/>
                      </a:cubicBezTo>
                      <a:cubicBezTo>
                        <a:pt x="108" y="158"/>
                        <a:pt x="119" y="158"/>
                        <a:pt x="125" y="152"/>
                      </a:cubicBezTo>
                      <a:cubicBezTo>
                        <a:pt x="143" y="170"/>
                        <a:pt x="143" y="170"/>
                        <a:pt x="143" y="170"/>
                      </a:cubicBezTo>
                      <a:cubicBezTo>
                        <a:pt x="198" y="115"/>
                        <a:pt x="198" y="115"/>
                        <a:pt x="198" y="115"/>
                      </a:cubicBezTo>
                      <a:cubicBezTo>
                        <a:pt x="180" y="97"/>
                        <a:pt x="180" y="97"/>
                        <a:pt x="180" y="97"/>
                      </a:cubicBezTo>
                      <a:cubicBezTo>
                        <a:pt x="187" y="90"/>
                        <a:pt x="187" y="79"/>
                        <a:pt x="180" y="72"/>
                      </a:cubicBezTo>
                      <a:cubicBezTo>
                        <a:pt x="138" y="31"/>
                        <a:pt x="138" y="31"/>
                        <a:pt x="138" y="31"/>
                      </a:cubicBezTo>
                      <a:cubicBezTo>
                        <a:pt x="138" y="31"/>
                        <a:pt x="138" y="31"/>
                        <a:pt x="138" y="31"/>
                      </a:cubicBezTo>
                      <a:cubicBezTo>
                        <a:pt x="138" y="30"/>
                        <a:pt x="137" y="30"/>
                        <a:pt x="137" y="3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sp>
            <p:nvSpPr>
              <p:cNvPr id="200" name="Rectangle 199"/>
              <p:cNvSpPr/>
              <p:nvPr/>
            </p:nvSpPr>
            <p:spPr bwMode="auto">
              <a:xfrm>
                <a:off x="10772640" y="5231689"/>
                <a:ext cx="196823" cy="343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01" name="Rounded Rectangle 68"/>
              <p:cNvSpPr/>
              <p:nvPr/>
            </p:nvSpPr>
            <p:spPr>
              <a:xfrm>
                <a:off x="10746187" y="5196862"/>
                <a:ext cx="238391" cy="475237"/>
              </a:xfrm>
              <a:custGeom>
                <a:avLst/>
                <a:gdLst/>
                <a:ahLst/>
                <a:cxnLst/>
                <a:rect l="l" t="t" r="r" b="b"/>
                <a:pathLst>
                  <a:path w="736663" h="1468542">
                    <a:moveTo>
                      <a:pt x="127441" y="1331784"/>
                    </a:moveTo>
                    <a:lnTo>
                      <a:pt x="127441" y="1333372"/>
                    </a:lnTo>
                    <a:lnTo>
                      <a:pt x="126399" y="1332578"/>
                    </a:lnTo>
                    <a:close/>
                    <a:moveTo>
                      <a:pt x="369735" y="1314798"/>
                    </a:moveTo>
                    <a:lnTo>
                      <a:pt x="357710" y="1354631"/>
                    </a:lnTo>
                    <a:cubicBezTo>
                      <a:pt x="363388" y="1358973"/>
                      <a:pt x="380090" y="1370330"/>
                      <a:pt x="405310" y="1358639"/>
                    </a:cubicBezTo>
                    <a:lnTo>
                      <a:pt x="417335" y="1317052"/>
                    </a:lnTo>
                    <a:cubicBezTo>
                      <a:pt x="391197" y="1326823"/>
                      <a:pt x="381844" y="1320309"/>
                      <a:pt x="369735" y="1314798"/>
                    </a:cubicBezTo>
                    <a:close/>
                    <a:moveTo>
                      <a:pt x="140687" y="1309718"/>
                    </a:moveTo>
                    <a:lnTo>
                      <a:pt x="110683" y="1332578"/>
                    </a:lnTo>
                    <a:lnTo>
                      <a:pt x="140687" y="1355438"/>
                    </a:lnTo>
                    <a:lnTo>
                      <a:pt x="156403" y="1355438"/>
                    </a:lnTo>
                    <a:lnTo>
                      <a:pt x="133275" y="1337817"/>
                    </a:lnTo>
                    <a:lnTo>
                      <a:pt x="218881" y="1337817"/>
                    </a:lnTo>
                    <a:lnTo>
                      <a:pt x="218881" y="1328673"/>
                    </a:lnTo>
                    <a:lnTo>
                      <a:pt x="131524" y="1328673"/>
                    </a:lnTo>
                    <a:lnTo>
                      <a:pt x="156403" y="1309718"/>
                    </a:lnTo>
                    <a:close/>
                    <a:moveTo>
                      <a:pt x="341326" y="1303311"/>
                    </a:moveTo>
                    <a:cubicBezTo>
                      <a:pt x="330365" y="1302817"/>
                      <a:pt x="321446" y="1307351"/>
                      <a:pt x="317323" y="1308656"/>
                    </a:cubicBezTo>
                    <a:lnTo>
                      <a:pt x="305799" y="1349742"/>
                    </a:lnTo>
                    <a:cubicBezTo>
                      <a:pt x="332438" y="1338385"/>
                      <a:pt x="344297" y="1348072"/>
                      <a:pt x="350393" y="1351996"/>
                    </a:cubicBezTo>
                    <a:lnTo>
                      <a:pt x="362668" y="1311412"/>
                    </a:lnTo>
                    <a:cubicBezTo>
                      <a:pt x="355215" y="1305713"/>
                      <a:pt x="347903" y="1303607"/>
                      <a:pt x="341326" y="1303311"/>
                    </a:cubicBezTo>
                    <a:close/>
                    <a:moveTo>
                      <a:pt x="609845" y="1293468"/>
                    </a:moveTo>
                    <a:cubicBezTo>
                      <a:pt x="615874" y="1293468"/>
                      <a:pt x="620761" y="1298355"/>
                      <a:pt x="620761" y="1304384"/>
                    </a:cubicBezTo>
                    <a:cubicBezTo>
                      <a:pt x="620761" y="1310412"/>
                      <a:pt x="615874" y="1315299"/>
                      <a:pt x="609845" y="1315299"/>
                    </a:cubicBezTo>
                    <a:cubicBezTo>
                      <a:pt x="603816" y="1315299"/>
                      <a:pt x="598929" y="1310412"/>
                      <a:pt x="598929" y="1304384"/>
                    </a:cubicBezTo>
                    <a:cubicBezTo>
                      <a:pt x="598929" y="1298355"/>
                      <a:pt x="603816" y="1293468"/>
                      <a:pt x="609845" y="1293468"/>
                    </a:cubicBezTo>
                    <a:close/>
                    <a:moveTo>
                      <a:pt x="609845" y="1272471"/>
                    </a:moveTo>
                    <a:cubicBezTo>
                      <a:pt x="592965" y="1272471"/>
                      <a:pt x="579282" y="1286759"/>
                      <a:pt x="579282" y="1304384"/>
                    </a:cubicBezTo>
                    <a:cubicBezTo>
                      <a:pt x="579282" y="1307127"/>
                      <a:pt x="579613" y="1309790"/>
                      <a:pt x="580345" y="1312304"/>
                    </a:cubicBezTo>
                    <a:lnTo>
                      <a:pt x="545743" y="1335166"/>
                    </a:lnTo>
                    <a:cubicBezTo>
                      <a:pt x="543087" y="1336921"/>
                      <a:pt x="542356" y="1340498"/>
                      <a:pt x="544112" y="1343154"/>
                    </a:cubicBezTo>
                    <a:lnTo>
                      <a:pt x="547808" y="1348749"/>
                    </a:lnTo>
                    <a:cubicBezTo>
                      <a:pt x="549564" y="1351406"/>
                      <a:pt x="553140" y="1352136"/>
                      <a:pt x="555796" y="1350381"/>
                    </a:cubicBezTo>
                    <a:lnTo>
                      <a:pt x="589546" y="1328081"/>
                    </a:lnTo>
                    <a:cubicBezTo>
                      <a:pt x="594873" y="1333223"/>
                      <a:pt x="602015" y="1336297"/>
                      <a:pt x="609845" y="1336297"/>
                    </a:cubicBezTo>
                    <a:cubicBezTo>
                      <a:pt x="626724" y="1336297"/>
                      <a:pt x="640408" y="1322009"/>
                      <a:pt x="640408" y="1304384"/>
                    </a:cubicBezTo>
                    <a:cubicBezTo>
                      <a:pt x="640408" y="1286759"/>
                      <a:pt x="626724" y="1272471"/>
                      <a:pt x="609845" y="1272471"/>
                    </a:cubicBezTo>
                    <a:close/>
                    <a:moveTo>
                      <a:pt x="383263" y="1263939"/>
                    </a:moveTo>
                    <a:lnTo>
                      <a:pt x="371238" y="1303772"/>
                    </a:lnTo>
                    <a:cubicBezTo>
                      <a:pt x="376917" y="1308115"/>
                      <a:pt x="393618" y="1319472"/>
                      <a:pt x="418838" y="1307781"/>
                    </a:cubicBezTo>
                    <a:lnTo>
                      <a:pt x="430863" y="1266194"/>
                    </a:lnTo>
                    <a:cubicBezTo>
                      <a:pt x="404725" y="1275964"/>
                      <a:pt x="395372" y="1269451"/>
                      <a:pt x="383263" y="1263939"/>
                    </a:cubicBezTo>
                    <a:close/>
                    <a:moveTo>
                      <a:pt x="354354" y="1252330"/>
                    </a:moveTo>
                    <a:cubicBezTo>
                      <a:pt x="343392" y="1251837"/>
                      <a:pt x="334474" y="1256371"/>
                      <a:pt x="330351" y="1257676"/>
                    </a:cubicBezTo>
                    <a:lnTo>
                      <a:pt x="318826" y="1298762"/>
                    </a:lnTo>
                    <a:cubicBezTo>
                      <a:pt x="345466" y="1287405"/>
                      <a:pt x="357324" y="1297092"/>
                      <a:pt x="363420" y="1301016"/>
                    </a:cubicBezTo>
                    <a:lnTo>
                      <a:pt x="375696" y="1260432"/>
                    </a:lnTo>
                    <a:cubicBezTo>
                      <a:pt x="368242" y="1254732"/>
                      <a:pt x="360930" y="1252626"/>
                      <a:pt x="354354" y="1252330"/>
                    </a:cubicBezTo>
                    <a:close/>
                    <a:moveTo>
                      <a:pt x="91262" y="129693"/>
                    </a:moveTo>
                    <a:lnTo>
                      <a:pt x="91262" y="1125642"/>
                    </a:lnTo>
                    <a:lnTo>
                      <a:pt x="645400" y="1125642"/>
                    </a:lnTo>
                    <a:lnTo>
                      <a:pt x="645400" y="129693"/>
                    </a:lnTo>
                    <a:close/>
                    <a:moveTo>
                      <a:pt x="46579" y="0"/>
                    </a:moveTo>
                    <a:lnTo>
                      <a:pt x="690084" y="0"/>
                    </a:lnTo>
                    <a:cubicBezTo>
                      <a:pt x="715809" y="0"/>
                      <a:pt x="736663" y="20854"/>
                      <a:pt x="736663" y="46579"/>
                    </a:cubicBezTo>
                    <a:lnTo>
                      <a:pt x="736663" y="1421963"/>
                    </a:lnTo>
                    <a:cubicBezTo>
                      <a:pt x="736663" y="1447688"/>
                      <a:pt x="715809" y="1468542"/>
                      <a:pt x="690084" y="1468542"/>
                    </a:cubicBezTo>
                    <a:lnTo>
                      <a:pt x="46579" y="1468542"/>
                    </a:lnTo>
                    <a:cubicBezTo>
                      <a:pt x="20854" y="1468542"/>
                      <a:pt x="0" y="1447688"/>
                      <a:pt x="0" y="1421963"/>
                    </a:cubicBezTo>
                    <a:lnTo>
                      <a:pt x="0" y="46579"/>
                    </a:lnTo>
                    <a:cubicBezTo>
                      <a:pt x="0" y="20854"/>
                      <a:pt x="20854" y="0"/>
                      <a:pt x="46579"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16"/>
                <a:endParaRPr lang="en-US" sz="1836" dirty="0">
                  <a:solidFill>
                    <a:srgbClr val="FFFFFF"/>
                  </a:solidFill>
                </a:endParaRPr>
              </a:p>
            </p:txBody>
          </p:sp>
          <p:sp>
            <p:nvSpPr>
              <p:cNvPr id="202" name="Rectangle 85"/>
              <p:cNvSpPr>
                <a:spLocks noChangeArrowheads="1"/>
              </p:cNvSpPr>
              <p:nvPr/>
            </p:nvSpPr>
            <p:spPr bwMode="auto">
              <a:xfrm>
                <a:off x="11362012" y="5110326"/>
                <a:ext cx="98095" cy="398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nvGrpSpPr>
              <p:cNvPr id="203" name="Group 202"/>
              <p:cNvGrpSpPr/>
              <p:nvPr/>
            </p:nvGrpSpPr>
            <p:grpSpPr>
              <a:xfrm>
                <a:off x="9807586" y="5289234"/>
                <a:ext cx="708095" cy="382865"/>
                <a:chOff x="6673850" y="3473450"/>
                <a:chExt cx="1638300" cy="885825"/>
              </a:xfrm>
            </p:grpSpPr>
            <p:sp>
              <p:nvSpPr>
                <p:cNvPr id="264" name="AutoShape 51"/>
                <p:cNvSpPr>
                  <a:spLocks noChangeAspect="1" noChangeArrowheads="1" noTextEdit="1"/>
                </p:cNvSpPr>
                <p:nvPr/>
              </p:nvSpPr>
              <p:spPr bwMode="auto">
                <a:xfrm>
                  <a:off x="6673850" y="3473450"/>
                  <a:ext cx="1638300" cy="885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65" name="Freeform 53"/>
                <p:cNvSpPr>
                  <a:spLocks noEditPoints="1"/>
                </p:cNvSpPr>
                <p:nvPr/>
              </p:nvSpPr>
              <p:spPr bwMode="auto">
                <a:xfrm>
                  <a:off x="6677024" y="3473450"/>
                  <a:ext cx="1635124" cy="882650"/>
                </a:xfrm>
                <a:custGeom>
                  <a:avLst/>
                  <a:gdLst>
                    <a:gd name="T0" fmla="*/ 412 w 485"/>
                    <a:gd name="T1" fmla="*/ 0 h 260"/>
                    <a:gd name="T2" fmla="*/ 74 w 485"/>
                    <a:gd name="T3" fmla="*/ 0 h 260"/>
                    <a:gd name="T4" fmla="*/ 62 w 485"/>
                    <a:gd name="T5" fmla="*/ 12 h 260"/>
                    <a:gd name="T6" fmla="*/ 62 w 485"/>
                    <a:gd name="T7" fmla="*/ 220 h 260"/>
                    <a:gd name="T8" fmla="*/ 74 w 485"/>
                    <a:gd name="T9" fmla="*/ 232 h 260"/>
                    <a:gd name="T10" fmla="*/ 412 w 485"/>
                    <a:gd name="T11" fmla="*/ 232 h 260"/>
                    <a:gd name="T12" fmla="*/ 424 w 485"/>
                    <a:gd name="T13" fmla="*/ 220 h 260"/>
                    <a:gd name="T14" fmla="*/ 424 w 485"/>
                    <a:gd name="T15" fmla="*/ 12 h 260"/>
                    <a:gd name="T16" fmla="*/ 412 w 485"/>
                    <a:gd name="T17" fmla="*/ 0 h 260"/>
                    <a:gd name="T18" fmla="*/ 408 w 485"/>
                    <a:gd name="T19" fmla="*/ 218 h 260"/>
                    <a:gd name="T20" fmla="*/ 77 w 485"/>
                    <a:gd name="T21" fmla="*/ 218 h 260"/>
                    <a:gd name="T22" fmla="*/ 77 w 485"/>
                    <a:gd name="T23" fmla="*/ 13 h 260"/>
                    <a:gd name="T24" fmla="*/ 408 w 485"/>
                    <a:gd name="T25" fmla="*/ 13 h 260"/>
                    <a:gd name="T26" fmla="*/ 408 w 485"/>
                    <a:gd name="T27" fmla="*/ 218 h 260"/>
                    <a:gd name="T28" fmla="*/ 276 w 485"/>
                    <a:gd name="T29" fmla="*/ 241 h 260"/>
                    <a:gd name="T30" fmla="*/ 276 w 485"/>
                    <a:gd name="T31" fmla="*/ 243 h 260"/>
                    <a:gd name="T32" fmla="*/ 271 w 485"/>
                    <a:gd name="T33" fmla="*/ 247 h 260"/>
                    <a:gd name="T34" fmla="*/ 214 w 485"/>
                    <a:gd name="T35" fmla="*/ 247 h 260"/>
                    <a:gd name="T36" fmla="*/ 210 w 485"/>
                    <a:gd name="T37" fmla="*/ 243 h 260"/>
                    <a:gd name="T38" fmla="*/ 210 w 485"/>
                    <a:gd name="T39" fmla="*/ 241 h 260"/>
                    <a:gd name="T40" fmla="*/ 0 w 485"/>
                    <a:gd name="T41" fmla="*/ 241 h 260"/>
                    <a:gd name="T42" fmla="*/ 0 w 485"/>
                    <a:gd name="T43" fmla="*/ 253 h 260"/>
                    <a:gd name="T44" fmla="*/ 16 w 485"/>
                    <a:gd name="T45" fmla="*/ 260 h 260"/>
                    <a:gd name="T46" fmla="*/ 16 w 485"/>
                    <a:gd name="T47" fmla="*/ 260 h 260"/>
                    <a:gd name="T48" fmla="*/ 469 w 485"/>
                    <a:gd name="T49" fmla="*/ 260 h 260"/>
                    <a:gd name="T50" fmla="*/ 469 w 485"/>
                    <a:gd name="T51" fmla="*/ 260 h 260"/>
                    <a:gd name="T52" fmla="*/ 485 w 485"/>
                    <a:gd name="T53" fmla="*/ 253 h 260"/>
                    <a:gd name="T54" fmla="*/ 485 w 485"/>
                    <a:gd name="T55" fmla="*/ 241 h 260"/>
                    <a:gd name="T56" fmla="*/ 276 w 485"/>
                    <a:gd name="T57" fmla="*/ 241 h 260"/>
                    <a:gd name="T58" fmla="*/ 276 w 485"/>
                    <a:gd name="T59" fmla="*/ 241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5" h="260">
                      <a:moveTo>
                        <a:pt x="412" y="0"/>
                      </a:moveTo>
                      <a:cubicBezTo>
                        <a:pt x="74" y="0"/>
                        <a:pt x="74" y="0"/>
                        <a:pt x="74" y="0"/>
                      </a:cubicBezTo>
                      <a:cubicBezTo>
                        <a:pt x="68" y="0"/>
                        <a:pt x="62" y="5"/>
                        <a:pt x="62" y="12"/>
                      </a:cubicBezTo>
                      <a:cubicBezTo>
                        <a:pt x="62" y="220"/>
                        <a:pt x="62" y="220"/>
                        <a:pt x="62" y="220"/>
                      </a:cubicBezTo>
                      <a:cubicBezTo>
                        <a:pt x="62" y="227"/>
                        <a:pt x="68" y="232"/>
                        <a:pt x="74" y="232"/>
                      </a:cubicBezTo>
                      <a:cubicBezTo>
                        <a:pt x="412" y="232"/>
                        <a:pt x="412" y="232"/>
                        <a:pt x="412" y="232"/>
                      </a:cubicBezTo>
                      <a:cubicBezTo>
                        <a:pt x="419" y="232"/>
                        <a:pt x="424" y="227"/>
                        <a:pt x="424" y="220"/>
                      </a:cubicBezTo>
                      <a:cubicBezTo>
                        <a:pt x="424" y="12"/>
                        <a:pt x="424" y="12"/>
                        <a:pt x="424" y="12"/>
                      </a:cubicBezTo>
                      <a:cubicBezTo>
                        <a:pt x="424" y="5"/>
                        <a:pt x="419" y="0"/>
                        <a:pt x="412" y="0"/>
                      </a:cubicBezTo>
                      <a:close/>
                      <a:moveTo>
                        <a:pt x="408" y="218"/>
                      </a:moveTo>
                      <a:cubicBezTo>
                        <a:pt x="77" y="218"/>
                        <a:pt x="77" y="218"/>
                        <a:pt x="77" y="218"/>
                      </a:cubicBezTo>
                      <a:cubicBezTo>
                        <a:pt x="77" y="13"/>
                        <a:pt x="77" y="13"/>
                        <a:pt x="77" y="13"/>
                      </a:cubicBezTo>
                      <a:cubicBezTo>
                        <a:pt x="408" y="13"/>
                        <a:pt x="408" y="13"/>
                        <a:pt x="408" y="13"/>
                      </a:cubicBezTo>
                      <a:cubicBezTo>
                        <a:pt x="408" y="218"/>
                        <a:pt x="408" y="218"/>
                        <a:pt x="408" y="218"/>
                      </a:cubicBezTo>
                      <a:close/>
                      <a:moveTo>
                        <a:pt x="276" y="241"/>
                      </a:moveTo>
                      <a:cubicBezTo>
                        <a:pt x="276" y="243"/>
                        <a:pt x="276" y="243"/>
                        <a:pt x="276" y="243"/>
                      </a:cubicBezTo>
                      <a:cubicBezTo>
                        <a:pt x="276" y="246"/>
                        <a:pt x="274" y="247"/>
                        <a:pt x="271" y="247"/>
                      </a:cubicBezTo>
                      <a:cubicBezTo>
                        <a:pt x="214" y="247"/>
                        <a:pt x="214" y="247"/>
                        <a:pt x="214" y="247"/>
                      </a:cubicBezTo>
                      <a:cubicBezTo>
                        <a:pt x="212" y="247"/>
                        <a:pt x="210" y="246"/>
                        <a:pt x="210" y="243"/>
                      </a:cubicBezTo>
                      <a:cubicBezTo>
                        <a:pt x="210" y="241"/>
                        <a:pt x="210" y="241"/>
                        <a:pt x="210" y="241"/>
                      </a:cubicBezTo>
                      <a:cubicBezTo>
                        <a:pt x="0" y="241"/>
                        <a:pt x="0" y="241"/>
                        <a:pt x="0" y="241"/>
                      </a:cubicBezTo>
                      <a:cubicBezTo>
                        <a:pt x="0" y="253"/>
                        <a:pt x="0" y="253"/>
                        <a:pt x="0" y="253"/>
                      </a:cubicBezTo>
                      <a:cubicBezTo>
                        <a:pt x="0" y="253"/>
                        <a:pt x="11" y="260"/>
                        <a:pt x="16" y="260"/>
                      </a:cubicBezTo>
                      <a:cubicBezTo>
                        <a:pt x="16" y="260"/>
                        <a:pt x="16" y="260"/>
                        <a:pt x="16" y="260"/>
                      </a:cubicBezTo>
                      <a:cubicBezTo>
                        <a:pt x="469" y="260"/>
                        <a:pt x="469" y="260"/>
                        <a:pt x="469" y="260"/>
                      </a:cubicBezTo>
                      <a:cubicBezTo>
                        <a:pt x="469" y="260"/>
                        <a:pt x="469" y="260"/>
                        <a:pt x="469" y="260"/>
                      </a:cubicBezTo>
                      <a:cubicBezTo>
                        <a:pt x="474" y="260"/>
                        <a:pt x="485" y="253"/>
                        <a:pt x="485" y="253"/>
                      </a:cubicBezTo>
                      <a:cubicBezTo>
                        <a:pt x="485" y="241"/>
                        <a:pt x="485" y="241"/>
                        <a:pt x="485" y="241"/>
                      </a:cubicBezTo>
                      <a:cubicBezTo>
                        <a:pt x="276" y="241"/>
                        <a:pt x="276" y="241"/>
                        <a:pt x="276" y="241"/>
                      </a:cubicBezTo>
                      <a:cubicBezTo>
                        <a:pt x="276" y="241"/>
                        <a:pt x="276" y="241"/>
                        <a:pt x="276" y="241"/>
                      </a:cubicBezTo>
                      <a:close/>
                    </a:path>
                  </a:pathLst>
                </a:custGeom>
                <a:solidFill>
                  <a:schemeClr val="accent3"/>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6" name="Rectangle 54"/>
                <p:cNvSpPr>
                  <a:spLocks noChangeArrowheads="1"/>
                </p:cNvSpPr>
                <p:nvPr/>
              </p:nvSpPr>
              <p:spPr bwMode="auto">
                <a:xfrm>
                  <a:off x="6937376" y="3517901"/>
                  <a:ext cx="1114425" cy="6953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sp>
            <p:nvSpPr>
              <p:cNvPr id="204" name="Freeform 46"/>
              <p:cNvSpPr>
                <a:spLocks/>
              </p:cNvSpPr>
              <p:nvPr/>
            </p:nvSpPr>
            <p:spPr bwMode="auto">
              <a:xfrm>
                <a:off x="10713724" y="3039998"/>
                <a:ext cx="1163634" cy="777657"/>
              </a:xfrm>
              <a:custGeom>
                <a:avLst/>
                <a:gdLst>
                  <a:gd name="T0" fmla="*/ 113 w 703"/>
                  <a:gd name="T1" fmla="*/ 202 h 460"/>
                  <a:gd name="T2" fmla="*/ 113 w 703"/>
                  <a:gd name="T3" fmla="*/ 193 h 460"/>
                  <a:gd name="T4" fmla="*/ 307 w 703"/>
                  <a:gd name="T5" fmla="*/ 0 h 460"/>
                  <a:gd name="T6" fmla="*/ 468 w 703"/>
                  <a:gd name="T7" fmla="*/ 86 h 460"/>
                  <a:gd name="T8" fmla="*/ 521 w 703"/>
                  <a:gd name="T9" fmla="*/ 72 h 460"/>
                  <a:gd name="T10" fmla="*/ 584 w 703"/>
                  <a:gd name="T11" fmla="*/ 91 h 460"/>
                  <a:gd name="T12" fmla="*/ 634 w 703"/>
                  <a:gd name="T13" fmla="*/ 181 h 460"/>
                  <a:gd name="T14" fmla="*/ 703 w 703"/>
                  <a:gd name="T15" fmla="*/ 308 h 460"/>
                  <a:gd name="T16" fmla="*/ 568 w 703"/>
                  <a:gd name="T17" fmla="*/ 460 h 460"/>
                  <a:gd name="T18" fmla="*/ 551 w 703"/>
                  <a:gd name="T19" fmla="*/ 460 h 460"/>
                  <a:gd name="T20" fmla="*/ 535 w 703"/>
                  <a:gd name="T21" fmla="*/ 460 h 460"/>
                  <a:gd name="T22" fmla="*/ 219 w 703"/>
                  <a:gd name="T23" fmla="*/ 460 h 460"/>
                  <a:gd name="T24" fmla="*/ 213 w 703"/>
                  <a:gd name="T25" fmla="*/ 460 h 460"/>
                  <a:gd name="T26" fmla="*/ 205 w 703"/>
                  <a:gd name="T27" fmla="*/ 460 h 460"/>
                  <a:gd name="T28" fmla="*/ 181 w 703"/>
                  <a:gd name="T29" fmla="*/ 460 h 460"/>
                  <a:gd name="T30" fmla="*/ 131 w 703"/>
                  <a:gd name="T31" fmla="*/ 460 h 460"/>
                  <a:gd name="T32" fmla="*/ 0 w 703"/>
                  <a:gd name="T33" fmla="*/ 330 h 460"/>
                  <a:gd name="T34" fmla="*/ 113 w 703"/>
                  <a:gd name="T35" fmla="*/ 202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3" h="460">
                    <a:moveTo>
                      <a:pt x="113" y="202"/>
                    </a:moveTo>
                    <a:cubicBezTo>
                      <a:pt x="113" y="199"/>
                      <a:pt x="113" y="195"/>
                      <a:pt x="113" y="193"/>
                    </a:cubicBezTo>
                    <a:cubicBezTo>
                      <a:pt x="113" y="86"/>
                      <a:pt x="199" y="0"/>
                      <a:pt x="307" y="0"/>
                    </a:cubicBezTo>
                    <a:cubicBezTo>
                      <a:pt x="374" y="0"/>
                      <a:pt x="433" y="35"/>
                      <a:pt x="468" y="86"/>
                    </a:cubicBezTo>
                    <a:cubicBezTo>
                      <a:pt x="484" y="77"/>
                      <a:pt x="502" y="72"/>
                      <a:pt x="521" y="72"/>
                    </a:cubicBezTo>
                    <a:cubicBezTo>
                      <a:pt x="544" y="72"/>
                      <a:pt x="566" y="79"/>
                      <a:pt x="584" y="91"/>
                    </a:cubicBezTo>
                    <a:cubicBezTo>
                      <a:pt x="613" y="110"/>
                      <a:pt x="633" y="144"/>
                      <a:pt x="634" y="181"/>
                    </a:cubicBezTo>
                    <a:cubicBezTo>
                      <a:pt x="675" y="208"/>
                      <a:pt x="703" y="256"/>
                      <a:pt x="703" y="308"/>
                    </a:cubicBezTo>
                    <a:cubicBezTo>
                      <a:pt x="703" y="387"/>
                      <a:pt x="644" y="451"/>
                      <a:pt x="568" y="460"/>
                    </a:cubicBezTo>
                    <a:cubicBezTo>
                      <a:pt x="562" y="460"/>
                      <a:pt x="556" y="460"/>
                      <a:pt x="551" y="460"/>
                    </a:cubicBezTo>
                    <a:cubicBezTo>
                      <a:pt x="546" y="460"/>
                      <a:pt x="541" y="460"/>
                      <a:pt x="535" y="460"/>
                    </a:cubicBezTo>
                    <a:cubicBezTo>
                      <a:pt x="464" y="460"/>
                      <a:pt x="298" y="460"/>
                      <a:pt x="219" y="460"/>
                    </a:cubicBezTo>
                    <a:cubicBezTo>
                      <a:pt x="216" y="460"/>
                      <a:pt x="214" y="460"/>
                      <a:pt x="213" y="460"/>
                    </a:cubicBezTo>
                    <a:cubicBezTo>
                      <a:pt x="205" y="460"/>
                      <a:pt x="205" y="460"/>
                      <a:pt x="205" y="460"/>
                    </a:cubicBezTo>
                    <a:cubicBezTo>
                      <a:pt x="201" y="460"/>
                      <a:pt x="189" y="460"/>
                      <a:pt x="181" y="460"/>
                    </a:cubicBezTo>
                    <a:cubicBezTo>
                      <a:pt x="131" y="460"/>
                      <a:pt x="131" y="460"/>
                      <a:pt x="131" y="460"/>
                    </a:cubicBezTo>
                    <a:cubicBezTo>
                      <a:pt x="59" y="459"/>
                      <a:pt x="0" y="401"/>
                      <a:pt x="0" y="330"/>
                    </a:cubicBezTo>
                    <a:cubicBezTo>
                      <a:pt x="0" y="265"/>
                      <a:pt x="50" y="211"/>
                      <a:pt x="113" y="202"/>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05" name="Freeform 49"/>
              <p:cNvSpPr>
                <a:spLocks/>
              </p:cNvSpPr>
              <p:nvPr/>
            </p:nvSpPr>
            <p:spPr bwMode="auto">
              <a:xfrm>
                <a:off x="10937770" y="3385333"/>
                <a:ext cx="72629" cy="16139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06" name="Freeform 21"/>
              <p:cNvSpPr>
                <a:spLocks noEditPoints="1"/>
              </p:cNvSpPr>
              <p:nvPr/>
            </p:nvSpPr>
            <p:spPr bwMode="auto">
              <a:xfrm>
                <a:off x="10918821" y="3597147"/>
                <a:ext cx="71803" cy="113227"/>
              </a:xfrm>
              <a:custGeom>
                <a:avLst/>
                <a:gdLst>
                  <a:gd name="T0" fmla="*/ 8 w 52"/>
                  <a:gd name="T1" fmla="*/ 8 h 82"/>
                  <a:gd name="T2" fmla="*/ 8 w 52"/>
                  <a:gd name="T3" fmla="*/ 8 h 82"/>
                  <a:gd name="T4" fmla="*/ 6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2 w 52"/>
                  <a:gd name="T25" fmla="*/ 80 h 82"/>
                  <a:gd name="T26" fmla="*/ 26 w 52"/>
                  <a:gd name="T27" fmla="*/ 82 h 82"/>
                  <a:gd name="T28" fmla="*/ 26 w 52"/>
                  <a:gd name="T29" fmla="*/ 82 h 82"/>
                  <a:gd name="T30" fmla="*/ 38 w 52"/>
                  <a:gd name="T31" fmla="*/ 80 h 82"/>
                  <a:gd name="T32" fmla="*/ 42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6 w 52"/>
                  <a:gd name="T51" fmla="*/ 8 h 82"/>
                  <a:gd name="T52" fmla="*/ 46 w 52"/>
                  <a:gd name="T53" fmla="*/ 8 h 82"/>
                  <a:gd name="T54" fmla="*/ 42 w 52"/>
                  <a:gd name="T55" fmla="*/ 4 h 82"/>
                  <a:gd name="T56" fmla="*/ 38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6 w 52"/>
                  <a:gd name="T77" fmla="*/ 22 h 82"/>
                  <a:gd name="T78" fmla="*/ 36 w 52"/>
                  <a:gd name="T79" fmla="*/ 22 h 82"/>
                  <a:gd name="T80" fmla="*/ 36 w 52"/>
                  <a:gd name="T81" fmla="*/ 40 h 82"/>
                  <a:gd name="T82" fmla="*/ 36 w 52"/>
                  <a:gd name="T83" fmla="*/ 40 h 82"/>
                  <a:gd name="T84" fmla="*/ 36 w 52"/>
                  <a:gd name="T85" fmla="*/ 60 h 82"/>
                  <a:gd name="T86" fmla="*/ 36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6" y="82"/>
                    </a:lnTo>
                    <a:lnTo>
                      <a:pt x="26" y="82"/>
                    </a:lnTo>
                    <a:lnTo>
                      <a:pt x="38" y="80"/>
                    </a:lnTo>
                    <a:lnTo>
                      <a:pt x="42" y="76"/>
                    </a:lnTo>
                    <a:lnTo>
                      <a:pt x="44" y="74"/>
                    </a:lnTo>
                    <a:lnTo>
                      <a:pt x="44" y="74"/>
                    </a:lnTo>
                    <a:lnTo>
                      <a:pt x="48" y="68"/>
                    </a:lnTo>
                    <a:lnTo>
                      <a:pt x="50" y="60"/>
                    </a:lnTo>
                    <a:lnTo>
                      <a:pt x="52" y="40"/>
                    </a:lnTo>
                    <a:lnTo>
                      <a:pt x="52" y="40"/>
                    </a:lnTo>
                    <a:lnTo>
                      <a:pt x="50" y="20"/>
                    </a:lnTo>
                    <a:lnTo>
                      <a:pt x="48" y="14"/>
                    </a:lnTo>
                    <a:lnTo>
                      <a:pt x="46" y="8"/>
                    </a:lnTo>
                    <a:lnTo>
                      <a:pt x="46" y="8"/>
                    </a:lnTo>
                    <a:lnTo>
                      <a:pt x="42" y="4"/>
                    </a:lnTo>
                    <a:lnTo>
                      <a:pt x="38" y="2"/>
                    </a:lnTo>
                    <a:lnTo>
                      <a:pt x="26" y="0"/>
                    </a:lnTo>
                    <a:lnTo>
                      <a:pt x="26" y="0"/>
                    </a:lnTo>
                    <a:lnTo>
                      <a:pt x="16" y="2"/>
                    </a:lnTo>
                    <a:lnTo>
                      <a:pt x="12" y="4"/>
                    </a:lnTo>
                    <a:lnTo>
                      <a:pt x="8" y="8"/>
                    </a:lnTo>
                    <a:lnTo>
                      <a:pt x="8" y="8"/>
                    </a:lnTo>
                    <a:lnTo>
                      <a:pt x="8" y="8"/>
                    </a:lnTo>
                    <a:close/>
                    <a:moveTo>
                      <a:pt x="32" y="14"/>
                    </a:moveTo>
                    <a:lnTo>
                      <a:pt x="32" y="14"/>
                    </a:lnTo>
                    <a:lnTo>
                      <a:pt x="36" y="22"/>
                    </a:lnTo>
                    <a:lnTo>
                      <a:pt x="36" y="22"/>
                    </a:lnTo>
                    <a:lnTo>
                      <a:pt x="36" y="40"/>
                    </a:lnTo>
                    <a:lnTo>
                      <a:pt x="36" y="40"/>
                    </a:lnTo>
                    <a:lnTo>
                      <a:pt x="36" y="60"/>
                    </a:lnTo>
                    <a:lnTo>
                      <a:pt x="36"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07" name="Freeform 50"/>
              <p:cNvSpPr>
                <a:spLocks noEditPoints="1"/>
              </p:cNvSpPr>
              <p:nvPr/>
            </p:nvSpPr>
            <p:spPr bwMode="auto">
              <a:xfrm>
                <a:off x="11034437" y="3436265"/>
                <a:ext cx="71803" cy="113227"/>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08" name="Freeform 22"/>
              <p:cNvSpPr>
                <a:spLocks/>
              </p:cNvSpPr>
              <p:nvPr/>
            </p:nvSpPr>
            <p:spPr bwMode="auto">
              <a:xfrm>
                <a:off x="11032262" y="3597147"/>
                <a:ext cx="46947" cy="110466"/>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09" name="Freeform 51"/>
              <p:cNvSpPr>
                <a:spLocks/>
              </p:cNvSpPr>
              <p:nvPr/>
            </p:nvSpPr>
            <p:spPr bwMode="auto">
              <a:xfrm>
                <a:off x="11112316" y="3366706"/>
                <a:ext cx="76510" cy="180024"/>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10" name="Freeform 23"/>
              <p:cNvSpPr>
                <a:spLocks noEditPoints="1"/>
              </p:cNvSpPr>
              <p:nvPr/>
            </p:nvSpPr>
            <p:spPr bwMode="auto">
              <a:xfrm>
                <a:off x="11115201" y="3578109"/>
                <a:ext cx="83876" cy="132266"/>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6 w 52"/>
                  <a:gd name="T17" fmla="*/ 72 h 82"/>
                  <a:gd name="T18" fmla="*/ 6 w 52"/>
                  <a:gd name="T19" fmla="*/ 72 h 82"/>
                  <a:gd name="T20" fmla="*/ 10 w 52"/>
                  <a:gd name="T21" fmla="*/ 76 h 82"/>
                  <a:gd name="T22" fmla="*/ 16 w 52"/>
                  <a:gd name="T23" fmla="*/ 80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2 h 82"/>
                  <a:gd name="T78" fmla="*/ 34 w 52"/>
                  <a:gd name="T79" fmla="*/ 22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8"/>
                    </a:lnTo>
                    <a:lnTo>
                      <a:pt x="6" y="72"/>
                    </a:lnTo>
                    <a:lnTo>
                      <a:pt x="6" y="72"/>
                    </a:lnTo>
                    <a:lnTo>
                      <a:pt x="10" y="76"/>
                    </a:lnTo>
                    <a:lnTo>
                      <a:pt x="16" y="80"/>
                    </a:lnTo>
                    <a:lnTo>
                      <a:pt x="20" y="80"/>
                    </a:lnTo>
                    <a:lnTo>
                      <a:pt x="26" y="82"/>
                    </a:lnTo>
                    <a:lnTo>
                      <a:pt x="26" y="82"/>
                    </a:lnTo>
                    <a:lnTo>
                      <a:pt x="36" y="80"/>
                    </a:lnTo>
                    <a:lnTo>
                      <a:pt x="40" y="76"/>
                    </a:lnTo>
                    <a:lnTo>
                      <a:pt x="44" y="74"/>
                    </a:lnTo>
                    <a:lnTo>
                      <a:pt x="44" y="74"/>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0" y="14"/>
                    </a:moveTo>
                    <a:lnTo>
                      <a:pt x="30" y="14"/>
                    </a:lnTo>
                    <a:lnTo>
                      <a:pt x="34" y="22"/>
                    </a:lnTo>
                    <a:lnTo>
                      <a:pt x="34" y="22"/>
                    </a:lnTo>
                    <a:lnTo>
                      <a:pt x="36" y="40"/>
                    </a:lnTo>
                    <a:lnTo>
                      <a:pt x="36" y="40"/>
                    </a:lnTo>
                    <a:lnTo>
                      <a:pt x="34" y="60"/>
                    </a:lnTo>
                    <a:lnTo>
                      <a:pt x="34" y="60"/>
                    </a:lnTo>
                    <a:lnTo>
                      <a:pt x="30" y="66"/>
                    </a:lnTo>
                    <a:lnTo>
                      <a:pt x="30" y="66"/>
                    </a:lnTo>
                    <a:lnTo>
                      <a:pt x="26" y="68"/>
                    </a:lnTo>
                    <a:lnTo>
                      <a:pt x="26" y="68"/>
                    </a:lnTo>
                    <a:lnTo>
                      <a:pt x="20" y="66"/>
                    </a:lnTo>
                    <a:lnTo>
                      <a:pt x="20" y="66"/>
                    </a:lnTo>
                    <a:lnTo>
                      <a:pt x="18" y="60"/>
                    </a:lnTo>
                    <a:lnTo>
                      <a:pt x="18" y="60"/>
                    </a:lnTo>
                    <a:lnTo>
                      <a:pt x="16" y="40"/>
                    </a:lnTo>
                    <a:lnTo>
                      <a:pt x="16" y="40"/>
                    </a:lnTo>
                    <a:lnTo>
                      <a:pt x="18" y="20"/>
                    </a:lnTo>
                    <a:lnTo>
                      <a:pt x="18" y="20"/>
                    </a:lnTo>
                    <a:lnTo>
                      <a:pt x="20" y="14"/>
                    </a:lnTo>
                    <a:lnTo>
                      <a:pt x="20" y="14"/>
                    </a:lnTo>
                    <a:lnTo>
                      <a:pt x="26" y="12"/>
                    </a:lnTo>
                    <a:lnTo>
                      <a:pt x="26" y="12"/>
                    </a:lnTo>
                    <a:lnTo>
                      <a:pt x="30" y="14"/>
                    </a:lnTo>
                    <a:lnTo>
                      <a:pt x="30" y="14"/>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11" name="Freeform 52"/>
              <p:cNvSpPr>
                <a:spLocks noEditPoints="1"/>
              </p:cNvSpPr>
              <p:nvPr/>
            </p:nvSpPr>
            <p:spPr bwMode="auto">
              <a:xfrm>
                <a:off x="11211949" y="3425984"/>
                <a:ext cx="78323" cy="123509"/>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12" name="Freeform 24"/>
              <p:cNvSpPr>
                <a:spLocks/>
              </p:cNvSpPr>
              <p:nvPr/>
            </p:nvSpPr>
            <p:spPr bwMode="auto">
              <a:xfrm>
                <a:off x="11225881" y="3597147"/>
                <a:ext cx="49710" cy="110466"/>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6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6"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13" name="Freeform 53"/>
              <p:cNvSpPr>
                <a:spLocks/>
              </p:cNvSpPr>
              <p:nvPr/>
            </p:nvSpPr>
            <p:spPr bwMode="auto">
              <a:xfrm>
                <a:off x="11308697" y="3436265"/>
                <a:ext cx="46947" cy="110466"/>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14" name="Freeform 25"/>
              <p:cNvSpPr>
                <a:spLocks noEditPoints="1"/>
              </p:cNvSpPr>
              <p:nvPr/>
            </p:nvSpPr>
            <p:spPr bwMode="auto">
              <a:xfrm>
                <a:off x="11311581" y="3545951"/>
                <a:ext cx="108279" cy="164425"/>
              </a:xfrm>
              <a:custGeom>
                <a:avLst/>
                <a:gdLst>
                  <a:gd name="T0" fmla="*/ 8 w 54"/>
                  <a:gd name="T1" fmla="*/ 8 h 82"/>
                  <a:gd name="T2" fmla="*/ 8 w 54"/>
                  <a:gd name="T3" fmla="*/ 8 h 82"/>
                  <a:gd name="T4" fmla="*/ 6 w 54"/>
                  <a:gd name="T5" fmla="*/ 14 h 82"/>
                  <a:gd name="T6" fmla="*/ 2 w 54"/>
                  <a:gd name="T7" fmla="*/ 20 h 82"/>
                  <a:gd name="T8" fmla="*/ 0 w 54"/>
                  <a:gd name="T9" fmla="*/ 40 h 82"/>
                  <a:gd name="T10" fmla="*/ 0 w 54"/>
                  <a:gd name="T11" fmla="*/ 40 h 82"/>
                  <a:gd name="T12" fmla="*/ 2 w 54"/>
                  <a:gd name="T13" fmla="*/ 60 h 82"/>
                  <a:gd name="T14" fmla="*/ 4 w 54"/>
                  <a:gd name="T15" fmla="*/ 68 h 82"/>
                  <a:gd name="T16" fmla="*/ 8 w 54"/>
                  <a:gd name="T17" fmla="*/ 72 h 82"/>
                  <a:gd name="T18" fmla="*/ 8 w 54"/>
                  <a:gd name="T19" fmla="*/ 72 h 82"/>
                  <a:gd name="T20" fmla="*/ 12 w 54"/>
                  <a:gd name="T21" fmla="*/ 76 h 82"/>
                  <a:gd name="T22" fmla="*/ 16 w 54"/>
                  <a:gd name="T23" fmla="*/ 80 h 82"/>
                  <a:gd name="T24" fmla="*/ 22 w 54"/>
                  <a:gd name="T25" fmla="*/ 80 h 82"/>
                  <a:gd name="T26" fmla="*/ 28 w 54"/>
                  <a:gd name="T27" fmla="*/ 82 h 82"/>
                  <a:gd name="T28" fmla="*/ 28 w 54"/>
                  <a:gd name="T29" fmla="*/ 82 h 82"/>
                  <a:gd name="T30" fmla="*/ 38 w 54"/>
                  <a:gd name="T31" fmla="*/ 80 h 82"/>
                  <a:gd name="T32" fmla="*/ 42 w 54"/>
                  <a:gd name="T33" fmla="*/ 76 h 82"/>
                  <a:gd name="T34" fmla="*/ 46 w 54"/>
                  <a:gd name="T35" fmla="*/ 74 h 82"/>
                  <a:gd name="T36" fmla="*/ 46 w 54"/>
                  <a:gd name="T37" fmla="*/ 74 h 82"/>
                  <a:gd name="T38" fmla="*/ 48 w 54"/>
                  <a:gd name="T39" fmla="*/ 68 h 82"/>
                  <a:gd name="T40" fmla="*/ 52 w 54"/>
                  <a:gd name="T41" fmla="*/ 60 h 82"/>
                  <a:gd name="T42" fmla="*/ 54 w 54"/>
                  <a:gd name="T43" fmla="*/ 40 h 82"/>
                  <a:gd name="T44" fmla="*/ 54 w 54"/>
                  <a:gd name="T45" fmla="*/ 40 h 82"/>
                  <a:gd name="T46" fmla="*/ 52 w 54"/>
                  <a:gd name="T47" fmla="*/ 20 h 82"/>
                  <a:gd name="T48" fmla="*/ 48 w 54"/>
                  <a:gd name="T49" fmla="*/ 14 h 82"/>
                  <a:gd name="T50" fmla="*/ 46 w 54"/>
                  <a:gd name="T51" fmla="*/ 8 h 82"/>
                  <a:gd name="T52" fmla="*/ 46 w 54"/>
                  <a:gd name="T53" fmla="*/ 8 h 82"/>
                  <a:gd name="T54" fmla="*/ 42 w 54"/>
                  <a:gd name="T55" fmla="*/ 4 h 82"/>
                  <a:gd name="T56" fmla="*/ 38 w 54"/>
                  <a:gd name="T57" fmla="*/ 2 h 82"/>
                  <a:gd name="T58" fmla="*/ 28 w 54"/>
                  <a:gd name="T59" fmla="*/ 0 h 82"/>
                  <a:gd name="T60" fmla="*/ 28 w 54"/>
                  <a:gd name="T61" fmla="*/ 0 h 82"/>
                  <a:gd name="T62" fmla="*/ 16 w 54"/>
                  <a:gd name="T63" fmla="*/ 2 h 82"/>
                  <a:gd name="T64" fmla="*/ 12 w 54"/>
                  <a:gd name="T65" fmla="*/ 4 h 82"/>
                  <a:gd name="T66" fmla="*/ 8 w 54"/>
                  <a:gd name="T67" fmla="*/ 8 h 82"/>
                  <a:gd name="T68" fmla="*/ 8 w 54"/>
                  <a:gd name="T69" fmla="*/ 8 h 82"/>
                  <a:gd name="T70" fmla="*/ 8 w 54"/>
                  <a:gd name="T71" fmla="*/ 8 h 82"/>
                  <a:gd name="T72" fmla="*/ 32 w 54"/>
                  <a:gd name="T73" fmla="*/ 14 h 82"/>
                  <a:gd name="T74" fmla="*/ 32 w 54"/>
                  <a:gd name="T75" fmla="*/ 14 h 82"/>
                  <a:gd name="T76" fmla="*/ 36 w 54"/>
                  <a:gd name="T77" fmla="*/ 22 h 82"/>
                  <a:gd name="T78" fmla="*/ 36 w 54"/>
                  <a:gd name="T79" fmla="*/ 22 h 82"/>
                  <a:gd name="T80" fmla="*/ 38 w 54"/>
                  <a:gd name="T81" fmla="*/ 40 h 82"/>
                  <a:gd name="T82" fmla="*/ 38 w 54"/>
                  <a:gd name="T83" fmla="*/ 40 h 82"/>
                  <a:gd name="T84" fmla="*/ 36 w 54"/>
                  <a:gd name="T85" fmla="*/ 60 h 82"/>
                  <a:gd name="T86" fmla="*/ 36 w 54"/>
                  <a:gd name="T87" fmla="*/ 60 h 82"/>
                  <a:gd name="T88" fmla="*/ 32 w 54"/>
                  <a:gd name="T89" fmla="*/ 66 h 82"/>
                  <a:gd name="T90" fmla="*/ 32 w 54"/>
                  <a:gd name="T91" fmla="*/ 66 h 82"/>
                  <a:gd name="T92" fmla="*/ 28 w 54"/>
                  <a:gd name="T93" fmla="*/ 68 h 82"/>
                  <a:gd name="T94" fmla="*/ 28 w 54"/>
                  <a:gd name="T95" fmla="*/ 68 h 82"/>
                  <a:gd name="T96" fmla="*/ 22 w 54"/>
                  <a:gd name="T97" fmla="*/ 66 h 82"/>
                  <a:gd name="T98" fmla="*/ 22 w 54"/>
                  <a:gd name="T99" fmla="*/ 66 h 82"/>
                  <a:gd name="T100" fmla="*/ 18 w 54"/>
                  <a:gd name="T101" fmla="*/ 60 h 82"/>
                  <a:gd name="T102" fmla="*/ 18 w 54"/>
                  <a:gd name="T103" fmla="*/ 60 h 82"/>
                  <a:gd name="T104" fmla="*/ 18 w 54"/>
                  <a:gd name="T105" fmla="*/ 40 h 82"/>
                  <a:gd name="T106" fmla="*/ 18 w 54"/>
                  <a:gd name="T107" fmla="*/ 40 h 82"/>
                  <a:gd name="T108" fmla="*/ 18 w 54"/>
                  <a:gd name="T109" fmla="*/ 20 h 82"/>
                  <a:gd name="T110" fmla="*/ 18 w 54"/>
                  <a:gd name="T111" fmla="*/ 20 h 82"/>
                  <a:gd name="T112" fmla="*/ 22 w 54"/>
                  <a:gd name="T113" fmla="*/ 14 h 82"/>
                  <a:gd name="T114" fmla="*/ 22 w 54"/>
                  <a:gd name="T115" fmla="*/ 14 h 82"/>
                  <a:gd name="T116" fmla="*/ 28 w 54"/>
                  <a:gd name="T117" fmla="*/ 12 h 82"/>
                  <a:gd name="T118" fmla="*/ 28 w 54"/>
                  <a:gd name="T119" fmla="*/ 12 h 82"/>
                  <a:gd name="T120" fmla="*/ 32 w 54"/>
                  <a:gd name="T121" fmla="*/ 14 h 82"/>
                  <a:gd name="T122" fmla="*/ 32 w 54"/>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8" y="82"/>
                    </a:lnTo>
                    <a:lnTo>
                      <a:pt x="28" y="82"/>
                    </a:lnTo>
                    <a:lnTo>
                      <a:pt x="38" y="80"/>
                    </a:lnTo>
                    <a:lnTo>
                      <a:pt x="42" y="76"/>
                    </a:lnTo>
                    <a:lnTo>
                      <a:pt x="46" y="74"/>
                    </a:lnTo>
                    <a:lnTo>
                      <a:pt x="46" y="74"/>
                    </a:lnTo>
                    <a:lnTo>
                      <a:pt x="48" y="68"/>
                    </a:lnTo>
                    <a:lnTo>
                      <a:pt x="52" y="60"/>
                    </a:lnTo>
                    <a:lnTo>
                      <a:pt x="54" y="40"/>
                    </a:lnTo>
                    <a:lnTo>
                      <a:pt x="54" y="40"/>
                    </a:lnTo>
                    <a:lnTo>
                      <a:pt x="52" y="20"/>
                    </a:lnTo>
                    <a:lnTo>
                      <a:pt x="48" y="14"/>
                    </a:lnTo>
                    <a:lnTo>
                      <a:pt x="46" y="8"/>
                    </a:lnTo>
                    <a:lnTo>
                      <a:pt x="46" y="8"/>
                    </a:lnTo>
                    <a:lnTo>
                      <a:pt x="42" y="4"/>
                    </a:lnTo>
                    <a:lnTo>
                      <a:pt x="38" y="2"/>
                    </a:lnTo>
                    <a:lnTo>
                      <a:pt x="28" y="0"/>
                    </a:lnTo>
                    <a:lnTo>
                      <a:pt x="28" y="0"/>
                    </a:lnTo>
                    <a:lnTo>
                      <a:pt x="16" y="2"/>
                    </a:lnTo>
                    <a:lnTo>
                      <a:pt x="12" y="4"/>
                    </a:lnTo>
                    <a:lnTo>
                      <a:pt x="8" y="8"/>
                    </a:lnTo>
                    <a:lnTo>
                      <a:pt x="8" y="8"/>
                    </a:lnTo>
                    <a:lnTo>
                      <a:pt x="8" y="8"/>
                    </a:lnTo>
                    <a:close/>
                    <a:moveTo>
                      <a:pt x="32" y="14"/>
                    </a:moveTo>
                    <a:lnTo>
                      <a:pt x="32" y="14"/>
                    </a:lnTo>
                    <a:lnTo>
                      <a:pt x="36" y="22"/>
                    </a:lnTo>
                    <a:lnTo>
                      <a:pt x="36" y="22"/>
                    </a:lnTo>
                    <a:lnTo>
                      <a:pt x="38" y="40"/>
                    </a:lnTo>
                    <a:lnTo>
                      <a:pt x="38" y="40"/>
                    </a:lnTo>
                    <a:lnTo>
                      <a:pt x="36" y="60"/>
                    </a:lnTo>
                    <a:lnTo>
                      <a:pt x="36" y="60"/>
                    </a:lnTo>
                    <a:lnTo>
                      <a:pt x="32" y="66"/>
                    </a:lnTo>
                    <a:lnTo>
                      <a:pt x="32" y="66"/>
                    </a:lnTo>
                    <a:lnTo>
                      <a:pt x="28" y="68"/>
                    </a:lnTo>
                    <a:lnTo>
                      <a:pt x="28" y="68"/>
                    </a:lnTo>
                    <a:lnTo>
                      <a:pt x="22" y="66"/>
                    </a:lnTo>
                    <a:lnTo>
                      <a:pt x="22" y="66"/>
                    </a:lnTo>
                    <a:lnTo>
                      <a:pt x="18" y="60"/>
                    </a:lnTo>
                    <a:lnTo>
                      <a:pt x="18" y="60"/>
                    </a:lnTo>
                    <a:lnTo>
                      <a:pt x="18" y="40"/>
                    </a:lnTo>
                    <a:lnTo>
                      <a:pt x="18" y="40"/>
                    </a:lnTo>
                    <a:lnTo>
                      <a:pt x="18" y="20"/>
                    </a:lnTo>
                    <a:lnTo>
                      <a:pt x="18" y="20"/>
                    </a:lnTo>
                    <a:lnTo>
                      <a:pt x="22" y="14"/>
                    </a:lnTo>
                    <a:lnTo>
                      <a:pt x="22" y="14"/>
                    </a:lnTo>
                    <a:lnTo>
                      <a:pt x="28" y="12"/>
                    </a:lnTo>
                    <a:lnTo>
                      <a:pt x="28" y="12"/>
                    </a:lnTo>
                    <a:lnTo>
                      <a:pt x="32" y="14"/>
                    </a:lnTo>
                    <a:lnTo>
                      <a:pt x="32" y="14"/>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15" name="Freeform 54"/>
              <p:cNvSpPr>
                <a:spLocks noEditPoints="1"/>
              </p:cNvSpPr>
              <p:nvPr/>
            </p:nvSpPr>
            <p:spPr bwMode="auto">
              <a:xfrm>
                <a:off x="11411092" y="3398152"/>
                <a:ext cx="95972" cy="15134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16" name="Freeform 26"/>
              <p:cNvSpPr>
                <a:spLocks/>
              </p:cNvSpPr>
              <p:nvPr/>
            </p:nvSpPr>
            <p:spPr bwMode="auto">
              <a:xfrm>
                <a:off x="11425024" y="3597147"/>
                <a:ext cx="49710" cy="110466"/>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17" name="Freeform 55"/>
              <p:cNvSpPr>
                <a:spLocks/>
              </p:cNvSpPr>
              <p:nvPr/>
            </p:nvSpPr>
            <p:spPr bwMode="auto">
              <a:xfrm>
                <a:off x="11482682" y="3316392"/>
                <a:ext cx="103653" cy="230339"/>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6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6" y="16"/>
                    </a:lnTo>
                    <a:lnTo>
                      <a:pt x="0" y="20"/>
                    </a:lnTo>
                    <a:lnTo>
                      <a:pt x="0" y="34"/>
                    </a:lnTo>
                    <a:lnTo>
                      <a:pt x="0" y="34"/>
                    </a:lnTo>
                    <a:lnTo>
                      <a:pt x="12" y="28"/>
                    </a:lnTo>
                    <a:lnTo>
                      <a:pt x="20" y="22"/>
                    </a:lnTo>
                    <a:lnTo>
                      <a:pt x="20" y="80"/>
                    </a:lnTo>
                    <a:lnTo>
                      <a:pt x="36" y="80"/>
                    </a:lnTo>
                    <a:lnTo>
                      <a:pt x="36" y="0"/>
                    </a:lnTo>
                    <a:lnTo>
                      <a:pt x="36" y="0"/>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18" name="Freeform 27"/>
              <p:cNvSpPr>
                <a:spLocks noEditPoints="1"/>
              </p:cNvSpPr>
              <p:nvPr/>
            </p:nvSpPr>
            <p:spPr bwMode="auto">
              <a:xfrm>
                <a:off x="11513486" y="3597147"/>
                <a:ext cx="71803" cy="113227"/>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2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2 h 82"/>
                  <a:gd name="T78" fmla="*/ 34 w 52"/>
                  <a:gd name="T79" fmla="*/ 22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8"/>
                    </a:lnTo>
                    <a:lnTo>
                      <a:pt x="8" y="72"/>
                    </a:lnTo>
                    <a:lnTo>
                      <a:pt x="8" y="72"/>
                    </a:lnTo>
                    <a:lnTo>
                      <a:pt x="12" y="76"/>
                    </a:lnTo>
                    <a:lnTo>
                      <a:pt x="16" y="80"/>
                    </a:lnTo>
                    <a:lnTo>
                      <a:pt x="20" y="80"/>
                    </a:lnTo>
                    <a:lnTo>
                      <a:pt x="26" y="82"/>
                    </a:lnTo>
                    <a:lnTo>
                      <a:pt x="26" y="82"/>
                    </a:lnTo>
                    <a:lnTo>
                      <a:pt x="36" y="80"/>
                    </a:lnTo>
                    <a:lnTo>
                      <a:pt x="40" y="76"/>
                    </a:lnTo>
                    <a:lnTo>
                      <a:pt x="44" y="74"/>
                    </a:lnTo>
                    <a:lnTo>
                      <a:pt x="44" y="74"/>
                    </a:lnTo>
                    <a:lnTo>
                      <a:pt x="48" y="68"/>
                    </a:lnTo>
                    <a:lnTo>
                      <a:pt x="50" y="60"/>
                    </a:lnTo>
                    <a:lnTo>
                      <a:pt x="52" y="40"/>
                    </a:lnTo>
                    <a:lnTo>
                      <a:pt x="52" y="40"/>
                    </a:lnTo>
                    <a:lnTo>
                      <a:pt x="50" y="20"/>
                    </a:lnTo>
                    <a:lnTo>
                      <a:pt x="48" y="14"/>
                    </a:lnTo>
                    <a:lnTo>
                      <a:pt x="44" y="8"/>
                    </a:lnTo>
                    <a:lnTo>
                      <a:pt x="44" y="8"/>
                    </a:lnTo>
                    <a:lnTo>
                      <a:pt x="42" y="4"/>
                    </a:lnTo>
                    <a:lnTo>
                      <a:pt x="36" y="2"/>
                    </a:lnTo>
                    <a:lnTo>
                      <a:pt x="26" y="0"/>
                    </a:lnTo>
                    <a:lnTo>
                      <a:pt x="26" y="0"/>
                    </a:lnTo>
                    <a:lnTo>
                      <a:pt x="16" y="2"/>
                    </a:lnTo>
                    <a:lnTo>
                      <a:pt x="12" y="4"/>
                    </a:lnTo>
                    <a:lnTo>
                      <a:pt x="8" y="8"/>
                    </a:lnTo>
                    <a:lnTo>
                      <a:pt x="8" y="8"/>
                    </a:lnTo>
                    <a:lnTo>
                      <a:pt x="8" y="8"/>
                    </a:lnTo>
                    <a:close/>
                    <a:moveTo>
                      <a:pt x="32" y="14"/>
                    </a:moveTo>
                    <a:lnTo>
                      <a:pt x="32" y="14"/>
                    </a:lnTo>
                    <a:lnTo>
                      <a:pt x="34" y="22"/>
                    </a:lnTo>
                    <a:lnTo>
                      <a:pt x="34" y="22"/>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19" name="Freeform 50"/>
              <p:cNvSpPr>
                <a:spLocks noEditPoints="1"/>
              </p:cNvSpPr>
              <p:nvPr/>
            </p:nvSpPr>
            <p:spPr bwMode="auto">
              <a:xfrm>
                <a:off x="11610236" y="3436265"/>
                <a:ext cx="71803" cy="113227"/>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20" name="Freeform 22"/>
              <p:cNvSpPr>
                <a:spLocks/>
              </p:cNvSpPr>
              <p:nvPr/>
            </p:nvSpPr>
            <p:spPr bwMode="auto">
              <a:xfrm>
                <a:off x="11624043" y="3560661"/>
                <a:ext cx="62454" cy="146951"/>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21" name="Freeform 52"/>
              <p:cNvSpPr>
                <a:spLocks noEditPoints="1"/>
              </p:cNvSpPr>
              <p:nvPr/>
            </p:nvSpPr>
            <p:spPr bwMode="auto">
              <a:xfrm>
                <a:off x="11199370" y="3183846"/>
                <a:ext cx="100418" cy="158351"/>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22" name="Freeform 53"/>
              <p:cNvSpPr>
                <a:spLocks/>
              </p:cNvSpPr>
              <p:nvPr/>
            </p:nvSpPr>
            <p:spPr bwMode="auto">
              <a:xfrm>
                <a:off x="11327565" y="3194127"/>
                <a:ext cx="60191" cy="141627"/>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23" name="Freeform 50"/>
              <p:cNvSpPr>
                <a:spLocks noEditPoints="1"/>
              </p:cNvSpPr>
              <p:nvPr/>
            </p:nvSpPr>
            <p:spPr bwMode="auto">
              <a:xfrm>
                <a:off x="10845796" y="3436265"/>
                <a:ext cx="71803" cy="113227"/>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24" name="Freeform 50"/>
              <p:cNvSpPr>
                <a:spLocks noEditPoints="1"/>
              </p:cNvSpPr>
              <p:nvPr/>
            </p:nvSpPr>
            <p:spPr bwMode="auto">
              <a:xfrm>
                <a:off x="10804523" y="3600659"/>
                <a:ext cx="71803" cy="113227"/>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25" name="Freeform 224"/>
              <p:cNvSpPr/>
              <p:nvPr/>
            </p:nvSpPr>
            <p:spPr bwMode="auto">
              <a:xfrm>
                <a:off x="10985824" y="3708329"/>
                <a:ext cx="426889" cy="1605894"/>
              </a:xfrm>
              <a:custGeom>
                <a:avLst/>
                <a:gdLst>
                  <a:gd name="connsiteX0" fmla="*/ 763479 w 763479"/>
                  <a:gd name="connsiteY0" fmla="*/ 0 h 3764132"/>
                  <a:gd name="connsiteX1" fmla="*/ 0 w 763479"/>
                  <a:gd name="connsiteY1" fmla="*/ 3764132 h 3764132"/>
                  <a:gd name="connsiteX0" fmla="*/ 2654423 w 2654423"/>
                  <a:gd name="connsiteY0" fmla="*/ 0 h 3746376"/>
                  <a:gd name="connsiteX1" fmla="*/ 0 w 2654423"/>
                  <a:gd name="connsiteY1" fmla="*/ 3746376 h 3746376"/>
                  <a:gd name="connsiteX0" fmla="*/ 2654423 w 2654423"/>
                  <a:gd name="connsiteY0" fmla="*/ 0 h 3746376"/>
                  <a:gd name="connsiteX1" fmla="*/ 0 w 2654423"/>
                  <a:gd name="connsiteY1" fmla="*/ 3746376 h 3746376"/>
                  <a:gd name="connsiteX0" fmla="*/ 2654423 w 2654423"/>
                  <a:gd name="connsiteY0" fmla="*/ 0 h 3746376"/>
                  <a:gd name="connsiteX1" fmla="*/ 0 w 2654423"/>
                  <a:gd name="connsiteY1" fmla="*/ 3746376 h 3746376"/>
                  <a:gd name="connsiteX0" fmla="*/ 1837678 w 1837678"/>
                  <a:gd name="connsiteY0" fmla="*/ 0 h 3773009"/>
                  <a:gd name="connsiteX1" fmla="*/ 0 w 1837678"/>
                  <a:gd name="connsiteY1" fmla="*/ 3773009 h 3773009"/>
                  <a:gd name="connsiteX0" fmla="*/ 1837678 w 1837678"/>
                  <a:gd name="connsiteY0" fmla="*/ 0 h 3773009"/>
                  <a:gd name="connsiteX1" fmla="*/ 0 w 1837678"/>
                  <a:gd name="connsiteY1" fmla="*/ 3773009 h 3773009"/>
                  <a:gd name="connsiteX0" fmla="*/ 727970 w 727970"/>
                  <a:gd name="connsiteY0" fmla="*/ 0 h 3755254"/>
                  <a:gd name="connsiteX1" fmla="*/ 0 w 727970"/>
                  <a:gd name="connsiteY1" fmla="*/ 3755254 h 3755254"/>
                  <a:gd name="connsiteX0" fmla="*/ 727970 w 727970"/>
                  <a:gd name="connsiteY0" fmla="*/ 0 h 3755254"/>
                  <a:gd name="connsiteX1" fmla="*/ 0 w 727970"/>
                  <a:gd name="connsiteY1" fmla="*/ 3755254 h 3755254"/>
                  <a:gd name="connsiteX0" fmla="*/ 736848 w 736848"/>
                  <a:gd name="connsiteY0" fmla="*/ 0 h 3790764"/>
                  <a:gd name="connsiteX1" fmla="*/ 0 w 736848"/>
                  <a:gd name="connsiteY1" fmla="*/ 3790764 h 3790764"/>
                  <a:gd name="connsiteX0" fmla="*/ 987682 w 987682"/>
                  <a:gd name="connsiteY0" fmla="*/ 0 h 3715514"/>
                  <a:gd name="connsiteX1" fmla="*/ 0 w 987682"/>
                  <a:gd name="connsiteY1" fmla="*/ 3715514 h 3715514"/>
                </a:gdLst>
                <a:ahLst/>
                <a:cxnLst>
                  <a:cxn ang="0">
                    <a:pos x="connsiteX0" y="connsiteY0"/>
                  </a:cxn>
                  <a:cxn ang="0">
                    <a:pos x="connsiteX1" y="connsiteY1"/>
                  </a:cxn>
                </a:cxnLst>
                <a:rect l="l" t="t" r="r" b="b"/>
                <a:pathLst>
                  <a:path w="987682" h="3715514">
                    <a:moveTo>
                      <a:pt x="987682" y="0"/>
                    </a:moveTo>
                    <a:cubicBezTo>
                      <a:pt x="972886" y="2180947"/>
                      <a:pt x="698377" y="3478777"/>
                      <a:pt x="0" y="3715514"/>
                    </a:cubicBezTo>
                  </a:path>
                </a:pathLst>
              </a:custGeom>
              <a:noFill/>
              <a:ln w="1905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16"/>
                <a:endParaRPr lang="en-US" sz="1836" dirty="0">
                  <a:solidFill>
                    <a:srgbClr val="FFFFFF"/>
                  </a:solidFill>
                </a:endParaRPr>
              </a:p>
            </p:txBody>
          </p:sp>
          <p:sp>
            <p:nvSpPr>
              <p:cNvPr id="226" name="Freeform 225"/>
              <p:cNvSpPr/>
              <p:nvPr/>
            </p:nvSpPr>
            <p:spPr bwMode="auto">
              <a:xfrm>
                <a:off x="9636614" y="3714791"/>
                <a:ext cx="1456570" cy="1599431"/>
              </a:xfrm>
              <a:custGeom>
                <a:avLst/>
                <a:gdLst>
                  <a:gd name="connsiteX0" fmla="*/ 763479 w 763479"/>
                  <a:gd name="connsiteY0" fmla="*/ 0 h 3764132"/>
                  <a:gd name="connsiteX1" fmla="*/ 0 w 763479"/>
                  <a:gd name="connsiteY1" fmla="*/ 3764132 h 3764132"/>
                  <a:gd name="connsiteX0" fmla="*/ 2654423 w 2654423"/>
                  <a:gd name="connsiteY0" fmla="*/ 0 h 3746376"/>
                  <a:gd name="connsiteX1" fmla="*/ 0 w 2654423"/>
                  <a:gd name="connsiteY1" fmla="*/ 3746376 h 3746376"/>
                  <a:gd name="connsiteX0" fmla="*/ 2654423 w 2654423"/>
                  <a:gd name="connsiteY0" fmla="*/ 0 h 3746376"/>
                  <a:gd name="connsiteX1" fmla="*/ 0 w 2654423"/>
                  <a:gd name="connsiteY1" fmla="*/ 3746376 h 3746376"/>
                  <a:gd name="connsiteX0" fmla="*/ 2654423 w 2654423"/>
                  <a:gd name="connsiteY0" fmla="*/ 0 h 3746376"/>
                  <a:gd name="connsiteX1" fmla="*/ 0 w 2654423"/>
                  <a:gd name="connsiteY1" fmla="*/ 3746376 h 3746376"/>
                  <a:gd name="connsiteX0" fmla="*/ 1837678 w 1837678"/>
                  <a:gd name="connsiteY0" fmla="*/ 0 h 3773009"/>
                  <a:gd name="connsiteX1" fmla="*/ 0 w 1837678"/>
                  <a:gd name="connsiteY1" fmla="*/ 3773009 h 3773009"/>
                  <a:gd name="connsiteX0" fmla="*/ 1837678 w 1837678"/>
                  <a:gd name="connsiteY0" fmla="*/ 0 h 3773009"/>
                  <a:gd name="connsiteX1" fmla="*/ 0 w 1837678"/>
                  <a:gd name="connsiteY1" fmla="*/ 3773009 h 3773009"/>
                  <a:gd name="connsiteX0" fmla="*/ 1837678 w 1837678"/>
                  <a:gd name="connsiteY0" fmla="*/ 0 h 3808520"/>
                  <a:gd name="connsiteX1" fmla="*/ 0 w 1837678"/>
                  <a:gd name="connsiteY1" fmla="*/ 3808520 h 3808520"/>
                  <a:gd name="connsiteX0" fmla="*/ 3487403 w 3487403"/>
                  <a:gd name="connsiteY0" fmla="*/ 0 h 3773009"/>
                  <a:gd name="connsiteX1" fmla="*/ 0 w 3487403"/>
                  <a:gd name="connsiteY1" fmla="*/ 3773009 h 3773009"/>
                  <a:gd name="connsiteX0" fmla="*/ 3238962 w 3238962"/>
                  <a:gd name="connsiteY0" fmla="*/ 0 h 3710740"/>
                  <a:gd name="connsiteX1" fmla="*/ 0 w 3238962"/>
                  <a:gd name="connsiteY1" fmla="*/ 3710740 h 3710740"/>
                  <a:gd name="connsiteX0" fmla="*/ 3178922 w 3178922"/>
                  <a:gd name="connsiteY0" fmla="*/ 0 h 3674624"/>
                  <a:gd name="connsiteX1" fmla="*/ 0 w 3178922"/>
                  <a:gd name="connsiteY1" fmla="*/ 3674624 h 3674624"/>
                </a:gdLst>
                <a:ahLst/>
                <a:cxnLst>
                  <a:cxn ang="0">
                    <a:pos x="connsiteX0" y="connsiteY0"/>
                  </a:cxn>
                  <a:cxn ang="0">
                    <a:pos x="connsiteX1" y="connsiteY1"/>
                  </a:cxn>
                </a:cxnLst>
                <a:rect l="l" t="t" r="r" b="b"/>
                <a:pathLst>
                  <a:path w="3178922" h="3674624">
                    <a:moveTo>
                      <a:pt x="3178922" y="0"/>
                    </a:moveTo>
                    <a:cubicBezTo>
                      <a:pt x="2711365" y="2074415"/>
                      <a:pt x="698377" y="3437887"/>
                      <a:pt x="0" y="3674624"/>
                    </a:cubicBezTo>
                  </a:path>
                </a:pathLst>
              </a:custGeom>
              <a:noFill/>
              <a:ln w="1905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16"/>
                <a:endParaRPr lang="en-US" sz="1836" dirty="0">
                  <a:solidFill>
                    <a:srgbClr val="FFFFFF"/>
                  </a:solidFill>
                </a:endParaRPr>
              </a:p>
            </p:txBody>
          </p:sp>
          <p:sp>
            <p:nvSpPr>
              <p:cNvPr id="227" name="Freeform 5"/>
              <p:cNvSpPr>
                <a:spLocks/>
              </p:cNvSpPr>
              <p:nvPr/>
            </p:nvSpPr>
            <p:spPr bwMode="auto">
              <a:xfrm>
                <a:off x="10702233" y="3142390"/>
                <a:ext cx="325363" cy="214184"/>
              </a:xfrm>
              <a:custGeom>
                <a:avLst/>
                <a:gdLst>
                  <a:gd name="T0" fmla="*/ 34 w 213"/>
                  <a:gd name="T1" fmla="*/ 62 h 140"/>
                  <a:gd name="T2" fmla="*/ 34 w 213"/>
                  <a:gd name="T3" fmla="*/ 59 h 140"/>
                  <a:gd name="T4" fmla="*/ 92 w 213"/>
                  <a:gd name="T5" fmla="*/ 0 h 140"/>
                  <a:gd name="T6" fmla="*/ 141 w 213"/>
                  <a:gd name="T7" fmla="*/ 27 h 140"/>
                  <a:gd name="T8" fmla="*/ 157 w 213"/>
                  <a:gd name="T9" fmla="*/ 22 h 140"/>
                  <a:gd name="T10" fmla="*/ 176 w 213"/>
                  <a:gd name="T11" fmla="*/ 28 h 140"/>
                  <a:gd name="T12" fmla="*/ 192 w 213"/>
                  <a:gd name="T13" fmla="*/ 55 h 140"/>
                  <a:gd name="T14" fmla="*/ 213 w 213"/>
                  <a:gd name="T15" fmla="*/ 94 h 140"/>
                  <a:gd name="T16" fmla="*/ 172 w 213"/>
                  <a:gd name="T17" fmla="*/ 140 h 140"/>
                  <a:gd name="T18" fmla="*/ 166 w 213"/>
                  <a:gd name="T19" fmla="*/ 140 h 140"/>
                  <a:gd name="T20" fmla="*/ 162 w 213"/>
                  <a:gd name="T21" fmla="*/ 140 h 140"/>
                  <a:gd name="T22" fmla="*/ 66 w 213"/>
                  <a:gd name="T23" fmla="*/ 140 h 140"/>
                  <a:gd name="T24" fmla="*/ 64 w 213"/>
                  <a:gd name="T25" fmla="*/ 140 h 140"/>
                  <a:gd name="T26" fmla="*/ 61 w 213"/>
                  <a:gd name="T27" fmla="*/ 140 h 140"/>
                  <a:gd name="T28" fmla="*/ 54 w 213"/>
                  <a:gd name="T29" fmla="*/ 140 h 140"/>
                  <a:gd name="T30" fmla="*/ 39 w 213"/>
                  <a:gd name="T31" fmla="*/ 140 h 140"/>
                  <a:gd name="T32" fmla="*/ 0 w 213"/>
                  <a:gd name="T33" fmla="*/ 101 h 140"/>
                  <a:gd name="T34" fmla="*/ 34 w 213"/>
                  <a:gd name="T35" fmla="*/ 6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3" h="140">
                    <a:moveTo>
                      <a:pt x="34" y="62"/>
                    </a:moveTo>
                    <a:cubicBezTo>
                      <a:pt x="34" y="61"/>
                      <a:pt x="34" y="60"/>
                      <a:pt x="34" y="59"/>
                    </a:cubicBezTo>
                    <a:cubicBezTo>
                      <a:pt x="34" y="27"/>
                      <a:pt x="60" y="0"/>
                      <a:pt x="92" y="0"/>
                    </a:cubicBezTo>
                    <a:cubicBezTo>
                      <a:pt x="113" y="0"/>
                      <a:pt x="131" y="11"/>
                      <a:pt x="141" y="27"/>
                    </a:cubicBezTo>
                    <a:cubicBezTo>
                      <a:pt x="146" y="24"/>
                      <a:pt x="152" y="22"/>
                      <a:pt x="157" y="22"/>
                    </a:cubicBezTo>
                    <a:cubicBezTo>
                      <a:pt x="165" y="22"/>
                      <a:pt x="171" y="24"/>
                      <a:pt x="176" y="28"/>
                    </a:cubicBezTo>
                    <a:cubicBezTo>
                      <a:pt x="185" y="34"/>
                      <a:pt x="191" y="44"/>
                      <a:pt x="192" y="55"/>
                    </a:cubicBezTo>
                    <a:cubicBezTo>
                      <a:pt x="204" y="64"/>
                      <a:pt x="213" y="78"/>
                      <a:pt x="213" y="94"/>
                    </a:cubicBezTo>
                    <a:cubicBezTo>
                      <a:pt x="213" y="118"/>
                      <a:pt x="195" y="137"/>
                      <a:pt x="172" y="140"/>
                    </a:cubicBezTo>
                    <a:cubicBezTo>
                      <a:pt x="170" y="140"/>
                      <a:pt x="168" y="140"/>
                      <a:pt x="166" y="140"/>
                    </a:cubicBezTo>
                    <a:cubicBezTo>
                      <a:pt x="165" y="140"/>
                      <a:pt x="163" y="140"/>
                      <a:pt x="162" y="140"/>
                    </a:cubicBezTo>
                    <a:cubicBezTo>
                      <a:pt x="140" y="140"/>
                      <a:pt x="90" y="140"/>
                      <a:pt x="66" y="140"/>
                    </a:cubicBezTo>
                    <a:cubicBezTo>
                      <a:pt x="65" y="140"/>
                      <a:pt x="64" y="140"/>
                      <a:pt x="64" y="140"/>
                    </a:cubicBezTo>
                    <a:cubicBezTo>
                      <a:pt x="61" y="140"/>
                      <a:pt x="61" y="140"/>
                      <a:pt x="61" y="140"/>
                    </a:cubicBezTo>
                    <a:cubicBezTo>
                      <a:pt x="60" y="140"/>
                      <a:pt x="57" y="140"/>
                      <a:pt x="54" y="140"/>
                    </a:cubicBezTo>
                    <a:cubicBezTo>
                      <a:pt x="39" y="140"/>
                      <a:pt x="39" y="140"/>
                      <a:pt x="39" y="140"/>
                    </a:cubicBezTo>
                    <a:cubicBezTo>
                      <a:pt x="17" y="139"/>
                      <a:pt x="0" y="122"/>
                      <a:pt x="0" y="101"/>
                    </a:cubicBezTo>
                    <a:cubicBezTo>
                      <a:pt x="0" y="81"/>
                      <a:pt x="14" y="64"/>
                      <a:pt x="34" y="6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28" name="Freeform 227"/>
              <p:cNvSpPr/>
              <p:nvPr/>
            </p:nvSpPr>
            <p:spPr bwMode="auto">
              <a:xfrm>
                <a:off x="10711673" y="3579335"/>
                <a:ext cx="1164416" cy="138722"/>
              </a:xfrm>
              <a:custGeom>
                <a:avLst/>
                <a:gdLst>
                  <a:gd name="connsiteX0" fmla="*/ 0 w 2041864"/>
                  <a:gd name="connsiteY0" fmla="*/ 17756 h 17756"/>
                  <a:gd name="connsiteX1" fmla="*/ 2041864 w 2041864"/>
                  <a:gd name="connsiteY1" fmla="*/ 0 h 17756"/>
                  <a:gd name="connsiteX0" fmla="*/ 0 w 2041864"/>
                  <a:gd name="connsiteY0" fmla="*/ 17756 h 148044"/>
                  <a:gd name="connsiteX1" fmla="*/ 2041864 w 2041864"/>
                  <a:gd name="connsiteY1" fmla="*/ 0 h 148044"/>
                  <a:gd name="connsiteX0" fmla="*/ 0 w 2041864"/>
                  <a:gd name="connsiteY0" fmla="*/ 17756 h 265853"/>
                  <a:gd name="connsiteX1" fmla="*/ 2041864 w 2041864"/>
                  <a:gd name="connsiteY1" fmla="*/ 0 h 265853"/>
                  <a:gd name="connsiteX0" fmla="*/ 0 w 2041864"/>
                  <a:gd name="connsiteY0" fmla="*/ 17756 h 288528"/>
                  <a:gd name="connsiteX1" fmla="*/ 2041864 w 2041864"/>
                  <a:gd name="connsiteY1" fmla="*/ 0 h 288528"/>
                  <a:gd name="connsiteX0" fmla="*/ 0 w 2041864"/>
                  <a:gd name="connsiteY0" fmla="*/ 17756 h 250407"/>
                  <a:gd name="connsiteX1" fmla="*/ 2041864 w 2041864"/>
                  <a:gd name="connsiteY1" fmla="*/ 0 h 250407"/>
                  <a:gd name="connsiteX0" fmla="*/ 0 w 2041864"/>
                  <a:gd name="connsiteY0" fmla="*/ 17756 h 243257"/>
                  <a:gd name="connsiteX1" fmla="*/ 2041864 w 2041864"/>
                  <a:gd name="connsiteY1" fmla="*/ 0 h 243257"/>
                </a:gdLst>
                <a:ahLst/>
                <a:cxnLst>
                  <a:cxn ang="0">
                    <a:pos x="connsiteX0" y="connsiteY0"/>
                  </a:cxn>
                  <a:cxn ang="0">
                    <a:pos x="connsiteX1" y="connsiteY1"/>
                  </a:cxn>
                </a:cxnLst>
                <a:rect l="l" t="t" r="r" b="b"/>
                <a:pathLst>
                  <a:path w="2041864" h="243257">
                    <a:moveTo>
                      <a:pt x="0" y="17756"/>
                    </a:moveTo>
                    <a:cubicBezTo>
                      <a:pt x="183471" y="358065"/>
                      <a:pt x="1805126" y="281127"/>
                      <a:pt x="2041864" y="0"/>
                    </a:cubicBezTo>
                  </a:path>
                </a:pathLst>
              </a:custGeom>
              <a:no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16"/>
                <a:endParaRPr lang="en-US" sz="1836" dirty="0">
                  <a:solidFill>
                    <a:srgbClr val="FFFFFF"/>
                  </a:solidFill>
                </a:endParaRPr>
              </a:p>
            </p:txBody>
          </p:sp>
          <p:sp>
            <p:nvSpPr>
              <p:cNvPr id="229" name="Freeform 228"/>
              <p:cNvSpPr/>
              <p:nvPr/>
            </p:nvSpPr>
            <p:spPr bwMode="auto">
              <a:xfrm>
                <a:off x="10430882" y="3715104"/>
                <a:ext cx="837994" cy="1599118"/>
              </a:xfrm>
              <a:custGeom>
                <a:avLst/>
                <a:gdLst>
                  <a:gd name="connsiteX0" fmla="*/ 763479 w 763479"/>
                  <a:gd name="connsiteY0" fmla="*/ 0 h 3764132"/>
                  <a:gd name="connsiteX1" fmla="*/ 0 w 763479"/>
                  <a:gd name="connsiteY1" fmla="*/ 3764132 h 3764132"/>
                  <a:gd name="connsiteX0" fmla="*/ 2654423 w 2654423"/>
                  <a:gd name="connsiteY0" fmla="*/ 0 h 3746376"/>
                  <a:gd name="connsiteX1" fmla="*/ 0 w 2654423"/>
                  <a:gd name="connsiteY1" fmla="*/ 3746376 h 3746376"/>
                  <a:gd name="connsiteX0" fmla="*/ 2654423 w 2654423"/>
                  <a:gd name="connsiteY0" fmla="*/ 0 h 3746376"/>
                  <a:gd name="connsiteX1" fmla="*/ 0 w 2654423"/>
                  <a:gd name="connsiteY1" fmla="*/ 3746376 h 3746376"/>
                  <a:gd name="connsiteX0" fmla="*/ 2654423 w 2654423"/>
                  <a:gd name="connsiteY0" fmla="*/ 0 h 3746376"/>
                  <a:gd name="connsiteX1" fmla="*/ 0 w 2654423"/>
                  <a:gd name="connsiteY1" fmla="*/ 3746376 h 3746376"/>
                  <a:gd name="connsiteX0" fmla="*/ 1837678 w 1837678"/>
                  <a:gd name="connsiteY0" fmla="*/ 0 h 3773009"/>
                  <a:gd name="connsiteX1" fmla="*/ 0 w 1837678"/>
                  <a:gd name="connsiteY1" fmla="*/ 3773009 h 3773009"/>
                  <a:gd name="connsiteX0" fmla="*/ 1837678 w 1837678"/>
                  <a:gd name="connsiteY0" fmla="*/ 0 h 3773009"/>
                  <a:gd name="connsiteX1" fmla="*/ 0 w 1837678"/>
                  <a:gd name="connsiteY1" fmla="*/ 3773009 h 3773009"/>
                  <a:gd name="connsiteX0" fmla="*/ 1837678 w 1837678"/>
                  <a:gd name="connsiteY0" fmla="*/ 0 h 3808520"/>
                  <a:gd name="connsiteX1" fmla="*/ 0 w 1837678"/>
                  <a:gd name="connsiteY1" fmla="*/ 3808520 h 3808520"/>
                  <a:gd name="connsiteX0" fmla="*/ 1846052 w 1846052"/>
                  <a:gd name="connsiteY0" fmla="*/ 0 h 3790765"/>
                  <a:gd name="connsiteX1" fmla="*/ 0 w 1846052"/>
                  <a:gd name="connsiteY1" fmla="*/ 3790765 h 3790765"/>
                  <a:gd name="connsiteX0" fmla="*/ 1846052 w 1846052"/>
                  <a:gd name="connsiteY0" fmla="*/ 0 h 3790765"/>
                  <a:gd name="connsiteX1" fmla="*/ 0 w 1846052"/>
                  <a:gd name="connsiteY1" fmla="*/ 3790765 h 3790765"/>
                  <a:gd name="connsiteX0" fmla="*/ 1828898 w 1828898"/>
                  <a:gd name="connsiteY0" fmla="*/ 0 h 3699838"/>
                  <a:gd name="connsiteX1" fmla="*/ 0 w 1828898"/>
                  <a:gd name="connsiteY1" fmla="*/ 3699838 h 3699838"/>
                </a:gdLst>
                <a:ahLst/>
                <a:cxnLst>
                  <a:cxn ang="0">
                    <a:pos x="connsiteX0" y="connsiteY0"/>
                  </a:cxn>
                  <a:cxn ang="0">
                    <a:pos x="connsiteX1" y="connsiteY1"/>
                  </a:cxn>
                </a:cxnLst>
                <a:rect l="l" t="t" r="r" b="b"/>
                <a:pathLst>
                  <a:path w="1828898" h="3699838">
                    <a:moveTo>
                      <a:pt x="1828898" y="0"/>
                    </a:moveTo>
                    <a:cubicBezTo>
                      <a:pt x="1445084" y="2172069"/>
                      <a:pt x="698377" y="3463101"/>
                      <a:pt x="0" y="3699838"/>
                    </a:cubicBezTo>
                  </a:path>
                </a:pathLst>
              </a:custGeom>
              <a:noFill/>
              <a:ln w="1905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16"/>
                <a:endParaRPr lang="en-US" sz="1836" dirty="0">
                  <a:solidFill>
                    <a:srgbClr val="FFFFFF"/>
                  </a:solidFill>
                </a:endParaRPr>
              </a:p>
            </p:txBody>
          </p:sp>
          <p:grpSp>
            <p:nvGrpSpPr>
              <p:cNvPr id="230" name="Group 229"/>
              <p:cNvGrpSpPr/>
              <p:nvPr/>
            </p:nvGrpSpPr>
            <p:grpSpPr>
              <a:xfrm>
                <a:off x="10749668" y="3173735"/>
                <a:ext cx="242949" cy="153698"/>
                <a:chOff x="10711289" y="728675"/>
                <a:chExt cx="769512" cy="486822"/>
              </a:xfrm>
            </p:grpSpPr>
            <p:sp>
              <p:nvSpPr>
                <p:cNvPr id="244" name="Freeform 49"/>
                <p:cNvSpPr>
                  <a:spLocks/>
                </p:cNvSpPr>
                <p:nvPr/>
              </p:nvSpPr>
              <p:spPr bwMode="auto">
                <a:xfrm>
                  <a:off x="10827545" y="928838"/>
                  <a:ext cx="63368" cy="140817"/>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6"/>
                      </a:lnTo>
                      <a:lnTo>
                        <a:pt x="0" y="20"/>
                      </a:lnTo>
                      <a:lnTo>
                        <a:pt x="0" y="34"/>
                      </a:lnTo>
                      <a:lnTo>
                        <a:pt x="0" y="34"/>
                      </a:lnTo>
                      <a:lnTo>
                        <a:pt x="12" y="28"/>
                      </a:lnTo>
                      <a:lnTo>
                        <a:pt x="20" y="22"/>
                      </a:lnTo>
                      <a:lnTo>
                        <a:pt x="20" y="80"/>
                      </a:lnTo>
                      <a:lnTo>
                        <a:pt x="36" y="80"/>
                      </a:lnTo>
                      <a:lnTo>
                        <a:pt x="36" y="0"/>
                      </a:lnTo>
                      <a:lnTo>
                        <a:pt x="36" y="0"/>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45" name="Freeform 21"/>
                <p:cNvSpPr>
                  <a:spLocks noEditPoints="1"/>
                </p:cNvSpPr>
                <p:nvPr/>
              </p:nvSpPr>
              <p:spPr bwMode="auto">
                <a:xfrm>
                  <a:off x="10811012" y="1113644"/>
                  <a:ext cx="62647" cy="98789"/>
                </a:xfrm>
                <a:custGeom>
                  <a:avLst/>
                  <a:gdLst>
                    <a:gd name="T0" fmla="*/ 8 w 52"/>
                    <a:gd name="T1" fmla="*/ 8 h 82"/>
                    <a:gd name="T2" fmla="*/ 8 w 52"/>
                    <a:gd name="T3" fmla="*/ 8 h 82"/>
                    <a:gd name="T4" fmla="*/ 6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2 w 52"/>
                    <a:gd name="T25" fmla="*/ 80 h 82"/>
                    <a:gd name="T26" fmla="*/ 26 w 52"/>
                    <a:gd name="T27" fmla="*/ 82 h 82"/>
                    <a:gd name="T28" fmla="*/ 26 w 52"/>
                    <a:gd name="T29" fmla="*/ 82 h 82"/>
                    <a:gd name="T30" fmla="*/ 38 w 52"/>
                    <a:gd name="T31" fmla="*/ 80 h 82"/>
                    <a:gd name="T32" fmla="*/ 42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6 w 52"/>
                    <a:gd name="T51" fmla="*/ 8 h 82"/>
                    <a:gd name="T52" fmla="*/ 46 w 52"/>
                    <a:gd name="T53" fmla="*/ 8 h 82"/>
                    <a:gd name="T54" fmla="*/ 42 w 52"/>
                    <a:gd name="T55" fmla="*/ 4 h 82"/>
                    <a:gd name="T56" fmla="*/ 38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6 w 52"/>
                    <a:gd name="T77" fmla="*/ 22 h 82"/>
                    <a:gd name="T78" fmla="*/ 36 w 52"/>
                    <a:gd name="T79" fmla="*/ 22 h 82"/>
                    <a:gd name="T80" fmla="*/ 36 w 52"/>
                    <a:gd name="T81" fmla="*/ 40 h 82"/>
                    <a:gd name="T82" fmla="*/ 36 w 52"/>
                    <a:gd name="T83" fmla="*/ 40 h 82"/>
                    <a:gd name="T84" fmla="*/ 36 w 52"/>
                    <a:gd name="T85" fmla="*/ 60 h 82"/>
                    <a:gd name="T86" fmla="*/ 36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6" y="82"/>
                      </a:lnTo>
                      <a:lnTo>
                        <a:pt x="26" y="82"/>
                      </a:lnTo>
                      <a:lnTo>
                        <a:pt x="38" y="80"/>
                      </a:lnTo>
                      <a:lnTo>
                        <a:pt x="42" y="76"/>
                      </a:lnTo>
                      <a:lnTo>
                        <a:pt x="44" y="74"/>
                      </a:lnTo>
                      <a:lnTo>
                        <a:pt x="44" y="74"/>
                      </a:lnTo>
                      <a:lnTo>
                        <a:pt x="48" y="68"/>
                      </a:lnTo>
                      <a:lnTo>
                        <a:pt x="50" y="60"/>
                      </a:lnTo>
                      <a:lnTo>
                        <a:pt x="52" y="40"/>
                      </a:lnTo>
                      <a:lnTo>
                        <a:pt x="52" y="40"/>
                      </a:lnTo>
                      <a:lnTo>
                        <a:pt x="50" y="20"/>
                      </a:lnTo>
                      <a:lnTo>
                        <a:pt x="48" y="14"/>
                      </a:lnTo>
                      <a:lnTo>
                        <a:pt x="46" y="8"/>
                      </a:lnTo>
                      <a:lnTo>
                        <a:pt x="46" y="8"/>
                      </a:lnTo>
                      <a:lnTo>
                        <a:pt x="42" y="4"/>
                      </a:lnTo>
                      <a:lnTo>
                        <a:pt x="38" y="2"/>
                      </a:lnTo>
                      <a:lnTo>
                        <a:pt x="26" y="0"/>
                      </a:lnTo>
                      <a:lnTo>
                        <a:pt x="26" y="0"/>
                      </a:lnTo>
                      <a:lnTo>
                        <a:pt x="16" y="2"/>
                      </a:lnTo>
                      <a:lnTo>
                        <a:pt x="12" y="4"/>
                      </a:lnTo>
                      <a:lnTo>
                        <a:pt x="8" y="8"/>
                      </a:lnTo>
                      <a:lnTo>
                        <a:pt x="8" y="8"/>
                      </a:lnTo>
                      <a:lnTo>
                        <a:pt x="8" y="8"/>
                      </a:lnTo>
                      <a:close/>
                      <a:moveTo>
                        <a:pt x="32" y="14"/>
                      </a:moveTo>
                      <a:lnTo>
                        <a:pt x="32" y="14"/>
                      </a:lnTo>
                      <a:lnTo>
                        <a:pt x="36" y="22"/>
                      </a:lnTo>
                      <a:lnTo>
                        <a:pt x="36" y="22"/>
                      </a:lnTo>
                      <a:lnTo>
                        <a:pt x="36" y="40"/>
                      </a:lnTo>
                      <a:lnTo>
                        <a:pt x="36" y="40"/>
                      </a:lnTo>
                      <a:lnTo>
                        <a:pt x="36" y="60"/>
                      </a:lnTo>
                      <a:lnTo>
                        <a:pt x="36"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46" name="Freeform 50"/>
                <p:cNvSpPr>
                  <a:spLocks noEditPoints="1"/>
                </p:cNvSpPr>
                <p:nvPr/>
              </p:nvSpPr>
              <p:spPr bwMode="auto">
                <a:xfrm>
                  <a:off x="10911886" y="973276"/>
                  <a:ext cx="62647" cy="98789"/>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47" name="Freeform 22"/>
                <p:cNvSpPr>
                  <a:spLocks/>
                </p:cNvSpPr>
                <p:nvPr/>
              </p:nvSpPr>
              <p:spPr bwMode="auto">
                <a:xfrm>
                  <a:off x="10909989" y="1113644"/>
                  <a:ext cx="40961" cy="96380"/>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48" name="Freeform 51"/>
                <p:cNvSpPr>
                  <a:spLocks/>
                </p:cNvSpPr>
                <p:nvPr/>
              </p:nvSpPr>
              <p:spPr bwMode="auto">
                <a:xfrm>
                  <a:off x="10979835" y="912587"/>
                  <a:ext cx="66754" cy="157069"/>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49" name="Freeform 23"/>
                <p:cNvSpPr>
                  <a:spLocks noEditPoints="1"/>
                </p:cNvSpPr>
                <p:nvPr/>
              </p:nvSpPr>
              <p:spPr bwMode="auto">
                <a:xfrm>
                  <a:off x="10982352" y="1097033"/>
                  <a:ext cx="73181" cy="115401"/>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6 w 52"/>
                    <a:gd name="T17" fmla="*/ 72 h 82"/>
                    <a:gd name="T18" fmla="*/ 6 w 52"/>
                    <a:gd name="T19" fmla="*/ 72 h 82"/>
                    <a:gd name="T20" fmla="*/ 10 w 52"/>
                    <a:gd name="T21" fmla="*/ 76 h 82"/>
                    <a:gd name="T22" fmla="*/ 16 w 52"/>
                    <a:gd name="T23" fmla="*/ 80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2 h 82"/>
                    <a:gd name="T78" fmla="*/ 34 w 52"/>
                    <a:gd name="T79" fmla="*/ 22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8"/>
                      </a:lnTo>
                      <a:lnTo>
                        <a:pt x="6" y="72"/>
                      </a:lnTo>
                      <a:lnTo>
                        <a:pt x="6" y="72"/>
                      </a:lnTo>
                      <a:lnTo>
                        <a:pt x="10" y="76"/>
                      </a:lnTo>
                      <a:lnTo>
                        <a:pt x="16" y="80"/>
                      </a:lnTo>
                      <a:lnTo>
                        <a:pt x="20" y="80"/>
                      </a:lnTo>
                      <a:lnTo>
                        <a:pt x="26" y="82"/>
                      </a:lnTo>
                      <a:lnTo>
                        <a:pt x="26" y="82"/>
                      </a:lnTo>
                      <a:lnTo>
                        <a:pt x="36" y="80"/>
                      </a:lnTo>
                      <a:lnTo>
                        <a:pt x="40" y="76"/>
                      </a:lnTo>
                      <a:lnTo>
                        <a:pt x="44" y="74"/>
                      </a:lnTo>
                      <a:lnTo>
                        <a:pt x="44" y="74"/>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0" y="14"/>
                      </a:moveTo>
                      <a:lnTo>
                        <a:pt x="30" y="14"/>
                      </a:lnTo>
                      <a:lnTo>
                        <a:pt x="34" y="22"/>
                      </a:lnTo>
                      <a:lnTo>
                        <a:pt x="34" y="22"/>
                      </a:lnTo>
                      <a:lnTo>
                        <a:pt x="36" y="40"/>
                      </a:lnTo>
                      <a:lnTo>
                        <a:pt x="36" y="40"/>
                      </a:lnTo>
                      <a:lnTo>
                        <a:pt x="34" y="60"/>
                      </a:lnTo>
                      <a:lnTo>
                        <a:pt x="34" y="60"/>
                      </a:lnTo>
                      <a:lnTo>
                        <a:pt x="30" y="66"/>
                      </a:lnTo>
                      <a:lnTo>
                        <a:pt x="30" y="66"/>
                      </a:lnTo>
                      <a:lnTo>
                        <a:pt x="26" y="68"/>
                      </a:lnTo>
                      <a:lnTo>
                        <a:pt x="26" y="68"/>
                      </a:lnTo>
                      <a:lnTo>
                        <a:pt x="20" y="66"/>
                      </a:lnTo>
                      <a:lnTo>
                        <a:pt x="20" y="66"/>
                      </a:lnTo>
                      <a:lnTo>
                        <a:pt x="18" y="60"/>
                      </a:lnTo>
                      <a:lnTo>
                        <a:pt x="18" y="60"/>
                      </a:lnTo>
                      <a:lnTo>
                        <a:pt x="16" y="40"/>
                      </a:lnTo>
                      <a:lnTo>
                        <a:pt x="16" y="40"/>
                      </a:lnTo>
                      <a:lnTo>
                        <a:pt x="18" y="20"/>
                      </a:lnTo>
                      <a:lnTo>
                        <a:pt x="18" y="20"/>
                      </a:lnTo>
                      <a:lnTo>
                        <a:pt x="20" y="14"/>
                      </a:lnTo>
                      <a:lnTo>
                        <a:pt x="20" y="14"/>
                      </a:lnTo>
                      <a:lnTo>
                        <a:pt x="26" y="12"/>
                      </a:lnTo>
                      <a:lnTo>
                        <a:pt x="26" y="12"/>
                      </a:lnTo>
                      <a:lnTo>
                        <a:pt x="30" y="14"/>
                      </a:lnTo>
                      <a:lnTo>
                        <a:pt x="30" y="14"/>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50" name="Freeform 52"/>
                <p:cNvSpPr>
                  <a:spLocks noEditPoints="1"/>
                </p:cNvSpPr>
                <p:nvPr/>
              </p:nvSpPr>
              <p:spPr bwMode="auto">
                <a:xfrm>
                  <a:off x="11066763" y="964306"/>
                  <a:ext cx="68336" cy="1077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51" name="Freeform 24"/>
                <p:cNvSpPr>
                  <a:spLocks/>
                </p:cNvSpPr>
                <p:nvPr/>
              </p:nvSpPr>
              <p:spPr bwMode="auto">
                <a:xfrm>
                  <a:off x="11078918" y="1113644"/>
                  <a:ext cx="43371" cy="96380"/>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6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6"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52" name="Freeform 53"/>
                <p:cNvSpPr>
                  <a:spLocks/>
                </p:cNvSpPr>
                <p:nvPr/>
              </p:nvSpPr>
              <p:spPr bwMode="auto">
                <a:xfrm>
                  <a:off x="11151175" y="973276"/>
                  <a:ext cx="40961" cy="96380"/>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53" name="Freeform 25"/>
                <p:cNvSpPr>
                  <a:spLocks noEditPoints="1"/>
                </p:cNvSpPr>
                <p:nvPr/>
              </p:nvSpPr>
              <p:spPr bwMode="auto">
                <a:xfrm>
                  <a:off x="11153691" y="1068976"/>
                  <a:ext cx="94472" cy="143459"/>
                </a:xfrm>
                <a:custGeom>
                  <a:avLst/>
                  <a:gdLst>
                    <a:gd name="T0" fmla="*/ 8 w 54"/>
                    <a:gd name="T1" fmla="*/ 8 h 82"/>
                    <a:gd name="T2" fmla="*/ 8 w 54"/>
                    <a:gd name="T3" fmla="*/ 8 h 82"/>
                    <a:gd name="T4" fmla="*/ 6 w 54"/>
                    <a:gd name="T5" fmla="*/ 14 h 82"/>
                    <a:gd name="T6" fmla="*/ 2 w 54"/>
                    <a:gd name="T7" fmla="*/ 20 h 82"/>
                    <a:gd name="T8" fmla="*/ 0 w 54"/>
                    <a:gd name="T9" fmla="*/ 40 h 82"/>
                    <a:gd name="T10" fmla="*/ 0 w 54"/>
                    <a:gd name="T11" fmla="*/ 40 h 82"/>
                    <a:gd name="T12" fmla="*/ 2 w 54"/>
                    <a:gd name="T13" fmla="*/ 60 h 82"/>
                    <a:gd name="T14" fmla="*/ 4 w 54"/>
                    <a:gd name="T15" fmla="*/ 68 h 82"/>
                    <a:gd name="T16" fmla="*/ 8 w 54"/>
                    <a:gd name="T17" fmla="*/ 72 h 82"/>
                    <a:gd name="T18" fmla="*/ 8 w 54"/>
                    <a:gd name="T19" fmla="*/ 72 h 82"/>
                    <a:gd name="T20" fmla="*/ 12 w 54"/>
                    <a:gd name="T21" fmla="*/ 76 h 82"/>
                    <a:gd name="T22" fmla="*/ 16 w 54"/>
                    <a:gd name="T23" fmla="*/ 80 h 82"/>
                    <a:gd name="T24" fmla="*/ 22 w 54"/>
                    <a:gd name="T25" fmla="*/ 80 h 82"/>
                    <a:gd name="T26" fmla="*/ 28 w 54"/>
                    <a:gd name="T27" fmla="*/ 82 h 82"/>
                    <a:gd name="T28" fmla="*/ 28 w 54"/>
                    <a:gd name="T29" fmla="*/ 82 h 82"/>
                    <a:gd name="T30" fmla="*/ 38 w 54"/>
                    <a:gd name="T31" fmla="*/ 80 h 82"/>
                    <a:gd name="T32" fmla="*/ 42 w 54"/>
                    <a:gd name="T33" fmla="*/ 76 h 82"/>
                    <a:gd name="T34" fmla="*/ 46 w 54"/>
                    <a:gd name="T35" fmla="*/ 74 h 82"/>
                    <a:gd name="T36" fmla="*/ 46 w 54"/>
                    <a:gd name="T37" fmla="*/ 74 h 82"/>
                    <a:gd name="T38" fmla="*/ 48 w 54"/>
                    <a:gd name="T39" fmla="*/ 68 h 82"/>
                    <a:gd name="T40" fmla="*/ 52 w 54"/>
                    <a:gd name="T41" fmla="*/ 60 h 82"/>
                    <a:gd name="T42" fmla="*/ 54 w 54"/>
                    <a:gd name="T43" fmla="*/ 40 h 82"/>
                    <a:gd name="T44" fmla="*/ 54 w 54"/>
                    <a:gd name="T45" fmla="*/ 40 h 82"/>
                    <a:gd name="T46" fmla="*/ 52 w 54"/>
                    <a:gd name="T47" fmla="*/ 20 h 82"/>
                    <a:gd name="T48" fmla="*/ 48 w 54"/>
                    <a:gd name="T49" fmla="*/ 14 h 82"/>
                    <a:gd name="T50" fmla="*/ 46 w 54"/>
                    <a:gd name="T51" fmla="*/ 8 h 82"/>
                    <a:gd name="T52" fmla="*/ 46 w 54"/>
                    <a:gd name="T53" fmla="*/ 8 h 82"/>
                    <a:gd name="T54" fmla="*/ 42 w 54"/>
                    <a:gd name="T55" fmla="*/ 4 h 82"/>
                    <a:gd name="T56" fmla="*/ 38 w 54"/>
                    <a:gd name="T57" fmla="*/ 2 h 82"/>
                    <a:gd name="T58" fmla="*/ 28 w 54"/>
                    <a:gd name="T59" fmla="*/ 0 h 82"/>
                    <a:gd name="T60" fmla="*/ 28 w 54"/>
                    <a:gd name="T61" fmla="*/ 0 h 82"/>
                    <a:gd name="T62" fmla="*/ 16 w 54"/>
                    <a:gd name="T63" fmla="*/ 2 h 82"/>
                    <a:gd name="T64" fmla="*/ 12 w 54"/>
                    <a:gd name="T65" fmla="*/ 4 h 82"/>
                    <a:gd name="T66" fmla="*/ 8 w 54"/>
                    <a:gd name="T67" fmla="*/ 8 h 82"/>
                    <a:gd name="T68" fmla="*/ 8 w 54"/>
                    <a:gd name="T69" fmla="*/ 8 h 82"/>
                    <a:gd name="T70" fmla="*/ 8 w 54"/>
                    <a:gd name="T71" fmla="*/ 8 h 82"/>
                    <a:gd name="T72" fmla="*/ 32 w 54"/>
                    <a:gd name="T73" fmla="*/ 14 h 82"/>
                    <a:gd name="T74" fmla="*/ 32 w 54"/>
                    <a:gd name="T75" fmla="*/ 14 h 82"/>
                    <a:gd name="T76" fmla="*/ 36 w 54"/>
                    <a:gd name="T77" fmla="*/ 22 h 82"/>
                    <a:gd name="T78" fmla="*/ 36 w 54"/>
                    <a:gd name="T79" fmla="*/ 22 h 82"/>
                    <a:gd name="T80" fmla="*/ 38 w 54"/>
                    <a:gd name="T81" fmla="*/ 40 h 82"/>
                    <a:gd name="T82" fmla="*/ 38 w 54"/>
                    <a:gd name="T83" fmla="*/ 40 h 82"/>
                    <a:gd name="T84" fmla="*/ 36 w 54"/>
                    <a:gd name="T85" fmla="*/ 60 h 82"/>
                    <a:gd name="T86" fmla="*/ 36 w 54"/>
                    <a:gd name="T87" fmla="*/ 60 h 82"/>
                    <a:gd name="T88" fmla="*/ 32 w 54"/>
                    <a:gd name="T89" fmla="*/ 66 h 82"/>
                    <a:gd name="T90" fmla="*/ 32 w 54"/>
                    <a:gd name="T91" fmla="*/ 66 h 82"/>
                    <a:gd name="T92" fmla="*/ 28 w 54"/>
                    <a:gd name="T93" fmla="*/ 68 h 82"/>
                    <a:gd name="T94" fmla="*/ 28 w 54"/>
                    <a:gd name="T95" fmla="*/ 68 h 82"/>
                    <a:gd name="T96" fmla="*/ 22 w 54"/>
                    <a:gd name="T97" fmla="*/ 66 h 82"/>
                    <a:gd name="T98" fmla="*/ 22 w 54"/>
                    <a:gd name="T99" fmla="*/ 66 h 82"/>
                    <a:gd name="T100" fmla="*/ 18 w 54"/>
                    <a:gd name="T101" fmla="*/ 60 h 82"/>
                    <a:gd name="T102" fmla="*/ 18 w 54"/>
                    <a:gd name="T103" fmla="*/ 60 h 82"/>
                    <a:gd name="T104" fmla="*/ 18 w 54"/>
                    <a:gd name="T105" fmla="*/ 40 h 82"/>
                    <a:gd name="T106" fmla="*/ 18 w 54"/>
                    <a:gd name="T107" fmla="*/ 40 h 82"/>
                    <a:gd name="T108" fmla="*/ 18 w 54"/>
                    <a:gd name="T109" fmla="*/ 20 h 82"/>
                    <a:gd name="T110" fmla="*/ 18 w 54"/>
                    <a:gd name="T111" fmla="*/ 20 h 82"/>
                    <a:gd name="T112" fmla="*/ 22 w 54"/>
                    <a:gd name="T113" fmla="*/ 14 h 82"/>
                    <a:gd name="T114" fmla="*/ 22 w 54"/>
                    <a:gd name="T115" fmla="*/ 14 h 82"/>
                    <a:gd name="T116" fmla="*/ 28 w 54"/>
                    <a:gd name="T117" fmla="*/ 12 h 82"/>
                    <a:gd name="T118" fmla="*/ 28 w 54"/>
                    <a:gd name="T119" fmla="*/ 12 h 82"/>
                    <a:gd name="T120" fmla="*/ 32 w 54"/>
                    <a:gd name="T121" fmla="*/ 14 h 82"/>
                    <a:gd name="T122" fmla="*/ 32 w 54"/>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8" y="82"/>
                      </a:lnTo>
                      <a:lnTo>
                        <a:pt x="28" y="82"/>
                      </a:lnTo>
                      <a:lnTo>
                        <a:pt x="38" y="80"/>
                      </a:lnTo>
                      <a:lnTo>
                        <a:pt x="42" y="76"/>
                      </a:lnTo>
                      <a:lnTo>
                        <a:pt x="46" y="74"/>
                      </a:lnTo>
                      <a:lnTo>
                        <a:pt x="46" y="74"/>
                      </a:lnTo>
                      <a:lnTo>
                        <a:pt x="48" y="68"/>
                      </a:lnTo>
                      <a:lnTo>
                        <a:pt x="52" y="60"/>
                      </a:lnTo>
                      <a:lnTo>
                        <a:pt x="54" y="40"/>
                      </a:lnTo>
                      <a:lnTo>
                        <a:pt x="54" y="40"/>
                      </a:lnTo>
                      <a:lnTo>
                        <a:pt x="52" y="20"/>
                      </a:lnTo>
                      <a:lnTo>
                        <a:pt x="48" y="14"/>
                      </a:lnTo>
                      <a:lnTo>
                        <a:pt x="46" y="8"/>
                      </a:lnTo>
                      <a:lnTo>
                        <a:pt x="46" y="8"/>
                      </a:lnTo>
                      <a:lnTo>
                        <a:pt x="42" y="4"/>
                      </a:lnTo>
                      <a:lnTo>
                        <a:pt x="38" y="2"/>
                      </a:lnTo>
                      <a:lnTo>
                        <a:pt x="28" y="0"/>
                      </a:lnTo>
                      <a:lnTo>
                        <a:pt x="28" y="0"/>
                      </a:lnTo>
                      <a:lnTo>
                        <a:pt x="16" y="2"/>
                      </a:lnTo>
                      <a:lnTo>
                        <a:pt x="12" y="4"/>
                      </a:lnTo>
                      <a:lnTo>
                        <a:pt x="8" y="8"/>
                      </a:lnTo>
                      <a:lnTo>
                        <a:pt x="8" y="8"/>
                      </a:lnTo>
                      <a:lnTo>
                        <a:pt x="8" y="8"/>
                      </a:lnTo>
                      <a:close/>
                      <a:moveTo>
                        <a:pt x="32" y="14"/>
                      </a:moveTo>
                      <a:lnTo>
                        <a:pt x="32" y="14"/>
                      </a:lnTo>
                      <a:lnTo>
                        <a:pt x="36" y="22"/>
                      </a:lnTo>
                      <a:lnTo>
                        <a:pt x="36" y="22"/>
                      </a:lnTo>
                      <a:lnTo>
                        <a:pt x="38" y="40"/>
                      </a:lnTo>
                      <a:lnTo>
                        <a:pt x="38" y="40"/>
                      </a:lnTo>
                      <a:lnTo>
                        <a:pt x="36" y="60"/>
                      </a:lnTo>
                      <a:lnTo>
                        <a:pt x="36" y="60"/>
                      </a:lnTo>
                      <a:lnTo>
                        <a:pt x="32" y="66"/>
                      </a:lnTo>
                      <a:lnTo>
                        <a:pt x="32" y="66"/>
                      </a:lnTo>
                      <a:lnTo>
                        <a:pt x="28" y="68"/>
                      </a:lnTo>
                      <a:lnTo>
                        <a:pt x="28" y="68"/>
                      </a:lnTo>
                      <a:lnTo>
                        <a:pt x="22" y="66"/>
                      </a:lnTo>
                      <a:lnTo>
                        <a:pt x="22" y="66"/>
                      </a:lnTo>
                      <a:lnTo>
                        <a:pt x="18" y="60"/>
                      </a:lnTo>
                      <a:lnTo>
                        <a:pt x="18" y="60"/>
                      </a:lnTo>
                      <a:lnTo>
                        <a:pt x="18" y="40"/>
                      </a:lnTo>
                      <a:lnTo>
                        <a:pt x="18" y="40"/>
                      </a:lnTo>
                      <a:lnTo>
                        <a:pt x="18" y="20"/>
                      </a:lnTo>
                      <a:lnTo>
                        <a:pt x="18" y="20"/>
                      </a:lnTo>
                      <a:lnTo>
                        <a:pt x="22" y="14"/>
                      </a:lnTo>
                      <a:lnTo>
                        <a:pt x="22" y="14"/>
                      </a:lnTo>
                      <a:lnTo>
                        <a:pt x="28" y="12"/>
                      </a:lnTo>
                      <a:lnTo>
                        <a:pt x="28" y="12"/>
                      </a:lnTo>
                      <a:lnTo>
                        <a:pt x="32" y="14"/>
                      </a:lnTo>
                      <a:lnTo>
                        <a:pt x="32" y="14"/>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54" name="Freeform 54"/>
                <p:cNvSpPr>
                  <a:spLocks noEditPoints="1"/>
                </p:cNvSpPr>
                <p:nvPr/>
              </p:nvSpPr>
              <p:spPr bwMode="auto">
                <a:xfrm>
                  <a:off x="11240513" y="940023"/>
                  <a:ext cx="83734" cy="132043"/>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55" name="Freeform 26"/>
                <p:cNvSpPr>
                  <a:spLocks/>
                </p:cNvSpPr>
                <p:nvPr/>
              </p:nvSpPr>
              <p:spPr bwMode="auto">
                <a:xfrm>
                  <a:off x="11252668" y="1113644"/>
                  <a:ext cx="43371" cy="96380"/>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56" name="Freeform 55"/>
                <p:cNvSpPr>
                  <a:spLocks/>
                </p:cNvSpPr>
                <p:nvPr/>
              </p:nvSpPr>
              <p:spPr bwMode="auto">
                <a:xfrm>
                  <a:off x="11302975" y="868688"/>
                  <a:ext cx="90436" cy="200968"/>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6 w 36"/>
                    <a:gd name="T13" fmla="*/ 16 h 80"/>
                    <a:gd name="T14" fmla="*/ 0 w 36"/>
                    <a:gd name="T15" fmla="*/ 20 h 80"/>
                    <a:gd name="T16" fmla="*/ 0 w 36"/>
                    <a:gd name="T17" fmla="*/ 34 h 80"/>
                    <a:gd name="T18" fmla="*/ 0 w 36"/>
                    <a:gd name="T19" fmla="*/ 34 h 80"/>
                    <a:gd name="T20" fmla="*/ 12 w 36"/>
                    <a:gd name="T21" fmla="*/ 28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6" y="16"/>
                      </a:lnTo>
                      <a:lnTo>
                        <a:pt x="0" y="20"/>
                      </a:lnTo>
                      <a:lnTo>
                        <a:pt x="0" y="34"/>
                      </a:lnTo>
                      <a:lnTo>
                        <a:pt x="0" y="34"/>
                      </a:lnTo>
                      <a:lnTo>
                        <a:pt x="12" y="28"/>
                      </a:lnTo>
                      <a:lnTo>
                        <a:pt x="20" y="22"/>
                      </a:lnTo>
                      <a:lnTo>
                        <a:pt x="20" y="80"/>
                      </a:lnTo>
                      <a:lnTo>
                        <a:pt x="36" y="80"/>
                      </a:lnTo>
                      <a:lnTo>
                        <a:pt x="36" y="0"/>
                      </a:lnTo>
                      <a:lnTo>
                        <a:pt x="36" y="0"/>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57" name="Freeform 27"/>
                <p:cNvSpPr>
                  <a:spLocks noEditPoints="1"/>
                </p:cNvSpPr>
                <p:nvPr/>
              </p:nvSpPr>
              <p:spPr bwMode="auto">
                <a:xfrm>
                  <a:off x="11329851" y="1113644"/>
                  <a:ext cx="62647" cy="98789"/>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8 h 82"/>
                    <a:gd name="T16" fmla="*/ 8 w 52"/>
                    <a:gd name="T17" fmla="*/ 72 h 82"/>
                    <a:gd name="T18" fmla="*/ 8 w 52"/>
                    <a:gd name="T19" fmla="*/ 72 h 82"/>
                    <a:gd name="T20" fmla="*/ 12 w 52"/>
                    <a:gd name="T21" fmla="*/ 76 h 82"/>
                    <a:gd name="T22" fmla="*/ 16 w 52"/>
                    <a:gd name="T23" fmla="*/ 80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4 h 82"/>
                    <a:gd name="T36" fmla="*/ 44 w 52"/>
                    <a:gd name="T37" fmla="*/ 74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2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2 h 82"/>
                    <a:gd name="T78" fmla="*/ 34 w 52"/>
                    <a:gd name="T79" fmla="*/ 22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8"/>
                      </a:lnTo>
                      <a:lnTo>
                        <a:pt x="8" y="72"/>
                      </a:lnTo>
                      <a:lnTo>
                        <a:pt x="8" y="72"/>
                      </a:lnTo>
                      <a:lnTo>
                        <a:pt x="12" y="76"/>
                      </a:lnTo>
                      <a:lnTo>
                        <a:pt x="16" y="80"/>
                      </a:lnTo>
                      <a:lnTo>
                        <a:pt x="20" y="80"/>
                      </a:lnTo>
                      <a:lnTo>
                        <a:pt x="26" y="82"/>
                      </a:lnTo>
                      <a:lnTo>
                        <a:pt x="26" y="82"/>
                      </a:lnTo>
                      <a:lnTo>
                        <a:pt x="36" y="80"/>
                      </a:lnTo>
                      <a:lnTo>
                        <a:pt x="40" y="76"/>
                      </a:lnTo>
                      <a:lnTo>
                        <a:pt x="44" y="74"/>
                      </a:lnTo>
                      <a:lnTo>
                        <a:pt x="44" y="74"/>
                      </a:lnTo>
                      <a:lnTo>
                        <a:pt x="48" y="68"/>
                      </a:lnTo>
                      <a:lnTo>
                        <a:pt x="50" y="60"/>
                      </a:lnTo>
                      <a:lnTo>
                        <a:pt x="52" y="40"/>
                      </a:lnTo>
                      <a:lnTo>
                        <a:pt x="52" y="40"/>
                      </a:lnTo>
                      <a:lnTo>
                        <a:pt x="50" y="20"/>
                      </a:lnTo>
                      <a:lnTo>
                        <a:pt x="48" y="14"/>
                      </a:lnTo>
                      <a:lnTo>
                        <a:pt x="44" y="8"/>
                      </a:lnTo>
                      <a:lnTo>
                        <a:pt x="44" y="8"/>
                      </a:lnTo>
                      <a:lnTo>
                        <a:pt x="42" y="4"/>
                      </a:lnTo>
                      <a:lnTo>
                        <a:pt x="36" y="2"/>
                      </a:lnTo>
                      <a:lnTo>
                        <a:pt x="26" y="0"/>
                      </a:lnTo>
                      <a:lnTo>
                        <a:pt x="26" y="0"/>
                      </a:lnTo>
                      <a:lnTo>
                        <a:pt x="16" y="2"/>
                      </a:lnTo>
                      <a:lnTo>
                        <a:pt x="12" y="4"/>
                      </a:lnTo>
                      <a:lnTo>
                        <a:pt x="8" y="8"/>
                      </a:lnTo>
                      <a:lnTo>
                        <a:pt x="8" y="8"/>
                      </a:lnTo>
                      <a:lnTo>
                        <a:pt x="8" y="8"/>
                      </a:lnTo>
                      <a:close/>
                      <a:moveTo>
                        <a:pt x="32" y="14"/>
                      </a:moveTo>
                      <a:lnTo>
                        <a:pt x="32" y="14"/>
                      </a:lnTo>
                      <a:lnTo>
                        <a:pt x="34" y="22"/>
                      </a:lnTo>
                      <a:lnTo>
                        <a:pt x="34" y="22"/>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58" name="Freeform 50"/>
                <p:cNvSpPr>
                  <a:spLocks noEditPoints="1"/>
                </p:cNvSpPr>
                <p:nvPr/>
              </p:nvSpPr>
              <p:spPr bwMode="auto">
                <a:xfrm>
                  <a:off x="11414264" y="973276"/>
                  <a:ext cx="62647" cy="98789"/>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59" name="Freeform 22"/>
                <p:cNvSpPr>
                  <a:spLocks/>
                </p:cNvSpPr>
                <p:nvPr/>
              </p:nvSpPr>
              <p:spPr bwMode="auto">
                <a:xfrm>
                  <a:off x="11426311" y="1081810"/>
                  <a:ext cx="54490" cy="128213"/>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8 h 80"/>
                    <a:gd name="T14" fmla="*/ 0 w 34"/>
                    <a:gd name="T15" fmla="*/ 20 h 80"/>
                    <a:gd name="T16" fmla="*/ 0 w 34"/>
                    <a:gd name="T17" fmla="*/ 34 h 80"/>
                    <a:gd name="T18" fmla="*/ 0 w 34"/>
                    <a:gd name="T19" fmla="*/ 34 h 80"/>
                    <a:gd name="T20" fmla="*/ 10 w 34"/>
                    <a:gd name="T21" fmla="*/ 30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8"/>
                      </a:lnTo>
                      <a:lnTo>
                        <a:pt x="0" y="20"/>
                      </a:lnTo>
                      <a:lnTo>
                        <a:pt x="0" y="34"/>
                      </a:lnTo>
                      <a:lnTo>
                        <a:pt x="0" y="34"/>
                      </a:lnTo>
                      <a:lnTo>
                        <a:pt x="10" y="30"/>
                      </a:lnTo>
                      <a:lnTo>
                        <a:pt x="20" y="22"/>
                      </a:lnTo>
                      <a:lnTo>
                        <a:pt x="20" y="80"/>
                      </a:lnTo>
                      <a:lnTo>
                        <a:pt x="34" y="80"/>
                      </a:lnTo>
                      <a:lnTo>
                        <a:pt x="34" y="0"/>
                      </a:lnTo>
                      <a:lnTo>
                        <a:pt x="34" y="0"/>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60" name="Freeform 52"/>
                <p:cNvSpPr>
                  <a:spLocks noEditPoints="1"/>
                </p:cNvSpPr>
                <p:nvPr/>
              </p:nvSpPr>
              <p:spPr bwMode="auto">
                <a:xfrm>
                  <a:off x="10917675" y="738755"/>
                  <a:ext cx="87614" cy="138159"/>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61" name="Freeform 53"/>
                <p:cNvSpPr>
                  <a:spLocks/>
                </p:cNvSpPr>
                <p:nvPr/>
              </p:nvSpPr>
              <p:spPr bwMode="auto">
                <a:xfrm>
                  <a:off x="11015237" y="728675"/>
                  <a:ext cx="52516" cy="12356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62" name="Freeform 50"/>
                <p:cNvSpPr>
                  <a:spLocks noEditPoints="1"/>
                </p:cNvSpPr>
                <p:nvPr/>
              </p:nvSpPr>
              <p:spPr bwMode="auto">
                <a:xfrm>
                  <a:off x="10747298" y="973276"/>
                  <a:ext cx="62647" cy="98789"/>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sp>
              <p:nvSpPr>
                <p:cNvPr id="263" name="Freeform 50"/>
                <p:cNvSpPr>
                  <a:spLocks noEditPoints="1"/>
                </p:cNvSpPr>
                <p:nvPr/>
              </p:nvSpPr>
              <p:spPr bwMode="auto">
                <a:xfrm>
                  <a:off x="10711289" y="1116708"/>
                  <a:ext cx="62647" cy="98789"/>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0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0"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1">
                    <a:alpha val="3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FFFFFF">
                        <a:alpha val="0"/>
                      </a:srgbClr>
                    </a:solidFill>
                  </a:endParaRPr>
                </a:p>
              </p:txBody>
            </p:sp>
          </p:grpSp>
          <p:grpSp>
            <p:nvGrpSpPr>
              <p:cNvPr id="231" name="Group 230"/>
              <p:cNvGrpSpPr/>
              <p:nvPr/>
            </p:nvGrpSpPr>
            <p:grpSpPr>
              <a:xfrm>
                <a:off x="11569889" y="2863372"/>
                <a:ext cx="312599" cy="503801"/>
                <a:chOff x="7608888" y="1916113"/>
                <a:chExt cx="817563" cy="1317624"/>
              </a:xfrm>
            </p:grpSpPr>
            <p:sp>
              <p:nvSpPr>
                <p:cNvPr id="240" name="Freeform 79"/>
                <p:cNvSpPr>
                  <a:spLocks/>
                </p:cNvSpPr>
                <p:nvPr/>
              </p:nvSpPr>
              <p:spPr bwMode="auto">
                <a:xfrm>
                  <a:off x="7764463" y="1916113"/>
                  <a:ext cx="504825" cy="576262"/>
                </a:xfrm>
                <a:custGeom>
                  <a:avLst/>
                  <a:gdLst>
                    <a:gd name="T0" fmla="*/ 68 w 68"/>
                    <a:gd name="T1" fmla="*/ 78 h 78"/>
                    <a:gd name="T2" fmla="*/ 53 w 68"/>
                    <a:gd name="T3" fmla="*/ 78 h 78"/>
                    <a:gd name="T4" fmla="*/ 53 w 68"/>
                    <a:gd name="T5" fmla="*/ 34 h 78"/>
                    <a:gd name="T6" fmla="*/ 34 w 68"/>
                    <a:gd name="T7" fmla="*/ 15 h 78"/>
                    <a:gd name="T8" fmla="*/ 15 w 68"/>
                    <a:gd name="T9" fmla="*/ 34 h 78"/>
                    <a:gd name="T10" fmla="*/ 15 w 68"/>
                    <a:gd name="T11" fmla="*/ 78 h 78"/>
                    <a:gd name="T12" fmla="*/ 0 w 68"/>
                    <a:gd name="T13" fmla="*/ 78 h 78"/>
                    <a:gd name="T14" fmla="*/ 0 w 68"/>
                    <a:gd name="T15" fmla="*/ 34 h 78"/>
                    <a:gd name="T16" fmla="*/ 34 w 68"/>
                    <a:gd name="T17" fmla="*/ 0 h 78"/>
                    <a:gd name="T18" fmla="*/ 68 w 68"/>
                    <a:gd name="T19" fmla="*/ 34 h 78"/>
                    <a:gd name="T20" fmla="*/ 68 w 68"/>
                    <a:gd name="T2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78">
                      <a:moveTo>
                        <a:pt x="68" y="78"/>
                      </a:moveTo>
                      <a:cubicBezTo>
                        <a:pt x="53" y="78"/>
                        <a:pt x="53" y="78"/>
                        <a:pt x="53" y="78"/>
                      </a:cubicBezTo>
                      <a:cubicBezTo>
                        <a:pt x="53" y="34"/>
                        <a:pt x="53" y="34"/>
                        <a:pt x="53" y="34"/>
                      </a:cubicBezTo>
                      <a:cubicBezTo>
                        <a:pt x="53" y="23"/>
                        <a:pt x="44" y="15"/>
                        <a:pt x="34" y="15"/>
                      </a:cubicBezTo>
                      <a:cubicBezTo>
                        <a:pt x="23" y="15"/>
                        <a:pt x="15" y="23"/>
                        <a:pt x="15" y="34"/>
                      </a:cubicBezTo>
                      <a:cubicBezTo>
                        <a:pt x="15" y="78"/>
                        <a:pt x="15" y="78"/>
                        <a:pt x="15" y="78"/>
                      </a:cubicBezTo>
                      <a:cubicBezTo>
                        <a:pt x="0" y="78"/>
                        <a:pt x="0" y="78"/>
                        <a:pt x="0" y="78"/>
                      </a:cubicBezTo>
                      <a:cubicBezTo>
                        <a:pt x="0" y="34"/>
                        <a:pt x="0" y="34"/>
                        <a:pt x="0" y="34"/>
                      </a:cubicBezTo>
                      <a:cubicBezTo>
                        <a:pt x="0" y="15"/>
                        <a:pt x="15" y="0"/>
                        <a:pt x="34" y="0"/>
                      </a:cubicBezTo>
                      <a:cubicBezTo>
                        <a:pt x="53" y="0"/>
                        <a:pt x="68" y="15"/>
                        <a:pt x="68" y="34"/>
                      </a:cubicBezTo>
                      <a:lnTo>
                        <a:pt x="68" y="78"/>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41" name="Rectangle 80"/>
                <p:cNvSpPr>
                  <a:spLocks noChangeArrowheads="1"/>
                </p:cNvSpPr>
                <p:nvPr/>
              </p:nvSpPr>
              <p:spPr bwMode="auto">
                <a:xfrm>
                  <a:off x="7608888" y="2470150"/>
                  <a:ext cx="817563" cy="7635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42" name="Rectangle 81"/>
                <p:cNvSpPr>
                  <a:spLocks noChangeArrowheads="1"/>
                </p:cNvSpPr>
                <p:nvPr/>
              </p:nvSpPr>
              <p:spPr bwMode="auto">
                <a:xfrm>
                  <a:off x="7608888" y="2470150"/>
                  <a:ext cx="215900" cy="76358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43" name="Freeform 82"/>
                <p:cNvSpPr>
                  <a:spLocks/>
                </p:cNvSpPr>
                <p:nvPr/>
              </p:nvSpPr>
              <p:spPr bwMode="auto">
                <a:xfrm>
                  <a:off x="7935913" y="2714625"/>
                  <a:ext cx="163513" cy="296862"/>
                </a:xfrm>
                <a:custGeom>
                  <a:avLst/>
                  <a:gdLst>
                    <a:gd name="T0" fmla="*/ 22 w 22"/>
                    <a:gd name="T1" fmla="*/ 11 h 40"/>
                    <a:gd name="T2" fmla="*/ 11 w 22"/>
                    <a:gd name="T3" fmla="*/ 0 h 40"/>
                    <a:gd name="T4" fmla="*/ 0 w 22"/>
                    <a:gd name="T5" fmla="*/ 11 h 40"/>
                    <a:gd name="T6" fmla="*/ 7 w 22"/>
                    <a:gd name="T7" fmla="*/ 22 h 40"/>
                    <a:gd name="T8" fmla="*/ 7 w 22"/>
                    <a:gd name="T9" fmla="*/ 40 h 40"/>
                    <a:gd name="T10" fmla="*/ 15 w 22"/>
                    <a:gd name="T11" fmla="*/ 40 h 40"/>
                    <a:gd name="T12" fmla="*/ 15 w 22"/>
                    <a:gd name="T13" fmla="*/ 22 h 40"/>
                    <a:gd name="T14" fmla="*/ 22 w 22"/>
                    <a:gd name="T15" fmla="*/ 11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0">
                      <a:moveTo>
                        <a:pt x="22" y="11"/>
                      </a:moveTo>
                      <a:cubicBezTo>
                        <a:pt x="22" y="5"/>
                        <a:pt x="17" y="0"/>
                        <a:pt x="11" y="0"/>
                      </a:cubicBezTo>
                      <a:cubicBezTo>
                        <a:pt x="5" y="0"/>
                        <a:pt x="0" y="5"/>
                        <a:pt x="0" y="11"/>
                      </a:cubicBezTo>
                      <a:cubicBezTo>
                        <a:pt x="0" y="16"/>
                        <a:pt x="3" y="20"/>
                        <a:pt x="7" y="22"/>
                      </a:cubicBezTo>
                      <a:cubicBezTo>
                        <a:pt x="7" y="40"/>
                        <a:pt x="7" y="40"/>
                        <a:pt x="7" y="40"/>
                      </a:cubicBezTo>
                      <a:cubicBezTo>
                        <a:pt x="15" y="40"/>
                        <a:pt x="15" y="40"/>
                        <a:pt x="15" y="40"/>
                      </a:cubicBezTo>
                      <a:cubicBezTo>
                        <a:pt x="15" y="22"/>
                        <a:pt x="15" y="22"/>
                        <a:pt x="15" y="22"/>
                      </a:cubicBezTo>
                      <a:cubicBezTo>
                        <a:pt x="19" y="20"/>
                        <a:pt x="22" y="16"/>
                        <a:pt x="22"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nvGrpSpPr>
              <p:cNvPr id="232" name="Group 231"/>
              <p:cNvGrpSpPr/>
              <p:nvPr/>
            </p:nvGrpSpPr>
            <p:grpSpPr>
              <a:xfrm>
                <a:off x="9451981" y="5376519"/>
                <a:ext cx="124786" cy="107500"/>
                <a:chOff x="1560654" y="989292"/>
                <a:chExt cx="4521339" cy="3895044"/>
              </a:xfrm>
              <a:solidFill>
                <a:schemeClr val="accent3"/>
              </a:solidFill>
            </p:grpSpPr>
            <p:sp>
              <p:nvSpPr>
                <p:cNvPr id="238" name="Freeform 237"/>
                <p:cNvSpPr/>
                <p:nvPr/>
              </p:nvSpPr>
              <p:spPr>
                <a:xfrm>
                  <a:off x="1560654" y="989292"/>
                  <a:ext cx="4521339" cy="3895044"/>
                </a:xfrm>
                <a:custGeom>
                  <a:avLst/>
                  <a:gdLst>
                    <a:gd name="connsiteX0" fmla="*/ 2264485 w 4521339"/>
                    <a:gd name="connsiteY0" fmla="*/ 753739 h 3895044"/>
                    <a:gd name="connsiteX1" fmla="*/ 2207144 w 4521339"/>
                    <a:gd name="connsiteY1" fmla="*/ 792325 h 3895044"/>
                    <a:gd name="connsiteX2" fmla="*/ 711730 w 4521339"/>
                    <a:gd name="connsiteY2" fmla="*/ 3370625 h 3895044"/>
                    <a:gd name="connsiteX3" fmla="*/ 711730 w 4521339"/>
                    <a:gd name="connsiteY3" fmla="*/ 3512858 h 3895044"/>
                    <a:gd name="connsiteX4" fmla="*/ 3815975 w 4521339"/>
                    <a:gd name="connsiteY4" fmla="*/ 3512858 h 3895044"/>
                    <a:gd name="connsiteX5" fmla="*/ 3815975 w 4521339"/>
                    <a:gd name="connsiteY5" fmla="*/ 3370627 h 3895044"/>
                    <a:gd name="connsiteX6" fmla="*/ 2320559 w 4521339"/>
                    <a:gd name="connsiteY6" fmla="*/ 792325 h 3895044"/>
                    <a:gd name="connsiteX7" fmla="*/ 2264485 w 4521339"/>
                    <a:gd name="connsiteY7" fmla="*/ 753739 h 3895044"/>
                    <a:gd name="connsiteX8" fmla="*/ 2266054 w 4521339"/>
                    <a:gd name="connsiteY8" fmla="*/ 33 h 3895044"/>
                    <a:gd name="connsiteX9" fmla="*/ 2345214 w 4521339"/>
                    <a:gd name="connsiteY9" fmla="*/ 54504 h 3895044"/>
                    <a:gd name="connsiteX10" fmla="*/ 4456271 w 4521339"/>
                    <a:gd name="connsiteY10" fmla="*/ 3694258 h 3895044"/>
                    <a:gd name="connsiteX11" fmla="*/ 4456271 w 4521339"/>
                    <a:gd name="connsiteY11" fmla="*/ 3895044 h 3895044"/>
                    <a:gd name="connsiteX12" fmla="*/ 74052 w 4521339"/>
                    <a:gd name="connsiteY12" fmla="*/ 3895044 h 3895044"/>
                    <a:gd name="connsiteX13" fmla="*/ 74052 w 4521339"/>
                    <a:gd name="connsiteY13" fmla="*/ 3694256 h 3895044"/>
                    <a:gd name="connsiteX14" fmla="*/ 2185108 w 4521339"/>
                    <a:gd name="connsiteY14" fmla="*/ 54504 h 3895044"/>
                    <a:gd name="connsiteX15" fmla="*/ 2266054 w 4521339"/>
                    <a:gd name="connsiteY15" fmla="*/ 33 h 3895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21339" h="3895044">
                      <a:moveTo>
                        <a:pt x="2264485" y="753739"/>
                      </a:moveTo>
                      <a:cubicBezTo>
                        <a:pt x="2242419" y="753107"/>
                        <a:pt x="2220143" y="765336"/>
                        <a:pt x="2207144" y="792325"/>
                      </a:cubicBezTo>
                      <a:lnTo>
                        <a:pt x="711730" y="3370625"/>
                      </a:lnTo>
                      <a:cubicBezTo>
                        <a:pt x="634137" y="3491132"/>
                        <a:pt x="649880" y="3509867"/>
                        <a:pt x="711730" y="3512858"/>
                      </a:cubicBezTo>
                      <a:lnTo>
                        <a:pt x="3815975" y="3512858"/>
                      </a:lnTo>
                      <a:cubicBezTo>
                        <a:pt x="3890194" y="3502557"/>
                        <a:pt x="3863205" y="3448400"/>
                        <a:pt x="3815975" y="3370627"/>
                      </a:cubicBezTo>
                      <a:lnTo>
                        <a:pt x="2320559" y="792325"/>
                      </a:lnTo>
                      <a:cubicBezTo>
                        <a:pt x="2308404" y="767866"/>
                        <a:pt x="2286550" y="754372"/>
                        <a:pt x="2264485" y="753739"/>
                      </a:cubicBezTo>
                      <a:close/>
                      <a:moveTo>
                        <a:pt x="2266054" y="33"/>
                      </a:moveTo>
                      <a:cubicBezTo>
                        <a:pt x="2297204" y="926"/>
                        <a:pt x="2328055" y="19976"/>
                        <a:pt x="2345214" y="54504"/>
                      </a:cubicBezTo>
                      <a:lnTo>
                        <a:pt x="4456271" y="3694258"/>
                      </a:lnTo>
                      <a:cubicBezTo>
                        <a:pt x="4522946" y="3804049"/>
                        <a:pt x="4561046" y="3880502"/>
                        <a:pt x="4456271" y="3895044"/>
                      </a:cubicBezTo>
                      <a:lnTo>
                        <a:pt x="74052" y="3895044"/>
                      </a:lnTo>
                      <a:cubicBezTo>
                        <a:pt x="-13260" y="3890821"/>
                        <a:pt x="-35485" y="3864373"/>
                        <a:pt x="74052" y="3694256"/>
                      </a:cubicBezTo>
                      <a:lnTo>
                        <a:pt x="2185108" y="54504"/>
                      </a:lnTo>
                      <a:cubicBezTo>
                        <a:pt x="2203458" y="16404"/>
                        <a:pt x="2234905" y="-860"/>
                        <a:pt x="2266054" y="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p>
              </p:txBody>
            </p:sp>
            <p:sp>
              <p:nvSpPr>
                <p:cNvPr id="239" name="Freeform 238"/>
                <p:cNvSpPr/>
                <p:nvPr/>
              </p:nvSpPr>
              <p:spPr>
                <a:xfrm>
                  <a:off x="3583149" y="2287492"/>
                  <a:ext cx="476348" cy="2059371"/>
                </a:xfrm>
                <a:custGeom>
                  <a:avLst/>
                  <a:gdLst>
                    <a:gd name="connsiteX0" fmla="*/ 238174 w 476348"/>
                    <a:gd name="connsiteY0" fmla="*/ 1663131 h 2059371"/>
                    <a:gd name="connsiteX1" fmla="*/ 436294 w 476348"/>
                    <a:gd name="connsiteY1" fmla="*/ 1861251 h 2059371"/>
                    <a:gd name="connsiteX2" fmla="*/ 238174 w 476348"/>
                    <a:gd name="connsiteY2" fmla="*/ 2059371 h 2059371"/>
                    <a:gd name="connsiteX3" fmla="*/ 40054 w 476348"/>
                    <a:gd name="connsiteY3" fmla="*/ 1861251 h 2059371"/>
                    <a:gd name="connsiteX4" fmla="*/ 238174 w 476348"/>
                    <a:gd name="connsiteY4" fmla="*/ 1663131 h 2059371"/>
                    <a:gd name="connsiteX5" fmla="*/ 241855 w 476348"/>
                    <a:gd name="connsiteY5" fmla="*/ 50 h 2059371"/>
                    <a:gd name="connsiteX6" fmla="*/ 316495 w 476348"/>
                    <a:gd name="connsiteY6" fmla="*/ 13115 h 2059371"/>
                    <a:gd name="connsiteX7" fmla="*/ 476348 w 476348"/>
                    <a:gd name="connsiteY7" fmla="*/ 280638 h 2059371"/>
                    <a:gd name="connsiteX8" fmla="*/ 400447 w 476348"/>
                    <a:gd name="connsiteY8" fmla="*/ 1404251 h 2059371"/>
                    <a:gd name="connsiteX9" fmla="*/ 254908 w 476348"/>
                    <a:gd name="connsiteY9" fmla="*/ 1574332 h 2059371"/>
                    <a:gd name="connsiteX10" fmla="*/ 238174 w 476348"/>
                    <a:gd name="connsiteY10" fmla="*/ 1575847 h 2059371"/>
                    <a:gd name="connsiteX11" fmla="*/ 221440 w 476348"/>
                    <a:gd name="connsiteY11" fmla="*/ 1574332 h 2059371"/>
                    <a:gd name="connsiteX12" fmla="*/ 75902 w 476348"/>
                    <a:gd name="connsiteY12" fmla="*/ 1404251 h 2059371"/>
                    <a:gd name="connsiteX13" fmla="*/ 0 w 476348"/>
                    <a:gd name="connsiteY13" fmla="*/ 280638 h 2059371"/>
                    <a:gd name="connsiteX14" fmla="*/ 159853 w 476348"/>
                    <a:gd name="connsiteY14" fmla="*/ 13115 h 2059371"/>
                    <a:gd name="connsiteX15" fmla="*/ 241855 w 476348"/>
                    <a:gd name="connsiteY15" fmla="*/ 50 h 205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6348" h="2059371">
                      <a:moveTo>
                        <a:pt x="238174" y="1663131"/>
                      </a:moveTo>
                      <a:cubicBezTo>
                        <a:pt x="347593" y="1663131"/>
                        <a:pt x="436294" y="1751832"/>
                        <a:pt x="436294" y="1861251"/>
                      </a:cubicBezTo>
                      <a:cubicBezTo>
                        <a:pt x="436294" y="1970670"/>
                        <a:pt x="347593" y="2059371"/>
                        <a:pt x="238174" y="2059371"/>
                      </a:cubicBezTo>
                      <a:cubicBezTo>
                        <a:pt x="128755" y="2059371"/>
                        <a:pt x="40054" y="1970670"/>
                        <a:pt x="40054" y="1861251"/>
                      </a:cubicBezTo>
                      <a:cubicBezTo>
                        <a:pt x="40054" y="1751832"/>
                        <a:pt x="128755" y="1663131"/>
                        <a:pt x="238174" y="1663131"/>
                      </a:cubicBezTo>
                      <a:close/>
                      <a:moveTo>
                        <a:pt x="241855" y="50"/>
                      </a:moveTo>
                      <a:cubicBezTo>
                        <a:pt x="266244" y="594"/>
                        <a:pt x="289406" y="5493"/>
                        <a:pt x="316495" y="13115"/>
                      </a:cubicBezTo>
                      <a:cubicBezTo>
                        <a:pt x="410433" y="57191"/>
                        <a:pt x="476348" y="160376"/>
                        <a:pt x="476348" y="280638"/>
                      </a:cubicBezTo>
                      <a:cubicBezTo>
                        <a:pt x="460644" y="652272"/>
                        <a:pt x="424002" y="1108105"/>
                        <a:pt x="400447" y="1404251"/>
                      </a:cubicBezTo>
                      <a:cubicBezTo>
                        <a:pt x="391286" y="1493748"/>
                        <a:pt x="352525" y="1557777"/>
                        <a:pt x="254908" y="1574332"/>
                      </a:cubicBezTo>
                      <a:lnTo>
                        <a:pt x="238174" y="1575847"/>
                      </a:lnTo>
                      <a:lnTo>
                        <a:pt x="221440" y="1574332"/>
                      </a:lnTo>
                      <a:cubicBezTo>
                        <a:pt x="123823" y="1557777"/>
                        <a:pt x="85063" y="1493748"/>
                        <a:pt x="75902" y="1404251"/>
                      </a:cubicBezTo>
                      <a:cubicBezTo>
                        <a:pt x="52346" y="1108105"/>
                        <a:pt x="15704" y="652272"/>
                        <a:pt x="0" y="280638"/>
                      </a:cubicBezTo>
                      <a:cubicBezTo>
                        <a:pt x="0" y="160376"/>
                        <a:pt x="65915" y="57191"/>
                        <a:pt x="159853" y="13115"/>
                      </a:cubicBezTo>
                      <a:cubicBezTo>
                        <a:pt x="191849" y="3316"/>
                        <a:pt x="217465" y="-495"/>
                        <a:pt x="241855" y="5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p>
              </p:txBody>
            </p:sp>
          </p:grpSp>
          <p:grpSp>
            <p:nvGrpSpPr>
              <p:cNvPr id="233" name="Group 232"/>
              <p:cNvGrpSpPr/>
              <p:nvPr/>
            </p:nvGrpSpPr>
            <p:grpSpPr>
              <a:xfrm>
                <a:off x="10051267" y="5340125"/>
                <a:ext cx="183213" cy="244583"/>
                <a:chOff x="3570520" y="3238868"/>
                <a:chExt cx="967985" cy="1292224"/>
              </a:xfrm>
              <a:solidFill>
                <a:schemeClr val="accent2"/>
              </a:solidFill>
            </p:grpSpPr>
            <p:sp>
              <p:nvSpPr>
                <p:cNvPr id="235" name="Freeform 234"/>
                <p:cNvSpPr/>
                <p:nvPr/>
              </p:nvSpPr>
              <p:spPr>
                <a:xfrm>
                  <a:off x="3911189" y="3654747"/>
                  <a:ext cx="471865" cy="876345"/>
                </a:xfrm>
                <a:custGeom>
                  <a:avLst/>
                  <a:gdLst>
                    <a:gd name="connsiteX0" fmla="*/ 520694 w 1727200"/>
                    <a:gd name="connsiteY0" fmla="*/ 0 h 3207743"/>
                    <a:gd name="connsiteX1" fmla="*/ 663234 w 1727200"/>
                    <a:gd name="connsiteY1" fmla="*/ 142540 h 3207743"/>
                    <a:gd name="connsiteX2" fmla="*/ 663234 w 1727200"/>
                    <a:gd name="connsiteY2" fmla="*/ 1431032 h 3207743"/>
                    <a:gd name="connsiteX3" fmla="*/ 699688 w 1727200"/>
                    <a:gd name="connsiteY3" fmla="*/ 1452535 h 3207743"/>
                    <a:gd name="connsiteX4" fmla="*/ 699687 w 1727200"/>
                    <a:gd name="connsiteY4" fmla="*/ 1452536 h 3207743"/>
                    <a:gd name="connsiteX5" fmla="*/ 732416 w 1727200"/>
                    <a:gd name="connsiteY5" fmla="*/ 1419807 h 3207743"/>
                    <a:gd name="connsiteX6" fmla="*/ 732417 w 1727200"/>
                    <a:gd name="connsiteY6" fmla="*/ 786706 h 3207743"/>
                    <a:gd name="connsiteX7" fmla="*/ 873762 w 1727200"/>
                    <a:gd name="connsiteY7" fmla="*/ 650076 h 3207743"/>
                    <a:gd name="connsiteX8" fmla="*/ 1016302 w 1727200"/>
                    <a:gd name="connsiteY8" fmla="*/ 792616 h 3207743"/>
                    <a:gd name="connsiteX9" fmla="*/ 1016302 w 1727200"/>
                    <a:gd name="connsiteY9" fmla="*/ 1431282 h 3207743"/>
                    <a:gd name="connsiteX10" fmla="*/ 1053055 w 1727200"/>
                    <a:gd name="connsiteY10" fmla="*/ 1452535 h 3207743"/>
                    <a:gd name="connsiteX11" fmla="*/ 1053054 w 1727200"/>
                    <a:gd name="connsiteY11" fmla="*/ 1452536 h 3207743"/>
                    <a:gd name="connsiteX12" fmla="*/ 1093536 w 1727200"/>
                    <a:gd name="connsiteY12" fmla="*/ 1430727 h 3207743"/>
                    <a:gd name="connsiteX13" fmla="*/ 1093536 w 1727200"/>
                    <a:gd name="connsiteY13" fmla="*/ 966467 h 3207743"/>
                    <a:gd name="connsiteX14" fmla="*/ 1236075 w 1727200"/>
                    <a:gd name="connsiteY14" fmla="*/ 823927 h 3207743"/>
                    <a:gd name="connsiteX15" fmla="*/ 1378615 w 1727200"/>
                    <a:gd name="connsiteY15" fmla="*/ 966467 h 3207743"/>
                    <a:gd name="connsiteX16" fmla="*/ 1378615 w 1727200"/>
                    <a:gd name="connsiteY16" fmla="*/ 1428680 h 3207743"/>
                    <a:gd name="connsiteX17" fmla="*/ 1378615 w 1727200"/>
                    <a:gd name="connsiteY17" fmla="*/ 1430351 h 3207743"/>
                    <a:gd name="connsiteX18" fmla="*/ 1413132 w 1727200"/>
                    <a:gd name="connsiteY18" fmla="*/ 1452535 h 3207743"/>
                    <a:gd name="connsiteX19" fmla="*/ 1413131 w 1727200"/>
                    <a:gd name="connsiteY19" fmla="*/ 1452536 h 3207743"/>
                    <a:gd name="connsiteX20" fmla="*/ 1445860 w 1727200"/>
                    <a:gd name="connsiteY20" fmla="*/ 1419807 h 3207743"/>
                    <a:gd name="connsiteX21" fmla="*/ 1445860 w 1727200"/>
                    <a:gd name="connsiteY21" fmla="*/ 1136852 h 3207743"/>
                    <a:gd name="connsiteX22" fmla="*/ 1582884 w 1727200"/>
                    <a:gd name="connsiteY22" fmla="*/ 1021631 h 3207743"/>
                    <a:gd name="connsiteX23" fmla="*/ 1725424 w 1727200"/>
                    <a:gd name="connsiteY23" fmla="*/ 1164170 h 3207743"/>
                    <a:gd name="connsiteX24" fmla="*/ 1725424 w 1727200"/>
                    <a:gd name="connsiteY24" fmla="*/ 1578672 h 3207743"/>
                    <a:gd name="connsiteX25" fmla="*/ 1725424 w 1727200"/>
                    <a:gd name="connsiteY25" fmla="*/ 1832860 h 3207743"/>
                    <a:gd name="connsiteX26" fmla="*/ 1727200 w 1727200"/>
                    <a:gd name="connsiteY26" fmla="*/ 2296059 h 3207743"/>
                    <a:gd name="connsiteX27" fmla="*/ 1585724 w 1727200"/>
                    <a:gd name="connsiteY27" fmla="*/ 2765959 h 3207743"/>
                    <a:gd name="connsiteX28" fmla="*/ 1585724 w 1727200"/>
                    <a:gd name="connsiteY28" fmla="*/ 3207743 h 3207743"/>
                    <a:gd name="connsiteX29" fmla="*/ 560654 w 1727200"/>
                    <a:gd name="connsiteY29" fmla="*/ 3201393 h 3207743"/>
                    <a:gd name="connsiteX30" fmla="*/ 560654 w 1727200"/>
                    <a:gd name="connsiteY30" fmla="*/ 2804760 h 3207743"/>
                    <a:gd name="connsiteX31" fmla="*/ 40849 w 1727200"/>
                    <a:gd name="connsiteY31" fmla="*/ 2361526 h 3207743"/>
                    <a:gd name="connsiteX32" fmla="*/ 0 w 1727200"/>
                    <a:gd name="connsiteY32" fmla="*/ 2298574 h 3207743"/>
                    <a:gd name="connsiteX33" fmla="*/ 2720 w 1727200"/>
                    <a:gd name="connsiteY33" fmla="*/ 1140316 h 3207743"/>
                    <a:gd name="connsiteX34" fmla="*/ 145260 w 1727200"/>
                    <a:gd name="connsiteY34" fmla="*/ 997776 h 3207743"/>
                    <a:gd name="connsiteX35" fmla="*/ 287800 w 1727200"/>
                    <a:gd name="connsiteY35" fmla="*/ 1140316 h 3207743"/>
                    <a:gd name="connsiteX36" fmla="*/ 287800 w 1727200"/>
                    <a:gd name="connsiteY36" fmla="*/ 1770794 h 3207743"/>
                    <a:gd name="connsiteX37" fmla="*/ 290130 w 1727200"/>
                    <a:gd name="connsiteY37" fmla="*/ 1770777 h 3207743"/>
                    <a:gd name="connsiteX38" fmla="*/ 332978 w 1727200"/>
                    <a:gd name="connsiteY38" fmla="*/ 1804413 h 3207743"/>
                    <a:gd name="connsiteX39" fmla="*/ 332977 w 1727200"/>
                    <a:gd name="connsiteY39" fmla="*/ 1804414 h 3207743"/>
                    <a:gd name="connsiteX40" fmla="*/ 375950 w 1727200"/>
                    <a:gd name="connsiteY40" fmla="*/ 1770161 h 3207743"/>
                    <a:gd name="connsiteX41" fmla="*/ 378155 w 1727200"/>
                    <a:gd name="connsiteY41" fmla="*/ 1770145 h 3207743"/>
                    <a:gd name="connsiteX42" fmla="*/ 378156 w 1727200"/>
                    <a:gd name="connsiteY42" fmla="*/ 268830 h 3207743"/>
                    <a:gd name="connsiteX43" fmla="*/ 378155 w 1727200"/>
                    <a:gd name="connsiteY43" fmla="*/ 268825 h 3207743"/>
                    <a:gd name="connsiteX44" fmla="*/ 378155 w 1727200"/>
                    <a:gd name="connsiteY44" fmla="*/ 142540 h 3207743"/>
                    <a:gd name="connsiteX45" fmla="*/ 520694 w 1727200"/>
                    <a:gd name="connsiteY45" fmla="*/ 0 h 320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727200" h="3207743">
                      <a:moveTo>
                        <a:pt x="520694" y="0"/>
                      </a:moveTo>
                      <a:cubicBezTo>
                        <a:pt x="599416" y="0"/>
                        <a:pt x="663234" y="63818"/>
                        <a:pt x="663234" y="142540"/>
                      </a:cubicBezTo>
                      <a:lnTo>
                        <a:pt x="663234" y="1431032"/>
                      </a:lnTo>
                      <a:cubicBezTo>
                        <a:pt x="675386" y="1453855"/>
                        <a:pt x="687536" y="1445368"/>
                        <a:pt x="699688" y="1452535"/>
                      </a:cubicBezTo>
                      <a:lnTo>
                        <a:pt x="699687" y="1452536"/>
                      </a:lnTo>
                      <a:cubicBezTo>
                        <a:pt x="705142" y="1447081"/>
                        <a:pt x="733670" y="1448028"/>
                        <a:pt x="732416" y="1419807"/>
                      </a:cubicBezTo>
                      <a:cubicBezTo>
                        <a:pt x="732416" y="1208773"/>
                        <a:pt x="732416" y="997740"/>
                        <a:pt x="732417" y="786706"/>
                      </a:cubicBezTo>
                      <a:cubicBezTo>
                        <a:pt x="734467" y="710701"/>
                        <a:pt x="797036" y="650076"/>
                        <a:pt x="873762" y="650076"/>
                      </a:cubicBezTo>
                      <a:cubicBezTo>
                        <a:pt x="952485" y="650076"/>
                        <a:pt x="1016302" y="713894"/>
                        <a:pt x="1016302" y="792616"/>
                      </a:cubicBezTo>
                      <a:lnTo>
                        <a:pt x="1016302" y="1431282"/>
                      </a:lnTo>
                      <a:cubicBezTo>
                        <a:pt x="1019606" y="1449549"/>
                        <a:pt x="1022912" y="1438741"/>
                        <a:pt x="1053055" y="1452535"/>
                      </a:cubicBezTo>
                      <a:lnTo>
                        <a:pt x="1053054" y="1452536"/>
                      </a:lnTo>
                      <a:cubicBezTo>
                        <a:pt x="1059801" y="1448901"/>
                        <a:pt x="1089026" y="1444644"/>
                        <a:pt x="1093536" y="1430727"/>
                      </a:cubicBezTo>
                      <a:lnTo>
                        <a:pt x="1093536" y="966467"/>
                      </a:lnTo>
                      <a:cubicBezTo>
                        <a:pt x="1093536" y="887745"/>
                        <a:pt x="1157353" y="823927"/>
                        <a:pt x="1236075" y="823927"/>
                      </a:cubicBezTo>
                      <a:cubicBezTo>
                        <a:pt x="1314797" y="823927"/>
                        <a:pt x="1378615" y="887745"/>
                        <a:pt x="1378615" y="966467"/>
                      </a:cubicBezTo>
                      <a:lnTo>
                        <a:pt x="1378615" y="1428680"/>
                      </a:lnTo>
                      <a:lnTo>
                        <a:pt x="1378615" y="1430351"/>
                      </a:lnTo>
                      <a:cubicBezTo>
                        <a:pt x="1390120" y="1446691"/>
                        <a:pt x="1401627" y="1445140"/>
                        <a:pt x="1413132" y="1452535"/>
                      </a:cubicBezTo>
                      <a:lnTo>
                        <a:pt x="1413131" y="1452536"/>
                      </a:lnTo>
                      <a:cubicBezTo>
                        <a:pt x="1431206" y="1452536"/>
                        <a:pt x="1445860" y="1437882"/>
                        <a:pt x="1445860" y="1419807"/>
                      </a:cubicBezTo>
                      <a:lnTo>
                        <a:pt x="1445860" y="1136852"/>
                      </a:lnTo>
                      <a:cubicBezTo>
                        <a:pt x="1456029" y="1070920"/>
                        <a:pt x="1513701" y="1021631"/>
                        <a:pt x="1582884" y="1021631"/>
                      </a:cubicBezTo>
                      <a:cubicBezTo>
                        <a:pt x="1661606" y="1021631"/>
                        <a:pt x="1725424" y="1085448"/>
                        <a:pt x="1725424" y="1164170"/>
                      </a:cubicBezTo>
                      <a:lnTo>
                        <a:pt x="1725424" y="1578672"/>
                      </a:lnTo>
                      <a:lnTo>
                        <a:pt x="1725424" y="1832860"/>
                      </a:lnTo>
                      <a:lnTo>
                        <a:pt x="1727200" y="2296059"/>
                      </a:lnTo>
                      <a:lnTo>
                        <a:pt x="1585724" y="2765959"/>
                      </a:lnTo>
                      <a:lnTo>
                        <a:pt x="1585724" y="3207743"/>
                      </a:lnTo>
                      <a:lnTo>
                        <a:pt x="560654" y="3201393"/>
                      </a:lnTo>
                      <a:lnTo>
                        <a:pt x="560654" y="2804760"/>
                      </a:lnTo>
                      <a:cubicBezTo>
                        <a:pt x="342990" y="2672791"/>
                        <a:pt x="151800" y="2515080"/>
                        <a:pt x="40849" y="2361526"/>
                      </a:cubicBezTo>
                      <a:lnTo>
                        <a:pt x="0" y="2298574"/>
                      </a:lnTo>
                      <a:cubicBezTo>
                        <a:pt x="907" y="1912488"/>
                        <a:pt x="1813" y="1526402"/>
                        <a:pt x="2720" y="1140316"/>
                      </a:cubicBezTo>
                      <a:cubicBezTo>
                        <a:pt x="2720" y="1061594"/>
                        <a:pt x="66538" y="997776"/>
                        <a:pt x="145260" y="997776"/>
                      </a:cubicBezTo>
                      <a:cubicBezTo>
                        <a:pt x="223982" y="997776"/>
                        <a:pt x="287800" y="1061594"/>
                        <a:pt x="287800" y="1140316"/>
                      </a:cubicBezTo>
                      <a:lnTo>
                        <a:pt x="287800" y="1770794"/>
                      </a:lnTo>
                      <a:lnTo>
                        <a:pt x="290130" y="1770777"/>
                      </a:lnTo>
                      <a:cubicBezTo>
                        <a:pt x="294517" y="1790241"/>
                        <a:pt x="312092" y="1804413"/>
                        <a:pt x="332978" y="1804413"/>
                      </a:cubicBezTo>
                      <a:lnTo>
                        <a:pt x="332977" y="1804414"/>
                      </a:lnTo>
                      <a:cubicBezTo>
                        <a:pt x="354087" y="1804414"/>
                        <a:pt x="371814" y="1789937"/>
                        <a:pt x="375950" y="1770161"/>
                      </a:cubicBezTo>
                      <a:lnTo>
                        <a:pt x="378155" y="1770145"/>
                      </a:lnTo>
                      <a:cubicBezTo>
                        <a:pt x="378155" y="1269707"/>
                        <a:pt x="378156" y="769268"/>
                        <a:pt x="378156" y="268830"/>
                      </a:cubicBezTo>
                      <a:cubicBezTo>
                        <a:pt x="378156" y="268828"/>
                        <a:pt x="378156" y="268827"/>
                        <a:pt x="378155" y="268825"/>
                      </a:cubicBezTo>
                      <a:lnTo>
                        <a:pt x="378155" y="142540"/>
                      </a:lnTo>
                      <a:cubicBezTo>
                        <a:pt x="378155" y="63818"/>
                        <a:pt x="441972" y="0"/>
                        <a:pt x="52069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p>
              </p:txBody>
            </p:sp>
            <p:sp>
              <p:nvSpPr>
                <p:cNvPr id="236" name="Freeform 235"/>
                <p:cNvSpPr/>
                <p:nvPr/>
              </p:nvSpPr>
              <p:spPr>
                <a:xfrm>
                  <a:off x="3570520" y="3238868"/>
                  <a:ext cx="967985" cy="933269"/>
                </a:xfrm>
                <a:custGeom>
                  <a:avLst/>
                  <a:gdLst>
                    <a:gd name="connsiteX0" fmla="*/ 727475 w 1454950"/>
                    <a:gd name="connsiteY0" fmla="*/ 0 h 1402769"/>
                    <a:gd name="connsiteX1" fmla="*/ 1454950 w 1454950"/>
                    <a:gd name="connsiteY1" fmla="*/ 727475 h 1402769"/>
                    <a:gd name="connsiteX2" fmla="*/ 1330709 w 1454950"/>
                    <a:gd name="connsiteY2" fmla="*/ 1134213 h 1402769"/>
                    <a:gd name="connsiteX3" fmla="*/ 1274763 w 1454950"/>
                    <a:gd name="connsiteY3" fmla="*/ 1202020 h 1402769"/>
                    <a:gd name="connsiteX4" fmla="*/ 1274763 w 1454950"/>
                    <a:gd name="connsiteY4" fmla="*/ 1092200 h 1402769"/>
                    <a:gd name="connsiteX5" fmla="*/ 1266342 w 1454950"/>
                    <a:gd name="connsiteY5" fmla="*/ 1050490 h 1402769"/>
                    <a:gd name="connsiteX6" fmla="*/ 1249682 w 1454950"/>
                    <a:gd name="connsiteY6" fmla="*/ 1025779 h 1402769"/>
                    <a:gd name="connsiteX7" fmla="*/ 1283991 w 1454950"/>
                    <a:gd name="connsiteY7" fmla="*/ 962571 h 1402769"/>
                    <a:gd name="connsiteX8" fmla="*/ 1331454 w 1454950"/>
                    <a:gd name="connsiteY8" fmla="*/ 727475 h 1402769"/>
                    <a:gd name="connsiteX9" fmla="*/ 727475 w 1454950"/>
                    <a:gd name="connsiteY9" fmla="*/ 123496 h 1402769"/>
                    <a:gd name="connsiteX10" fmla="*/ 123496 w 1454950"/>
                    <a:gd name="connsiteY10" fmla="*/ 727475 h 1402769"/>
                    <a:gd name="connsiteX11" fmla="*/ 389785 w 1454950"/>
                    <a:gd name="connsiteY11" fmla="*/ 1228304 h 1402769"/>
                    <a:gd name="connsiteX12" fmla="*/ 460375 w 1454950"/>
                    <a:gd name="connsiteY12" fmla="*/ 1266619 h 1402769"/>
                    <a:gd name="connsiteX13" fmla="*/ 460375 w 1454950"/>
                    <a:gd name="connsiteY13" fmla="*/ 1402769 h 1402769"/>
                    <a:gd name="connsiteX14" fmla="*/ 444309 w 1454950"/>
                    <a:gd name="connsiteY14" fmla="*/ 1397781 h 1402769"/>
                    <a:gd name="connsiteX15" fmla="*/ 0 w 1454950"/>
                    <a:gd name="connsiteY15" fmla="*/ 727475 h 1402769"/>
                    <a:gd name="connsiteX16" fmla="*/ 727475 w 1454950"/>
                    <a:gd name="connsiteY16" fmla="*/ 0 h 140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54950" h="1402769">
                      <a:moveTo>
                        <a:pt x="727475" y="0"/>
                      </a:moveTo>
                      <a:cubicBezTo>
                        <a:pt x="1129248" y="0"/>
                        <a:pt x="1454950" y="325702"/>
                        <a:pt x="1454950" y="727475"/>
                      </a:cubicBezTo>
                      <a:cubicBezTo>
                        <a:pt x="1454950" y="878140"/>
                        <a:pt x="1409148" y="1018107"/>
                        <a:pt x="1330709" y="1134213"/>
                      </a:cubicBezTo>
                      <a:lnTo>
                        <a:pt x="1274763" y="1202020"/>
                      </a:lnTo>
                      <a:lnTo>
                        <a:pt x="1274763" y="1092200"/>
                      </a:lnTo>
                      <a:cubicBezTo>
                        <a:pt x="1274763" y="1077405"/>
                        <a:pt x="1271765" y="1063310"/>
                        <a:pt x="1266342" y="1050490"/>
                      </a:cubicBezTo>
                      <a:lnTo>
                        <a:pt x="1249682" y="1025779"/>
                      </a:lnTo>
                      <a:lnTo>
                        <a:pt x="1283991" y="962571"/>
                      </a:lnTo>
                      <a:cubicBezTo>
                        <a:pt x="1314554" y="890312"/>
                        <a:pt x="1331454" y="810867"/>
                        <a:pt x="1331454" y="727475"/>
                      </a:cubicBezTo>
                      <a:cubicBezTo>
                        <a:pt x="1331454" y="393907"/>
                        <a:pt x="1061043" y="123496"/>
                        <a:pt x="727475" y="123496"/>
                      </a:cubicBezTo>
                      <a:cubicBezTo>
                        <a:pt x="393907" y="123496"/>
                        <a:pt x="123496" y="393907"/>
                        <a:pt x="123496" y="727475"/>
                      </a:cubicBezTo>
                      <a:cubicBezTo>
                        <a:pt x="123496" y="935955"/>
                        <a:pt x="229126" y="1119764"/>
                        <a:pt x="389785" y="1228304"/>
                      </a:cubicBezTo>
                      <a:lnTo>
                        <a:pt x="460375" y="1266619"/>
                      </a:lnTo>
                      <a:lnTo>
                        <a:pt x="460375" y="1402769"/>
                      </a:lnTo>
                      <a:lnTo>
                        <a:pt x="444309" y="1397781"/>
                      </a:lnTo>
                      <a:cubicBezTo>
                        <a:pt x="183208" y="1287345"/>
                        <a:pt x="0" y="1028805"/>
                        <a:pt x="0" y="727475"/>
                      </a:cubicBezTo>
                      <a:cubicBezTo>
                        <a:pt x="0" y="325702"/>
                        <a:pt x="325702" y="0"/>
                        <a:pt x="7274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solidFill>
                      <a:schemeClr val="tx1"/>
                    </a:solidFill>
                  </a:endParaRPr>
                </a:p>
              </p:txBody>
            </p:sp>
            <p:sp>
              <p:nvSpPr>
                <p:cNvPr id="237" name="Freeform 236"/>
                <p:cNvSpPr/>
                <p:nvPr/>
              </p:nvSpPr>
              <p:spPr>
                <a:xfrm>
                  <a:off x="3898974" y="3555288"/>
                  <a:ext cx="311076" cy="231348"/>
                </a:xfrm>
                <a:custGeom>
                  <a:avLst/>
                  <a:gdLst>
                    <a:gd name="connsiteX0" fmla="*/ 283387 w 311076"/>
                    <a:gd name="connsiteY0" fmla="*/ 175969 h 231348"/>
                    <a:gd name="connsiteX1" fmla="*/ 311076 w 311076"/>
                    <a:gd name="connsiteY1" fmla="*/ 203659 h 231348"/>
                    <a:gd name="connsiteX2" fmla="*/ 283387 w 311076"/>
                    <a:gd name="connsiteY2" fmla="*/ 231348 h 231348"/>
                    <a:gd name="connsiteX3" fmla="*/ 255698 w 311076"/>
                    <a:gd name="connsiteY3" fmla="*/ 203659 h 231348"/>
                    <a:gd name="connsiteX4" fmla="*/ 283387 w 311076"/>
                    <a:gd name="connsiteY4" fmla="*/ 175969 h 231348"/>
                    <a:gd name="connsiteX5" fmla="*/ 27689 w 311076"/>
                    <a:gd name="connsiteY5" fmla="*/ 175969 h 231348"/>
                    <a:gd name="connsiteX6" fmla="*/ 55378 w 311076"/>
                    <a:gd name="connsiteY6" fmla="*/ 203659 h 231348"/>
                    <a:gd name="connsiteX7" fmla="*/ 27689 w 311076"/>
                    <a:gd name="connsiteY7" fmla="*/ 231348 h 231348"/>
                    <a:gd name="connsiteX8" fmla="*/ 0 w 311076"/>
                    <a:gd name="connsiteY8" fmla="*/ 203659 h 231348"/>
                    <a:gd name="connsiteX9" fmla="*/ 27689 w 311076"/>
                    <a:gd name="connsiteY9" fmla="*/ 175969 h 231348"/>
                    <a:gd name="connsiteX10" fmla="*/ 283387 w 311076"/>
                    <a:gd name="connsiteY10" fmla="*/ 92888 h 231348"/>
                    <a:gd name="connsiteX11" fmla="*/ 311076 w 311076"/>
                    <a:gd name="connsiteY11" fmla="*/ 120578 h 231348"/>
                    <a:gd name="connsiteX12" fmla="*/ 283387 w 311076"/>
                    <a:gd name="connsiteY12" fmla="*/ 148267 h 231348"/>
                    <a:gd name="connsiteX13" fmla="*/ 255698 w 311076"/>
                    <a:gd name="connsiteY13" fmla="*/ 120578 h 231348"/>
                    <a:gd name="connsiteX14" fmla="*/ 283387 w 311076"/>
                    <a:gd name="connsiteY14" fmla="*/ 92888 h 231348"/>
                    <a:gd name="connsiteX15" fmla="*/ 27689 w 311076"/>
                    <a:gd name="connsiteY15" fmla="*/ 92888 h 231348"/>
                    <a:gd name="connsiteX16" fmla="*/ 55378 w 311076"/>
                    <a:gd name="connsiteY16" fmla="*/ 120578 h 231348"/>
                    <a:gd name="connsiteX17" fmla="*/ 27689 w 311076"/>
                    <a:gd name="connsiteY17" fmla="*/ 148267 h 231348"/>
                    <a:gd name="connsiteX18" fmla="*/ 0 w 311076"/>
                    <a:gd name="connsiteY18" fmla="*/ 120578 h 231348"/>
                    <a:gd name="connsiteX19" fmla="*/ 27689 w 311076"/>
                    <a:gd name="connsiteY19" fmla="*/ 92888 h 231348"/>
                    <a:gd name="connsiteX20" fmla="*/ 234553 w 311076"/>
                    <a:gd name="connsiteY20" fmla="*/ 25674 h 231348"/>
                    <a:gd name="connsiteX21" fmla="*/ 262242 w 311076"/>
                    <a:gd name="connsiteY21" fmla="*/ 53364 h 231348"/>
                    <a:gd name="connsiteX22" fmla="*/ 234553 w 311076"/>
                    <a:gd name="connsiteY22" fmla="*/ 81053 h 231348"/>
                    <a:gd name="connsiteX23" fmla="*/ 206864 w 311076"/>
                    <a:gd name="connsiteY23" fmla="*/ 53364 h 231348"/>
                    <a:gd name="connsiteX24" fmla="*/ 234553 w 311076"/>
                    <a:gd name="connsiteY24" fmla="*/ 25674 h 231348"/>
                    <a:gd name="connsiteX25" fmla="*/ 76523 w 311076"/>
                    <a:gd name="connsiteY25" fmla="*/ 25674 h 231348"/>
                    <a:gd name="connsiteX26" fmla="*/ 104212 w 311076"/>
                    <a:gd name="connsiteY26" fmla="*/ 53364 h 231348"/>
                    <a:gd name="connsiteX27" fmla="*/ 76523 w 311076"/>
                    <a:gd name="connsiteY27" fmla="*/ 81053 h 231348"/>
                    <a:gd name="connsiteX28" fmla="*/ 48834 w 311076"/>
                    <a:gd name="connsiteY28" fmla="*/ 53364 h 231348"/>
                    <a:gd name="connsiteX29" fmla="*/ 76523 w 311076"/>
                    <a:gd name="connsiteY29" fmla="*/ 25674 h 231348"/>
                    <a:gd name="connsiteX30" fmla="*/ 155538 w 311076"/>
                    <a:gd name="connsiteY30" fmla="*/ 0 h 231348"/>
                    <a:gd name="connsiteX31" fmla="*/ 183227 w 311076"/>
                    <a:gd name="connsiteY31" fmla="*/ 27690 h 231348"/>
                    <a:gd name="connsiteX32" fmla="*/ 155538 w 311076"/>
                    <a:gd name="connsiteY32" fmla="*/ 55379 h 231348"/>
                    <a:gd name="connsiteX33" fmla="*/ 127849 w 311076"/>
                    <a:gd name="connsiteY33" fmla="*/ 27690 h 231348"/>
                    <a:gd name="connsiteX34" fmla="*/ 155538 w 311076"/>
                    <a:gd name="connsiteY34" fmla="*/ 0 h 23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11076" h="231348">
                      <a:moveTo>
                        <a:pt x="283387" y="175969"/>
                      </a:moveTo>
                      <a:cubicBezTo>
                        <a:pt x="298679" y="175969"/>
                        <a:pt x="311076" y="188366"/>
                        <a:pt x="311076" y="203659"/>
                      </a:cubicBezTo>
                      <a:cubicBezTo>
                        <a:pt x="311076" y="218951"/>
                        <a:pt x="298679" y="231348"/>
                        <a:pt x="283387" y="231348"/>
                      </a:cubicBezTo>
                      <a:cubicBezTo>
                        <a:pt x="268095" y="231348"/>
                        <a:pt x="255698" y="218951"/>
                        <a:pt x="255698" y="203659"/>
                      </a:cubicBezTo>
                      <a:cubicBezTo>
                        <a:pt x="255698" y="188366"/>
                        <a:pt x="268095" y="175969"/>
                        <a:pt x="283387" y="175969"/>
                      </a:cubicBezTo>
                      <a:close/>
                      <a:moveTo>
                        <a:pt x="27689" y="175969"/>
                      </a:moveTo>
                      <a:cubicBezTo>
                        <a:pt x="42981" y="175969"/>
                        <a:pt x="55378" y="188366"/>
                        <a:pt x="55378" y="203659"/>
                      </a:cubicBezTo>
                      <a:cubicBezTo>
                        <a:pt x="55378" y="218951"/>
                        <a:pt x="42981" y="231348"/>
                        <a:pt x="27689" y="231348"/>
                      </a:cubicBezTo>
                      <a:cubicBezTo>
                        <a:pt x="12397" y="231348"/>
                        <a:pt x="0" y="218951"/>
                        <a:pt x="0" y="203659"/>
                      </a:cubicBezTo>
                      <a:cubicBezTo>
                        <a:pt x="0" y="188366"/>
                        <a:pt x="12397" y="175969"/>
                        <a:pt x="27689" y="175969"/>
                      </a:cubicBezTo>
                      <a:close/>
                      <a:moveTo>
                        <a:pt x="283387" y="92888"/>
                      </a:moveTo>
                      <a:cubicBezTo>
                        <a:pt x="298679" y="92888"/>
                        <a:pt x="311076" y="105285"/>
                        <a:pt x="311076" y="120578"/>
                      </a:cubicBezTo>
                      <a:cubicBezTo>
                        <a:pt x="311076" y="135870"/>
                        <a:pt x="298679" y="148267"/>
                        <a:pt x="283387" y="148267"/>
                      </a:cubicBezTo>
                      <a:cubicBezTo>
                        <a:pt x="268095" y="148267"/>
                        <a:pt x="255698" y="135870"/>
                        <a:pt x="255698" y="120578"/>
                      </a:cubicBezTo>
                      <a:cubicBezTo>
                        <a:pt x="255698" y="105285"/>
                        <a:pt x="268095" y="92888"/>
                        <a:pt x="283387" y="92888"/>
                      </a:cubicBezTo>
                      <a:close/>
                      <a:moveTo>
                        <a:pt x="27689" y="92888"/>
                      </a:moveTo>
                      <a:cubicBezTo>
                        <a:pt x="42981" y="92888"/>
                        <a:pt x="55378" y="105285"/>
                        <a:pt x="55378" y="120578"/>
                      </a:cubicBezTo>
                      <a:cubicBezTo>
                        <a:pt x="55378" y="135870"/>
                        <a:pt x="42981" y="148267"/>
                        <a:pt x="27689" y="148267"/>
                      </a:cubicBezTo>
                      <a:cubicBezTo>
                        <a:pt x="12397" y="148267"/>
                        <a:pt x="0" y="135870"/>
                        <a:pt x="0" y="120578"/>
                      </a:cubicBezTo>
                      <a:cubicBezTo>
                        <a:pt x="0" y="105285"/>
                        <a:pt x="12397" y="92888"/>
                        <a:pt x="27689" y="92888"/>
                      </a:cubicBezTo>
                      <a:close/>
                      <a:moveTo>
                        <a:pt x="234553" y="25674"/>
                      </a:moveTo>
                      <a:cubicBezTo>
                        <a:pt x="249845" y="25674"/>
                        <a:pt x="262242" y="38071"/>
                        <a:pt x="262242" y="53364"/>
                      </a:cubicBezTo>
                      <a:cubicBezTo>
                        <a:pt x="262242" y="68656"/>
                        <a:pt x="249845" y="81053"/>
                        <a:pt x="234553" y="81053"/>
                      </a:cubicBezTo>
                      <a:cubicBezTo>
                        <a:pt x="219261" y="81053"/>
                        <a:pt x="206864" y="68656"/>
                        <a:pt x="206864" y="53364"/>
                      </a:cubicBezTo>
                      <a:cubicBezTo>
                        <a:pt x="206864" y="38071"/>
                        <a:pt x="219261" y="25674"/>
                        <a:pt x="234553" y="25674"/>
                      </a:cubicBezTo>
                      <a:close/>
                      <a:moveTo>
                        <a:pt x="76523" y="25674"/>
                      </a:moveTo>
                      <a:cubicBezTo>
                        <a:pt x="91815" y="25674"/>
                        <a:pt x="104212" y="38071"/>
                        <a:pt x="104212" y="53364"/>
                      </a:cubicBezTo>
                      <a:cubicBezTo>
                        <a:pt x="104212" y="68656"/>
                        <a:pt x="91815" y="81053"/>
                        <a:pt x="76523" y="81053"/>
                      </a:cubicBezTo>
                      <a:cubicBezTo>
                        <a:pt x="61231" y="81053"/>
                        <a:pt x="48834" y="68656"/>
                        <a:pt x="48834" y="53364"/>
                      </a:cubicBezTo>
                      <a:cubicBezTo>
                        <a:pt x="48834" y="38071"/>
                        <a:pt x="61231" y="25674"/>
                        <a:pt x="76523" y="25674"/>
                      </a:cubicBezTo>
                      <a:close/>
                      <a:moveTo>
                        <a:pt x="155538" y="0"/>
                      </a:moveTo>
                      <a:cubicBezTo>
                        <a:pt x="170830" y="0"/>
                        <a:pt x="183227" y="12397"/>
                        <a:pt x="183227" y="27690"/>
                      </a:cubicBezTo>
                      <a:cubicBezTo>
                        <a:pt x="183227" y="42982"/>
                        <a:pt x="170830" y="55379"/>
                        <a:pt x="155538" y="55379"/>
                      </a:cubicBezTo>
                      <a:cubicBezTo>
                        <a:pt x="140246" y="55379"/>
                        <a:pt x="127849" y="42982"/>
                        <a:pt x="127849" y="27690"/>
                      </a:cubicBezTo>
                      <a:cubicBezTo>
                        <a:pt x="127849" y="12397"/>
                        <a:pt x="140246" y="0"/>
                        <a:pt x="155538" y="0"/>
                      </a:cubicBez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0822" tIns="160822" rIns="160822" bIns="160822" numCol="1" spcCol="1270" anchor="ctr" anchorCtr="0">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lvl="0" algn="ctr" defTabSz="889000">
                    <a:lnSpc>
                      <a:spcPct val="90000"/>
                    </a:lnSpc>
                    <a:spcBef>
                      <a:spcPct val="0"/>
                    </a:spcBef>
                    <a:spcAft>
                      <a:spcPct val="35000"/>
                    </a:spcAft>
                  </a:pPr>
                  <a:endParaRPr lang="en-US" sz="2000" kern="1200" dirty="0"/>
                </a:p>
              </p:txBody>
            </p:sp>
          </p:grpSp>
          <p:sp>
            <p:nvSpPr>
              <p:cNvPr id="234" name="Freeform 233"/>
              <p:cNvSpPr/>
              <p:nvPr/>
            </p:nvSpPr>
            <p:spPr>
              <a:xfrm rot="18668060">
                <a:off x="10762801" y="5367348"/>
                <a:ext cx="219548" cy="89972"/>
              </a:xfrm>
              <a:custGeom>
                <a:avLst/>
                <a:gdLst>
                  <a:gd name="connsiteX0" fmla="*/ 163598 w 1886167"/>
                  <a:gd name="connsiteY0" fmla="*/ 306556 h 787400"/>
                  <a:gd name="connsiteX1" fmla="*/ 74589 w 1886167"/>
                  <a:gd name="connsiteY1" fmla="*/ 393700 h 787400"/>
                  <a:gd name="connsiteX2" fmla="*/ 163598 w 1886167"/>
                  <a:gd name="connsiteY2" fmla="*/ 480844 h 787400"/>
                  <a:gd name="connsiteX3" fmla="*/ 252607 w 1886167"/>
                  <a:gd name="connsiteY3" fmla="*/ 393700 h 787400"/>
                  <a:gd name="connsiteX4" fmla="*/ 163598 w 1886167"/>
                  <a:gd name="connsiteY4" fmla="*/ 306556 h 787400"/>
                  <a:gd name="connsiteX5" fmla="*/ 476713 w 1886167"/>
                  <a:gd name="connsiteY5" fmla="*/ 0 h 787400"/>
                  <a:gd name="connsiteX6" fmla="*/ 872455 w 1886167"/>
                  <a:gd name="connsiteY6" fmla="*/ 331722 h 787400"/>
                  <a:gd name="connsiteX7" fmla="*/ 1275509 w 1886167"/>
                  <a:gd name="connsiteY7" fmla="*/ 331722 h 787400"/>
                  <a:gd name="connsiteX8" fmla="*/ 1275509 w 1886167"/>
                  <a:gd name="connsiteY8" fmla="*/ 125244 h 787400"/>
                  <a:gd name="connsiteX9" fmla="*/ 1389809 w 1886167"/>
                  <a:gd name="connsiteY9" fmla="*/ 125244 h 787400"/>
                  <a:gd name="connsiteX10" fmla="*/ 1389809 w 1886167"/>
                  <a:gd name="connsiteY10" fmla="*/ 343193 h 787400"/>
                  <a:gd name="connsiteX11" fmla="*/ 1504109 w 1886167"/>
                  <a:gd name="connsiteY11" fmla="*/ 343193 h 787400"/>
                  <a:gd name="connsiteX12" fmla="*/ 1504109 w 1886167"/>
                  <a:gd name="connsiteY12" fmla="*/ 262896 h 787400"/>
                  <a:gd name="connsiteX13" fmla="*/ 1612059 w 1886167"/>
                  <a:gd name="connsiteY13" fmla="*/ 262896 h 787400"/>
                  <a:gd name="connsiteX14" fmla="*/ 1612059 w 1886167"/>
                  <a:gd name="connsiteY14" fmla="*/ 343193 h 787400"/>
                  <a:gd name="connsiteX15" fmla="*/ 1637459 w 1886167"/>
                  <a:gd name="connsiteY15" fmla="*/ 343193 h 787400"/>
                  <a:gd name="connsiteX16" fmla="*/ 1637459 w 1886167"/>
                  <a:gd name="connsiteY16" fmla="*/ 125244 h 787400"/>
                  <a:gd name="connsiteX17" fmla="*/ 1720009 w 1886167"/>
                  <a:gd name="connsiteY17" fmla="*/ 125244 h 787400"/>
                  <a:gd name="connsiteX18" fmla="*/ 1720009 w 1886167"/>
                  <a:gd name="connsiteY18" fmla="*/ 354664 h 787400"/>
                  <a:gd name="connsiteX19" fmla="*/ 1859709 w 1886167"/>
                  <a:gd name="connsiteY19" fmla="*/ 354664 h 787400"/>
                  <a:gd name="connsiteX20" fmla="*/ 1859709 w 1886167"/>
                  <a:gd name="connsiteY20" fmla="*/ 480844 h 787400"/>
                  <a:gd name="connsiteX21" fmla="*/ 868194 w 1886167"/>
                  <a:gd name="connsiteY21" fmla="*/ 480844 h 787400"/>
                  <a:gd name="connsiteX22" fmla="*/ 476713 w 1886167"/>
                  <a:gd name="connsiteY22" fmla="*/ 787400 h 787400"/>
                  <a:gd name="connsiteX23" fmla="*/ 105714 w 1886167"/>
                  <a:gd name="connsiteY23" fmla="*/ 545446 h 787400"/>
                  <a:gd name="connsiteX24" fmla="*/ 0 w 1886167"/>
                  <a:gd name="connsiteY24" fmla="*/ 393700 h 787400"/>
                  <a:gd name="connsiteX25" fmla="*/ 105714 w 1886167"/>
                  <a:gd name="connsiteY25" fmla="*/ 241955 h 787400"/>
                  <a:gd name="connsiteX26" fmla="*/ 476713 w 1886167"/>
                  <a:gd name="connsiteY26" fmla="*/ 0 h 787400"/>
                  <a:gd name="connsiteX0" fmla="*/ 163598 w 1930466"/>
                  <a:gd name="connsiteY0" fmla="*/ 306556 h 787400"/>
                  <a:gd name="connsiteX1" fmla="*/ 74589 w 1930466"/>
                  <a:gd name="connsiteY1" fmla="*/ 393700 h 787400"/>
                  <a:gd name="connsiteX2" fmla="*/ 163598 w 1930466"/>
                  <a:gd name="connsiteY2" fmla="*/ 480844 h 787400"/>
                  <a:gd name="connsiteX3" fmla="*/ 252607 w 1930466"/>
                  <a:gd name="connsiteY3" fmla="*/ 393700 h 787400"/>
                  <a:gd name="connsiteX4" fmla="*/ 163598 w 1930466"/>
                  <a:gd name="connsiteY4" fmla="*/ 306556 h 787400"/>
                  <a:gd name="connsiteX5" fmla="*/ 476713 w 1930466"/>
                  <a:gd name="connsiteY5" fmla="*/ 0 h 787400"/>
                  <a:gd name="connsiteX6" fmla="*/ 872455 w 1930466"/>
                  <a:gd name="connsiteY6" fmla="*/ 331722 h 787400"/>
                  <a:gd name="connsiteX7" fmla="*/ 1275509 w 1930466"/>
                  <a:gd name="connsiteY7" fmla="*/ 331722 h 787400"/>
                  <a:gd name="connsiteX8" fmla="*/ 1275509 w 1930466"/>
                  <a:gd name="connsiteY8" fmla="*/ 125244 h 787400"/>
                  <a:gd name="connsiteX9" fmla="*/ 1389809 w 1930466"/>
                  <a:gd name="connsiteY9" fmla="*/ 125244 h 787400"/>
                  <a:gd name="connsiteX10" fmla="*/ 1389809 w 1930466"/>
                  <a:gd name="connsiteY10" fmla="*/ 343193 h 787400"/>
                  <a:gd name="connsiteX11" fmla="*/ 1504109 w 1930466"/>
                  <a:gd name="connsiteY11" fmla="*/ 343193 h 787400"/>
                  <a:gd name="connsiteX12" fmla="*/ 1504109 w 1930466"/>
                  <a:gd name="connsiteY12" fmla="*/ 262896 h 787400"/>
                  <a:gd name="connsiteX13" fmla="*/ 1612059 w 1930466"/>
                  <a:gd name="connsiteY13" fmla="*/ 262896 h 787400"/>
                  <a:gd name="connsiteX14" fmla="*/ 1612059 w 1930466"/>
                  <a:gd name="connsiteY14" fmla="*/ 343193 h 787400"/>
                  <a:gd name="connsiteX15" fmla="*/ 1637459 w 1930466"/>
                  <a:gd name="connsiteY15" fmla="*/ 343193 h 787400"/>
                  <a:gd name="connsiteX16" fmla="*/ 1637459 w 1930466"/>
                  <a:gd name="connsiteY16" fmla="*/ 125244 h 787400"/>
                  <a:gd name="connsiteX17" fmla="*/ 1720009 w 1930466"/>
                  <a:gd name="connsiteY17" fmla="*/ 125244 h 787400"/>
                  <a:gd name="connsiteX18" fmla="*/ 1720009 w 1930466"/>
                  <a:gd name="connsiteY18" fmla="*/ 354664 h 787400"/>
                  <a:gd name="connsiteX19" fmla="*/ 1859709 w 1930466"/>
                  <a:gd name="connsiteY19" fmla="*/ 354664 h 787400"/>
                  <a:gd name="connsiteX20" fmla="*/ 1859709 w 1930466"/>
                  <a:gd name="connsiteY20" fmla="*/ 480844 h 787400"/>
                  <a:gd name="connsiteX21" fmla="*/ 868194 w 1930466"/>
                  <a:gd name="connsiteY21" fmla="*/ 480844 h 787400"/>
                  <a:gd name="connsiteX22" fmla="*/ 476713 w 1930466"/>
                  <a:gd name="connsiteY22" fmla="*/ 787400 h 787400"/>
                  <a:gd name="connsiteX23" fmla="*/ 105714 w 1930466"/>
                  <a:gd name="connsiteY23" fmla="*/ 545446 h 787400"/>
                  <a:gd name="connsiteX24" fmla="*/ 0 w 1930466"/>
                  <a:gd name="connsiteY24" fmla="*/ 393700 h 787400"/>
                  <a:gd name="connsiteX25" fmla="*/ 105714 w 1930466"/>
                  <a:gd name="connsiteY25" fmla="*/ 241955 h 787400"/>
                  <a:gd name="connsiteX26" fmla="*/ 476713 w 1930466"/>
                  <a:gd name="connsiteY26" fmla="*/ 0 h 787400"/>
                  <a:gd name="connsiteX0" fmla="*/ 163598 w 1930466"/>
                  <a:gd name="connsiteY0" fmla="*/ 306556 h 787400"/>
                  <a:gd name="connsiteX1" fmla="*/ 74589 w 1930466"/>
                  <a:gd name="connsiteY1" fmla="*/ 393700 h 787400"/>
                  <a:gd name="connsiteX2" fmla="*/ 163598 w 1930466"/>
                  <a:gd name="connsiteY2" fmla="*/ 480844 h 787400"/>
                  <a:gd name="connsiteX3" fmla="*/ 252607 w 1930466"/>
                  <a:gd name="connsiteY3" fmla="*/ 393700 h 787400"/>
                  <a:gd name="connsiteX4" fmla="*/ 163598 w 1930466"/>
                  <a:gd name="connsiteY4" fmla="*/ 306556 h 787400"/>
                  <a:gd name="connsiteX5" fmla="*/ 476713 w 1930466"/>
                  <a:gd name="connsiteY5" fmla="*/ 0 h 787400"/>
                  <a:gd name="connsiteX6" fmla="*/ 872455 w 1930466"/>
                  <a:gd name="connsiteY6" fmla="*/ 331722 h 787400"/>
                  <a:gd name="connsiteX7" fmla="*/ 1275509 w 1930466"/>
                  <a:gd name="connsiteY7" fmla="*/ 331722 h 787400"/>
                  <a:gd name="connsiteX8" fmla="*/ 1275509 w 1930466"/>
                  <a:gd name="connsiteY8" fmla="*/ 125244 h 787400"/>
                  <a:gd name="connsiteX9" fmla="*/ 1389809 w 1930466"/>
                  <a:gd name="connsiteY9" fmla="*/ 125244 h 787400"/>
                  <a:gd name="connsiteX10" fmla="*/ 1389809 w 1930466"/>
                  <a:gd name="connsiteY10" fmla="*/ 343193 h 787400"/>
                  <a:gd name="connsiteX11" fmla="*/ 1504109 w 1930466"/>
                  <a:gd name="connsiteY11" fmla="*/ 343193 h 787400"/>
                  <a:gd name="connsiteX12" fmla="*/ 1504109 w 1930466"/>
                  <a:gd name="connsiteY12" fmla="*/ 262896 h 787400"/>
                  <a:gd name="connsiteX13" fmla="*/ 1612059 w 1930466"/>
                  <a:gd name="connsiteY13" fmla="*/ 262896 h 787400"/>
                  <a:gd name="connsiteX14" fmla="*/ 1612059 w 1930466"/>
                  <a:gd name="connsiteY14" fmla="*/ 343193 h 787400"/>
                  <a:gd name="connsiteX15" fmla="*/ 1637459 w 1930466"/>
                  <a:gd name="connsiteY15" fmla="*/ 343193 h 787400"/>
                  <a:gd name="connsiteX16" fmla="*/ 1637459 w 1930466"/>
                  <a:gd name="connsiteY16" fmla="*/ 125244 h 787400"/>
                  <a:gd name="connsiteX17" fmla="*/ 1720009 w 1930466"/>
                  <a:gd name="connsiteY17" fmla="*/ 125244 h 787400"/>
                  <a:gd name="connsiteX18" fmla="*/ 1720009 w 1930466"/>
                  <a:gd name="connsiteY18" fmla="*/ 354664 h 787400"/>
                  <a:gd name="connsiteX19" fmla="*/ 1859709 w 1930466"/>
                  <a:gd name="connsiteY19" fmla="*/ 354664 h 787400"/>
                  <a:gd name="connsiteX20" fmla="*/ 1859709 w 1930466"/>
                  <a:gd name="connsiteY20" fmla="*/ 480844 h 787400"/>
                  <a:gd name="connsiteX21" fmla="*/ 868194 w 1930466"/>
                  <a:gd name="connsiteY21" fmla="*/ 480844 h 787400"/>
                  <a:gd name="connsiteX22" fmla="*/ 476713 w 1930466"/>
                  <a:gd name="connsiteY22" fmla="*/ 787400 h 787400"/>
                  <a:gd name="connsiteX23" fmla="*/ 105714 w 1930466"/>
                  <a:gd name="connsiteY23" fmla="*/ 545446 h 787400"/>
                  <a:gd name="connsiteX24" fmla="*/ 0 w 1930466"/>
                  <a:gd name="connsiteY24" fmla="*/ 393700 h 787400"/>
                  <a:gd name="connsiteX25" fmla="*/ 105714 w 1930466"/>
                  <a:gd name="connsiteY25" fmla="*/ 241955 h 787400"/>
                  <a:gd name="connsiteX26" fmla="*/ 476713 w 1930466"/>
                  <a:gd name="connsiteY26" fmla="*/ 0 h 787400"/>
                  <a:gd name="connsiteX0" fmla="*/ 163598 w 1922450"/>
                  <a:gd name="connsiteY0" fmla="*/ 306556 h 787400"/>
                  <a:gd name="connsiteX1" fmla="*/ 74589 w 1922450"/>
                  <a:gd name="connsiteY1" fmla="*/ 393700 h 787400"/>
                  <a:gd name="connsiteX2" fmla="*/ 163598 w 1922450"/>
                  <a:gd name="connsiteY2" fmla="*/ 480844 h 787400"/>
                  <a:gd name="connsiteX3" fmla="*/ 252607 w 1922450"/>
                  <a:gd name="connsiteY3" fmla="*/ 393700 h 787400"/>
                  <a:gd name="connsiteX4" fmla="*/ 163598 w 1922450"/>
                  <a:gd name="connsiteY4" fmla="*/ 306556 h 787400"/>
                  <a:gd name="connsiteX5" fmla="*/ 476713 w 1922450"/>
                  <a:gd name="connsiteY5" fmla="*/ 0 h 787400"/>
                  <a:gd name="connsiteX6" fmla="*/ 872455 w 1922450"/>
                  <a:gd name="connsiteY6" fmla="*/ 331722 h 787400"/>
                  <a:gd name="connsiteX7" fmla="*/ 1275509 w 1922450"/>
                  <a:gd name="connsiteY7" fmla="*/ 331722 h 787400"/>
                  <a:gd name="connsiteX8" fmla="*/ 1275509 w 1922450"/>
                  <a:gd name="connsiteY8" fmla="*/ 125244 h 787400"/>
                  <a:gd name="connsiteX9" fmla="*/ 1389809 w 1922450"/>
                  <a:gd name="connsiteY9" fmla="*/ 125244 h 787400"/>
                  <a:gd name="connsiteX10" fmla="*/ 1389809 w 1922450"/>
                  <a:gd name="connsiteY10" fmla="*/ 343193 h 787400"/>
                  <a:gd name="connsiteX11" fmla="*/ 1504109 w 1922450"/>
                  <a:gd name="connsiteY11" fmla="*/ 343193 h 787400"/>
                  <a:gd name="connsiteX12" fmla="*/ 1504109 w 1922450"/>
                  <a:gd name="connsiteY12" fmla="*/ 262896 h 787400"/>
                  <a:gd name="connsiteX13" fmla="*/ 1612059 w 1922450"/>
                  <a:gd name="connsiteY13" fmla="*/ 262896 h 787400"/>
                  <a:gd name="connsiteX14" fmla="*/ 1612059 w 1922450"/>
                  <a:gd name="connsiteY14" fmla="*/ 343193 h 787400"/>
                  <a:gd name="connsiteX15" fmla="*/ 1637459 w 1922450"/>
                  <a:gd name="connsiteY15" fmla="*/ 343193 h 787400"/>
                  <a:gd name="connsiteX16" fmla="*/ 1637459 w 1922450"/>
                  <a:gd name="connsiteY16" fmla="*/ 125244 h 787400"/>
                  <a:gd name="connsiteX17" fmla="*/ 1720009 w 1922450"/>
                  <a:gd name="connsiteY17" fmla="*/ 125244 h 787400"/>
                  <a:gd name="connsiteX18" fmla="*/ 1720009 w 1922450"/>
                  <a:gd name="connsiteY18" fmla="*/ 354664 h 787400"/>
                  <a:gd name="connsiteX19" fmla="*/ 1859709 w 1922450"/>
                  <a:gd name="connsiteY19" fmla="*/ 354664 h 787400"/>
                  <a:gd name="connsiteX20" fmla="*/ 1859709 w 1922450"/>
                  <a:gd name="connsiteY20" fmla="*/ 480844 h 787400"/>
                  <a:gd name="connsiteX21" fmla="*/ 868194 w 1922450"/>
                  <a:gd name="connsiteY21" fmla="*/ 480844 h 787400"/>
                  <a:gd name="connsiteX22" fmla="*/ 476713 w 1922450"/>
                  <a:gd name="connsiteY22" fmla="*/ 787400 h 787400"/>
                  <a:gd name="connsiteX23" fmla="*/ 105714 w 1922450"/>
                  <a:gd name="connsiteY23" fmla="*/ 545446 h 787400"/>
                  <a:gd name="connsiteX24" fmla="*/ 0 w 1922450"/>
                  <a:gd name="connsiteY24" fmla="*/ 393700 h 787400"/>
                  <a:gd name="connsiteX25" fmla="*/ 105714 w 1922450"/>
                  <a:gd name="connsiteY25" fmla="*/ 241955 h 787400"/>
                  <a:gd name="connsiteX26" fmla="*/ 476713 w 1922450"/>
                  <a:gd name="connsiteY26" fmla="*/ 0 h 787400"/>
                  <a:gd name="connsiteX0" fmla="*/ 163598 w 1927992"/>
                  <a:gd name="connsiteY0" fmla="*/ 306556 h 787400"/>
                  <a:gd name="connsiteX1" fmla="*/ 74589 w 1927992"/>
                  <a:gd name="connsiteY1" fmla="*/ 393700 h 787400"/>
                  <a:gd name="connsiteX2" fmla="*/ 163598 w 1927992"/>
                  <a:gd name="connsiteY2" fmla="*/ 480844 h 787400"/>
                  <a:gd name="connsiteX3" fmla="*/ 252607 w 1927992"/>
                  <a:gd name="connsiteY3" fmla="*/ 393700 h 787400"/>
                  <a:gd name="connsiteX4" fmla="*/ 163598 w 1927992"/>
                  <a:gd name="connsiteY4" fmla="*/ 306556 h 787400"/>
                  <a:gd name="connsiteX5" fmla="*/ 476713 w 1927992"/>
                  <a:gd name="connsiteY5" fmla="*/ 0 h 787400"/>
                  <a:gd name="connsiteX6" fmla="*/ 872455 w 1927992"/>
                  <a:gd name="connsiteY6" fmla="*/ 331722 h 787400"/>
                  <a:gd name="connsiteX7" fmla="*/ 1275509 w 1927992"/>
                  <a:gd name="connsiteY7" fmla="*/ 331722 h 787400"/>
                  <a:gd name="connsiteX8" fmla="*/ 1275509 w 1927992"/>
                  <a:gd name="connsiteY8" fmla="*/ 125244 h 787400"/>
                  <a:gd name="connsiteX9" fmla="*/ 1389809 w 1927992"/>
                  <a:gd name="connsiteY9" fmla="*/ 125244 h 787400"/>
                  <a:gd name="connsiteX10" fmla="*/ 1389809 w 1927992"/>
                  <a:gd name="connsiteY10" fmla="*/ 343193 h 787400"/>
                  <a:gd name="connsiteX11" fmla="*/ 1504109 w 1927992"/>
                  <a:gd name="connsiteY11" fmla="*/ 343193 h 787400"/>
                  <a:gd name="connsiteX12" fmla="*/ 1504109 w 1927992"/>
                  <a:gd name="connsiteY12" fmla="*/ 262896 h 787400"/>
                  <a:gd name="connsiteX13" fmla="*/ 1612059 w 1927992"/>
                  <a:gd name="connsiteY13" fmla="*/ 262896 h 787400"/>
                  <a:gd name="connsiteX14" fmla="*/ 1612059 w 1927992"/>
                  <a:gd name="connsiteY14" fmla="*/ 343193 h 787400"/>
                  <a:gd name="connsiteX15" fmla="*/ 1637459 w 1927992"/>
                  <a:gd name="connsiteY15" fmla="*/ 343193 h 787400"/>
                  <a:gd name="connsiteX16" fmla="*/ 1637459 w 1927992"/>
                  <a:gd name="connsiteY16" fmla="*/ 125244 h 787400"/>
                  <a:gd name="connsiteX17" fmla="*/ 1720009 w 1927992"/>
                  <a:gd name="connsiteY17" fmla="*/ 125244 h 787400"/>
                  <a:gd name="connsiteX18" fmla="*/ 1720009 w 1927992"/>
                  <a:gd name="connsiteY18" fmla="*/ 354664 h 787400"/>
                  <a:gd name="connsiteX19" fmla="*/ 1859709 w 1927992"/>
                  <a:gd name="connsiteY19" fmla="*/ 354664 h 787400"/>
                  <a:gd name="connsiteX20" fmla="*/ 1859709 w 1927992"/>
                  <a:gd name="connsiteY20" fmla="*/ 480844 h 787400"/>
                  <a:gd name="connsiteX21" fmla="*/ 868194 w 1927992"/>
                  <a:gd name="connsiteY21" fmla="*/ 480844 h 787400"/>
                  <a:gd name="connsiteX22" fmla="*/ 476713 w 1927992"/>
                  <a:gd name="connsiteY22" fmla="*/ 787400 h 787400"/>
                  <a:gd name="connsiteX23" fmla="*/ 105714 w 1927992"/>
                  <a:gd name="connsiteY23" fmla="*/ 545446 h 787400"/>
                  <a:gd name="connsiteX24" fmla="*/ 0 w 1927992"/>
                  <a:gd name="connsiteY24" fmla="*/ 393700 h 787400"/>
                  <a:gd name="connsiteX25" fmla="*/ 105714 w 1927992"/>
                  <a:gd name="connsiteY25" fmla="*/ 241955 h 787400"/>
                  <a:gd name="connsiteX26" fmla="*/ 476713 w 1927992"/>
                  <a:gd name="connsiteY26" fmla="*/ 0 h 787400"/>
                  <a:gd name="connsiteX0" fmla="*/ 163598 w 1921404"/>
                  <a:gd name="connsiteY0" fmla="*/ 306556 h 787400"/>
                  <a:gd name="connsiteX1" fmla="*/ 74589 w 1921404"/>
                  <a:gd name="connsiteY1" fmla="*/ 393700 h 787400"/>
                  <a:gd name="connsiteX2" fmla="*/ 163598 w 1921404"/>
                  <a:gd name="connsiteY2" fmla="*/ 480844 h 787400"/>
                  <a:gd name="connsiteX3" fmla="*/ 252607 w 1921404"/>
                  <a:gd name="connsiteY3" fmla="*/ 393700 h 787400"/>
                  <a:gd name="connsiteX4" fmla="*/ 163598 w 1921404"/>
                  <a:gd name="connsiteY4" fmla="*/ 306556 h 787400"/>
                  <a:gd name="connsiteX5" fmla="*/ 476713 w 1921404"/>
                  <a:gd name="connsiteY5" fmla="*/ 0 h 787400"/>
                  <a:gd name="connsiteX6" fmla="*/ 872455 w 1921404"/>
                  <a:gd name="connsiteY6" fmla="*/ 331722 h 787400"/>
                  <a:gd name="connsiteX7" fmla="*/ 1275509 w 1921404"/>
                  <a:gd name="connsiteY7" fmla="*/ 331722 h 787400"/>
                  <a:gd name="connsiteX8" fmla="*/ 1275509 w 1921404"/>
                  <a:gd name="connsiteY8" fmla="*/ 125244 h 787400"/>
                  <a:gd name="connsiteX9" fmla="*/ 1389809 w 1921404"/>
                  <a:gd name="connsiteY9" fmla="*/ 125244 h 787400"/>
                  <a:gd name="connsiteX10" fmla="*/ 1389809 w 1921404"/>
                  <a:gd name="connsiteY10" fmla="*/ 343193 h 787400"/>
                  <a:gd name="connsiteX11" fmla="*/ 1504109 w 1921404"/>
                  <a:gd name="connsiteY11" fmla="*/ 343193 h 787400"/>
                  <a:gd name="connsiteX12" fmla="*/ 1504109 w 1921404"/>
                  <a:gd name="connsiteY12" fmla="*/ 262896 h 787400"/>
                  <a:gd name="connsiteX13" fmla="*/ 1612059 w 1921404"/>
                  <a:gd name="connsiteY13" fmla="*/ 262896 h 787400"/>
                  <a:gd name="connsiteX14" fmla="*/ 1612059 w 1921404"/>
                  <a:gd name="connsiteY14" fmla="*/ 343193 h 787400"/>
                  <a:gd name="connsiteX15" fmla="*/ 1637459 w 1921404"/>
                  <a:gd name="connsiteY15" fmla="*/ 343193 h 787400"/>
                  <a:gd name="connsiteX16" fmla="*/ 1637459 w 1921404"/>
                  <a:gd name="connsiteY16" fmla="*/ 125244 h 787400"/>
                  <a:gd name="connsiteX17" fmla="*/ 1720009 w 1921404"/>
                  <a:gd name="connsiteY17" fmla="*/ 125244 h 787400"/>
                  <a:gd name="connsiteX18" fmla="*/ 1720009 w 1921404"/>
                  <a:gd name="connsiteY18" fmla="*/ 354664 h 787400"/>
                  <a:gd name="connsiteX19" fmla="*/ 1859709 w 1921404"/>
                  <a:gd name="connsiteY19" fmla="*/ 354664 h 787400"/>
                  <a:gd name="connsiteX20" fmla="*/ 1859709 w 1921404"/>
                  <a:gd name="connsiteY20" fmla="*/ 480844 h 787400"/>
                  <a:gd name="connsiteX21" fmla="*/ 868194 w 1921404"/>
                  <a:gd name="connsiteY21" fmla="*/ 480844 h 787400"/>
                  <a:gd name="connsiteX22" fmla="*/ 476713 w 1921404"/>
                  <a:gd name="connsiteY22" fmla="*/ 787400 h 787400"/>
                  <a:gd name="connsiteX23" fmla="*/ 105714 w 1921404"/>
                  <a:gd name="connsiteY23" fmla="*/ 545446 h 787400"/>
                  <a:gd name="connsiteX24" fmla="*/ 0 w 1921404"/>
                  <a:gd name="connsiteY24" fmla="*/ 393700 h 787400"/>
                  <a:gd name="connsiteX25" fmla="*/ 105714 w 1921404"/>
                  <a:gd name="connsiteY25" fmla="*/ 241955 h 787400"/>
                  <a:gd name="connsiteX26" fmla="*/ 476713 w 1921404"/>
                  <a:gd name="connsiteY26" fmla="*/ 0 h 78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21404" h="787400">
                    <a:moveTo>
                      <a:pt x="163598" y="306556"/>
                    </a:moveTo>
                    <a:cubicBezTo>
                      <a:pt x="114440" y="306556"/>
                      <a:pt x="74589" y="345572"/>
                      <a:pt x="74589" y="393700"/>
                    </a:cubicBezTo>
                    <a:cubicBezTo>
                      <a:pt x="74589" y="441828"/>
                      <a:pt x="114440" y="480844"/>
                      <a:pt x="163598" y="480844"/>
                    </a:cubicBezTo>
                    <a:cubicBezTo>
                      <a:pt x="212756" y="480844"/>
                      <a:pt x="252607" y="441828"/>
                      <a:pt x="252607" y="393700"/>
                    </a:cubicBezTo>
                    <a:cubicBezTo>
                      <a:pt x="252607" y="345572"/>
                      <a:pt x="212756" y="306556"/>
                      <a:pt x="163598" y="306556"/>
                    </a:cubicBezTo>
                    <a:close/>
                    <a:moveTo>
                      <a:pt x="476713" y="0"/>
                    </a:moveTo>
                    <a:cubicBezTo>
                      <a:pt x="677181" y="0"/>
                      <a:pt x="843387" y="143618"/>
                      <a:pt x="872455" y="331722"/>
                    </a:cubicBezTo>
                    <a:lnTo>
                      <a:pt x="1275509" y="331722"/>
                    </a:lnTo>
                    <a:lnTo>
                      <a:pt x="1275509" y="125244"/>
                    </a:lnTo>
                    <a:lnTo>
                      <a:pt x="1389809" y="125244"/>
                    </a:lnTo>
                    <a:lnTo>
                      <a:pt x="1389809" y="343193"/>
                    </a:lnTo>
                    <a:lnTo>
                      <a:pt x="1504109" y="343193"/>
                    </a:lnTo>
                    <a:lnTo>
                      <a:pt x="1504109" y="262896"/>
                    </a:lnTo>
                    <a:lnTo>
                      <a:pt x="1612059" y="262896"/>
                    </a:lnTo>
                    <a:lnTo>
                      <a:pt x="1612059" y="343193"/>
                    </a:lnTo>
                    <a:lnTo>
                      <a:pt x="1637459" y="343193"/>
                    </a:lnTo>
                    <a:lnTo>
                      <a:pt x="1637459" y="125244"/>
                    </a:lnTo>
                    <a:lnTo>
                      <a:pt x="1720009" y="125244"/>
                    </a:lnTo>
                    <a:lnTo>
                      <a:pt x="1720009" y="354664"/>
                    </a:lnTo>
                    <a:lnTo>
                      <a:pt x="1859709" y="354664"/>
                    </a:lnTo>
                    <a:cubicBezTo>
                      <a:pt x="1935909" y="351480"/>
                      <a:pt x="1947815" y="486409"/>
                      <a:pt x="1859709" y="480844"/>
                    </a:cubicBezTo>
                    <a:lnTo>
                      <a:pt x="868194" y="480844"/>
                    </a:lnTo>
                    <a:cubicBezTo>
                      <a:pt x="828346" y="656427"/>
                      <a:pt x="668152" y="787400"/>
                      <a:pt x="476713" y="787400"/>
                    </a:cubicBezTo>
                    <a:cubicBezTo>
                      <a:pt x="309583" y="787400"/>
                      <a:pt x="166266" y="687577"/>
                      <a:pt x="105714" y="545446"/>
                    </a:cubicBezTo>
                    <a:cubicBezTo>
                      <a:pt x="43676" y="521932"/>
                      <a:pt x="0" y="462810"/>
                      <a:pt x="0" y="393700"/>
                    </a:cubicBezTo>
                    <a:cubicBezTo>
                      <a:pt x="0" y="324591"/>
                      <a:pt x="43676" y="265468"/>
                      <a:pt x="105714" y="241955"/>
                    </a:cubicBezTo>
                    <a:cubicBezTo>
                      <a:pt x="166266" y="99823"/>
                      <a:pt x="309583" y="0"/>
                      <a:pt x="476713"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smtClean="0"/>
              </a:p>
            </p:txBody>
          </p:sp>
        </p:grpSp>
      </p:grpSp>
      <p:sp>
        <p:nvSpPr>
          <p:cNvPr id="4" name="Slide Number Placeholder 3"/>
          <p:cNvSpPr>
            <a:spLocks noGrp="1"/>
          </p:cNvSpPr>
          <p:nvPr>
            <p:ph type="sldNum" sz="quarter" idx="11"/>
          </p:nvPr>
        </p:nvSpPr>
        <p:spPr/>
        <p:txBody>
          <a:bodyPr/>
          <a:lstStyle/>
          <a:p>
            <a:fld id="{27258FFF-F925-446B-8502-81C933981705}" type="slidenum">
              <a:rPr lang="en-US" smtClean="0"/>
              <a:pPr/>
              <a:t>15</a:t>
            </a:fld>
            <a:endParaRPr lang="en-US" dirty="0"/>
          </a:p>
        </p:txBody>
      </p:sp>
      <p:grpSp>
        <p:nvGrpSpPr>
          <p:cNvPr id="98" name="Group 97"/>
          <p:cNvGrpSpPr/>
          <p:nvPr/>
        </p:nvGrpSpPr>
        <p:grpSpPr>
          <a:xfrm>
            <a:off x="11070579" y="297389"/>
            <a:ext cx="932340" cy="913874"/>
            <a:chOff x="11070579" y="297389"/>
            <a:chExt cx="932340" cy="913874"/>
          </a:xfrm>
        </p:grpSpPr>
        <p:sp>
          <p:nvSpPr>
            <p:cNvPr id="99" name="Rectangle 98"/>
            <p:cNvSpPr/>
            <p:nvPr/>
          </p:nvSpPr>
          <p:spPr bwMode="auto">
            <a:xfrm>
              <a:off x="11070579" y="297389"/>
              <a:ext cx="932340" cy="913874"/>
            </a:xfrm>
            <a:prstGeom prst="rect">
              <a:avLst/>
            </a:prstGeom>
            <a:solidFill>
              <a:schemeClr val="accent2"/>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p>
              <a:pPr algn="l" defTabSz="932563" fontAlgn="auto">
                <a:spcAft>
                  <a:spcPts val="587"/>
                </a:spcAft>
              </a:pPr>
              <a:endParaRPr lang="en-US" sz="2200" dirty="0">
                <a:solidFill>
                  <a:schemeClr val="bg1"/>
                </a:solidFill>
                <a:latin typeface="+mj-lt"/>
                <a:cs typeface="Segoe UI Semibold" panose="020B0702040204020203" pitchFamily="34" charset="0"/>
              </a:endParaRPr>
            </a:p>
          </p:txBody>
        </p:sp>
        <p:sp>
          <p:nvSpPr>
            <p:cNvPr id="100" name="Rectangle 99"/>
            <p:cNvSpPr/>
            <p:nvPr/>
          </p:nvSpPr>
          <p:spPr>
            <a:xfrm>
              <a:off x="11070579" y="1137623"/>
              <a:ext cx="932340" cy="73640"/>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sp>
          <p:nvSpPr>
            <p:cNvPr id="110" name="Freeform 109"/>
            <p:cNvSpPr>
              <a:spLocks noEditPoints="1"/>
            </p:cNvSpPr>
            <p:nvPr/>
          </p:nvSpPr>
          <p:spPr bwMode="black">
            <a:xfrm>
              <a:off x="11329732" y="467317"/>
              <a:ext cx="414034" cy="574018"/>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alpha val="22000"/>
              </a:schemeClr>
            </a:solidFill>
            <a:ln w="0">
              <a:noFill/>
              <a:prstDash val="solid"/>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grpSp>
    </p:spTree>
    <p:extLst>
      <p:ext uri="{BB962C8B-B14F-4D97-AF65-F5344CB8AC3E}">
        <p14:creationId xmlns:p14="http://schemas.microsoft.com/office/powerpoint/2010/main" val="37101497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0-#ppt_w/2"/>
                                          </p:val>
                                        </p:tav>
                                        <p:tav tm="100000">
                                          <p:val>
                                            <p:strVal val="#ppt_x"/>
                                          </p:val>
                                        </p:tav>
                                      </p:tavLst>
                                    </p:anim>
                                    <p:anim calcmode="lin" valueType="num">
                                      <p:cBhvr additive="base">
                                        <p:cTn id="8"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6633"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bwMode="auto">
          <a:xfrm>
            <a:off x="0" y="1"/>
            <a:ext cx="12436475" cy="31419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IN" dirty="0"/>
              <a:t>Contractual commitments</a:t>
            </a:r>
          </a:p>
        </p:txBody>
      </p:sp>
      <p:grpSp>
        <p:nvGrpSpPr>
          <p:cNvPr id="6" name="Group 5"/>
          <p:cNvGrpSpPr/>
          <p:nvPr/>
        </p:nvGrpSpPr>
        <p:grpSpPr>
          <a:xfrm>
            <a:off x="0" y="1394691"/>
            <a:ext cx="12585153" cy="5088886"/>
            <a:chOff x="0" y="1394691"/>
            <a:chExt cx="12585153" cy="5088886"/>
          </a:xfrm>
        </p:grpSpPr>
        <p:sp>
          <p:nvSpPr>
            <p:cNvPr id="18" name="Rectangle 17"/>
            <p:cNvSpPr/>
            <p:nvPr/>
          </p:nvSpPr>
          <p:spPr bwMode="auto">
            <a:xfrm flipH="1">
              <a:off x="2322285" y="1407912"/>
              <a:ext cx="8460692" cy="11887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1828800" bIns="45720" rtlCol="0" anchor="ctr"/>
            <a:lstStyle/>
            <a:p>
              <a:pPr>
                <a:spcBef>
                  <a:spcPts val="400"/>
                </a:spcBef>
              </a:pPr>
              <a:r>
                <a:rPr lang="en-US" dirty="0">
                  <a:solidFill>
                    <a:schemeClr val="tx2"/>
                  </a:solidFill>
                </a:rPr>
                <a:t>Adopt ISO/IEC 27018 code of practice </a:t>
              </a:r>
            </a:p>
          </p:txBody>
        </p:sp>
        <p:sp>
          <p:nvSpPr>
            <p:cNvPr id="24" name="Rectangle 23"/>
            <p:cNvSpPr/>
            <p:nvPr/>
          </p:nvSpPr>
          <p:spPr bwMode="auto">
            <a:xfrm flipH="1">
              <a:off x="2322285" y="2698722"/>
              <a:ext cx="8460692" cy="11887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1828800" bIns="45720" rtlCol="0" anchor="ctr"/>
            <a:lstStyle/>
            <a:p>
              <a:pPr>
                <a:spcBef>
                  <a:spcPts val="400"/>
                </a:spcBef>
              </a:pPr>
              <a:r>
                <a:rPr lang="en-GB" dirty="0">
                  <a:solidFill>
                    <a:schemeClr val="tx2"/>
                  </a:solidFill>
                </a:rPr>
                <a:t>Offer customers E.U. Standard Contractual Clauses that provide specific contractual guarantees around transfers of personal data for in-scope services. </a:t>
              </a:r>
            </a:p>
          </p:txBody>
        </p:sp>
        <p:sp>
          <p:nvSpPr>
            <p:cNvPr id="25" name="Rectangle 24"/>
            <p:cNvSpPr/>
            <p:nvPr/>
          </p:nvSpPr>
          <p:spPr bwMode="auto">
            <a:xfrm flipH="1">
              <a:off x="2322285" y="3989532"/>
              <a:ext cx="8460692" cy="11887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1828800" bIns="45720" rtlCol="0" anchor="ctr"/>
            <a:lstStyle/>
            <a:p>
              <a:pPr>
                <a:spcBef>
                  <a:spcPts val="400"/>
                </a:spcBef>
              </a:pPr>
              <a:r>
                <a:rPr lang="en-GB" dirty="0">
                  <a:solidFill>
                    <a:schemeClr val="tx2"/>
                  </a:solidFill>
                </a:rPr>
                <a:t>Have European data privacy authorities validate that its enterprise agreement meets EU requirements on international data transfers</a:t>
              </a:r>
            </a:p>
          </p:txBody>
        </p:sp>
        <p:sp>
          <p:nvSpPr>
            <p:cNvPr id="26" name="Rectangle 25"/>
            <p:cNvSpPr/>
            <p:nvPr/>
          </p:nvSpPr>
          <p:spPr bwMode="auto">
            <a:xfrm flipH="1">
              <a:off x="2322285" y="5280343"/>
              <a:ext cx="8460692" cy="11887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1828800" bIns="45720" rtlCol="0" anchor="ctr"/>
            <a:lstStyle/>
            <a:p>
              <a:pPr>
                <a:spcBef>
                  <a:spcPts val="400"/>
                </a:spcBef>
              </a:pPr>
              <a:r>
                <a:rPr lang="en-GB" dirty="0">
                  <a:solidFill>
                    <a:schemeClr val="tx2"/>
                  </a:solidFill>
                </a:rPr>
                <a:t>Abide by US-EU Safe </a:t>
              </a:r>
              <a:r>
                <a:rPr lang="en-GB" dirty="0" err="1">
                  <a:solidFill>
                    <a:schemeClr val="tx2"/>
                  </a:solidFill>
                </a:rPr>
                <a:t>Harbor</a:t>
              </a:r>
              <a:r>
                <a:rPr lang="en-GB" dirty="0">
                  <a:solidFill>
                    <a:schemeClr val="tx2"/>
                  </a:solidFill>
                </a:rPr>
                <a:t> Framework and the US-Swiss Safe </a:t>
              </a:r>
              <a:r>
                <a:rPr lang="en-GB" dirty="0" err="1">
                  <a:solidFill>
                    <a:schemeClr val="tx2"/>
                  </a:solidFill>
                </a:rPr>
                <a:t>Harbor</a:t>
              </a:r>
              <a:r>
                <a:rPr lang="en-GB" dirty="0">
                  <a:solidFill>
                    <a:schemeClr val="tx2"/>
                  </a:solidFill>
                </a:rPr>
                <a:t> Program.</a:t>
              </a:r>
            </a:p>
          </p:txBody>
        </p:sp>
        <p:sp>
          <p:nvSpPr>
            <p:cNvPr id="28" name="Freeform 27"/>
            <p:cNvSpPr/>
            <p:nvPr/>
          </p:nvSpPr>
          <p:spPr>
            <a:xfrm rot="10800000">
              <a:off x="9152999" y="1394691"/>
              <a:ext cx="3283476" cy="5067300"/>
            </a:xfrm>
            <a:custGeom>
              <a:avLst/>
              <a:gdLst>
                <a:gd name="connsiteX0" fmla="*/ 0 w 3283476"/>
                <a:gd name="connsiteY0" fmla="*/ 0 h 5067300"/>
                <a:gd name="connsiteX1" fmla="*/ 1801956 w 3283476"/>
                <a:gd name="connsiteY1" fmla="*/ 0 h 5067300"/>
                <a:gd name="connsiteX2" fmla="*/ 2000467 w 3283476"/>
                <a:gd name="connsiteY2" fmla="*/ 120599 h 5067300"/>
                <a:gd name="connsiteX3" fmla="*/ 3283476 w 3283476"/>
                <a:gd name="connsiteY3" fmla="*/ 2533650 h 5067300"/>
                <a:gd name="connsiteX4" fmla="*/ 2000467 w 3283476"/>
                <a:gd name="connsiteY4" fmla="*/ 4946702 h 5067300"/>
                <a:gd name="connsiteX5" fmla="*/ 1801956 w 3283476"/>
                <a:gd name="connsiteY5" fmla="*/ 5067300 h 5067300"/>
                <a:gd name="connsiteX6" fmla="*/ 0 w 3283476"/>
                <a:gd name="connsiteY6" fmla="*/ 5067300 h 506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3476" h="5067300">
                  <a:moveTo>
                    <a:pt x="0" y="0"/>
                  </a:moveTo>
                  <a:lnTo>
                    <a:pt x="1801956" y="0"/>
                  </a:lnTo>
                  <a:lnTo>
                    <a:pt x="2000467" y="120599"/>
                  </a:lnTo>
                  <a:cubicBezTo>
                    <a:pt x="2774543" y="643554"/>
                    <a:pt x="3283476" y="1529168"/>
                    <a:pt x="3283476" y="2533650"/>
                  </a:cubicBezTo>
                  <a:cubicBezTo>
                    <a:pt x="3283476" y="3538132"/>
                    <a:pt x="2774543" y="4423746"/>
                    <a:pt x="2000467" y="4946702"/>
                  </a:cubicBezTo>
                  <a:lnTo>
                    <a:pt x="1801956" y="5067300"/>
                  </a:lnTo>
                  <a:lnTo>
                    <a:pt x="0" y="5067300"/>
                  </a:lnTo>
                  <a:close/>
                </a:path>
              </a:pathLst>
            </a:custGeom>
            <a:solidFill>
              <a:srgbClr val="E4E4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4"/>
            <p:cNvSpPr/>
            <p:nvPr/>
          </p:nvSpPr>
          <p:spPr>
            <a:xfrm>
              <a:off x="0" y="1429499"/>
              <a:ext cx="2322286" cy="5054078"/>
            </a:xfrm>
            <a:prstGeom prst="rect">
              <a:avLst/>
            </a:prstGeom>
            <a:solidFill>
              <a:schemeClr val="accent2"/>
            </a:solidFill>
          </p:spPr>
          <p:txBody>
            <a:bodyPr wrap="square" lIns="182880" rIns="182880" rtlCol="0" anchor="ctr">
              <a:noAutofit/>
            </a:bodyPr>
            <a:lstStyle/>
            <a:p>
              <a:pPr lvl="0" algn="ctr">
                <a:spcAft>
                  <a:spcPts val="1200"/>
                </a:spcAft>
              </a:pPr>
              <a:r>
                <a:rPr lang="en-IN" sz="2800" dirty="0">
                  <a:solidFill>
                    <a:schemeClr val="bg1"/>
                  </a:solidFill>
                  <a:latin typeface="Segoe UI Light"/>
                </a:rPr>
                <a:t>Microsoft was the first major cloud service provider to…</a:t>
              </a:r>
            </a:p>
          </p:txBody>
        </p:sp>
        <p:pic>
          <p:nvPicPr>
            <p:cNvPr id="21" name="Picture 20"/>
            <p:cNvPicPr>
              <a:picLocks noChangeAspect="1"/>
            </p:cNvPicPr>
            <p:nvPr/>
          </p:nvPicPr>
          <p:blipFill>
            <a:blip r:embed="rId7"/>
            <a:stretch>
              <a:fillRect/>
            </a:stretch>
          </p:blipFill>
          <p:spPr>
            <a:xfrm>
              <a:off x="9590403" y="2447405"/>
              <a:ext cx="2994750" cy="2994750"/>
            </a:xfrm>
            <a:prstGeom prst="rect">
              <a:avLst/>
            </a:prstGeom>
          </p:spPr>
        </p:pic>
      </p:grpSp>
      <p:grpSp>
        <p:nvGrpSpPr>
          <p:cNvPr id="20" name="Group 19"/>
          <p:cNvGrpSpPr/>
          <p:nvPr/>
        </p:nvGrpSpPr>
        <p:grpSpPr>
          <a:xfrm>
            <a:off x="11070579" y="297389"/>
            <a:ext cx="932340" cy="913874"/>
            <a:chOff x="11070579" y="297389"/>
            <a:chExt cx="932340" cy="913874"/>
          </a:xfrm>
        </p:grpSpPr>
        <p:sp>
          <p:nvSpPr>
            <p:cNvPr id="27" name="Rectangle 26"/>
            <p:cNvSpPr/>
            <p:nvPr/>
          </p:nvSpPr>
          <p:spPr bwMode="auto">
            <a:xfrm>
              <a:off x="11070579" y="297389"/>
              <a:ext cx="932340" cy="913874"/>
            </a:xfrm>
            <a:prstGeom prst="rect">
              <a:avLst/>
            </a:prstGeom>
            <a:solidFill>
              <a:schemeClr val="accent2"/>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p>
              <a:pPr algn="l" defTabSz="932563" fontAlgn="auto">
                <a:spcAft>
                  <a:spcPts val="587"/>
                </a:spcAft>
              </a:pPr>
              <a:endParaRPr lang="en-US" sz="2200" dirty="0">
                <a:solidFill>
                  <a:schemeClr val="bg1"/>
                </a:solidFill>
                <a:latin typeface="+mj-lt"/>
                <a:cs typeface="Segoe UI Semibold" panose="020B0702040204020203" pitchFamily="34" charset="0"/>
              </a:endParaRPr>
            </a:p>
          </p:txBody>
        </p:sp>
        <p:sp>
          <p:nvSpPr>
            <p:cNvPr id="29" name="Rectangle 28"/>
            <p:cNvSpPr/>
            <p:nvPr/>
          </p:nvSpPr>
          <p:spPr>
            <a:xfrm>
              <a:off x="11070579" y="1137623"/>
              <a:ext cx="932340" cy="73640"/>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sp>
          <p:nvSpPr>
            <p:cNvPr id="30" name="Freeform 29"/>
            <p:cNvSpPr>
              <a:spLocks noEditPoints="1"/>
            </p:cNvSpPr>
            <p:nvPr/>
          </p:nvSpPr>
          <p:spPr bwMode="black">
            <a:xfrm>
              <a:off x="11329732" y="467317"/>
              <a:ext cx="414034" cy="574018"/>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alpha val="22000"/>
              </a:schemeClr>
            </a:solidFill>
            <a:ln w="0">
              <a:noFill/>
              <a:prstDash val="solid"/>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grpSp>
      <p:sp>
        <p:nvSpPr>
          <p:cNvPr id="7" name="Slide Number Placeholder 6"/>
          <p:cNvSpPr>
            <a:spLocks noGrp="1"/>
          </p:cNvSpPr>
          <p:nvPr>
            <p:ph type="sldNum" sz="quarter" idx="11"/>
          </p:nvPr>
        </p:nvSpPr>
        <p:spPr/>
        <p:txBody>
          <a:bodyPr/>
          <a:lstStyle/>
          <a:p>
            <a:fld id="{27258FFF-F925-446B-8502-81C933981705}" type="slidenum">
              <a:rPr lang="en-US" smtClean="0"/>
              <a:pPr/>
              <a:t>16</a:t>
            </a:fld>
            <a:endParaRPr lang="en-US" dirty="0"/>
          </a:p>
        </p:txBody>
      </p:sp>
    </p:spTree>
    <p:extLst>
      <p:ext uri="{BB962C8B-B14F-4D97-AF65-F5344CB8AC3E}">
        <p14:creationId xmlns:p14="http://schemas.microsoft.com/office/powerpoint/2010/main" val="57955376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684177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374"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Bent Arrow 3"/>
          <p:cNvSpPr/>
          <p:nvPr/>
        </p:nvSpPr>
        <p:spPr bwMode="auto">
          <a:xfrm>
            <a:off x="1638300" y="1778001"/>
            <a:ext cx="682686" cy="4120608"/>
          </a:xfrm>
          <a:prstGeom prst="bentArrow">
            <a:avLst>
              <a:gd name="adj1" fmla="val 7834"/>
              <a:gd name="adj2" fmla="val 25000"/>
              <a:gd name="adj3" fmla="val 0"/>
              <a:gd name="adj4" fmla="val 4375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8" name="Bent Arrow 37"/>
          <p:cNvSpPr/>
          <p:nvPr/>
        </p:nvSpPr>
        <p:spPr bwMode="auto">
          <a:xfrm>
            <a:off x="2662111" y="2853578"/>
            <a:ext cx="682686" cy="3045031"/>
          </a:xfrm>
          <a:prstGeom prst="bentArrow">
            <a:avLst>
              <a:gd name="adj1" fmla="val 7834"/>
              <a:gd name="adj2" fmla="val 25000"/>
              <a:gd name="adj3" fmla="val 0"/>
              <a:gd name="adj4" fmla="val 4375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0" name="Bent Arrow 39"/>
          <p:cNvSpPr/>
          <p:nvPr/>
        </p:nvSpPr>
        <p:spPr bwMode="auto">
          <a:xfrm>
            <a:off x="3685922" y="3987594"/>
            <a:ext cx="682686" cy="1911015"/>
          </a:xfrm>
          <a:prstGeom prst="bentArrow">
            <a:avLst>
              <a:gd name="adj1" fmla="val 7834"/>
              <a:gd name="adj2" fmla="val 25000"/>
              <a:gd name="adj3" fmla="val 0"/>
              <a:gd name="adj4" fmla="val 4375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1" name="Bent Arrow 40"/>
          <p:cNvSpPr/>
          <p:nvPr/>
        </p:nvSpPr>
        <p:spPr bwMode="auto">
          <a:xfrm>
            <a:off x="4713424" y="5101271"/>
            <a:ext cx="682686" cy="797337"/>
          </a:xfrm>
          <a:prstGeom prst="bentArrow">
            <a:avLst>
              <a:gd name="adj1" fmla="val 7834"/>
              <a:gd name="adj2" fmla="val 25000"/>
              <a:gd name="adj3" fmla="val 0"/>
              <a:gd name="adj4" fmla="val 43750"/>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0" y="2793966"/>
            <a:ext cx="12436472" cy="4200559"/>
            <a:chOff x="0" y="2793966"/>
            <a:chExt cx="12436472" cy="4200559"/>
          </a:xfrm>
        </p:grpSpPr>
        <p:grpSp>
          <p:nvGrpSpPr>
            <p:cNvPr id="6" name="Group 4"/>
            <p:cNvGrpSpPr>
              <a:grpSpLocks noChangeAspect="1"/>
            </p:cNvGrpSpPr>
            <p:nvPr/>
          </p:nvGrpSpPr>
          <p:grpSpPr bwMode="auto">
            <a:xfrm>
              <a:off x="19051" y="2793966"/>
              <a:ext cx="3329436" cy="3136935"/>
              <a:chOff x="-12" y="1390"/>
              <a:chExt cx="2456" cy="2314"/>
            </a:xfrm>
          </p:grpSpPr>
          <p:sp>
            <p:nvSpPr>
              <p:cNvPr id="8" name="Freeform 5"/>
              <p:cNvSpPr>
                <a:spLocks/>
              </p:cNvSpPr>
              <p:nvPr/>
            </p:nvSpPr>
            <p:spPr bwMode="auto">
              <a:xfrm>
                <a:off x="139" y="1767"/>
                <a:ext cx="280" cy="183"/>
              </a:xfrm>
              <a:custGeom>
                <a:avLst/>
                <a:gdLst>
                  <a:gd name="T0" fmla="*/ 34 w 213"/>
                  <a:gd name="T1" fmla="*/ 62 h 140"/>
                  <a:gd name="T2" fmla="*/ 34 w 213"/>
                  <a:gd name="T3" fmla="*/ 59 h 140"/>
                  <a:gd name="T4" fmla="*/ 92 w 213"/>
                  <a:gd name="T5" fmla="*/ 0 h 140"/>
                  <a:gd name="T6" fmla="*/ 141 w 213"/>
                  <a:gd name="T7" fmla="*/ 27 h 140"/>
                  <a:gd name="T8" fmla="*/ 157 w 213"/>
                  <a:gd name="T9" fmla="*/ 22 h 140"/>
                  <a:gd name="T10" fmla="*/ 176 w 213"/>
                  <a:gd name="T11" fmla="*/ 28 h 140"/>
                  <a:gd name="T12" fmla="*/ 192 w 213"/>
                  <a:gd name="T13" fmla="*/ 55 h 140"/>
                  <a:gd name="T14" fmla="*/ 213 w 213"/>
                  <a:gd name="T15" fmla="*/ 94 h 140"/>
                  <a:gd name="T16" fmla="*/ 172 w 213"/>
                  <a:gd name="T17" fmla="*/ 140 h 140"/>
                  <a:gd name="T18" fmla="*/ 166 w 213"/>
                  <a:gd name="T19" fmla="*/ 140 h 140"/>
                  <a:gd name="T20" fmla="*/ 162 w 213"/>
                  <a:gd name="T21" fmla="*/ 140 h 140"/>
                  <a:gd name="T22" fmla="*/ 66 w 213"/>
                  <a:gd name="T23" fmla="*/ 140 h 140"/>
                  <a:gd name="T24" fmla="*/ 64 w 213"/>
                  <a:gd name="T25" fmla="*/ 140 h 140"/>
                  <a:gd name="T26" fmla="*/ 61 w 213"/>
                  <a:gd name="T27" fmla="*/ 140 h 140"/>
                  <a:gd name="T28" fmla="*/ 54 w 213"/>
                  <a:gd name="T29" fmla="*/ 140 h 140"/>
                  <a:gd name="T30" fmla="*/ 39 w 213"/>
                  <a:gd name="T31" fmla="*/ 140 h 140"/>
                  <a:gd name="T32" fmla="*/ 0 w 213"/>
                  <a:gd name="T33" fmla="*/ 101 h 140"/>
                  <a:gd name="T34" fmla="*/ 34 w 213"/>
                  <a:gd name="T35" fmla="*/ 6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3" h="140">
                    <a:moveTo>
                      <a:pt x="34" y="62"/>
                    </a:moveTo>
                    <a:cubicBezTo>
                      <a:pt x="34" y="61"/>
                      <a:pt x="34" y="60"/>
                      <a:pt x="34" y="59"/>
                    </a:cubicBezTo>
                    <a:cubicBezTo>
                      <a:pt x="34" y="27"/>
                      <a:pt x="60" y="0"/>
                      <a:pt x="92" y="0"/>
                    </a:cubicBezTo>
                    <a:cubicBezTo>
                      <a:pt x="113" y="0"/>
                      <a:pt x="131" y="11"/>
                      <a:pt x="141" y="27"/>
                    </a:cubicBezTo>
                    <a:cubicBezTo>
                      <a:pt x="146" y="24"/>
                      <a:pt x="152" y="22"/>
                      <a:pt x="157" y="22"/>
                    </a:cubicBezTo>
                    <a:cubicBezTo>
                      <a:pt x="165" y="22"/>
                      <a:pt x="171" y="24"/>
                      <a:pt x="176" y="28"/>
                    </a:cubicBezTo>
                    <a:cubicBezTo>
                      <a:pt x="185" y="34"/>
                      <a:pt x="191" y="44"/>
                      <a:pt x="192" y="55"/>
                    </a:cubicBezTo>
                    <a:cubicBezTo>
                      <a:pt x="204" y="64"/>
                      <a:pt x="213" y="78"/>
                      <a:pt x="213" y="94"/>
                    </a:cubicBezTo>
                    <a:cubicBezTo>
                      <a:pt x="213" y="118"/>
                      <a:pt x="195" y="137"/>
                      <a:pt x="172" y="140"/>
                    </a:cubicBezTo>
                    <a:cubicBezTo>
                      <a:pt x="170" y="140"/>
                      <a:pt x="168" y="140"/>
                      <a:pt x="166" y="140"/>
                    </a:cubicBezTo>
                    <a:cubicBezTo>
                      <a:pt x="165" y="140"/>
                      <a:pt x="163" y="140"/>
                      <a:pt x="162" y="140"/>
                    </a:cubicBezTo>
                    <a:cubicBezTo>
                      <a:pt x="140" y="140"/>
                      <a:pt x="90" y="140"/>
                      <a:pt x="66" y="140"/>
                    </a:cubicBezTo>
                    <a:cubicBezTo>
                      <a:pt x="65" y="140"/>
                      <a:pt x="64" y="140"/>
                      <a:pt x="64" y="140"/>
                    </a:cubicBezTo>
                    <a:cubicBezTo>
                      <a:pt x="61" y="140"/>
                      <a:pt x="61" y="140"/>
                      <a:pt x="61" y="140"/>
                    </a:cubicBezTo>
                    <a:cubicBezTo>
                      <a:pt x="60" y="140"/>
                      <a:pt x="57" y="140"/>
                      <a:pt x="54" y="140"/>
                    </a:cubicBezTo>
                    <a:cubicBezTo>
                      <a:pt x="39" y="140"/>
                      <a:pt x="39" y="140"/>
                      <a:pt x="39" y="140"/>
                    </a:cubicBezTo>
                    <a:cubicBezTo>
                      <a:pt x="17" y="139"/>
                      <a:pt x="0" y="122"/>
                      <a:pt x="0" y="101"/>
                    </a:cubicBezTo>
                    <a:cubicBezTo>
                      <a:pt x="0" y="81"/>
                      <a:pt x="14" y="64"/>
                      <a:pt x="34" y="62"/>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 name="Freeform 6"/>
              <p:cNvSpPr>
                <a:spLocks/>
              </p:cNvSpPr>
              <p:nvPr/>
            </p:nvSpPr>
            <p:spPr bwMode="auto">
              <a:xfrm>
                <a:off x="734" y="3258"/>
                <a:ext cx="529" cy="446"/>
              </a:xfrm>
              <a:custGeom>
                <a:avLst/>
                <a:gdLst>
                  <a:gd name="T0" fmla="*/ 290 w 529"/>
                  <a:gd name="T1" fmla="*/ 75 h 446"/>
                  <a:gd name="T2" fmla="*/ 290 w 529"/>
                  <a:gd name="T3" fmla="*/ 0 h 446"/>
                  <a:gd name="T4" fmla="*/ 348 w 529"/>
                  <a:gd name="T5" fmla="*/ 0 h 446"/>
                  <a:gd name="T6" fmla="*/ 348 w 529"/>
                  <a:gd name="T7" fmla="*/ 75 h 446"/>
                  <a:gd name="T8" fmla="*/ 368 w 529"/>
                  <a:gd name="T9" fmla="*/ 75 h 446"/>
                  <a:gd name="T10" fmla="*/ 368 w 529"/>
                  <a:gd name="T11" fmla="*/ 0 h 446"/>
                  <a:gd name="T12" fmla="*/ 426 w 529"/>
                  <a:gd name="T13" fmla="*/ 0 h 446"/>
                  <a:gd name="T14" fmla="*/ 426 w 529"/>
                  <a:gd name="T15" fmla="*/ 75 h 446"/>
                  <a:gd name="T16" fmla="*/ 529 w 529"/>
                  <a:gd name="T17" fmla="*/ 75 h 446"/>
                  <a:gd name="T18" fmla="*/ 529 w 529"/>
                  <a:gd name="T19" fmla="*/ 94 h 446"/>
                  <a:gd name="T20" fmla="*/ 504 w 529"/>
                  <a:gd name="T21" fmla="*/ 94 h 446"/>
                  <a:gd name="T22" fmla="*/ 504 w 529"/>
                  <a:gd name="T23" fmla="*/ 446 h 446"/>
                  <a:gd name="T24" fmla="*/ 24 w 529"/>
                  <a:gd name="T25" fmla="*/ 446 h 446"/>
                  <a:gd name="T26" fmla="*/ 24 w 529"/>
                  <a:gd name="T27" fmla="*/ 94 h 446"/>
                  <a:gd name="T28" fmla="*/ 0 w 529"/>
                  <a:gd name="T29" fmla="*/ 94 h 446"/>
                  <a:gd name="T30" fmla="*/ 0 w 529"/>
                  <a:gd name="T31" fmla="*/ 75 h 446"/>
                  <a:gd name="T32" fmla="*/ 290 w 529"/>
                  <a:gd name="T33" fmla="*/ 7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9" h="446">
                    <a:moveTo>
                      <a:pt x="290" y="75"/>
                    </a:moveTo>
                    <a:lnTo>
                      <a:pt x="290" y="0"/>
                    </a:lnTo>
                    <a:lnTo>
                      <a:pt x="348" y="0"/>
                    </a:lnTo>
                    <a:lnTo>
                      <a:pt x="348" y="75"/>
                    </a:lnTo>
                    <a:lnTo>
                      <a:pt x="368" y="75"/>
                    </a:lnTo>
                    <a:lnTo>
                      <a:pt x="368" y="0"/>
                    </a:lnTo>
                    <a:lnTo>
                      <a:pt x="426" y="0"/>
                    </a:lnTo>
                    <a:lnTo>
                      <a:pt x="426" y="75"/>
                    </a:lnTo>
                    <a:lnTo>
                      <a:pt x="529" y="75"/>
                    </a:lnTo>
                    <a:lnTo>
                      <a:pt x="529" y="94"/>
                    </a:lnTo>
                    <a:lnTo>
                      <a:pt x="504" y="94"/>
                    </a:lnTo>
                    <a:lnTo>
                      <a:pt x="504" y="446"/>
                    </a:lnTo>
                    <a:lnTo>
                      <a:pt x="24" y="446"/>
                    </a:lnTo>
                    <a:lnTo>
                      <a:pt x="24" y="94"/>
                    </a:lnTo>
                    <a:lnTo>
                      <a:pt x="0" y="94"/>
                    </a:lnTo>
                    <a:lnTo>
                      <a:pt x="0" y="75"/>
                    </a:lnTo>
                    <a:lnTo>
                      <a:pt x="290" y="7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 name="Freeform 7"/>
              <p:cNvSpPr>
                <a:spLocks/>
              </p:cNvSpPr>
              <p:nvPr/>
            </p:nvSpPr>
            <p:spPr bwMode="auto">
              <a:xfrm>
                <a:off x="454" y="3258"/>
                <a:ext cx="530" cy="446"/>
              </a:xfrm>
              <a:custGeom>
                <a:avLst/>
                <a:gdLst>
                  <a:gd name="T0" fmla="*/ 292 w 530"/>
                  <a:gd name="T1" fmla="*/ 75 h 446"/>
                  <a:gd name="T2" fmla="*/ 292 w 530"/>
                  <a:gd name="T3" fmla="*/ 0 h 446"/>
                  <a:gd name="T4" fmla="*/ 350 w 530"/>
                  <a:gd name="T5" fmla="*/ 0 h 446"/>
                  <a:gd name="T6" fmla="*/ 350 w 530"/>
                  <a:gd name="T7" fmla="*/ 75 h 446"/>
                  <a:gd name="T8" fmla="*/ 369 w 530"/>
                  <a:gd name="T9" fmla="*/ 75 h 446"/>
                  <a:gd name="T10" fmla="*/ 369 w 530"/>
                  <a:gd name="T11" fmla="*/ 0 h 446"/>
                  <a:gd name="T12" fmla="*/ 427 w 530"/>
                  <a:gd name="T13" fmla="*/ 0 h 446"/>
                  <a:gd name="T14" fmla="*/ 427 w 530"/>
                  <a:gd name="T15" fmla="*/ 75 h 446"/>
                  <a:gd name="T16" fmla="*/ 530 w 530"/>
                  <a:gd name="T17" fmla="*/ 75 h 446"/>
                  <a:gd name="T18" fmla="*/ 530 w 530"/>
                  <a:gd name="T19" fmla="*/ 94 h 446"/>
                  <a:gd name="T20" fmla="*/ 506 w 530"/>
                  <a:gd name="T21" fmla="*/ 94 h 446"/>
                  <a:gd name="T22" fmla="*/ 506 w 530"/>
                  <a:gd name="T23" fmla="*/ 446 h 446"/>
                  <a:gd name="T24" fmla="*/ 24 w 530"/>
                  <a:gd name="T25" fmla="*/ 446 h 446"/>
                  <a:gd name="T26" fmla="*/ 24 w 530"/>
                  <a:gd name="T27" fmla="*/ 94 h 446"/>
                  <a:gd name="T28" fmla="*/ 0 w 530"/>
                  <a:gd name="T29" fmla="*/ 94 h 446"/>
                  <a:gd name="T30" fmla="*/ 0 w 530"/>
                  <a:gd name="T31" fmla="*/ 75 h 446"/>
                  <a:gd name="T32" fmla="*/ 292 w 530"/>
                  <a:gd name="T33" fmla="*/ 7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0" h="446">
                    <a:moveTo>
                      <a:pt x="292" y="75"/>
                    </a:moveTo>
                    <a:lnTo>
                      <a:pt x="292" y="0"/>
                    </a:lnTo>
                    <a:lnTo>
                      <a:pt x="350" y="0"/>
                    </a:lnTo>
                    <a:lnTo>
                      <a:pt x="350" y="75"/>
                    </a:lnTo>
                    <a:lnTo>
                      <a:pt x="369" y="75"/>
                    </a:lnTo>
                    <a:lnTo>
                      <a:pt x="369" y="0"/>
                    </a:lnTo>
                    <a:lnTo>
                      <a:pt x="427" y="0"/>
                    </a:lnTo>
                    <a:lnTo>
                      <a:pt x="427" y="75"/>
                    </a:lnTo>
                    <a:lnTo>
                      <a:pt x="530" y="75"/>
                    </a:lnTo>
                    <a:lnTo>
                      <a:pt x="530" y="94"/>
                    </a:lnTo>
                    <a:lnTo>
                      <a:pt x="506" y="94"/>
                    </a:lnTo>
                    <a:lnTo>
                      <a:pt x="506" y="446"/>
                    </a:lnTo>
                    <a:lnTo>
                      <a:pt x="24" y="446"/>
                    </a:lnTo>
                    <a:lnTo>
                      <a:pt x="24" y="94"/>
                    </a:lnTo>
                    <a:lnTo>
                      <a:pt x="0" y="94"/>
                    </a:lnTo>
                    <a:lnTo>
                      <a:pt x="0" y="75"/>
                    </a:lnTo>
                    <a:lnTo>
                      <a:pt x="292" y="7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1" name="Freeform 8"/>
              <p:cNvSpPr>
                <a:spLocks/>
              </p:cNvSpPr>
              <p:nvPr/>
            </p:nvSpPr>
            <p:spPr bwMode="auto">
              <a:xfrm>
                <a:off x="2164" y="1767"/>
                <a:ext cx="280" cy="183"/>
              </a:xfrm>
              <a:custGeom>
                <a:avLst/>
                <a:gdLst>
                  <a:gd name="T0" fmla="*/ 34 w 213"/>
                  <a:gd name="T1" fmla="*/ 62 h 140"/>
                  <a:gd name="T2" fmla="*/ 34 w 213"/>
                  <a:gd name="T3" fmla="*/ 59 h 140"/>
                  <a:gd name="T4" fmla="*/ 93 w 213"/>
                  <a:gd name="T5" fmla="*/ 0 h 140"/>
                  <a:gd name="T6" fmla="*/ 142 w 213"/>
                  <a:gd name="T7" fmla="*/ 27 h 140"/>
                  <a:gd name="T8" fmla="*/ 158 w 213"/>
                  <a:gd name="T9" fmla="*/ 22 h 140"/>
                  <a:gd name="T10" fmla="*/ 177 w 213"/>
                  <a:gd name="T11" fmla="*/ 28 h 140"/>
                  <a:gd name="T12" fmla="*/ 192 w 213"/>
                  <a:gd name="T13" fmla="*/ 55 h 140"/>
                  <a:gd name="T14" fmla="*/ 213 w 213"/>
                  <a:gd name="T15" fmla="*/ 94 h 140"/>
                  <a:gd name="T16" fmla="*/ 172 w 213"/>
                  <a:gd name="T17" fmla="*/ 140 h 140"/>
                  <a:gd name="T18" fmla="*/ 167 w 213"/>
                  <a:gd name="T19" fmla="*/ 140 h 140"/>
                  <a:gd name="T20" fmla="*/ 162 w 213"/>
                  <a:gd name="T21" fmla="*/ 140 h 140"/>
                  <a:gd name="T22" fmla="*/ 66 w 213"/>
                  <a:gd name="T23" fmla="*/ 140 h 140"/>
                  <a:gd name="T24" fmla="*/ 64 w 213"/>
                  <a:gd name="T25" fmla="*/ 140 h 140"/>
                  <a:gd name="T26" fmla="*/ 62 w 213"/>
                  <a:gd name="T27" fmla="*/ 140 h 140"/>
                  <a:gd name="T28" fmla="*/ 55 w 213"/>
                  <a:gd name="T29" fmla="*/ 140 h 140"/>
                  <a:gd name="T30" fmla="*/ 40 w 213"/>
                  <a:gd name="T31" fmla="*/ 140 h 140"/>
                  <a:gd name="T32" fmla="*/ 0 w 213"/>
                  <a:gd name="T33" fmla="*/ 101 h 140"/>
                  <a:gd name="T34" fmla="*/ 34 w 213"/>
                  <a:gd name="T35" fmla="*/ 6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3" h="140">
                    <a:moveTo>
                      <a:pt x="34" y="62"/>
                    </a:moveTo>
                    <a:cubicBezTo>
                      <a:pt x="34" y="61"/>
                      <a:pt x="34" y="60"/>
                      <a:pt x="34" y="59"/>
                    </a:cubicBezTo>
                    <a:cubicBezTo>
                      <a:pt x="34" y="27"/>
                      <a:pt x="60" y="0"/>
                      <a:pt x="93" y="0"/>
                    </a:cubicBezTo>
                    <a:cubicBezTo>
                      <a:pt x="113" y="0"/>
                      <a:pt x="131" y="11"/>
                      <a:pt x="142" y="27"/>
                    </a:cubicBezTo>
                    <a:cubicBezTo>
                      <a:pt x="147" y="24"/>
                      <a:pt x="152" y="22"/>
                      <a:pt x="158" y="22"/>
                    </a:cubicBezTo>
                    <a:cubicBezTo>
                      <a:pt x="165" y="22"/>
                      <a:pt x="172" y="24"/>
                      <a:pt x="177" y="28"/>
                    </a:cubicBezTo>
                    <a:cubicBezTo>
                      <a:pt x="186" y="34"/>
                      <a:pt x="192" y="44"/>
                      <a:pt x="192" y="55"/>
                    </a:cubicBezTo>
                    <a:cubicBezTo>
                      <a:pt x="205" y="64"/>
                      <a:pt x="213" y="78"/>
                      <a:pt x="213" y="94"/>
                    </a:cubicBezTo>
                    <a:cubicBezTo>
                      <a:pt x="213" y="118"/>
                      <a:pt x="195" y="137"/>
                      <a:pt x="172" y="140"/>
                    </a:cubicBezTo>
                    <a:cubicBezTo>
                      <a:pt x="171" y="140"/>
                      <a:pt x="169" y="140"/>
                      <a:pt x="167" y="140"/>
                    </a:cubicBezTo>
                    <a:cubicBezTo>
                      <a:pt x="165" y="140"/>
                      <a:pt x="164" y="140"/>
                      <a:pt x="162" y="140"/>
                    </a:cubicBezTo>
                    <a:cubicBezTo>
                      <a:pt x="141" y="140"/>
                      <a:pt x="90" y="140"/>
                      <a:pt x="66" y="140"/>
                    </a:cubicBezTo>
                    <a:cubicBezTo>
                      <a:pt x="66" y="140"/>
                      <a:pt x="65" y="140"/>
                      <a:pt x="64" y="140"/>
                    </a:cubicBezTo>
                    <a:cubicBezTo>
                      <a:pt x="62" y="140"/>
                      <a:pt x="62" y="140"/>
                      <a:pt x="62" y="140"/>
                    </a:cubicBezTo>
                    <a:cubicBezTo>
                      <a:pt x="61" y="140"/>
                      <a:pt x="57" y="140"/>
                      <a:pt x="55" y="140"/>
                    </a:cubicBezTo>
                    <a:cubicBezTo>
                      <a:pt x="40" y="140"/>
                      <a:pt x="40" y="140"/>
                      <a:pt x="40" y="140"/>
                    </a:cubicBezTo>
                    <a:cubicBezTo>
                      <a:pt x="18" y="139"/>
                      <a:pt x="0" y="122"/>
                      <a:pt x="0" y="101"/>
                    </a:cubicBezTo>
                    <a:cubicBezTo>
                      <a:pt x="0" y="81"/>
                      <a:pt x="15" y="64"/>
                      <a:pt x="34" y="62"/>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Rectangle 9"/>
              <p:cNvSpPr>
                <a:spLocks noChangeArrowheads="1"/>
              </p:cNvSpPr>
              <p:nvPr/>
            </p:nvSpPr>
            <p:spPr bwMode="auto">
              <a:xfrm>
                <a:off x="1120" y="3102"/>
                <a:ext cx="481" cy="60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Rectangle 10"/>
              <p:cNvSpPr>
                <a:spLocks noChangeArrowheads="1"/>
              </p:cNvSpPr>
              <p:nvPr/>
            </p:nvSpPr>
            <p:spPr bwMode="auto">
              <a:xfrm>
                <a:off x="1095" y="3084"/>
                <a:ext cx="529" cy="1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Rectangle 11"/>
              <p:cNvSpPr>
                <a:spLocks noChangeArrowheads="1"/>
              </p:cNvSpPr>
              <p:nvPr/>
            </p:nvSpPr>
            <p:spPr bwMode="auto">
              <a:xfrm>
                <a:off x="1384" y="3582"/>
                <a:ext cx="63" cy="1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 name="Rectangle 12"/>
              <p:cNvSpPr>
                <a:spLocks noChangeArrowheads="1"/>
              </p:cNvSpPr>
              <p:nvPr/>
            </p:nvSpPr>
            <p:spPr bwMode="auto">
              <a:xfrm>
                <a:off x="1275" y="3582"/>
                <a:ext cx="63" cy="12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 name="Rectangle 13"/>
              <p:cNvSpPr>
                <a:spLocks noChangeArrowheads="1"/>
              </p:cNvSpPr>
              <p:nvPr/>
            </p:nvSpPr>
            <p:spPr bwMode="auto">
              <a:xfrm>
                <a:off x="1167" y="3157"/>
                <a:ext cx="389" cy="6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Rectangle 14"/>
              <p:cNvSpPr>
                <a:spLocks noChangeArrowheads="1"/>
              </p:cNvSpPr>
              <p:nvPr/>
            </p:nvSpPr>
            <p:spPr bwMode="auto">
              <a:xfrm>
                <a:off x="1167" y="3265"/>
                <a:ext cx="389" cy="62"/>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 name="Rectangle 15"/>
              <p:cNvSpPr>
                <a:spLocks noChangeArrowheads="1"/>
              </p:cNvSpPr>
              <p:nvPr/>
            </p:nvSpPr>
            <p:spPr bwMode="auto">
              <a:xfrm>
                <a:off x="1167" y="3373"/>
                <a:ext cx="389" cy="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 name="Rectangle 16"/>
              <p:cNvSpPr>
                <a:spLocks noChangeArrowheads="1"/>
              </p:cNvSpPr>
              <p:nvPr/>
            </p:nvSpPr>
            <p:spPr bwMode="auto">
              <a:xfrm>
                <a:off x="1167" y="3482"/>
                <a:ext cx="389" cy="6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 name="Rectangle 17"/>
              <p:cNvSpPr>
                <a:spLocks noChangeArrowheads="1"/>
              </p:cNvSpPr>
              <p:nvPr/>
            </p:nvSpPr>
            <p:spPr bwMode="auto">
              <a:xfrm>
                <a:off x="1601" y="3672"/>
                <a:ext cx="689" cy="3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3" name="Rectangle 18"/>
              <p:cNvSpPr>
                <a:spLocks noChangeArrowheads="1"/>
              </p:cNvSpPr>
              <p:nvPr/>
            </p:nvSpPr>
            <p:spPr bwMode="auto">
              <a:xfrm>
                <a:off x="1883" y="3568"/>
                <a:ext cx="28" cy="10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 name="Oval 19"/>
              <p:cNvSpPr>
                <a:spLocks noChangeArrowheads="1"/>
              </p:cNvSpPr>
              <p:nvPr/>
            </p:nvSpPr>
            <p:spPr bwMode="auto">
              <a:xfrm>
                <a:off x="1829" y="3478"/>
                <a:ext cx="138" cy="13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5" name="Oval 20"/>
              <p:cNvSpPr>
                <a:spLocks noChangeArrowheads="1"/>
              </p:cNvSpPr>
              <p:nvPr/>
            </p:nvSpPr>
            <p:spPr bwMode="auto">
              <a:xfrm>
                <a:off x="1848" y="3407"/>
                <a:ext cx="101" cy="10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6" name="Rectangle 21"/>
              <p:cNvSpPr>
                <a:spLocks noChangeArrowheads="1"/>
              </p:cNvSpPr>
              <p:nvPr/>
            </p:nvSpPr>
            <p:spPr bwMode="auto">
              <a:xfrm>
                <a:off x="1702" y="3568"/>
                <a:ext cx="29" cy="10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4" name="Oval 22"/>
              <p:cNvSpPr>
                <a:spLocks noChangeArrowheads="1"/>
              </p:cNvSpPr>
              <p:nvPr/>
            </p:nvSpPr>
            <p:spPr bwMode="auto">
              <a:xfrm>
                <a:off x="1648" y="3478"/>
                <a:ext cx="138" cy="13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7" name="Oval 23"/>
              <p:cNvSpPr>
                <a:spLocks noChangeArrowheads="1"/>
              </p:cNvSpPr>
              <p:nvPr/>
            </p:nvSpPr>
            <p:spPr bwMode="auto">
              <a:xfrm>
                <a:off x="1666" y="3407"/>
                <a:ext cx="102" cy="10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9" name="Rectangle 24"/>
              <p:cNvSpPr>
                <a:spLocks noChangeArrowheads="1"/>
              </p:cNvSpPr>
              <p:nvPr/>
            </p:nvSpPr>
            <p:spPr bwMode="auto">
              <a:xfrm>
                <a:off x="1199" y="3009"/>
                <a:ext cx="185" cy="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4" name="Rectangle 25"/>
              <p:cNvSpPr>
                <a:spLocks noChangeArrowheads="1"/>
              </p:cNvSpPr>
              <p:nvPr/>
            </p:nvSpPr>
            <p:spPr bwMode="auto">
              <a:xfrm>
                <a:off x="-12" y="3323"/>
                <a:ext cx="437" cy="381"/>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5" name="Rectangle 26"/>
              <p:cNvSpPr>
                <a:spLocks noChangeArrowheads="1"/>
              </p:cNvSpPr>
              <p:nvPr/>
            </p:nvSpPr>
            <p:spPr bwMode="auto">
              <a:xfrm>
                <a:off x="-12" y="3304"/>
                <a:ext cx="461" cy="19"/>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7" name="Rectangle 27"/>
              <p:cNvSpPr>
                <a:spLocks noChangeArrowheads="1"/>
              </p:cNvSpPr>
              <p:nvPr/>
            </p:nvSpPr>
            <p:spPr bwMode="auto">
              <a:xfrm>
                <a:off x="209" y="3582"/>
                <a:ext cx="63" cy="12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9" name="Rectangle 28"/>
              <p:cNvSpPr>
                <a:spLocks noChangeArrowheads="1"/>
              </p:cNvSpPr>
              <p:nvPr/>
            </p:nvSpPr>
            <p:spPr bwMode="auto">
              <a:xfrm>
                <a:off x="100" y="3582"/>
                <a:ext cx="63" cy="122"/>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0" name="Rectangle 29"/>
              <p:cNvSpPr>
                <a:spLocks noChangeArrowheads="1"/>
              </p:cNvSpPr>
              <p:nvPr/>
            </p:nvSpPr>
            <p:spPr bwMode="auto">
              <a:xfrm>
                <a:off x="-9" y="3373"/>
                <a:ext cx="388" cy="6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1" name="Rectangle 30"/>
              <p:cNvSpPr>
                <a:spLocks noChangeArrowheads="1"/>
              </p:cNvSpPr>
              <p:nvPr/>
            </p:nvSpPr>
            <p:spPr bwMode="auto">
              <a:xfrm>
                <a:off x="-9" y="3482"/>
                <a:ext cx="388" cy="61"/>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2" name="Rectangle 31"/>
              <p:cNvSpPr>
                <a:spLocks noChangeArrowheads="1"/>
              </p:cNvSpPr>
              <p:nvPr/>
            </p:nvSpPr>
            <p:spPr bwMode="auto">
              <a:xfrm>
                <a:off x="22" y="3230"/>
                <a:ext cx="187" cy="7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3" name="Rectangle 32"/>
              <p:cNvSpPr>
                <a:spLocks noChangeArrowheads="1"/>
              </p:cNvSpPr>
              <p:nvPr/>
            </p:nvSpPr>
            <p:spPr bwMode="auto">
              <a:xfrm>
                <a:off x="532" y="2888"/>
                <a:ext cx="480" cy="81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6" name="Rectangle 33"/>
              <p:cNvSpPr>
                <a:spLocks noChangeArrowheads="1"/>
              </p:cNvSpPr>
              <p:nvPr/>
            </p:nvSpPr>
            <p:spPr bwMode="auto">
              <a:xfrm>
                <a:off x="508" y="2870"/>
                <a:ext cx="529" cy="1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7" name="Rectangle 34"/>
              <p:cNvSpPr>
                <a:spLocks noChangeArrowheads="1"/>
              </p:cNvSpPr>
              <p:nvPr/>
            </p:nvSpPr>
            <p:spPr bwMode="auto">
              <a:xfrm>
                <a:off x="796" y="3582"/>
                <a:ext cx="63" cy="1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8" name="Rectangle 35"/>
              <p:cNvSpPr>
                <a:spLocks noChangeArrowheads="1"/>
              </p:cNvSpPr>
              <p:nvPr/>
            </p:nvSpPr>
            <p:spPr bwMode="auto">
              <a:xfrm>
                <a:off x="688" y="3582"/>
                <a:ext cx="63" cy="1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9" name="Rectangle 36"/>
              <p:cNvSpPr>
                <a:spLocks noChangeArrowheads="1"/>
              </p:cNvSpPr>
              <p:nvPr/>
            </p:nvSpPr>
            <p:spPr bwMode="auto">
              <a:xfrm>
                <a:off x="579" y="3157"/>
                <a:ext cx="389" cy="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0" name="Rectangle 37"/>
              <p:cNvSpPr>
                <a:spLocks noChangeArrowheads="1"/>
              </p:cNvSpPr>
              <p:nvPr/>
            </p:nvSpPr>
            <p:spPr bwMode="auto">
              <a:xfrm>
                <a:off x="579" y="3265"/>
                <a:ext cx="389" cy="6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1" name="Rectangle 38"/>
              <p:cNvSpPr>
                <a:spLocks noChangeArrowheads="1"/>
              </p:cNvSpPr>
              <p:nvPr/>
            </p:nvSpPr>
            <p:spPr bwMode="auto">
              <a:xfrm>
                <a:off x="579" y="3373"/>
                <a:ext cx="389" cy="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2" name="Rectangle 39"/>
              <p:cNvSpPr>
                <a:spLocks noChangeArrowheads="1"/>
              </p:cNvSpPr>
              <p:nvPr/>
            </p:nvSpPr>
            <p:spPr bwMode="auto">
              <a:xfrm>
                <a:off x="579" y="3482"/>
                <a:ext cx="389" cy="6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3" name="Rectangle 40"/>
              <p:cNvSpPr>
                <a:spLocks noChangeArrowheads="1"/>
              </p:cNvSpPr>
              <p:nvPr/>
            </p:nvSpPr>
            <p:spPr bwMode="auto">
              <a:xfrm>
                <a:off x="579" y="2941"/>
                <a:ext cx="389" cy="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4" name="Rectangle 41"/>
              <p:cNvSpPr>
                <a:spLocks noChangeArrowheads="1"/>
              </p:cNvSpPr>
              <p:nvPr/>
            </p:nvSpPr>
            <p:spPr bwMode="auto">
              <a:xfrm>
                <a:off x="579" y="3048"/>
                <a:ext cx="389" cy="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5" name="Rectangle 42"/>
              <p:cNvSpPr>
                <a:spLocks noChangeArrowheads="1"/>
              </p:cNvSpPr>
              <p:nvPr/>
            </p:nvSpPr>
            <p:spPr bwMode="auto">
              <a:xfrm>
                <a:off x="876" y="2795"/>
                <a:ext cx="58" cy="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6" name="Rectangle 43"/>
              <p:cNvSpPr>
                <a:spLocks noChangeArrowheads="1"/>
              </p:cNvSpPr>
              <p:nvPr/>
            </p:nvSpPr>
            <p:spPr bwMode="auto">
              <a:xfrm>
                <a:off x="798" y="2795"/>
                <a:ext cx="58" cy="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7" name="Rectangle 44"/>
              <p:cNvSpPr>
                <a:spLocks noChangeArrowheads="1"/>
              </p:cNvSpPr>
              <p:nvPr/>
            </p:nvSpPr>
            <p:spPr bwMode="auto">
              <a:xfrm>
                <a:off x="976" y="3672"/>
                <a:ext cx="181" cy="3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Rectangle 45"/>
              <p:cNvSpPr>
                <a:spLocks noChangeArrowheads="1"/>
              </p:cNvSpPr>
              <p:nvPr/>
            </p:nvSpPr>
            <p:spPr bwMode="auto">
              <a:xfrm>
                <a:off x="379" y="3672"/>
                <a:ext cx="263" cy="3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9" name="Freeform 46"/>
              <p:cNvSpPr>
                <a:spLocks/>
              </p:cNvSpPr>
              <p:nvPr/>
            </p:nvSpPr>
            <p:spPr bwMode="auto">
              <a:xfrm>
                <a:off x="1062" y="1400"/>
                <a:ext cx="924" cy="604"/>
              </a:xfrm>
              <a:custGeom>
                <a:avLst/>
                <a:gdLst>
                  <a:gd name="T0" fmla="*/ 113 w 703"/>
                  <a:gd name="T1" fmla="*/ 202 h 460"/>
                  <a:gd name="T2" fmla="*/ 113 w 703"/>
                  <a:gd name="T3" fmla="*/ 193 h 460"/>
                  <a:gd name="T4" fmla="*/ 307 w 703"/>
                  <a:gd name="T5" fmla="*/ 0 h 460"/>
                  <a:gd name="T6" fmla="*/ 468 w 703"/>
                  <a:gd name="T7" fmla="*/ 86 h 460"/>
                  <a:gd name="T8" fmla="*/ 521 w 703"/>
                  <a:gd name="T9" fmla="*/ 72 h 460"/>
                  <a:gd name="T10" fmla="*/ 584 w 703"/>
                  <a:gd name="T11" fmla="*/ 91 h 460"/>
                  <a:gd name="T12" fmla="*/ 634 w 703"/>
                  <a:gd name="T13" fmla="*/ 181 h 460"/>
                  <a:gd name="T14" fmla="*/ 703 w 703"/>
                  <a:gd name="T15" fmla="*/ 308 h 460"/>
                  <a:gd name="T16" fmla="*/ 568 w 703"/>
                  <a:gd name="T17" fmla="*/ 460 h 460"/>
                  <a:gd name="T18" fmla="*/ 551 w 703"/>
                  <a:gd name="T19" fmla="*/ 460 h 460"/>
                  <a:gd name="T20" fmla="*/ 535 w 703"/>
                  <a:gd name="T21" fmla="*/ 460 h 460"/>
                  <a:gd name="T22" fmla="*/ 219 w 703"/>
                  <a:gd name="T23" fmla="*/ 460 h 460"/>
                  <a:gd name="T24" fmla="*/ 213 w 703"/>
                  <a:gd name="T25" fmla="*/ 460 h 460"/>
                  <a:gd name="T26" fmla="*/ 205 w 703"/>
                  <a:gd name="T27" fmla="*/ 460 h 460"/>
                  <a:gd name="T28" fmla="*/ 181 w 703"/>
                  <a:gd name="T29" fmla="*/ 460 h 460"/>
                  <a:gd name="T30" fmla="*/ 131 w 703"/>
                  <a:gd name="T31" fmla="*/ 460 h 460"/>
                  <a:gd name="T32" fmla="*/ 0 w 703"/>
                  <a:gd name="T33" fmla="*/ 330 h 460"/>
                  <a:gd name="T34" fmla="*/ 113 w 703"/>
                  <a:gd name="T35" fmla="*/ 202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3" h="460">
                    <a:moveTo>
                      <a:pt x="113" y="202"/>
                    </a:moveTo>
                    <a:cubicBezTo>
                      <a:pt x="113" y="199"/>
                      <a:pt x="113" y="195"/>
                      <a:pt x="113" y="193"/>
                    </a:cubicBezTo>
                    <a:cubicBezTo>
                      <a:pt x="113" y="86"/>
                      <a:pt x="199" y="0"/>
                      <a:pt x="307" y="0"/>
                    </a:cubicBezTo>
                    <a:cubicBezTo>
                      <a:pt x="374" y="0"/>
                      <a:pt x="433" y="35"/>
                      <a:pt x="468" y="86"/>
                    </a:cubicBezTo>
                    <a:cubicBezTo>
                      <a:pt x="484" y="77"/>
                      <a:pt x="502" y="72"/>
                      <a:pt x="521" y="72"/>
                    </a:cubicBezTo>
                    <a:cubicBezTo>
                      <a:pt x="544" y="72"/>
                      <a:pt x="566" y="79"/>
                      <a:pt x="584" y="91"/>
                    </a:cubicBezTo>
                    <a:cubicBezTo>
                      <a:pt x="613" y="110"/>
                      <a:pt x="633" y="144"/>
                      <a:pt x="634" y="181"/>
                    </a:cubicBezTo>
                    <a:cubicBezTo>
                      <a:pt x="675" y="208"/>
                      <a:pt x="703" y="256"/>
                      <a:pt x="703" y="308"/>
                    </a:cubicBezTo>
                    <a:cubicBezTo>
                      <a:pt x="703" y="387"/>
                      <a:pt x="644" y="451"/>
                      <a:pt x="568" y="460"/>
                    </a:cubicBezTo>
                    <a:cubicBezTo>
                      <a:pt x="562" y="460"/>
                      <a:pt x="556" y="460"/>
                      <a:pt x="551" y="460"/>
                    </a:cubicBezTo>
                    <a:cubicBezTo>
                      <a:pt x="546" y="460"/>
                      <a:pt x="541" y="460"/>
                      <a:pt x="535" y="460"/>
                    </a:cubicBezTo>
                    <a:cubicBezTo>
                      <a:pt x="464" y="460"/>
                      <a:pt x="298" y="460"/>
                      <a:pt x="219" y="460"/>
                    </a:cubicBezTo>
                    <a:cubicBezTo>
                      <a:pt x="216" y="460"/>
                      <a:pt x="214" y="460"/>
                      <a:pt x="213" y="460"/>
                    </a:cubicBezTo>
                    <a:cubicBezTo>
                      <a:pt x="205" y="460"/>
                      <a:pt x="205" y="460"/>
                      <a:pt x="205" y="460"/>
                    </a:cubicBezTo>
                    <a:cubicBezTo>
                      <a:pt x="201" y="460"/>
                      <a:pt x="189" y="460"/>
                      <a:pt x="181" y="460"/>
                    </a:cubicBezTo>
                    <a:cubicBezTo>
                      <a:pt x="131" y="460"/>
                      <a:pt x="131" y="460"/>
                      <a:pt x="131" y="460"/>
                    </a:cubicBezTo>
                    <a:cubicBezTo>
                      <a:pt x="59" y="459"/>
                      <a:pt x="0" y="401"/>
                      <a:pt x="0" y="330"/>
                    </a:cubicBezTo>
                    <a:cubicBezTo>
                      <a:pt x="0" y="265"/>
                      <a:pt x="50" y="211"/>
                      <a:pt x="113" y="202"/>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0" name="Freeform 47"/>
              <p:cNvSpPr>
                <a:spLocks/>
              </p:cNvSpPr>
              <p:nvPr/>
            </p:nvSpPr>
            <p:spPr bwMode="auto">
              <a:xfrm>
                <a:off x="823" y="1802"/>
                <a:ext cx="1177" cy="1728"/>
              </a:xfrm>
              <a:custGeom>
                <a:avLst/>
                <a:gdLst>
                  <a:gd name="T0" fmla="*/ 6 w 896"/>
                  <a:gd name="T1" fmla="*/ 1305 h 1316"/>
                  <a:gd name="T2" fmla="*/ 180 w 896"/>
                  <a:gd name="T3" fmla="*/ 1070 h 1316"/>
                  <a:gd name="T4" fmla="*/ 293 w 896"/>
                  <a:gd name="T5" fmla="*/ 48 h 1316"/>
                  <a:gd name="T6" fmla="*/ 282 w 896"/>
                  <a:gd name="T7" fmla="*/ 46 h 1316"/>
                  <a:gd name="T8" fmla="*/ 173 w 896"/>
                  <a:gd name="T9" fmla="*/ 5 h 1316"/>
                  <a:gd name="T10" fmla="*/ 179 w 896"/>
                  <a:gd name="T11" fmla="*/ 0 h 1316"/>
                  <a:gd name="T12" fmla="*/ 184 w 896"/>
                  <a:gd name="T13" fmla="*/ 5 h 1316"/>
                  <a:gd name="T14" fmla="*/ 284 w 896"/>
                  <a:gd name="T15" fmla="*/ 35 h 1316"/>
                  <a:gd name="T16" fmla="*/ 534 w 896"/>
                  <a:gd name="T17" fmla="*/ 50 h 1316"/>
                  <a:gd name="T18" fmla="*/ 785 w 896"/>
                  <a:gd name="T19" fmla="*/ 35 h 1316"/>
                  <a:gd name="T20" fmla="*/ 884 w 896"/>
                  <a:gd name="T21" fmla="*/ 5 h 1316"/>
                  <a:gd name="T22" fmla="*/ 890 w 896"/>
                  <a:gd name="T23" fmla="*/ 0 h 1316"/>
                  <a:gd name="T24" fmla="*/ 896 w 896"/>
                  <a:gd name="T25" fmla="*/ 5 h 1316"/>
                  <a:gd name="T26" fmla="*/ 787 w 896"/>
                  <a:gd name="T27" fmla="*/ 46 h 1316"/>
                  <a:gd name="T28" fmla="*/ 534 w 896"/>
                  <a:gd name="T29" fmla="*/ 61 h 1316"/>
                  <a:gd name="T30" fmla="*/ 304 w 896"/>
                  <a:gd name="T31" fmla="*/ 49 h 1316"/>
                  <a:gd name="T32" fmla="*/ 191 w 896"/>
                  <a:gd name="T33" fmla="*/ 1074 h 1316"/>
                  <a:gd name="T34" fmla="*/ 6 w 896"/>
                  <a:gd name="T35" fmla="*/ 1316 h 1316"/>
                  <a:gd name="T36" fmla="*/ 0 w 896"/>
                  <a:gd name="T37" fmla="*/ 1310 h 1316"/>
                  <a:gd name="T38" fmla="*/ 6 w 896"/>
                  <a:gd name="T39" fmla="*/ 1305 h 1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6" h="1316">
                    <a:moveTo>
                      <a:pt x="6" y="1305"/>
                    </a:moveTo>
                    <a:cubicBezTo>
                      <a:pt x="70" y="1305"/>
                      <a:pt x="133" y="1219"/>
                      <a:pt x="180" y="1070"/>
                    </a:cubicBezTo>
                    <a:cubicBezTo>
                      <a:pt x="228" y="918"/>
                      <a:pt x="293" y="265"/>
                      <a:pt x="293" y="48"/>
                    </a:cubicBezTo>
                    <a:cubicBezTo>
                      <a:pt x="289" y="47"/>
                      <a:pt x="286" y="47"/>
                      <a:pt x="282" y="46"/>
                    </a:cubicBezTo>
                    <a:cubicBezTo>
                      <a:pt x="173" y="31"/>
                      <a:pt x="173" y="12"/>
                      <a:pt x="173" y="5"/>
                    </a:cubicBezTo>
                    <a:cubicBezTo>
                      <a:pt x="173" y="2"/>
                      <a:pt x="175" y="0"/>
                      <a:pt x="179" y="0"/>
                    </a:cubicBezTo>
                    <a:cubicBezTo>
                      <a:pt x="182" y="0"/>
                      <a:pt x="184" y="2"/>
                      <a:pt x="184" y="5"/>
                    </a:cubicBezTo>
                    <a:cubicBezTo>
                      <a:pt x="184" y="6"/>
                      <a:pt x="186" y="21"/>
                      <a:pt x="284" y="35"/>
                    </a:cubicBezTo>
                    <a:cubicBezTo>
                      <a:pt x="351" y="44"/>
                      <a:pt x="440" y="50"/>
                      <a:pt x="534" y="50"/>
                    </a:cubicBezTo>
                    <a:cubicBezTo>
                      <a:pt x="629" y="50"/>
                      <a:pt x="718" y="44"/>
                      <a:pt x="785" y="35"/>
                    </a:cubicBezTo>
                    <a:cubicBezTo>
                      <a:pt x="883" y="21"/>
                      <a:pt x="884" y="6"/>
                      <a:pt x="884" y="5"/>
                    </a:cubicBezTo>
                    <a:cubicBezTo>
                      <a:pt x="884" y="2"/>
                      <a:pt x="887" y="0"/>
                      <a:pt x="890" y="0"/>
                    </a:cubicBezTo>
                    <a:cubicBezTo>
                      <a:pt x="893" y="0"/>
                      <a:pt x="896" y="2"/>
                      <a:pt x="896" y="5"/>
                    </a:cubicBezTo>
                    <a:cubicBezTo>
                      <a:pt x="896" y="12"/>
                      <a:pt x="896" y="31"/>
                      <a:pt x="787" y="46"/>
                    </a:cubicBezTo>
                    <a:cubicBezTo>
                      <a:pt x="719" y="56"/>
                      <a:pt x="630" y="61"/>
                      <a:pt x="534" y="61"/>
                    </a:cubicBezTo>
                    <a:cubicBezTo>
                      <a:pt x="449" y="61"/>
                      <a:pt x="369" y="57"/>
                      <a:pt x="304" y="49"/>
                    </a:cubicBezTo>
                    <a:cubicBezTo>
                      <a:pt x="304" y="267"/>
                      <a:pt x="239" y="920"/>
                      <a:pt x="191" y="1074"/>
                    </a:cubicBezTo>
                    <a:cubicBezTo>
                      <a:pt x="142" y="1230"/>
                      <a:pt x="76" y="1316"/>
                      <a:pt x="6" y="1316"/>
                    </a:cubicBezTo>
                    <a:cubicBezTo>
                      <a:pt x="3" y="1316"/>
                      <a:pt x="0" y="1313"/>
                      <a:pt x="0" y="1310"/>
                    </a:cubicBezTo>
                    <a:cubicBezTo>
                      <a:pt x="0" y="1307"/>
                      <a:pt x="3" y="1305"/>
                      <a:pt x="6" y="1305"/>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1" name="Freeform 48"/>
              <p:cNvSpPr>
                <a:spLocks/>
              </p:cNvSpPr>
              <p:nvPr/>
            </p:nvSpPr>
            <p:spPr bwMode="auto">
              <a:xfrm>
                <a:off x="408" y="1390"/>
                <a:ext cx="602" cy="392"/>
              </a:xfrm>
              <a:custGeom>
                <a:avLst/>
                <a:gdLst>
                  <a:gd name="T0" fmla="*/ 73 w 458"/>
                  <a:gd name="T1" fmla="*/ 131 h 299"/>
                  <a:gd name="T2" fmla="*/ 73 w 458"/>
                  <a:gd name="T3" fmla="*/ 125 h 299"/>
                  <a:gd name="T4" fmla="*/ 199 w 458"/>
                  <a:gd name="T5" fmla="*/ 0 h 299"/>
                  <a:gd name="T6" fmla="*/ 305 w 458"/>
                  <a:gd name="T7" fmla="*/ 56 h 299"/>
                  <a:gd name="T8" fmla="*/ 339 w 458"/>
                  <a:gd name="T9" fmla="*/ 46 h 299"/>
                  <a:gd name="T10" fmla="*/ 380 w 458"/>
                  <a:gd name="T11" fmla="*/ 59 h 299"/>
                  <a:gd name="T12" fmla="*/ 412 w 458"/>
                  <a:gd name="T13" fmla="*/ 117 h 299"/>
                  <a:gd name="T14" fmla="*/ 458 w 458"/>
                  <a:gd name="T15" fmla="*/ 200 h 299"/>
                  <a:gd name="T16" fmla="*/ 369 w 458"/>
                  <a:gd name="T17" fmla="*/ 299 h 299"/>
                  <a:gd name="T18" fmla="*/ 358 w 458"/>
                  <a:gd name="T19" fmla="*/ 299 h 299"/>
                  <a:gd name="T20" fmla="*/ 348 w 458"/>
                  <a:gd name="T21" fmla="*/ 299 h 299"/>
                  <a:gd name="T22" fmla="*/ 142 w 458"/>
                  <a:gd name="T23" fmla="*/ 299 h 299"/>
                  <a:gd name="T24" fmla="*/ 138 w 458"/>
                  <a:gd name="T25" fmla="*/ 299 h 299"/>
                  <a:gd name="T26" fmla="*/ 133 w 458"/>
                  <a:gd name="T27" fmla="*/ 299 h 299"/>
                  <a:gd name="T28" fmla="*/ 118 w 458"/>
                  <a:gd name="T29" fmla="*/ 299 h 299"/>
                  <a:gd name="T30" fmla="*/ 85 w 458"/>
                  <a:gd name="T31" fmla="*/ 299 h 299"/>
                  <a:gd name="T32" fmla="*/ 0 w 458"/>
                  <a:gd name="T33" fmla="*/ 214 h 299"/>
                  <a:gd name="T34" fmla="*/ 73 w 458"/>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8" h="299">
                    <a:moveTo>
                      <a:pt x="73" y="131"/>
                    </a:moveTo>
                    <a:cubicBezTo>
                      <a:pt x="73" y="129"/>
                      <a:pt x="73" y="127"/>
                      <a:pt x="73" y="125"/>
                    </a:cubicBezTo>
                    <a:cubicBezTo>
                      <a:pt x="73" y="56"/>
                      <a:pt x="130" y="0"/>
                      <a:pt x="199" y="0"/>
                    </a:cubicBezTo>
                    <a:cubicBezTo>
                      <a:pt x="243" y="0"/>
                      <a:pt x="282" y="22"/>
                      <a:pt x="305" y="56"/>
                    </a:cubicBezTo>
                    <a:cubicBezTo>
                      <a:pt x="315" y="50"/>
                      <a:pt x="326" y="46"/>
                      <a:pt x="339" y="46"/>
                    </a:cubicBezTo>
                    <a:cubicBezTo>
                      <a:pt x="354" y="46"/>
                      <a:pt x="368" y="51"/>
                      <a:pt x="380" y="59"/>
                    </a:cubicBezTo>
                    <a:cubicBezTo>
                      <a:pt x="399" y="71"/>
                      <a:pt x="412" y="93"/>
                      <a:pt x="412" y="117"/>
                    </a:cubicBezTo>
                    <a:cubicBezTo>
                      <a:pt x="439" y="135"/>
                      <a:pt x="458" y="166"/>
                      <a:pt x="458" y="200"/>
                    </a:cubicBezTo>
                    <a:cubicBezTo>
                      <a:pt x="458" y="251"/>
                      <a:pt x="419" y="293"/>
                      <a:pt x="369" y="299"/>
                    </a:cubicBezTo>
                    <a:cubicBezTo>
                      <a:pt x="366" y="299"/>
                      <a:pt x="362" y="299"/>
                      <a:pt x="358" y="299"/>
                    </a:cubicBezTo>
                    <a:cubicBezTo>
                      <a:pt x="355" y="299"/>
                      <a:pt x="352" y="299"/>
                      <a:pt x="348" y="299"/>
                    </a:cubicBezTo>
                    <a:cubicBezTo>
                      <a:pt x="302" y="299"/>
                      <a:pt x="194" y="299"/>
                      <a:pt x="142" y="299"/>
                    </a:cubicBezTo>
                    <a:cubicBezTo>
                      <a:pt x="141" y="299"/>
                      <a:pt x="139" y="299"/>
                      <a:pt x="138" y="299"/>
                    </a:cubicBezTo>
                    <a:cubicBezTo>
                      <a:pt x="133" y="299"/>
                      <a:pt x="133" y="299"/>
                      <a:pt x="133" y="299"/>
                    </a:cubicBezTo>
                    <a:cubicBezTo>
                      <a:pt x="130" y="299"/>
                      <a:pt x="123" y="299"/>
                      <a:pt x="118" y="299"/>
                    </a:cubicBezTo>
                    <a:cubicBezTo>
                      <a:pt x="85" y="299"/>
                      <a:pt x="85" y="299"/>
                      <a:pt x="85" y="299"/>
                    </a:cubicBezTo>
                    <a:cubicBezTo>
                      <a:pt x="38" y="298"/>
                      <a:pt x="0" y="260"/>
                      <a:pt x="0" y="214"/>
                    </a:cubicBezTo>
                    <a:cubicBezTo>
                      <a:pt x="0" y="172"/>
                      <a:pt x="32" y="137"/>
                      <a:pt x="73" y="131"/>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2" name="Freeform 49"/>
              <p:cNvSpPr>
                <a:spLocks/>
              </p:cNvSpPr>
              <p:nvPr/>
            </p:nvSpPr>
            <p:spPr bwMode="auto">
              <a:xfrm>
                <a:off x="345" y="1651"/>
                <a:ext cx="677" cy="1879"/>
              </a:xfrm>
              <a:custGeom>
                <a:avLst/>
                <a:gdLst>
                  <a:gd name="T0" fmla="*/ 5 w 515"/>
                  <a:gd name="T1" fmla="*/ 1420 h 1431"/>
                  <a:gd name="T2" fmla="*/ 222 w 515"/>
                  <a:gd name="T3" fmla="*/ 1149 h 1431"/>
                  <a:gd name="T4" fmla="*/ 353 w 515"/>
                  <a:gd name="T5" fmla="*/ 43 h 1431"/>
                  <a:gd name="T6" fmla="*/ 277 w 515"/>
                  <a:gd name="T7" fmla="*/ 45 h 1431"/>
                  <a:gd name="T8" fmla="*/ 39 w 515"/>
                  <a:gd name="T9" fmla="*/ 6 h 1431"/>
                  <a:gd name="T10" fmla="*/ 45 w 515"/>
                  <a:gd name="T11" fmla="*/ 0 h 1431"/>
                  <a:gd name="T12" fmla="*/ 50 w 515"/>
                  <a:gd name="T13" fmla="*/ 6 h 1431"/>
                  <a:gd name="T14" fmla="*/ 277 w 515"/>
                  <a:gd name="T15" fmla="*/ 33 h 1431"/>
                  <a:gd name="T16" fmla="*/ 504 w 515"/>
                  <a:gd name="T17" fmla="*/ 6 h 1431"/>
                  <a:gd name="T18" fmla="*/ 509 w 515"/>
                  <a:gd name="T19" fmla="*/ 1 h 1431"/>
                  <a:gd name="T20" fmla="*/ 515 w 515"/>
                  <a:gd name="T21" fmla="*/ 6 h 1431"/>
                  <a:gd name="T22" fmla="*/ 364 w 515"/>
                  <a:gd name="T23" fmla="*/ 42 h 1431"/>
                  <a:gd name="T24" fmla="*/ 233 w 515"/>
                  <a:gd name="T25" fmla="*/ 1153 h 1431"/>
                  <a:gd name="T26" fmla="*/ 5 w 515"/>
                  <a:gd name="T27" fmla="*/ 1431 h 1431"/>
                  <a:gd name="T28" fmla="*/ 0 w 515"/>
                  <a:gd name="T29" fmla="*/ 1425 h 1431"/>
                  <a:gd name="T30" fmla="*/ 5 w 515"/>
                  <a:gd name="T31" fmla="*/ 1420 h 1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 h="1431">
                    <a:moveTo>
                      <a:pt x="5" y="1420"/>
                    </a:moveTo>
                    <a:cubicBezTo>
                      <a:pt x="87" y="1420"/>
                      <a:pt x="164" y="1324"/>
                      <a:pt x="222" y="1149"/>
                    </a:cubicBezTo>
                    <a:cubicBezTo>
                      <a:pt x="281" y="974"/>
                      <a:pt x="352" y="291"/>
                      <a:pt x="353" y="43"/>
                    </a:cubicBezTo>
                    <a:cubicBezTo>
                      <a:pt x="313" y="45"/>
                      <a:pt x="281" y="45"/>
                      <a:pt x="277" y="45"/>
                    </a:cubicBezTo>
                    <a:cubicBezTo>
                      <a:pt x="267" y="45"/>
                      <a:pt x="39" y="44"/>
                      <a:pt x="39" y="6"/>
                    </a:cubicBezTo>
                    <a:cubicBezTo>
                      <a:pt x="39" y="3"/>
                      <a:pt x="41" y="0"/>
                      <a:pt x="45" y="0"/>
                    </a:cubicBezTo>
                    <a:cubicBezTo>
                      <a:pt x="48" y="0"/>
                      <a:pt x="50" y="3"/>
                      <a:pt x="50" y="6"/>
                    </a:cubicBezTo>
                    <a:cubicBezTo>
                      <a:pt x="54" y="16"/>
                      <a:pt x="133" y="33"/>
                      <a:pt x="277" y="33"/>
                    </a:cubicBezTo>
                    <a:cubicBezTo>
                      <a:pt x="421" y="33"/>
                      <a:pt x="500" y="16"/>
                      <a:pt x="504" y="6"/>
                    </a:cubicBezTo>
                    <a:cubicBezTo>
                      <a:pt x="504" y="3"/>
                      <a:pt x="506" y="1"/>
                      <a:pt x="509" y="1"/>
                    </a:cubicBezTo>
                    <a:cubicBezTo>
                      <a:pt x="513" y="1"/>
                      <a:pt x="515" y="3"/>
                      <a:pt x="515" y="6"/>
                    </a:cubicBezTo>
                    <a:cubicBezTo>
                      <a:pt x="515" y="29"/>
                      <a:pt x="432" y="38"/>
                      <a:pt x="364" y="42"/>
                    </a:cubicBezTo>
                    <a:cubicBezTo>
                      <a:pt x="364" y="292"/>
                      <a:pt x="292" y="976"/>
                      <a:pt x="233" y="1153"/>
                    </a:cubicBezTo>
                    <a:cubicBezTo>
                      <a:pt x="173" y="1332"/>
                      <a:pt x="92" y="1431"/>
                      <a:pt x="5" y="1431"/>
                    </a:cubicBezTo>
                    <a:cubicBezTo>
                      <a:pt x="2" y="1431"/>
                      <a:pt x="0" y="1428"/>
                      <a:pt x="0" y="1425"/>
                    </a:cubicBezTo>
                    <a:cubicBezTo>
                      <a:pt x="0" y="1422"/>
                      <a:pt x="2" y="1420"/>
                      <a:pt x="5" y="1420"/>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30" name="Rectangle 29"/>
            <p:cNvSpPr/>
            <p:nvPr/>
          </p:nvSpPr>
          <p:spPr>
            <a:xfrm>
              <a:off x="0" y="5898609"/>
              <a:ext cx="12436472" cy="1095916"/>
            </a:xfrm>
            <a:prstGeom prst="rect">
              <a:avLst/>
            </a:prstGeom>
            <a:solidFill>
              <a:schemeClr val="bg1">
                <a:lumMod val="95000"/>
              </a:schemeClr>
            </a:solidFill>
            <a:ln>
              <a:noFill/>
              <a:headEnd type="none" w="med" len="med"/>
              <a:tailEnd type="none" w="med" len="med"/>
            </a:ln>
            <a:effectLst>
              <a:outerShdw blurRad="50800" dist="38100" dir="16200000"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a:spcBef>
                  <a:spcPct val="0"/>
                </a:spcBef>
                <a:spcAft>
                  <a:spcPct val="0"/>
                </a:spcAft>
              </a:pPr>
              <a:r>
                <a:rPr lang="en-IN" sz="3200" dirty="0" smtClean="0">
                  <a:solidFill>
                    <a:schemeClr val="accent2"/>
                  </a:solidFill>
                  <a:latin typeface="Segoe UI Light"/>
                  <a:ea typeface="Segoe UI" pitchFamily="34" charset="0"/>
                  <a:cs typeface="Segoe UI" pitchFamily="34" charset="0"/>
                </a:rPr>
                <a:t>Access controls are verified by independent audit and certifications.</a:t>
              </a:r>
              <a:endParaRPr lang="en-IN" sz="3200" dirty="0">
                <a:solidFill>
                  <a:schemeClr val="accent2"/>
                </a:solidFill>
                <a:latin typeface="Segoe UI Light"/>
                <a:ea typeface="Segoe UI" pitchFamily="34" charset="0"/>
                <a:cs typeface="Segoe UI" pitchFamily="34" charset="0"/>
              </a:endParaRPr>
            </a:p>
          </p:txBody>
        </p:sp>
      </p:grpSp>
      <p:sp>
        <p:nvSpPr>
          <p:cNvPr id="2" name="Title 1"/>
          <p:cNvSpPr>
            <a:spLocks noGrp="1"/>
          </p:cNvSpPr>
          <p:nvPr>
            <p:ph type="title"/>
          </p:nvPr>
        </p:nvSpPr>
        <p:spPr/>
        <p:txBody>
          <a:bodyPr/>
          <a:lstStyle/>
          <a:p>
            <a:r>
              <a:rPr lang="en-IN" dirty="0"/>
              <a:t>Restricted data access </a:t>
            </a:r>
          </a:p>
        </p:txBody>
      </p:sp>
      <p:sp>
        <p:nvSpPr>
          <p:cNvPr id="32" name="Slide Number Placeholder 31"/>
          <p:cNvSpPr>
            <a:spLocks noGrp="1"/>
          </p:cNvSpPr>
          <p:nvPr>
            <p:ph type="sldNum" sz="quarter" idx="11"/>
          </p:nvPr>
        </p:nvSpPr>
        <p:spPr/>
        <p:txBody>
          <a:bodyPr/>
          <a:lstStyle/>
          <a:p>
            <a:fld id="{27258FFF-F925-446B-8502-81C933981705}" type="slidenum">
              <a:rPr lang="en-US" smtClean="0"/>
              <a:pPr/>
              <a:t>17</a:t>
            </a:fld>
            <a:endParaRPr lang="en-US" dirty="0"/>
          </a:p>
        </p:txBody>
      </p:sp>
      <p:grpSp>
        <p:nvGrpSpPr>
          <p:cNvPr id="3" name="Group 2"/>
          <p:cNvGrpSpPr/>
          <p:nvPr/>
        </p:nvGrpSpPr>
        <p:grpSpPr>
          <a:xfrm>
            <a:off x="2190979" y="1414030"/>
            <a:ext cx="10245495" cy="1023812"/>
            <a:chOff x="2190979" y="1414030"/>
            <a:chExt cx="10245495" cy="1023812"/>
          </a:xfrm>
        </p:grpSpPr>
        <p:grpSp>
          <p:nvGrpSpPr>
            <p:cNvPr id="20" name="Group 19"/>
            <p:cNvGrpSpPr/>
            <p:nvPr/>
          </p:nvGrpSpPr>
          <p:grpSpPr>
            <a:xfrm>
              <a:off x="2190979" y="1414030"/>
              <a:ext cx="10245495" cy="1023812"/>
              <a:chOff x="2190979" y="1414030"/>
              <a:chExt cx="10245495" cy="1023812"/>
            </a:xfrm>
          </p:grpSpPr>
          <p:sp>
            <p:nvSpPr>
              <p:cNvPr id="27" name="Rectangle 26"/>
              <p:cNvSpPr/>
              <p:nvPr/>
            </p:nvSpPr>
            <p:spPr bwMode="auto">
              <a:xfrm flipH="1">
                <a:off x="3084780" y="1414030"/>
                <a:ext cx="9351694" cy="1023812"/>
              </a:xfrm>
              <a:prstGeom prst="rect">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365760" bIns="91440" numCol="1" spcCol="0" rtlCol="0" fromWordArt="0" anchor="ctr" anchorCtr="0" forceAA="0" compatLnSpc="1">
                <a:prstTxWarp prst="textNoShape">
                  <a:avLst/>
                </a:prstTxWarp>
                <a:noAutofit/>
              </a:bodyPr>
              <a:lstStyle/>
              <a:p>
                <a:pPr lvl="0" defTabSz="932472">
                  <a:spcBef>
                    <a:spcPct val="0"/>
                  </a:spcBef>
                  <a:spcAft>
                    <a:spcPct val="0"/>
                  </a:spcAft>
                </a:pPr>
                <a:r>
                  <a:rPr lang="en-IN" sz="2000" dirty="0">
                    <a:solidFill>
                      <a:srgbClr val="FFFFFF"/>
                    </a:solidFill>
                    <a:latin typeface="Segoe UI Light"/>
                    <a:ea typeface="Segoe UI" pitchFamily="34" charset="0"/>
                    <a:cs typeface="Segoe UI" pitchFamily="34" charset="0"/>
                  </a:rPr>
                  <a:t>Customer data is only accessed when necessary to support customer’s use of Azure (e.g. troubleshooting or feature improvement</a:t>
                </a:r>
                <a:r>
                  <a:rPr lang="en-IN" sz="2000" dirty="0" smtClean="0">
                    <a:solidFill>
                      <a:srgbClr val="FFFFFF"/>
                    </a:solidFill>
                    <a:latin typeface="Segoe UI Light"/>
                    <a:ea typeface="Segoe UI" pitchFamily="34" charset="0"/>
                    <a:cs typeface="Segoe UI" pitchFamily="34" charset="0"/>
                  </a:rPr>
                  <a:t>), or when required by law.</a:t>
                </a:r>
                <a:endParaRPr lang="en-IN" sz="2000" dirty="0">
                  <a:solidFill>
                    <a:srgbClr val="FFFFFF"/>
                  </a:solidFill>
                  <a:latin typeface="Segoe UI Light"/>
                  <a:ea typeface="Segoe UI" pitchFamily="34" charset="0"/>
                  <a:cs typeface="Segoe UI" pitchFamily="34" charset="0"/>
                </a:endParaRPr>
              </a:p>
            </p:txBody>
          </p:sp>
          <p:grpSp>
            <p:nvGrpSpPr>
              <p:cNvPr id="31" name="Group 30"/>
              <p:cNvGrpSpPr/>
              <p:nvPr/>
            </p:nvGrpSpPr>
            <p:grpSpPr>
              <a:xfrm flipH="1">
                <a:off x="2190979" y="1414030"/>
                <a:ext cx="1023812" cy="1023812"/>
                <a:chOff x="3135086" y="2554514"/>
                <a:chExt cx="914400" cy="914400"/>
              </a:xfrm>
            </p:grpSpPr>
            <p:sp>
              <p:nvSpPr>
                <p:cNvPr id="34" name="Rounded Rectangle 33"/>
                <p:cNvSpPr/>
                <p:nvPr/>
              </p:nvSpPr>
              <p:spPr bwMode="auto">
                <a:xfrm>
                  <a:off x="3135086" y="2554514"/>
                  <a:ext cx="914400" cy="914400"/>
                </a:xfrm>
                <a:prstGeom prst="roundRect">
                  <a:avLst>
                    <a:gd name="adj" fmla="val 8731"/>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smtClean="0">
                    <a:solidFill>
                      <a:schemeClr val="accent2"/>
                    </a:solidFill>
                    <a:ea typeface="Segoe UI" pitchFamily="34" charset="0"/>
                    <a:cs typeface="Segoe UI" pitchFamily="34" charset="0"/>
                  </a:endParaRPr>
                </a:p>
              </p:txBody>
            </p:sp>
            <p:sp>
              <p:nvSpPr>
                <p:cNvPr id="36" name="Rounded Rectangle 35"/>
                <p:cNvSpPr/>
                <p:nvPr/>
              </p:nvSpPr>
              <p:spPr bwMode="auto">
                <a:xfrm>
                  <a:off x="3251200" y="2670629"/>
                  <a:ext cx="682171" cy="682171"/>
                </a:xfrm>
                <a:prstGeom prst="roundRect">
                  <a:avLst>
                    <a:gd name="adj" fmla="val 8731"/>
                  </a:avLst>
                </a:prstGeom>
                <a:solidFill>
                  <a:srgbClr val="F7F7F7"/>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3600" dirty="0" smtClean="0">
                    <a:solidFill>
                      <a:schemeClr val="accent2"/>
                    </a:solidFill>
                    <a:latin typeface="Segoe UI Semibold" panose="020B0702040204020203" pitchFamily="34" charset="0"/>
                    <a:ea typeface="Segoe UI" pitchFamily="34" charset="0"/>
                    <a:cs typeface="Segoe UI Semibold" panose="020B0702040204020203" pitchFamily="34" charset="0"/>
                  </a:endParaRPr>
                </a:p>
              </p:txBody>
            </p:sp>
          </p:grpSp>
        </p:grpSp>
        <p:grpSp>
          <p:nvGrpSpPr>
            <p:cNvPr id="90" name="Group 89"/>
            <p:cNvGrpSpPr/>
            <p:nvPr/>
          </p:nvGrpSpPr>
          <p:grpSpPr>
            <a:xfrm>
              <a:off x="2554778" y="1725131"/>
              <a:ext cx="359082" cy="340093"/>
              <a:chOff x="-3227388" y="3256364"/>
              <a:chExt cx="1881884" cy="1782362"/>
            </a:xfrm>
            <a:solidFill>
              <a:schemeClr val="accent2"/>
            </a:solidFill>
            <a:effectLst>
              <a:outerShdw blurRad="50800" dist="38100" dir="8100000" algn="tr" rotWithShape="0">
                <a:prstClr val="black">
                  <a:alpha val="40000"/>
                </a:prstClr>
              </a:outerShdw>
            </a:effectLst>
          </p:grpSpPr>
          <p:sp>
            <p:nvSpPr>
              <p:cNvPr id="91" name="Freeform 8"/>
              <p:cNvSpPr>
                <a:spLocks/>
              </p:cNvSpPr>
              <p:nvPr/>
            </p:nvSpPr>
            <p:spPr bwMode="auto">
              <a:xfrm>
                <a:off x="-3227388" y="3490913"/>
                <a:ext cx="1550988" cy="1547813"/>
              </a:xfrm>
              <a:custGeom>
                <a:avLst/>
                <a:gdLst>
                  <a:gd name="T0" fmla="*/ 0 w 3907"/>
                  <a:gd name="T1" fmla="*/ 0 h 3900"/>
                  <a:gd name="T2" fmla="*/ 3706 w 3907"/>
                  <a:gd name="T3" fmla="*/ 0 h 3900"/>
                  <a:gd name="T4" fmla="*/ 3609 w 3907"/>
                  <a:gd name="T5" fmla="*/ 87 h 3900"/>
                  <a:gd name="T6" fmla="*/ 3516 w 3907"/>
                  <a:gd name="T7" fmla="*/ 171 h 3900"/>
                  <a:gd name="T8" fmla="*/ 3425 w 3907"/>
                  <a:gd name="T9" fmla="*/ 254 h 3900"/>
                  <a:gd name="T10" fmla="*/ 3336 w 3907"/>
                  <a:gd name="T11" fmla="*/ 334 h 3900"/>
                  <a:gd name="T12" fmla="*/ 3246 w 3907"/>
                  <a:gd name="T13" fmla="*/ 412 h 3900"/>
                  <a:gd name="T14" fmla="*/ 3157 w 3907"/>
                  <a:gd name="T15" fmla="*/ 489 h 3900"/>
                  <a:gd name="T16" fmla="*/ 3140 w 3907"/>
                  <a:gd name="T17" fmla="*/ 498 h 3900"/>
                  <a:gd name="T18" fmla="*/ 3121 w 3907"/>
                  <a:gd name="T19" fmla="*/ 504 h 3900"/>
                  <a:gd name="T20" fmla="*/ 3098 w 3907"/>
                  <a:gd name="T21" fmla="*/ 507 h 3900"/>
                  <a:gd name="T22" fmla="*/ 3075 w 3907"/>
                  <a:gd name="T23" fmla="*/ 508 h 3900"/>
                  <a:gd name="T24" fmla="*/ 3050 w 3907"/>
                  <a:gd name="T25" fmla="*/ 507 h 3900"/>
                  <a:gd name="T26" fmla="*/ 3026 w 3907"/>
                  <a:gd name="T27" fmla="*/ 507 h 3900"/>
                  <a:gd name="T28" fmla="*/ 3002 w 3907"/>
                  <a:gd name="T29" fmla="*/ 505 h 3900"/>
                  <a:gd name="T30" fmla="*/ 715 w 3907"/>
                  <a:gd name="T31" fmla="*/ 507 h 3900"/>
                  <a:gd name="T32" fmla="*/ 656 w 3907"/>
                  <a:gd name="T33" fmla="*/ 507 h 3900"/>
                  <a:gd name="T34" fmla="*/ 595 w 3907"/>
                  <a:gd name="T35" fmla="*/ 507 h 3900"/>
                  <a:gd name="T36" fmla="*/ 529 w 3907"/>
                  <a:gd name="T37" fmla="*/ 507 h 3900"/>
                  <a:gd name="T38" fmla="*/ 529 w 3907"/>
                  <a:gd name="T39" fmla="*/ 3382 h 3900"/>
                  <a:gd name="T40" fmla="*/ 3405 w 3907"/>
                  <a:gd name="T41" fmla="*/ 3382 h 3900"/>
                  <a:gd name="T42" fmla="*/ 3406 w 3907"/>
                  <a:gd name="T43" fmla="*/ 2980 h 3900"/>
                  <a:gd name="T44" fmla="*/ 3406 w 3907"/>
                  <a:gd name="T45" fmla="*/ 2584 h 3900"/>
                  <a:gd name="T46" fmla="*/ 3406 w 3907"/>
                  <a:gd name="T47" fmla="*/ 2191 h 3900"/>
                  <a:gd name="T48" fmla="*/ 3403 w 3907"/>
                  <a:gd name="T49" fmla="*/ 1799 h 3900"/>
                  <a:gd name="T50" fmla="*/ 3404 w 3907"/>
                  <a:gd name="T51" fmla="*/ 1751 h 3900"/>
                  <a:gd name="T52" fmla="*/ 3410 w 3907"/>
                  <a:gd name="T53" fmla="*/ 1706 h 3900"/>
                  <a:gd name="T54" fmla="*/ 3421 w 3907"/>
                  <a:gd name="T55" fmla="*/ 1665 h 3900"/>
                  <a:gd name="T56" fmla="*/ 3437 w 3907"/>
                  <a:gd name="T57" fmla="*/ 1627 h 3900"/>
                  <a:gd name="T58" fmla="*/ 3460 w 3907"/>
                  <a:gd name="T59" fmla="*/ 1591 h 3900"/>
                  <a:gd name="T60" fmla="*/ 3489 w 3907"/>
                  <a:gd name="T61" fmla="*/ 1557 h 3900"/>
                  <a:gd name="T62" fmla="*/ 3524 w 3907"/>
                  <a:gd name="T63" fmla="*/ 1524 h 3900"/>
                  <a:gd name="T64" fmla="*/ 3598 w 3907"/>
                  <a:gd name="T65" fmla="*/ 1461 h 3900"/>
                  <a:gd name="T66" fmla="*/ 3674 w 3907"/>
                  <a:gd name="T67" fmla="*/ 1394 h 3900"/>
                  <a:gd name="T68" fmla="*/ 3747 w 3907"/>
                  <a:gd name="T69" fmla="*/ 1324 h 3900"/>
                  <a:gd name="T70" fmla="*/ 3825 w 3907"/>
                  <a:gd name="T71" fmla="*/ 1250 h 3900"/>
                  <a:gd name="T72" fmla="*/ 3907 w 3907"/>
                  <a:gd name="T73" fmla="*/ 1173 h 3900"/>
                  <a:gd name="T74" fmla="*/ 3907 w 3907"/>
                  <a:gd name="T75" fmla="*/ 1724 h 3900"/>
                  <a:gd name="T76" fmla="*/ 3907 w 3907"/>
                  <a:gd name="T77" fmla="*/ 2271 h 3900"/>
                  <a:gd name="T78" fmla="*/ 3907 w 3907"/>
                  <a:gd name="T79" fmla="*/ 2815 h 3900"/>
                  <a:gd name="T80" fmla="*/ 3907 w 3907"/>
                  <a:gd name="T81" fmla="*/ 3356 h 3900"/>
                  <a:gd name="T82" fmla="*/ 3907 w 3907"/>
                  <a:gd name="T83" fmla="*/ 3900 h 3900"/>
                  <a:gd name="T84" fmla="*/ 0 w 3907"/>
                  <a:gd name="T85" fmla="*/ 3900 h 3900"/>
                  <a:gd name="T86" fmla="*/ 0 w 3907"/>
                  <a:gd name="T87"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7" h="3900">
                    <a:moveTo>
                      <a:pt x="0" y="0"/>
                    </a:moveTo>
                    <a:lnTo>
                      <a:pt x="3706" y="0"/>
                    </a:lnTo>
                    <a:lnTo>
                      <a:pt x="3609" y="87"/>
                    </a:lnTo>
                    <a:lnTo>
                      <a:pt x="3516" y="171"/>
                    </a:lnTo>
                    <a:lnTo>
                      <a:pt x="3425" y="254"/>
                    </a:lnTo>
                    <a:lnTo>
                      <a:pt x="3336" y="334"/>
                    </a:lnTo>
                    <a:lnTo>
                      <a:pt x="3246" y="412"/>
                    </a:lnTo>
                    <a:lnTo>
                      <a:pt x="3157" y="489"/>
                    </a:lnTo>
                    <a:lnTo>
                      <a:pt x="3140" y="498"/>
                    </a:lnTo>
                    <a:lnTo>
                      <a:pt x="3121" y="504"/>
                    </a:lnTo>
                    <a:lnTo>
                      <a:pt x="3098" y="507"/>
                    </a:lnTo>
                    <a:lnTo>
                      <a:pt x="3075" y="508"/>
                    </a:lnTo>
                    <a:lnTo>
                      <a:pt x="3050" y="507"/>
                    </a:lnTo>
                    <a:lnTo>
                      <a:pt x="3026" y="507"/>
                    </a:lnTo>
                    <a:lnTo>
                      <a:pt x="3002" y="505"/>
                    </a:lnTo>
                    <a:lnTo>
                      <a:pt x="715" y="507"/>
                    </a:lnTo>
                    <a:lnTo>
                      <a:pt x="656" y="507"/>
                    </a:lnTo>
                    <a:lnTo>
                      <a:pt x="595" y="507"/>
                    </a:lnTo>
                    <a:lnTo>
                      <a:pt x="529" y="507"/>
                    </a:lnTo>
                    <a:lnTo>
                      <a:pt x="529" y="3382"/>
                    </a:lnTo>
                    <a:lnTo>
                      <a:pt x="3405" y="3382"/>
                    </a:lnTo>
                    <a:lnTo>
                      <a:pt x="3406" y="2980"/>
                    </a:lnTo>
                    <a:lnTo>
                      <a:pt x="3406" y="2584"/>
                    </a:lnTo>
                    <a:lnTo>
                      <a:pt x="3406" y="2191"/>
                    </a:lnTo>
                    <a:lnTo>
                      <a:pt x="3403" y="1799"/>
                    </a:lnTo>
                    <a:lnTo>
                      <a:pt x="3404" y="1751"/>
                    </a:lnTo>
                    <a:lnTo>
                      <a:pt x="3410" y="1706"/>
                    </a:lnTo>
                    <a:lnTo>
                      <a:pt x="3421" y="1665"/>
                    </a:lnTo>
                    <a:lnTo>
                      <a:pt x="3437" y="1627"/>
                    </a:lnTo>
                    <a:lnTo>
                      <a:pt x="3460" y="1591"/>
                    </a:lnTo>
                    <a:lnTo>
                      <a:pt x="3489" y="1557"/>
                    </a:lnTo>
                    <a:lnTo>
                      <a:pt x="3524" y="1524"/>
                    </a:lnTo>
                    <a:lnTo>
                      <a:pt x="3598" y="1461"/>
                    </a:lnTo>
                    <a:lnTo>
                      <a:pt x="3674" y="1394"/>
                    </a:lnTo>
                    <a:lnTo>
                      <a:pt x="3747" y="1324"/>
                    </a:lnTo>
                    <a:lnTo>
                      <a:pt x="3825" y="1250"/>
                    </a:lnTo>
                    <a:lnTo>
                      <a:pt x="3907" y="1173"/>
                    </a:lnTo>
                    <a:lnTo>
                      <a:pt x="3907" y="1724"/>
                    </a:lnTo>
                    <a:lnTo>
                      <a:pt x="3907" y="2271"/>
                    </a:lnTo>
                    <a:lnTo>
                      <a:pt x="3907" y="2815"/>
                    </a:lnTo>
                    <a:lnTo>
                      <a:pt x="3907" y="3356"/>
                    </a:lnTo>
                    <a:lnTo>
                      <a:pt x="3907" y="3900"/>
                    </a:lnTo>
                    <a:lnTo>
                      <a:pt x="0" y="3900"/>
                    </a:lnTo>
                    <a:lnTo>
                      <a:pt x="0"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sp>
            <p:nvSpPr>
              <p:cNvPr id="92" name="Freeform 9"/>
              <p:cNvSpPr>
                <a:spLocks/>
              </p:cNvSpPr>
              <p:nvPr/>
            </p:nvSpPr>
            <p:spPr bwMode="auto">
              <a:xfrm>
                <a:off x="-2894015" y="3256364"/>
                <a:ext cx="1548511" cy="1351170"/>
              </a:xfrm>
              <a:custGeom>
                <a:avLst/>
                <a:gdLst>
                  <a:gd name="T0" fmla="*/ 3078 w 3078"/>
                  <a:gd name="T1" fmla="*/ 0 h 2682"/>
                  <a:gd name="T2" fmla="*/ 3078 w 3078"/>
                  <a:gd name="T3" fmla="*/ 157 h 2682"/>
                  <a:gd name="T4" fmla="*/ 3078 w 3078"/>
                  <a:gd name="T5" fmla="*/ 303 h 2682"/>
                  <a:gd name="T6" fmla="*/ 3078 w 3078"/>
                  <a:gd name="T7" fmla="*/ 315 h 2682"/>
                  <a:gd name="T8" fmla="*/ 3078 w 3078"/>
                  <a:gd name="T9" fmla="*/ 454 h 2682"/>
                  <a:gd name="T10" fmla="*/ 3077 w 3078"/>
                  <a:gd name="T11" fmla="*/ 597 h 2682"/>
                  <a:gd name="T12" fmla="*/ 3076 w 3078"/>
                  <a:gd name="T13" fmla="*/ 739 h 2682"/>
                  <a:gd name="T14" fmla="*/ 3072 w 3078"/>
                  <a:gd name="T15" fmla="*/ 755 h 2682"/>
                  <a:gd name="T16" fmla="*/ 3062 w 3078"/>
                  <a:gd name="T17" fmla="*/ 770 h 2682"/>
                  <a:gd name="T18" fmla="*/ 3050 w 3078"/>
                  <a:gd name="T19" fmla="*/ 787 h 2682"/>
                  <a:gd name="T20" fmla="*/ 3036 w 3078"/>
                  <a:gd name="T21" fmla="*/ 801 h 2682"/>
                  <a:gd name="T22" fmla="*/ 3023 w 3078"/>
                  <a:gd name="T23" fmla="*/ 814 h 2682"/>
                  <a:gd name="T24" fmla="*/ 1096 w 3078"/>
                  <a:gd name="T25" fmla="*/ 2666 h 2682"/>
                  <a:gd name="T26" fmla="*/ 1090 w 3078"/>
                  <a:gd name="T27" fmla="*/ 2669 h 2682"/>
                  <a:gd name="T28" fmla="*/ 1082 w 3078"/>
                  <a:gd name="T29" fmla="*/ 2673 h 2682"/>
                  <a:gd name="T30" fmla="*/ 1071 w 3078"/>
                  <a:gd name="T31" fmla="*/ 2676 h 2682"/>
                  <a:gd name="T32" fmla="*/ 1057 w 3078"/>
                  <a:gd name="T33" fmla="*/ 2682 h 2682"/>
                  <a:gd name="T34" fmla="*/ 531 w 3078"/>
                  <a:gd name="T35" fmla="*/ 2131 h 2682"/>
                  <a:gd name="T36" fmla="*/ 0 w 3078"/>
                  <a:gd name="T37" fmla="*/ 1576 h 2682"/>
                  <a:gd name="T38" fmla="*/ 83 w 3078"/>
                  <a:gd name="T39" fmla="*/ 1491 h 2682"/>
                  <a:gd name="T40" fmla="*/ 163 w 3078"/>
                  <a:gd name="T41" fmla="*/ 1408 h 2682"/>
                  <a:gd name="T42" fmla="*/ 240 w 3078"/>
                  <a:gd name="T43" fmla="*/ 1331 h 2682"/>
                  <a:gd name="T44" fmla="*/ 314 w 3078"/>
                  <a:gd name="T45" fmla="*/ 1256 h 2682"/>
                  <a:gd name="T46" fmla="*/ 383 w 3078"/>
                  <a:gd name="T47" fmla="*/ 1184 h 2682"/>
                  <a:gd name="T48" fmla="*/ 562 w 3078"/>
                  <a:gd name="T49" fmla="*/ 1347 h 2682"/>
                  <a:gd name="T50" fmla="*/ 739 w 3078"/>
                  <a:gd name="T51" fmla="*/ 1511 h 2682"/>
                  <a:gd name="T52" fmla="*/ 918 w 3078"/>
                  <a:gd name="T53" fmla="*/ 1674 h 2682"/>
                  <a:gd name="T54" fmla="*/ 1099 w 3078"/>
                  <a:gd name="T55" fmla="*/ 1840 h 2682"/>
                  <a:gd name="T56" fmla="*/ 1374 w 3078"/>
                  <a:gd name="T57" fmla="*/ 1584 h 2682"/>
                  <a:gd name="T58" fmla="*/ 1651 w 3078"/>
                  <a:gd name="T59" fmla="*/ 1326 h 2682"/>
                  <a:gd name="T60" fmla="*/ 1930 w 3078"/>
                  <a:gd name="T61" fmla="*/ 1066 h 2682"/>
                  <a:gd name="T62" fmla="*/ 2213 w 3078"/>
                  <a:gd name="T63" fmla="*/ 804 h 2682"/>
                  <a:gd name="T64" fmla="*/ 2498 w 3078"/>
                  <a:gd name="T65" fmla="*/ 539 h 2682"/>
                  <a:gd name="T66" fmla="*/ 2786 w 3078"/>
                  <a:gd name="T67" fmla="*/ 270 h 2682"/>
                  <a:gd name="T68" fmla="*/ 3078 w 3078"/>
                  <a:gd name="T69" fmla="*/ 0 h 2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8" h="2682">
                    <a:moveTo>
                      <a:pt x="3078" y="0"/>
                    </a:moveTo>
                    <a:lnTo>
                      <a:pt x="3078" y="157"/>
                    </a:lnTo>
                    <a:lnTo>
                      <a:pt x="3078" y="303"/>
                    </a:lnTo>
                    <a:lnTo>
                      <a:pt x="3078" y="315"/>
                    </a:lnTo>
                    <a:lnTo>
                      <a:pt x="3078" y="454"/>
                    </a:lnTo>
                    <a:lnTo>
                      <a:pt x="3077" y="597"/>
                    </a:lnTo>
                    <a:lnTo>
                      <a:pt x="3076" y="739"/>
                    </a:lnTo>
                    <a:lnTo>
                      <a:pt x="3072" y="755"/>
                    </a:lnTo>
                    <a:lnTo>
                      <a:pt x="3062" y="770"/>
                    </a:lnTo>
                    <a:lnTo>
                      <a:pt x="3050" y="787"/>
                    </a:lnTo>
                    <a:lnTo>
                      <a:pt x="3036" y="801"/>
                    </a:lnTo>
                    <a:lnTo>
                      <a:pt x="3023" y="814"/>
                    </a:lnTo>
                    <a:lnTo>
                      <a:pt x="1096" y="2666"/>
                    </a:lnTo>
                    <a:lnTo>
                      <a:pt x="1090" y="2669"/>
                    </a:lnTo>
                    <a:lnTo>
                      <a:pt x="1082" y="2673"/>
                    </a:lnTo>
                    <a:lnTo>
                      <a:pt x="1071" y="2676"/>
                    </a:lnTo>
                    <a:lnTo>
                      <a:pt x="1057" y="2682"/>
                    </a:lnTo>
                    <a:lnTo>
                      <a:pt x="531" y="2131"/>
                    </a:lnTo>
                    <a:lnTo>
                      <a:pt x="0" y="1576"/>
                    </a:lnTo>
                    <a:lnTo>
                      <a:pt x="83" y="1491"/>
                    </a:lnTo>
                    <a:lnTo>
                      <a:pt x="163" y="1408"/>
                    </a:lnTo>
                    <a:lnTo>
                      <a:pt x="240" y="1331"/>
                    </a:lnTo>
                    <a:lnTo>
                      <a:pt x="314" y="1256"/>
                    </a:lnTo>
                    <a:lnTo>
                      <a:pt x="383" y="1184"/>
                    </a:lnTo>
                    <a:lnTo>
                      <a:pt x="562" y="1347"/>
                    </a:lnTo>
                    <a:lnTo>
                      <a:pt x="739" y="1511"/>
                    </a:lnTo>
                    <a:lnTo>
                      <a:pt x="918" y="1674"/>
                    </a:lnTo>
                    <a:lnTo>
                      <a:pt x="1099" y="1840"/>
                    </a:lnTo>
                    <a:lnTo>
                      <a:pt x="1374" y="1584"/>
                    </a:lnTo>
                    <a:lnTo>
                      <a:pt x="1651" y="1326"/>
                    </a:lnTo>
                    <a:lnTo>
                      <a:pt x="1930" y="1066"/>
                    </a:lnTo>
                    <a:lnTo>
                      <a:pt x="2213" y="804"/>
                    </a:lnTo>
                    <a:lnTo>
                      <a:pt x="2498" y="539"/>
                    </a:lnTo>
                    <a:lnTo>
                      <a:pt x="2786" y="270"/>
                    </a:lnTo>
                    <a:lnTo>
                      <a:pt x="3078"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grpSp>
      </p:grpSp>
      <p:grpSp>
        <p:nvGrpSpPr>
          <p:cNvPr id="33" name="Group 32"/>
          <p:cNvGrpSpPr/>
          <p:nvPr/>
        </p:nvGrpSpPr>
        <p:grpSpPr>
          <a:xfrm>
            <a:off x="3214790" y="2524283"/>
            <a:ext cx="9221684" cy="1023812"/>
            <a:chOff x="3214790" y="2524283"/>
            <a:chExt cx="9221684" cy="1023812"/>
          </a:xfrm>
        </p:grpSpPr>
        <p:grpSp>
          <p:nvGrpSpPr>
            <p:cNvPr id="22" name="Group 21"/>
            <p:cNvGrpSpPr/>
            <p:nvPr/>
          </p:nvGrpSpPr>
          <p:grpSpPr>
            <a:xfrm>
              <a:off x="3214790" y="2524283"/>
              <a:ext cx="9221684" cy="1023812"/>
              <a:chOff x="3214790" y="2524283"/>
              <a:chExt cx="9221684" cy="1023812"/>
            </a:xfrm>
          </p:grpSpPr>
          <p:sp>
            <p:nvSpPr>
              <p:cNvPr id="37" name="Rectangle 36"/>
              <p:cNvSpPr/>
              <p:nvPr/>
            </p:nvSpPr>
            <p:spPr bwMode="auto">
              <a:xfrm flipH="1">
                <a:off x="4108592" y="2524283"/>
                <a:ext cx="8327882" cy="1023812"/>
              </a:xfrm>
              <a:prstGeom prst="rect">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365760" bIns="91440" numCol="1" spcCol="0" rtlCol="0" fromWordArt="0" anchor="ctr" anchorCtr="0" forceAA="0" compatLnSpc="1">
                <a:prstTxWarp prst="textNoShape">
                  <a:avLst/>
                </a:prstTxWarp>
                <a:noAutofit/>
              </a:bodyPr>
              <a:lstStyle/>
              <a:p>
                <a:pPr lvl="0" defTabSz="932472">
                  <a:spcBef>
                    <a:spcPct val="0"/>
                  </a:spcBef>
                  <a:spcAft>
                    <a:spcPct val="0"/>
                  </a:spcAft>
                </a:pPr>
                <a:r>
                  <a:rPr lang="en-IN" sz="2000" dirty="0">
                    <a:solidFill>
                      <a:srgbClr val="FFFFFF"/>
                    </a:solidFill>
                    <a:latin typeface="Segoe UI Light"/>
                    <a:ea typeface="Segoe UI" pitchFamily="34" charset="0"/>
                    <a:cs typeface="Segoe UI" pitchFamily="34" charset="0"/>
                  </a:rPr>
                  <a:t>When granted, access is controlled and logged. </a:t>
                </a:r>
              </a:p>
            </p:txBody>
          </p:sp>
          <p:grpSp>
            <p:nvGrpSpPr>
              <p:cNvPr id="39" name="Group 38"/>
              <p:cNvGrpSpPr/>
              <p:nvPr/>
            </p:nvGrpSpPr>
            <p:grpSpPr>
              <a:xfrm flipH="1">
                <a:off x="3214790" y="2524283"/>
                <a:ext cx="1023812" cy="1023812"/>
                <a:chOff x="3135086" y="2554514"/>
                <a:chExt cx="914400" cy="914400"/>
              </a:xfrm>
            </p:grpSpPr>
            <p:sp>
              <p:nvSpPr>
                <p:cNvPr id="45" name="Rounded Rectangle 44"/>
                <p:cNvSpPr/>
                <p:nvPr/>
              </p:nvSpPr>
              <p:spPr bwMode="auto">
                <a:xfrm>
                  <a:off x="3135086" y="2554514"/>
                  <a:ext cx="914400" cy="914400"/>
                </a:xfrm>
                <a:prstGeom prst="roundRect">
                  <a:avLst>
                    <a:gd name="adj" fmla="val 8731"/>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smtClean="0">
                    <a:solidFill>
                      <a:schemeClr val="accent2"/>
                    </a:solidFill>
                    <a:ea typeface="Segoe UI" pitchFamily="34" charset="0"/>
                    <a:cs typeface="Segoe UI" pitchFamily="34" charset="0"/>
                  </a:endParaRPr>
                </a:p>
              </p:txBody>
            </p:sp>
            <p:sp>
              <p:nvSpPr>
                <p:cNvPr id="46" name="Rounded Rectangle 45"/>
                <p:cNvSpPr/>
                <p:nvPr/>
              </p:nvSpPr>
              <p:spPr bwMode="auto">
                <a:xfrm>
                  <a:off x="3251201" y="2670629"/>
                  <a:ext cx="682171" cy="682171"/>
                </a:xfrm>
                <a:prstGeom prst="roundRect">
                  <a:avLst>
                    <a:gd name="adj" fmla="val 8731"/>
                  </a:avLst>
                </a:prstGeom>
                <a:solidFill>
                  <a:srgbClr val="F7F7F7"/>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3600" dirty="0" smtClean="0">
                    <a:solidFill>
                      <a:schemeClr val="accent2"/>
                    </a:solidFill>
                    <a:latin typeface="Segoe UI Semibold" panose="020B0702040204020203" pitchFamily="34" charset="0"/>
                    <a:ea typeface="Segoe UI" pitchFamily="34" charset="0"/>
                    <a:cs typeface="Segoe UI Semibold" panose="020B0702040204020203" pitchFamily="34" charset="0"/>
                  </a:endParaRPr>
                </a:p>
              </p:txBody>
            </p:sp>
          </p:grpSp>
        </p:grpSp>
        <p:grpSp>
          <p:nvGrpSpPr>
            <p:cNvPr id="93" name="Group 92"/>
            <p:cNvGrpSpPr/>
            <p:nvPr/>
          </p:nvGrpSpPr>
          <p:grpSpPr>
            <a:xfrm>
              <a:off x="3574829" y="2848117"/>
              <a:ext cx="359082" cy="340093"/>
              <a:chOff x="-3227388" y="3256364"/>
              <a:chExt cx="1881884" cy="1782362"/>
            </a:xfrm>
            <a:solidFill>
              <a:schemeClr val="accent2"/>
            </a:solidFill>
            <a:effectLst>
              <a:outerShdw blurRad="50800" dist="38100" dir="8100000" algn="tr" rotWithShape="0">
                <a:prstClr val="black">
                  <a:alpha val="40000"/>
                </a:prstClr>
              </a:outerShdw>
            </a:effectLst>
          </p:grpSpPr>
          <p:sp>
            <p:nvSpPr>
              <p:cNvPr id="94" name="Freeform 8"/>
              <p:cNvSpPr>
                <a:spLocks/>
              </p:cNvSpPr>
              <p:nvPr/>
            </p:nvSpPr>
            <p:spPr bwMode="auto">
              <a:xfrm>
                <a:off x="-3227388" y="3490913"/>
                <a:ext cx="1550988" cy="1547813"/>
              </a:xfrm>
              <a:custGeom>
                <a:avLst/>
                <a:gdLst>
                  <a:gd name="T0" fmla="*/ 0 w 3907"/>
                  <a:gd name="T1" fmla="*/ 0 h 3900"/>
                  <a:gd name="T2" fmla="*/ 3706 w 3907"/>
                  <a:gd name="T3" fmla="*/ 0 h 3900"/>
                  <a:gd name="T4" fmla="*/ 3609 w 3907"/>
                  <a:gd name="T5" fmla="*/ 87 h 3900"/>
                  <a:gd name="T6" fmla="*/ 3516 w 3907"/>
                  <a:gd name="T7" fmla="*/ 171 h 3900"/>
                  <a:gd name="T8" fmla="*/ 3425 w 3907"/>
                  <a:gd name="T9" fmla="*/ 254 h 3900"/>
                  <a:gd name="T10" fmla="*/ 3336 w 3907"/>
                  <a:gd name="T11" fmla="*/ 334 h 3900"/>
                  <a:gd name="T12" fmla="*/ 3246 w 3907"/>
                  <a:gd name="T13" fmla="*/ 412 h 3900"/>
                  <a:gd name="T14" fmla="*/ 3157 w 3907"/>
                  <a:gd name="T15" fmla="*/ 489 h 3900"/>
                  <a:gd name="T16" fmla="*/ 3140 w 3907"/>
                  <a:gd name="T17" fmla="*/ 498 h 3900"/>
                  <a:gd name="T18" fmla="*/ 3121 w 3907"/>
                  <a:gd name="T19" fmla="*/ 504 h 3900"/>
                  <a:gd name="T20" fmla="*/ 3098 w 3907"/>
                  <a:gd name="T21" fmla="*/ 507 h 3900"/>
                  <a:gd name="T22" fmla="*/ 3075 w 3907"/>
                  <a:gd name="T23" fmla="*/ 508 h 3900"/>
                  <a:gd name="T24" fmla="*/ 3050 w 3907"/>
                  <a:gd name="T25" fmla="*/ 507 h 3900"/>
                  <a:gd name="T26" fmla="*/ 3026 w 3907"/>
                  <a:gd name="T27" fmla="*/ 507 h 3900"/>
                  <a:gd name="T28" fmla="*/ 3002 w 3907"/>
                  <a:gd name="T29" fmla="*/ 505 h 3900"/>
                  <a:gd name="T30" fmla="*/ 715 w 3907"/>
                  <a:gd name="T31" fmla="*/ 507 h 3900"/>
                  <a:gd name="T32" fmla="*/ 656 w 3907"/>
                  <a:gd name="T33" fmla="*/ 507 h 3900"/>
                  <a:gd name="T34" fmla="*/ 595 w 3907"/>
                  <a:gd name="T35" fmla="*/ 507 h 3900"/>
                  <a:gd name="T36" fmla="*/ 529 w 3907"/>
                  <a:gd name="T37" fmla="*/ 507 h 3900"/>
                  <a:gd name="T38" fmla="*/ 529 w 3907"/>
                  <a:gd name="T39" fmla="*/ 3382 h 3900"/>
                  <a:gd name="T40" fmla="*/ 3405 w 3907"/>
                  <a:gd name="T41" fmla="*/ 3382 h 3900"/>
                  <a:gd name="T42" fmla="*/ 3406 w 3907"/>
                  <a:gd name="T43" fmla="*/ 2980 h 3900"/>
                  <a:gd name="T44" fmla="*/ 3406 w 3907"/>
                  <a:gd name="T45" fmla="*/ 2584 h 3900"/>
                  <a:gd name="T46" fmla="*/ 3406 w 3907"/>
                  <a:gd name="T47" fmla="*/ 2191 h 3900"/>
                  <a:gd name="T48" fmla="*/ 3403 w 3907"/>
                  <a:gd name="T49" fmla="*/ 1799 h 3900"/>
                  <a:gd name="T50" fmla="*/ 3404 w 3907"/>
                  <a:gd name="T51" fmla="*/ 1751 h 3900"/>
                  <a:gd name="T52" fmla="*/ 3410 w 3907"/>
                  <a:gd name="T53" fmla="*/ 1706 h 3900"/>
                  <a:gd name="T54" fmla="*/ 3421 w 3907"/>
                  <a:gd name="T55" fmla="*/ 1665 h 3900"/>
                  <a:gd name="T56" fmla="*/ 3437 w 3907"/>
                  <a:gd name="T57" fmla="*/ 1627 h 3900"/>
                  <a:gd name="T58" fmla="*/ 3460 w 3907"/>
                  <a:gd name="T59" fmla="*/ 1591 h 3900"/>
                  <a:gd name="T60" fmla="*/ 3489 w 3907"/>
                  <a:gd name="T61" fmla="*/ 1557 h 3900"/>
                  <a:gd name="T62" fmla="*/ 3524 w 3907"/>
                  <a:gd name="T63" fmla="*/ 1524 h 3900"/>
                  <a:gd name="T64" fmla="*/ 3598 w 3907"/>
                  <a:gd name="T65" fmla="*/ 1461 h 3900"/>
                  <a:gd name="T66" fmla="*/ 3674 w 3907"/>
                  <a:gd name="T67" fmla="*/ 1394 h 3900"/>
                  <a:gd name="T68" fmla="*/ 3747 w 3907"/>
                  <a:gd name="T69" fmla="*/ 1324 h 3900"/>
                  <a:gd name="T70" fmla="*/ 3825 w 3907"/>
                  <a:gd name="T71" fmla="*/ 1250 h 3900"/>
                  <a:gd name="T72" fmla="*/ 3907 w 3907"/>
                  <a:gd name="T73" fmla="*/ 1173 h 3900"/>
                  <a:gd name="T74" fmla="*/ 3907 w 3907"/>
                  <a:gd name="T75" fmla="*/ 1724 h 3900"/>
                  <a:gd name="T76" fmla="*/ 3907 w 3907"/>
                  <a:gd name="T77" fmla="*/ 2271 h 3900"/>
                  <a:gd name="T78" fmla="*/ 3907 w 3907"/>
                  <a:gd name="T79" fmla="*/ 2815 h 3900"/>
                  <a:gd name="T80" fmla="*/ 3907 w 3907"/>
                  <a:gd name="T81" fmla="*/ 3356 h 3900"/>
                  <a:gd name="T82" fmla="*/ 3907 w 3907"/>
                  <a:gd name="T83" fmla="*/ 3900 h 3900"/>
                  <a:gd name="T84" fmla="*/ 0 w 3907"/>
                  <a:gd name="T85" fmla="*/ 3900 h 3900"/>
                  <a:gd name="T86" fmla="*/ 0 w 3907"/>
                  <a:gd name="T87"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7" h="3900">
                    <a:moveTo>
                      <a:pt x="0" y="0"/>
                    </a:moveTo>
                    <a:lnTo>
                      <a:pt x="3706" y="0"/>
                    </a:lnTo>
                    <a:lnTo>
                      <a:pt x="3609" y="87"/>
                    </a:lnTo>
                    <a:lnTo>
                      <a:pt x="3516" y="171"/>
                    </a:lnTo>
                    <a:lnTo>
                      <a:pt x="3425" y="254"/>
                    </a:lnTo>
                    <a:lnTo>
                      <a:pt x="3336" y="334"/>
                    </a:lnTo>
                    <a:lnTo>
                      <a:pt x="3246" y="412"/>
                    </a:lnTo>
                    <a:lnTo>
                      <a:pt x="3157" y="489"/>
                    </a:lnTo>
                    <a:lnTo>
                      <a:pt x="3140" y="498"/>
                    </a:lnTo>
                    <a:lnTo>
                      <a:pt x="3121" y="504"/>
                    </a:lnTo>
                    <a:lnTo>
                      <a:pt x="3098" y="507"/>
                    </a:lnTo>
                    <a:lnTo>
                      <a:pt x="3075" y="508"/>
                    </a:lnTo>
                    <a:lnTo>
                      <a:pt x="3050" y="507"/>
                    </a:lnTo>
                    <a:lnTo>
                      <a:pt x="3026" y="507"/>
                    </a:lnTo>
                    <a:lnTo>
                      <a:pt x="3002" y="505"/>
                    </a:lnTo>
                    <a:lnTo>
                      <a:pt x="715" y="507"/>
                    </a:lnTo>
                    <a:lnTo>
                      <a:pt x="656" y="507"/>
                    </a:lnTo>
                    <a:lnTo>
                      <a:pt x="595" y="507"/>
                    </a:lnTo>
                    <a:lnTo>
                      <a:pt x="529" y="507"/>
                    </a:lnTo>
                    <a:lnTo>
                      <a:pt x="529" y="3382"/>
                    </a:lnTo>
                    <a:lnTo>
                      <a:pt x="3405" y="3382"/>
                    </a:lnTo>
                    <a:lnTo>
                      <a:pt x="3406" y="2980"/>
                    </a:lnTo>
                    <a:lnTo>
                      <a:pt x="3406" y="2584"/>
                    </a:lnTo>
                    <a:lnTo>
                      <a:pt x="3406" y="2191"/>
                    </a:lnTo>
                    <a:lnTo>
                      <a:pt x="3403" y="1799"/>
                    </a:lnTo>
                    <a:lnTo>
                      <a:pt x="3404" y="1751"/>
                    </a:lnTo>
                    <a:lnTo>
                      <a:pt x="3410" y="1706"/>
                    </a:lnTo>
                    <a:lnTo>
                      <a:pt x="3421" y="1665"/>
                    </a:lnTo>
                    <a:lnTo>
                      <a:pt x="3437" y="1627"/>
                    </a:lnTo>
                    <a:lnTo>
                      <a:pt x="3460" y="1591"/>
                    </a:lnTo>
                    <a:lnTo>
                      <a:pt x="3489" y="1557"/>
                    </a:lnTo>
                    <a:lnTo>
                      <a:pt x="3524" y="1524"/>
                    </a:lnTo>
                    <a:lnTo>
                      <a:pt x="3598" y="1461"/>
                    </a:lnTo>
                    <a:lnTo>
                      <a:pt x="3674" y="1394"/>
                    </a:lnTo>
                    <a:lnTo>
                      <a:pt x="3747" y="1324"/>
                    </a:lnTo>
                    <a:lnTo>
                      <a:pt x="3825" y="1250"/>
                    </a:lnTo>
                    <a:lnTo>
                      <a:pt x="3907" y="1173"/>
                    </a:lnTo>
                    <a:lnTo>
                      <a:pt x="3907" y="1724"/>
                    </a:lnTo>
                    <a:lnTo>
                      <a:pt x="3907" y="2271"/>
                    </a:lnTo>
                    <a:lnTo>
                      <a:pt x="3907" y="2815"/>
                    </a:lnTo>
                    <a:lnTo>
                      <a:pt x="3907" y="3356"/>
                    </a:lnTo>
                    <a:lnTo>
                      <a:pt x="3907" y="3900"/>
                    </a:lnTo>
                    <a:lnTo>
                      <a:pt x="0" y="3900"/>
                    </a:lnTo>
                    <a:lnTo>
                      <a:pt x="0"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sp>
            <p:nvSpPr>
              <p:cNvPr id="95" name="Freeform 9"/>
              <p:cNvSpPr>
                <a:spLocks/>
              </p:cNvSpPr>
              <p:nvPr/>
            </p:nvSpPr>
            <p:spPr bwMode="auto">
              <a:xfrm>
                <a:off x="-2894015" y="3256364"/>
                <a:ext cx="1548511" cy="1351170"/>
              </a:xfrm>
              <a:custGeom>
                <a:avLst/>
                <a:gdLst>
                  <a:gd name="T0" fmla="*/ 3078 w 3078"/>
                  <a:gd name="T1" fmla="*/ 0 h 2682"/>
                  <a:gd name="T2" fmla="*/ 3078 w 3078"/>
                  <a:gd name="T3" fmla="*/ 157 h 2682"/>
                  <a:gd name="T4" fmla="*/ 3078 w 3078"/>
                  <a:gd name="T5" fmla="*/ 303 h 2682"/>
                  <a:gd name="T6" fmla="*/ 3078 w 3078"/>
                  <a:gd name="T7" fmla="*/ 315 h 2682"/>
                  <a:gd name="T8" fmla="*/ 3078 w 3078"/>
                  <a:gd name="T9" fmla="*/ 454 h 2682"/>
                  <a:gd name="T10" fmla="*/ 3077 w 3078"/>
                  <a:gd name="T11" fmla="*/ 597 h 2682"/>
                  <a:gd name="T12" fmla="*/ 3076 w 3078"/>
                  <a:gd name="T13" fmla="*/ 739 h 2682"/>
                  <a:gd name="T14" fmla="*/ 3072 w 3078"/>
                  <a:gd name="T15" fmla="*/ 755 h 2682"/>
                  <a:gd name="T16" fmla="*/ 3062 w 3078"/>
                  <a:gd name="T17" fmla="*/ 770 h 2682"/>
                  <a:gd name="T18" fmla="*/ 3050 w 3078"/>
                  <a:gd name="T19" fmla="*/ 787 h 2682"/>
                  <a:gd name="T20" fmla="*/ 3036 w 3078"/>
                  <a:gd name="T21" fmla="*/ 801 h 2682"/>
                  <a:gd name="T22" fmla="*/ 3023 w 3078"/>
                  <a:gd name="T23" fmla="*/ 814 h 2682"/>
                  <a:gd name="T24" fmla="*/ 1096 w 3078"/>
                  <a:gd name="T25" fmla="*/ 2666 h 2682"/>
                  <a:gd name="T26" fmla="*/ 1090 w 3078"/>
                  <a:gd name="T27" fmla="*/ 2669 h 2682"/>
                  <a:gd name="T28" fmla="*/ 1082 w 3078"/>
                  <a:gd name="T29" fmla="*/ 2673 h 2682"/>
                  <a:gd name="T30" fmla="*/ 1071 w 3078"/>
                  <a:gd name="T31" fmla="*/ 2676 h 2682"/>
                  <a:gd name="T32" fmla="*/ 1057 w 3078"/>
                  <a:gd name="T33" fmla="*/ 2682 h 2682"/>
                  <a:gd name="T34" fmla="*/ 531 w 3078"/>
                  <a:gd name="T35" fmla="*/ 2131 h 2682"/>
                  <a:gd name="T36" fmla="*/ 0 w 3078"/>
                  <a:gd name="T37" fmla="*/ 1576 h 2682"/>
                  <a:gd name="T38" fmla="*/ 83 w 3078"/>
                  <a:gd name="T39" fmla="*/ 1491 h 2682"/>
                  <a:gd name="T40" fmla="*/ 163 w 3078"/>
                  <a:gd name="T41" fmla="*/ 1408 h 2682"/>
                  <a:gd name="T42" fmla="*/ 240 w 3078"/>
                  <a:gd name="T43" fmla="*/ 1331 h 2682"/>
                  <a:gd name="T44" fmla="*/ 314 w 3078"/>
                  <a:gd name="T45" fmla="*/ 1256 h 2682"/>
                  <a:gd name="T46" fmla="*/ 383 w 3078"/>
                  <a:gd name="T47" fmla="*/ 1184 h 2682"/>
                  <a:gd name="T48" fmla="*/ 562 w 3078"/>
                  <a:gd name="T49" fmla="*/ 1347 h 2682"/>
                  <a:gd name="T50" fmla="*/ 739 w 3078"/>
                  <a:gd name="T51" fmla="*/ 1511 h 2682"/>
                  <a:gd name="T52" fmla="*/ 918 w 3078"/>
                  <a:gd name="T53" fmla="*/ 1674 h 2682"/>
                  <a:gd name="T54" fmla="*/ 1099 w 3078"/>
                  <a:gd name="T55" fmla="*/ 1840 h 2682"/>
                  <a:gd name="T56" fmla="*/ 1374 w 3078"/>
                  <a:gd name="T57" fmla="*/ 1584 h 2682"/>
                  <a:gd name="T58" fmla="*/ 1651 w 3078"/>
                  <a:gd name="T59" fmla="*/ 1326 h 2682"/>
                  <a:gd name="T60" fmla="*/ 1930 w 3078"/>
                  <a:gd name="T61" fmla="*/ 1066 h 2682"/>
                  <a:gd name="T62" fmla="*/ 2213 w 3078"/>
                  <a:gd name="T63" fmla="*/ 804 h 2682"/>
                  <a:gd name="T64" fmla="*/ 2498 w 3078"/>
                  <a:gd name="T65" fmla="*/ 539 h 2682"/>
                  <a:gd name="T66" fmla="*/ 2786 w 3078"/>
                  <a:gd name="T67" fmla="*/ 270 h 2682"/>
                  <a:gd name="T68" fmla="*/ 3078 w 3078"/>
                  <a:gd name="T69" fmla="*/ 0 h 2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8" h="2682">
                    <a:moveTo>
                      <a:pt x="3078" y="0"/>
                    </a:moveTo>
                    <a:lnTo>
                      <a:pt x="3078" y="157"/>
                    </a:lnTo>
                    <a:lnTo>
                      <a:pt x="3078" y="303"/>
                    </a:lnTo>
                    <a:lnTo>
                      <a:pt x="3078" y="315"/>
                    </a:lnTo>
                    <a:lnTo>
                      <a:pt x="3078" y="454"/>
                    </a:lnTo>
                    <a:lnTo>
                      <a:pt x="3077" y="597"/>
                    </a:lnTo>
                    <a:lnTo>
                      <a:pt x="3076" y="739"/>
                    </a:lnTo>
                    <a:lnTo>
                      <a:pt x="3072" y="755"/>
                    </a:lnTo>
                    <a:lnTo>
                      <a:pt x="3062" y="770"/>
                    </a:lnTo>
                    <a:lnTo>
                      <a:pt x="3050" y="787"/>
                    </a:lnTo>
                    <a:lnTo>
                      <a:pt x="3036" y="801"/>
                    </a:lnTo>
                    <a:lnTo>
                      <a:pt x="3023" y="814"/>
                    </a:lnTo>
                    <a:lnTo>
                      <a:pt x="1096" y="2666"/>
                    </a:lnTo>
                    <a:lnTo>
                      <a:pt x="1090" y="2669"/>
                    </a:lnTo>
                    <a:lnTo>
                      <a:pt x="1082" y="2673"/>
                    </a:lnTo>
                    <a:lnTo>
                      <a:pt x="1071" y="2676"/>
                    </a:lnTo>
                    <a:lnTo>
                      <a:pt x="1057" y="2682"/>
                    </a:lnTo>
                    <a:lnTo>
                      <a:pt x="531" y="2131"/>
                    </a:lnTo>
                    <a:lnTo>
                      <a:pt x="0" y="1576"/>
                    </a:lnTo>
                    <a:lnTo>
                      <a:pt x="83" y="1491"/>
                    </a:lnTo>
                    <a:lnTo>
                      <a:pt x="163" y="1408"/>
                    </a:lnTo>
                    <a:lnTo>
                      <a:pt x="240" y="1331"/>
                    </a:lnTo>
                    <a:lnTo>
                      <a:pt x="314" y="1256"/>
                    </a:lnTo>
                    <a:lnTo>
                      <a:pt x="383" y="1184"/>
                    </a:lnTo>
                    <a:lnTo>
                      <a:pt x="562" y="1347"/>
                    </a:lnTo>
                    <a:lnTo>
                      <a:pt x="739" y="1511"/>
                    </a:lnTo>
                    <a:lnTo>
                      <a:pt x="918" y="1674"/>
                    </a:lnTo>
                    <a:lnTo>
                      <a:pt x="1099" y="1840"/>
                    </a:lnTo>
                    <a:lnTo>
                      <a:pt x="1374" y="1584"/>
                    </a:lnTo>
                    <a:lnTo>
                      <a:pt x="1651" y="1326"/>
                    </a:lnTo>
                    <a:lnTo>
                      <a:pt x="1930" y="1066"/>
                    </a:lnTo>
                    <a:lnTo>
                      <a:pt x="2213" y="804"/>
                    </a:lnTo>
                    <a:lnTo>
                      <a:pt x="2498" y="539"/>
                    </a:lnTo>
                    <a:lnTo>
                      <a:pt x="2786" y="270"/>
                    </a:lnTo>
                    <a:lnTo>
                      <a:pt x="3078"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grpSp>
      </p:grpSp>
      <p:grpSp>
        <p:nvGrpSpPr>
          <p:cNvPr id="35" name="Group 34"/>
          <p:cNvGrpSpPr/>
          <p:nvPr/>
        </p:nvGrpSpPr>
        <p:grpSpPr>
          <a:xfrm>
            <a:off x="4238601" y="3634535"/>
            <a:ext cx="8197872" cy="1023812"/>
            <a:chOff x="4238601" y="3634535"/>
            <a:chExt cx="8197872" cy="1023812"/>
          </a:xfrm>
        </p:grpSpPr>
        <p:grpSp>
          <p:nvGrpSpPr>
            <p:cNvPr id="28" name="Group 27"/>
            <p:cNvGrpSpPr/>
            <p:nvPr/>
          </p:nvGrpSpPr>
          <p:grpSpPr>
            <a:xfrm>
              <a:off x="4238601" y="3634535"/>
              <a:ext cx="8197872" cy="1023812"/>
              <a:chOff x="4238601" y="3634535"/>
              <a:chExt cx="8197872" cy="1023812"/>
            </a:xfrm>
          </p:grpSpPr>
          <p:sp>
            <p:nvSpPr>
              <p:cNvPr id="48" name="Rectangle 47"/>
              <p:cNvSpPr/>
              <p:nvPr/>
            </p:nvSpPr>
            <p:spPr bwMode="auto">
              <a:xfrm flipH="1">
                <a:off x="5132402" y="3634535"/>
                <a:ext cx="7304071" cy="1023812"/>
              </a:xfrm>
              <a:prstGeom prst="rect">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365760" bIns="91440" numCol="1" spcCol="0" rtlCol="0" fromWordArt="0" anchor="ctr" anchorCtr="0" forceAA="0" compatLnSpc="1">
                <a:prstTxWarp prst="textNoShape">
                  <a:avLst/>
                </a:prstTxWarp>
                <a:noAutofit/>
              </a:bodyPr>
              <a:lstStyle/>
              <a:p>
                <a:pPr lvl="0" defTabSz="932472">
                  <a:spcBef>
                    <a:spcPct val="0"/>
                  </a:spcBef>
                  <a:spcAft>
                    <a:spcPct val="0"/>
                  </a:spcAft>
                </a:pPr>
                <a:r>
                  <a:rPr lang="en-IN" sz="2000" dirty="0">
                    <a:solidFill>
                      <a:srgbClr val="FFFFFF"/>
                    </a:solidFill>
                    <a:latin typeface="Segoe UI Light"/>
                    <a:ea typeface="Segoe UI" pitchFamily="34" charset="0"/>
                    <a:cs typeface="Segoe UI" pitchFamily="34" charset="0"/>
                  </a:rPr>
                  <a:t>Strong authentication, including MFA, helps limit access to authorized personnel only. </a:t>
                </a:r>
              </a:p>
            </p:txBody>
          </p:sp>
          <p:grpSp>
            <p:nvGrpSpPr>
              <p:cNvPr id="50" name="Group 49"/>
              <p:cNvGrpSpPr/>
              <p:nvPr/>
            </p:nvGrpSpPr>
            <p:grpSpPr>
              <a:xfrm flipH="1">
                <a:off x="4238601" y="3634535"/>
                <a:ext cx="1023812" cy="1023812"/>
                <a:chOff x="3135086" y="2554514"/>
                <a:chExt cx="914400" cy="914400"/>
              </a:xfrm>
            </p:grpSpPr>
            <p:sp>
              <p:nvSpPr>
                <p:cNvPr id="51" name="Rounded Rectangle 50"/>
                <p:cNvSpPr/>
                <p:nvPr/>
              </p:nvSpPr>
              <p:spPr bwMode="auto">
                <a:xfrm>
                  <a:off x="3135086" y="2554514"/>
                  <a:ext cx="914400" cy="914400"/>
                </a:xfrm>
                <a:prstGeom prst="roundRect">
                  <a:avLst>
                    <a:gd name="adj" fmla="val 8731"/>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smtClean="0">
                    <a:solidFill>
                      <a:schemeClr val="accent2"/>
                    </a:solidFill>
                    <a:ea typeface="Segoe UI" pitchFamily="34" charset="0"/>
                    <a:cs typeface="Segoe UI" pitchFamily="34" charset="0"/>
                  </a:endParaRPr>
                </a:p>
              </p:txBody>
            </p:sp>
            <p:sp>
              <p:nvSpPr>
                <p:cNvPr id="52" name="Rounded Rectangle 51"/>
                <p:cNvSpPr/>
                <p:nvPr/>
              </p:nvSpPr>
              <p:spPr bwMode="auto">
                <a:xfrm>
                  <a:off x="3251201" y="2670629"/>
                  <a:ext cx="682171" cy="682171"/>
                </a:xfrm>
                <a:prstGeom prst="roundRect">
                  <a:avLst>
                    <a:gd name="adj" fmla="val 8731"/>
                  </a:avLst>
                </a:prstGeom>
                <a:solidFill>
                  <a:srgbClr val="F7F7F7"/>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3600" dirty="0" smtClean="0">
                    <a:solidFill>
                      <a:schemeClr val="accent2"/>
                    </a:solidFill>
                    <a:latin typeface="Segoe UI Semibold" panose="020B0702040204020203" pitchFamily="34" charset="0"/>
                    <a:ea typeface="Segoe UI" pitchFamily="34" charset="0"/>
                    <a:cs typeface="Segoe UI Semibold" panose="020B0702040204020203" pitchFamily="34" charset="0"/>
                  </a:endParaRPr>
                </a:p>
              </p:txBody>
            </p:sp>
          </p:grpSp>
        </p:grpSp>
        <p:grpSp>
          <p:nvGrpSpPr>
            <p:cNvPr id="96" name="Group 95"/>
            <p:cNvGrpSpPr/>
            <p:nvPr/>
          </p:nvGrpSpPr>
          <p:grpSpPr>
            <a:xfrm>
              <a:off x="4593779" y="3971001"/>
              <a:ext cx="359082" cy="340093"/>
              <a:chOff x="-3227388" y="3256364"/>
              <a:chExt cx="1881884" cy="1782362"/>
            </a:xfrm>
            <a:solidFill>
              <a:schemeClr val="accent2"/>
            </a:solidFill>
            <a:effectLst>
              <a:outerShdw blurRad="50800" dist="38100" dir="8100000" algn="tr" rotWithShape="0">
                <a:prstClr val="black">
                  <a:alpha val="40000"/>
                </a:prstClr>
              </a:outerShdw>
            </a:effectLst>
          </p:grpSpPr>
          <p:sp>
            <p:nvSpPr>
              <p:cNvPr id="97" name="Freeform 8"/>
              <p:cNvSpPr>
                <a:spLocks/>
              </p:cNvSpPr>
              <p:nvPr/>
            </p:nvSpPr>
            <p:spPr bwMode="auto">
              <a:xfrm>
                <a:off x="-3227388" y="3490913"/>
                <a:ext cx="1550988" cy="1547813"/>
              </a:xfrm>
              <a:custGeom>
                <a:avLst/>
                <a:gdLst>
                  <a:gd name="T0" fmla="*/ 0 w 3907"/>
                  <a:gd name="T1" fmla="*/ 0 h 3900"/>
                  <a:gd name="T2" fmla="*/ 3706 w 3907"/>
                  <a:gd name="T3" fmla="*/ 0 h 3900"/>
                  <a:gd name="T4" fmla="*/ 3609 w 3907"/>
                  <a:gd name="T5" fmla="*/ 87 h 3900"/>
                  <a:gd name="T6" fmla="*/ 3516 w 3907"/>
                  <a:gd name="T7" fmla="*/ 171 h 3900"/>
                  <a:gd name="T8" fmla="*/ 3425 w 3907"/>
                  <a:gd name="T9" fmla="*/ 254 h 3900"/>
                  <a:gd name="T10" fmla="*/ 3336 w 3907"/>
                  <a:gd name="T11" fmla="*/ 334 h 3900"/>
                  <a:gd name="T12" fmla="*/ 3246 w 3907"/>
                  <a:gd name="T13" fmla="*/ 412 h 3900"/>
                  <a:gd name="T14" fmla="*/ 3157 w 3907"/>
                  <a:gd name="T15" fmla="*/ 489 h 3900"/>
                  <a:gd name="T16" fmla="*/ 3140 w 3907"/>
                  <a:gd name="T17" fmla="*/ 498 h 3900"/>
                  <a:gd name="T18" fmla="*/ 3121 w 3907"/>
                  <a:gd name="T19" fmla="*/ 504 h 3900"/>
                  <a:gd name="T20" fmla="*/ 3098 w 3907"/>
                  <a:gd name="T21" fmla="*/ 507 h 3900"/>
                  <a:gd name="T22" fmla="*/ 3075 w 3907"/>
                  <a:gd name="T23" fmla="*/ 508 h 3900"/>
                  <a:gd name="T24" fmla="*/ 3050 w 3907"/>
                  <a:gd name="T25" fmla="*/ 507 h 3900"/>
                  <a:gd name="T26" fmla="*/ 3026 w 3907"/>
                  <a:gd name="T27" fmla="*/ 507 h 3900"/>
                  <a:gd name="T28" fmla="*/ 3002 w 3907"/>
                  <a:gd name="T29" fmla="*/ 505 h 3900"/>
                  <a:gd name="T30" fmla="*/ 715 w 3907"/>
                  <a:gd name="T31" fmla="*/ 507 h 3900"/>
                  <a:gd name="T32" fmla="*/ 656 w 3907"/>
                  <a:gd name="T33" fmla="*/ 507 h 3900"/>
                  <a:gd name="T34" fmla="*/ 595 w 3907"/>
                  <a:gd name="T35" fmla="*/ 507 h 3900"/>
                  <a:gd name="T36" fmla="*/ 529 w 3907"/>
                  <a:gd name="T37" fmla="*/ 507 h 3900"/>
                  <a:gd name="T38" fmla="*/ 529 w 3907"/>
                  <a:gd name="T39" fmla="*/ 3382 h 3900"/>
                  <a:gd name="T40" fmla="*/ 3405 w 3907"/>
                  <a:gd name="T41" fmla="*/ 3382 h 3900"/>
                  <a:gd name="T42" fmla="*/ 3406 w 3907"/>
                  <a:gd name="T43" fmla="*/ 2980 h 3900"/>
                  <a:gd name="T44" fmla="*/ 3406 w 3907"/>
                  <a:gd name="T45" fmla="*/ 2584 h 3900"/>
                  <a:gd name="T46" fmla="*/ 3406 w 3907"/>
                  <a:gd name="T47" fmla="*/ 2191 h 3900"/>
                  <a:gd name="T48" fmla="*/ 3403 w 3907"/>
                  <a:gd name="T49" fmla="*/ 1799 h 3900"/>
                  <a:gd name="T50" fmla="*/ 3404 w 3907"/>
                  <a:gd name="T51" fmla="*/ 1751 h 3900"/>
                  <a:gd name="T52" fmla="*/ 3410 w 3907"/>
                  <a:gd name="T53" fmla="*/ 1706 h 3900"/>
                  <a:gd name="T54" fmla="*/ 3421 w 3907"/>
                  <a:gd name="T55" fmla="*/ 1665 h 3900"/>
                  <a:gd name="T56" fmla="*/ 3437 w 3907"/>
                  <a:gd name="T57" fmla="*/ 1627 h 3900"/>
                  <a:gd name="T58" fmla="*/ 3460 w 3907"/>
                  <a:gd name="T59" fmla="*/ 1591 h 3900"/>
                  <a:gd name="T60" fmla="*/ 3489 w 3907"/>
                  <a:gd name="T61" fmla="*/ 1557 h 3900"/>
                  <a:gd name="T62" fmla="*/ 3524 w 3907"/>
                  <a:gd name="T63" fmla="*/ 1524 h 3900"/>
                  <a:gd name="T64" fmla="*/ 3598 w 3907"/>
                  <a:gd name="T65" fmla="*/ 1461 h 3900"/>
                  <a:gd name="T66" fmla="*/ 3674 w 3907"/>
                  <a:gd name="T67" fmla="*/ 1394 h 3900"/>
                  <a:gd name="T68" fmla="*/ 3747 w 3907"/>
                  <a:gd name="T69" fmla="*/ 1324 h 3900"/>
                  <a:gd name="T70" fmla="*/ 3825 w 3907"/>
                  <a:gd name="T71" fmla="*/ 1250 h 3900"/>
                  <a:gd name="T72" fmla="*/ 3907 w 3907"/>
                  <a:gd name="T73" fmla="*/ 1173 h 3900"/>
                  <a:gd name="T74" fmla="*/ 3907 w 3907"/>
                  <a:gd name="T75" fmla="*/ 1724 h 3900"/>
                  <a:gd name="T76" fmla="*/ 3907 w 3907"/>
                  <a:gd name="T77" fmla="*/ 2271 h 3900"/>
                  <a:gd name="T78" fmla="*/ 3907 w 3907"/>
                  <a:gd name="T79" fmla="*/ 2815 h 3900"/>
                  <a:gd name="T80" fmla="*/ 3907 w 3907"/>
                  <a:gd name="T81" fmla="*/ 3356 h 3900"/>
                  <a:gd name="T82" fmla="*/ 3907 w 3907"/>
                  <a:gd name="T83" fmla="*/ 3900 h 3900"/>
                  <a:gd name="T84" fmla="*/ 0 w 3907"/>
                  <a:gd name="T85" fmla="*/ 3900 h 3900"/>
                  <a:gd name="T86" fmla="*/ 0 w 3907"/>
                  <a:gd name="T87"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7" h="3900">
                    <a:moveTo>
                      <a:pt x="0" y="0"/>
                    </a:moveTo>
                    <a:lnTo>
                      <a:pt x="3706" y="0"/>
                    </a:lnTo>
                    <a:lnTo>
                      <a:pt x="3609" y="87"/>
                    </a:lnTo>
                    <a:lnTo>
                      <a:pt x="3516" y="171"/>
                    </a:lnTo>
                    <a:lnTo>
                      <a:pt x="3425" y="254"/>
                    </a:lnTo>
                    <a:lnTo>
                      <a:pt x="3336" y="334"/>
                    </a:lnTo>
                    <a:lnTo>
                      <a:pt x="3246" y="412"/>
                    </a:lnTo>
                    <a:lnTo>
                      <a:pt x="3157" y="489"/>
                    </a:lnTo>
                    <a:lnTo>
                      <a:pt x="3140" y="498"/>
                    </a:lnTo>
                    <a:lnTo>
                      <a:pt x="3121" y="504"/>
                    </a:lnTo>
                    <a:lnTo>
                      <a:pt x="3098" y="507"/>
                    </a:lnTo>
                    <a:lnTo>
                      <a:pt x="3075" y="508"/>
                    </a:lnTo>
                    <a:lnTo>
                      <a:pt x="3050" y="507"/>
                    </a:lnTo>
                    <a:lnTo>
                      <a:pt x="3026" y="507"/>
                    </a:lnTo>
                    <a:lnTo>
                      <a:pt x="3002" y="505"/>
                    </a:lnTo>
                    <a:lnTo>
                      <a:pt x="715" y="507"/>
                    </a:lnTo>
                    <a:lnTo>
                      <a:pt x="656" y="507"/>
                    </a:lnTo>
                    <a:lnTo>
                      <a:pt x="595" y="507"/>
                    </a:lnTo>
                    <a:lnTo>
                      <a:pt x="529" y="507"/>
                    </a:lnTo>
                    <a:lnTo>
                      <a:pt x="529" y="3382"/>
                    </a:lnTo>
                    <a:lnTo>
                      <a:pt x="3405" y="3382"/>
                    </a:lnTo>
                    <a:lnTo>
                      <a:pt x="3406" y="2980"/>
                    </a:lnTo>
                    <a:lnTo>
                      <a:pt x="3406" y="2584"/>
                    </a:lnTo>
                    <a:lnTo>
                      <a:pt x="3406" y="2191"/>
                    </a:lnTo>
                    <a:lnTo>
                      <a:pt x="3403" y="1799"/>
                    </a:lnTo>
                    <a:lnTo>
                      <a:pt x="3404" y="1751"/>
                    </a:lnTo>
                    <a:lnTo>
                      <a:pt x="3410" y="1706"/>
                    </a:lnTo>
                    <a:lnTo>
                      <a:pt x="3421" y="1665"/>
                    </a:lnTo>
                    <a:lnTo>
                      <a:pt x="3437" y="1627"/>
                    </a:lnTo>
                    <a:lnTo>
                      <a:pt x="3460" y="1591"/>
                    </a:lnTo>
                    <a:lnTo>
                      <a:pt x="3489" y="1557"/>
                    </a:lnTo>
                    <a:lnTo>
                      <a:pt x="3524" y="1524"/>
                    </a:lnTo>
                    <a:lnTo>
                      <a:pt x="3598" y="1461"/>
                    </a:lnTo>
                    <a:lnTo>
                      <a:pt x="3674" y="1394"/>
                    </a:lnTo>
                    <a:lnTo>
                      <a:pt x="3747" y="1324"/>
                    </a:lnTo>
                    <a:lnTo>
                      <a:pt x="3825" y="1250"/>
                    </a:lnTo>
                    <a:lnTo>
                      <a:pt x="3907" y="1173"/>
                    </a:lnTo>
                    <a:lnTo>
                      <a:pt x="3907" y="1724"/>
                    </a:lnTo>
                    <a:lnTo>
                      <a:pt x="3907" y="2271"/>
                    </a:lnTo>
                    <a:lnTo>
                      <a:pt x="3907" y="2815"/>
                    </a:lnTo>
                    <a:lnTo>
                      <a:pt x="3907" y="3356"/>
                    </a:lnTo>
                    <a:lnTo>
                      <a:pt x="3907" y="3900"/>
                    </a:lnTo>
                    <a:lnTo>
                      <a:pt x="0" y="3900"/>
                    </a:lnTo>
                    <a:lnTo>
                      <a:pt x="0"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sp>
            <p:nvSpPr>
              <p:cNvPr id="98" name="Freeform 9"/>
              <p:cNvSpPr>
                <a:spLocks/>
              </p:cNvSpPr>
              <p:nvPr/>
            </p:nvSpPr>
            <p:spPr bwMode="auto">
              <a:xfrm>
                <a:off x="-2894015" y="3256364"/>
                <a:ext cx="1548511" cy="1351170"/>
              </a:xfrm>
              <a:custGeom>
                <a:avLst/>
                <a:gdLst>
                  <a:gd name="T0" fmla="*/ 3078 w 3078"/>
                  <a:gd name="T1" fmla="*/ 0 h 2682"/>
                  <a:gd name="T2" fmla="*/ 3078 w 3078"/>
                  <a:gd name="T3" fmla="*/ 157 h 2682"/>
                  <a:gd name="T4" fmla="*/ 3078 w 3078"/>
                  <a:gd name="T5" fmla="*/ 303 h 2682"/>
                  <a:gd name="T6" fmla="*/ 3078 w 3078"/>
                  <a:gd name="T7" fmla="*/ 315 h 2682"/>
                  <a:gd name="T8" fmla="*/ 3078 w 3078"/>
                  <a:gd name="T9" fmla="*/ 454 h 2682"/>
                  <a:gd name="T10" fmla="*/ 3077 w 3078"/>
                  <a:gd name="T11" fmla="*/ 597 h 2682"/>
                  <a:gd name="T12" fmla="*/ 3076 w 3078"/>
                  <a:gd name="T13" fmla="*/ 739 h 2682"/>
                  <a:gd name="T14" fmla="*/ 3072 w 3078"/>
                  <a:gd name="T15" fmla="*/ 755 h 2682"/>
                  <a:gd name="T16" fmla="*/ 3062 w 3078"/>
                  <a:gd name="T17" fmla="*/ 770 h 2682"/>
                  <a:gd name="T18" fmla="*/ 3050 w 3078"/>
                  <a:gd name="T19" fmla="*/ 787 h 2682"/>
                  <a:gd name="T20" fmla="*/ 3036 w 3078"/>
                  <a:gd name="T21" fmla="*/ 801 h 2682"/>
                  <a:gd name="T22" fmla="*/ 3023 w 3078"/>
                  <a:gd name="T23" fmla="*/ 814 h 2682"/>
                  <a:gd name="T24" fmla="*/ 1096 w 3078"/>
                  <a:gd name="T25" fmla="*/ 2666 h 2682"/>
                  <a:gd name="T26" fmla="*/ 1090 w 3078"/>
                  <a:gd name="T27" fmla="*/ 2669 h 2682"/>
                  <a:gd name="T28" fmla="*/ 1082 w 3078"/>
                  <a:gd name="T29" fmla="*/ 2673 h 2682"/>
                  <a:gd name="T30" fmla="*/ 1071 w 3078"/>
                  <a:gd name="T31" fmla="*/ 2676 h 2682"/>
                  <a:gd name="T32" fmla="*/ 1057 w 3078"/>
                  <a:gd name="T33" fmla="*/ 2682 h 2682"/>
                  <a:gd name="T34" fmla="*/ 531 w 3078"/>
                  <a:gd name="T35" fmla="*/ 2131 h 2682"/>
                  <a:gd name="T36" fmla="*/ 0 w 3078"/>
                  <a:gd name="T37" fmla="*/ 1576 h 2682"/>
                  <a:gd name="T38" fmla="*/ 83 w 3078"/>
                  <a:gd name="T39" fmla="*/ 1491 h 2682"/>
                  <a:gd name="T40" fmla="*/ 163 w 3078"/>
                  <a:gd name="T41" fmla="*/ 1408 h 2682"/>
                  <a:gd name="T42" fmla="*/ 240 w 3078"/>
                  <a:gd name="T43" fmla="*/ 1331 h 2682"/>
                  <a:gd name="T44" fmla="*/ 314 w 3078"/>
                  <a:gd name="T45" fmla="*/ 1256 h 2682"/>
                  <a:gd name="T46" fmla="*/ 383 w 3078"/>
                  <a:gd name="T47" fmla="*/ 1184 h 2682"/>
                  <a:gd name="T48" fmla="*/ 562 w 3078"/>
                  <a:gd name="T49" fmla="*/ 1347 h 2682"/>
                  <a:gd name="T50" fmla="*/ 739 w 3078"/>
                  <a:gd name="T51" fmla="*/ 1511 h 2682"/>
                  <a:gd name="T52" fmla="*/ 918 w 3078"/>
                  <a:gd name="T53" fmla="*/ 1674 h 2682"/>
                  <a:gd name="T54" fmla="*/ 1099 w 3078"/>
                  <a:gd name="T55" fmla="*/ 1840 h 2682"/>
                  <a:gd name="T56" fmla="*/ 1374 w 3078"/>
                  <a:gd name="T57" fmla="*/ 1584 h 2682"/>
                  <a:gd name="T58" fmla="*/ 1651 w 3078"/>
                  <a:gd name="T59" fmla="*/ 1326 h 2682"/>
                  <a:gd name="T60" fmla="*/ 1930 w 3078"/>
                  <a:gd name="T61" fmla="*/ 1066 h 2682"/>
                  <a:gd name="T62" fmla="*/ 2213 w 3078"/>
                  <a:gd name="T63" fmla="*/ 804 h 2682"/>
                  <a:gd name="T64" fmla="*/ 2498 w 3078"/>
                  <a:gd name="T65" fmla="*/ 539 h 2682"/>
                  <a:gd name="T66" fmla="*/ 2786 w 3078"/>
                  <a:gd name="T67" fmla="*/ 270 h 2682"/>
                  <a:gd name="T68" fmla="*/ 3078 w 3078"/>
                  <a:gd name="T69" fmla="*/ 0 h 2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8" h="2682">
                    <a:moveTo>
                      <a:pt x="3078" y="0"/>
                    </a:moveTo>
                    <a:lnTo>
                      <a:pt x="3078" y="157"/>
                    </a:lnTo>
                    <a:lnTo>
                      <a:pt x="3078" y="303"/>
                    </a:lnTo>
                    <a:lnTo>
                      <a:pt x="3078" y="315"/>
                    </a:lnTo>
                    <a:lnTo>
                      <a:pt x="3078" y="454"/>
                    </a:lnTo>
                    <a:lnTo>
                      <a:pt x="3077" y="597"/>
                    </a:lnTo>
                    <a:lnTo>
                      <a:pt x="3076" y="739"/>
                    </a:lnTo>
                    <a:lnTo>
                      <a:pt x="3072" y="755"/>
                    </a:lnTo>
                    <a:lnTo>
                      <a:pt x="3062" y="770"/>
                    </a:lnTo>
                    <a:lnTo>
                      <a:pt x="3050" y="787"/>
                    </a:lnTo>
                    <a:lnTo>
                      <a:pt x="3036" y="801"/>
                    </a:lnTo>
                    <a:lnTo>
                      <a:pt x="3023" y="814"/>
                    </a:lnTo>
                    <a:lnTo>
                      <a:pt x="1096" y="2666"/>
                    </a:lnTo>
                    <a:lnTo>
                      <a:pt x="1090" y="2669"/>
                    </a:lnTo>
                    <a:lnTo>
                      <a:pt x="1082" y="2673"/>
                    </a:lnTo>
                    <a:lnTo>
                      <a:pt x="1071" y="2676"/>
                    </a:lnTo>
                    <a:lnTo>
                      <a:pt x="1057" y="2682"/>
                    </a:lnTo>
                    <a:lnTo>
                      <a:pt x="531" y="2131"/>
                    </a:lnTo>
                    <a:lnTo>
                      <a:pt x="0" y="1576"/>
                    </a:lnTo>
                    <a:lnTo>
                      <a:pt x="83" y="1491"/>
                    </a:lnTo>
                    <a:lnTo>
                      <a:pt x="163" y="1408"/>
                    </a:lnTo>
                    <a:lnTo>
                      <a:pt x="240" y="1331"/>
                    </a:lnTo>
                    <a:lnTo>
                      <a:pt x="314" y="1256"/>
                    </a:lnTo>
                    <a:lnTo>
                      <a:pt x="383" y="1184"/>
                    </a:lnTo>
                    <a:lnTo>
                      <a:pt x="562" y="1347"/>
                    </a:lnTo>
                    <a:lnTo>
                      <a:pt x="739" y="1511"/>
                    </a:lnTo>
                    <a:lnTo>
                      <a:pt x="918" y="1674"/>
                    </a:lnTo>
                    <a:lnTo>
                      <a:pt x="1099" y="1840"/>
                    </a:lnTo>
                    <a:lnTo>
                      <a:pt x="1374" y="1584"/>
                    </a:lnTo>
                    <a:lnTo>
                      <a:pt x="1651" y="1326"/>
                    </a:lnTo>
                    <a:lnTo>
                      <a:pt x="1930" y="1066"/>
                    </a:lnTo>
                    <a:lnTo>
                      <a:pt x="2213" y="804"/>
                    </a:lnTo>
                    <a:lnTo>
                      <a:pt x="2498" y="539"/>
                    </a:lnTo>
                    <a:lnTo>
                      <a:pt x="2786" y="270"/>
                    </a:lnTo>
                    <a:lnTo>
                      <a:pt x="3078"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grpSp>
      </p:grpSp>
      <p:grpSp>
        <p:nvGrpSpPr>
          <p:cNvPr id="42" name="Group 41"/>
          <p:cNvGrpSpPr/>
          <p:nvPr/>
        </p:nvGrpSpPr>
        <p:grpSpPr>
          <a:xfrm>
            <a:off x="5262413" y="4744787"/>
            <a:ext cx="7174060" cy="1023812"/>
            <a:chOff x="5262413" y="4744787"/>
            <a:chExt cx="7174060" cy="1023812"/>
          </a:xfrm>
        </p:grpSpPr>
        <p:grpSp>
          <p:nvGrpSpPr>
            <p:cNvPr id="29" name="Group 28"/>
            <p:cNvGrpSpPr/>
            <p:nvPr/>
          </p:nvGrpSpPr>
          <p:grpSpPr>
            <a:xfrm>
              <a:off x="5262413" y="4744787"/>
              <a:ext cx="7174060" cy="1023812"/>
              <a:chOff x="5262413" y="4744787"/>
              <a:chExt cx="7174060" cy="1023812"/>
            </a:xfrm>
          </p:grpSpPr>
          <p:sp>
            <p:nvSpPr>
              <p:cNvPr id="56" name="Rectangle 55"/>
              <p:cNvSpPr/>
              <p:nvPr/>
            </p:nvSpPr>
            <p:spPr bwMode="auto">
              <a:xfrm flipH="1">
                <a:off x="6156216" y="4744787"/>
                <a:ext cx="6280257" cy="1023812"/>
              </a:xfrm>
              <a:prstGeom prst="rect">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365760" bIns="91440" numCol="1" spcCol="0" rtlCol="0" fromWordArt="0" anchor="ctr" anchorCtr="0" forceAA="0" compatLnSpc="1">
                <a:prstTxWarp prst="textNoShape">
                  <a:avLst/>
                </a:prstTxWarp>
                <a:noAutofit/>
              </a:bodyPr>
              <a:lstStyle/>
              <a:p>
                <a:pPr lvl="0" defTabSz="932472">
                  <a:spcBef>
                    <a:spcPct val="0"/>
                  </a:spcBef>
                  <a:spcAft>
                    <a:spcPct val="0"/>
                  </a:spcAft>
                </a:pPr>
                <a:r>
                  <a:rPr lang="en-IN" sz="2000" dirty="0">
                    <a:solidFill>
                      <a:srgbClr val="FFFFFF"/>
                    </a:solidFill>
                    <a:latin typeface="Segoe UI Light"/>
                    <a:ea typeface="Segoe UI" pitchFamily="34" charset="0"/>
                    <a:cs typeface="Segoe UI" pitchFamily="34" charset="0"/>
                  </a:rPr>
                  <a:t>Access is revoked as soon as it’s no longer needed. </a:t>
                </a:r>
              </a:p>
            </p:txBody>
          </p:sp>
          <p:grpSp>
            <p:nvGrpSpPr>
              <p:cNvPr id="58" name="Group 57"/>
              <p:cNvGrpSpPr/>
              <p:nvPr/>
            </p:nvGrpSpPr>
            <p:grpSpPr>
              <a:xfrm flipH="1">
                <a:off x="5262413" y="4744787"/>
                <a:ext cx="1023812" cy="1023812"/>
                <a:chOff x="3135086" y="2554514"/>
                <a:chExt cx="914400" cy="914400"/>
              </a:xfrm>
            </p:grpSpPr>
            <p:sp>
              <p:nvSpPr>
                <p:cNvPr id="64" name="Rounded Rectangle 63"/>
                <p:cNvSpPr/>
                <p:nvPr/>
              </p:nvSpPr>
              <p:spPr bwMode="auto">
                <a:xfrm>
                  <a:off x="3135086" y="2554514"/>
                  <a:ext cx="914400" cy="914400"/>
                </a:xfrm>
                <a:prstGeom prst="roundRect">
                  <a:avLst>
                    <a:gd name="adj" fmla="val 8731"/>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smtClean="0">
                    <a:solidFill>
                      <a:schemeClr val="accent2"/>
                    </a:solidFill>
                    <a:ea typeface="Segoe UI" pitchFamily="34" charset="0"/>
                    <a:cs typeface="Segoe UI" pitchFamily="34" charset="0"/>
                  </a:endParaRPr>
                </a:p>
              </p:txBody>
            </p:sp>
            <p:sp>
              <p:nvSpPr>
                <p:cNvPr id="65" name="Rounded Rectangle 64"/>
                <p:cNvSpPr/>
                <p:nvPr/>
              </p:nvSpPr>
              <p:spPr bwMode="auto">
                <a:xfrm>
                  <a:off x="3251201" y="2670629"/>
                  <a:ext cx="682171" cy="682171"/>
                </a:xfrm>
                <a:prstGeom prst="roundRect">
                  <a:avLst>
                    <a:gd name="adj" fmla="val 8731"/>
                  </a:avLst>
                </a:prstGeom>
                <a:solidFill>
                  <a:srgbClr val="F7F7F7"/>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3600" dirty="0" smtClean="0">
                    <a:solidFill>
                      <a:schemeClr val="accent2"/>
                    </a:solidFill>
                    <a:latin typeface="Segoe UI Semibold" panose="020B0702040204020203" pitchFamily="34" charset="0"/>
                    <a:ea typeface="Segoe UI" pitchFamily="34" charset="0"/>
                    <a:cs typeface="Segoe UI Semibold" panose="020B0702040204020203" pitchFamily="34" charset="0"/>
                  </a:endParaRPr>
                </a:p>
              </p:txBody>
            </p:sp>
          </p:grpSp>
        </p:grpSp>
        <p:grpSp>
          <p:nvGrpSpPr>
            <p:cNvPr id="99" name="Group 98"/>
            <p:cNvGrpSpPr/>
            <p:nvPr/>
          </p:nvGrpSpPr>
          <p:grpSpPr>
            <a:xfrm>
              <a:off x="5624845" y="5060326"/>
              <a:ext cx="359082" cy="340093"/>
              <a:chOff x="-3227388" y="3256364"/>
              <a:chExt cx="1881884" cy="1782362"/>
            </a:xfrm>
            <a:solidFill>
              <a:schemeClr val="accent2"/>
            </a:solidFill>
            <a:effectLst>
              <a:outerShdw blurRad="50800" dist="38100" dir="8100000" algn="tr" rotWithShape="0">
                <a:prstClr val="black">
                  <a:alpha val="40000"/>
                </a:prstClr>
              </a:outerShdw>
            </a:effectLst>
          </p:grpSpPr>
          <p:sp>
            <p:nvSpPr>
              <p:cNvPr id="100" name="Freeform 8"/>
              <p:cNvSpPr>
                <a:spLocks/>
              </p:cNvSpPr>
              <p:nvPr/>
            </p:nvSpPr>
            <p:spPr bwMode="auto">
              <a:xfrm>
                <a:off x="-3227388" y="3490913"/>
                <a:ext cx="1550988" cy="1547813"/>
              </a:xfrm>
              <a:custGeom>
                <a:avLst/>
                <a:gdLst>
                  <a:gd name="T0" fmla="*/ 0 w 3907"/>
                  <a:gd name="T1" fmla="*/ 0 h 3900"/>
                  <a:gd name="T2" fmla="*/ 3706 w 3907"/>
                  <a:gd name="T3" fmla="*/ 0 h 3900"/>
                  <a:gd name="T4" fmla="*/ 3609 w 3907"/>
                  <a:gd name="T5" fmla="*/ 87 h 3900"/>
                  <a:gd name="T6" fmla="*/ 3516 w 3907"/>
                  <a:gd name="T7" fmla="*/ 171 h 3900"/>
                  <a:gd name="T8" fmla="*/ 3425 w 3907"/>
                  <a:gd name="T9" fmla="*/ 254 h 3900"/>
                  <a:gd name="T10" fmla="*/ 3336 w 3907"/>
                  <a:gd name="T11" fmla="*/ 334 h 3900"/>
                  <a:gd name="T12" fmla="*/ 3246 w 3907"/>
                  <a:gd name="T13" fmla="*/ 412 h 3900"/>
                  <a:gd name="T14" fmla="*/ 3157 w 3907"/>
                  <a:gd name="T15" fmla="*/ 489 h 3900"/>
                  <a:gd name="T16" fmla="*/ 3140 w 3907"/>
                  <a:gd name="T17" fmla="*/ 498 h 3900"/>
                  <a:gd name="T18" fmla="*/ 3121 w 3907"/>
                  <a:gd name="T19" fmla="*/ 504 h 3900"/>
                  <a:gd name="T20" fmla="*/ 3098 w 3907"/>
                  <a:gd name="T21" fmla="*/ 507 h 3900"/>
                  <a:gd name="T22" fmla="*/ 3075 w 3907"/>
                  <a:gd name="T23" fmla="*/ 508 h 3900"/>
                  <a:gd name="T24" fmla="*/ 3050 w 3907"/>
                  <a:gd name="T25" fmla="*/ 507 h 3900"/>
                  <a:gd name="T26" fmla="*/ 3026 w 3907"/>
                  <a:gd name="T27" fmla="*/ 507 h 3900"/>
                  <a:gd name="T28" fmla="*/ 3002 w 3907"/>
                  <a:gd name="T29" fmla="*/ 505 h 3900"/>
                  <a:gd name="T30" fmla="*/ 715 w 3907"/>
                  <a:gd name="T31" fmla="*/ 507 h 3900"/>
                  <a:gd name="T32" fmla="*/ 656 w 3907"/>
                  <a:gd name="T33" fmla="*/ 507 h 3900"/>
                  <a:gd name="T34" fmla="*/ 595 w 3907"/>
                  <a:gd name="T35" fmla="*/ 507 h 3900"/>
                  <a:gd name="T36" fmla="*/ 529 w 3907"/>
                  <a:gd name="T37" fmla="*/ 507 h 3900"/>
                  <a:gd name="T38" fmla="*/ 529 w 3907"/>
                  <a:gd name="T39" fmla="*/ 3382 h 3900"/>
                  <a:gd name="T40" fmla="*/ 3405 w 3907"/>
                  <a:gd name="T41" fmla="*/ 3382 h 3900"/>
                  <a:gd name="T42" fmla="*/ 3406 w 3907"/>
                  <a:gd name="T43" fmla="*/ 2980 h 3900"/>
                  <a:gd name="T44" fmla="*/ 3406 w 3907"/>
                  <a:gd name="T45" fmla="*/ 2584 h 3900"/>
                  <a:gd name="T46" fmla="*/ 3406 w 3907"/>
                  <a:gd name="T47" fmla="*/ 2191 h 3900"/>
                  <a:gd name="T48" fmla="*/ 3403 w 3907"/>
                  <a:gd name="T49" fmla="*/ 1799 h 3900"/>
                  <a:gd name="T50" fmla="*/ 3404 w 3907"/>
                  <a:gd name="T51" fmla="*/ 1751 h 3900"/>
                  <a:gd name="T52" fmla="*/ 3410 w 3907"/>
                  <a:gd name="T53" fmla="*/ 1706 h 3900"/>
                  <a:gd name="T54" fmla="*/ 3421 w 3907"/>
                  <a:gd name="T55" fmla="*/ 1665 h 3900"/>
                  <a:gd name="T56" fmla="*/ 3437 w 3907"/>
                  <a:gd name="T57" fmla="*/ 1627 h 3900"/>
                  <a:gd name="T58" fmla="*/ 3460 w 3907"/>
                  <a:gd name="T59" fmla="*/ 1591 h 3900"/>
                  <a:gd name="T60" fmla="*/ 3489 w 3907"/>
                  <a:gd name="T61" fmla="*/ 1557 h 3900"/>
                  <a:gd name="T62" fmla="*/ 3524 w 3907"/>
                  <a:gd name="T63" fmla="*/ 1524 h 3900"/>
                  <a:gd name="T64" fmla="*/ 3598 w 3907"/>
                  <a:gd name="T65" fmla="*/ 1461 h 3900"/>
                  <a:gd name="T66" fmla="*/ 3674 w 3907"/>
                  <a:gd name="T67" fmla="*/ 1394 h 3900"/>
                  <a:gd name="T68" fmla="*/ 3747 w 3907"/>
                  <a:gd name="T69" fmla="*/ 1324 h 3900"/>
                  <a:gd name="T70" fmla="*/ 3825 w 3907"/>
                  <a:gd name="T71" fmla="*/ 1250 h 3900"/>
                  <a:gd name="T72" fmla="*/ 3907 w 3907"/>
                  <a:gd name="T73" fmla="*/ 1173 h 3900"/>
                  <a:gd name="T74" fmla="*/ 3907 w 3907"/>
                  <a:gd name="T75" fmla="*/ 1724 h 3900"/>
                  <a:gd name="T76" fmla="*/ 3907 w 3907"/>
                  <a:gd name="T77" fmla="*/ 2271 h 3900"/>
                  <a:gd name="T78" fmla="*/ 3907 w 3907"/>
                  <a:gd name="T79" fmla="*/ 2815 h 3900"/>
                  <a:gd name="T80" fmla="*/ 3907 w 3907"/>
                  <a:gd name="T81" fmla="*/ 3356 h 3900"/>
                  <a:gd name="T82" fmla="*/ 3907 w 3907"/>
                  <a:gd name="T83" fmla="*/ 3900 h 3900"/>
                  <a:gd name="T84" fmla="*/ 0 w 3907"/>
                  <a:gd name="T85" fmla="*/ 3900 h 3900"/>
                  <a:gd name="T86" fmla="*/ 0 w 3907"/>
                  <a:gd name="T87"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7" h="3900">
                    <a:moveTo>
                      <a:pt x="0" y="0"/>
                    </a:moveTo>
                    <a:lnTo>
                      <a:pt x="3706" y="0"/>
                    </a:lnTo>
                    <a:lnTo>
                      <a:pt x="3609" y="87"/>
                    </a:lnTo>
                    <a:lnTo>
                      <a:pt x="3516" y="171"/>
                    </a:lnTo>
                    <a:lnTo>
                      <a:pt x="3425" y="254"/>
                    </a:lnTo>
                    <a:lnTo>
                      <a:pt x="3336" y="334"/>
                    </a:lnTo>
                    <a:lnTo>
                      <a:pt x="3246" y="412"/>
                    </a:lnTo>
                    <a:lnTo>
                      <a:pt x="3157" y="489"/>
                    </a:lnTo>
                    <a:lnTo>
                      <a:pt x="3140" y="498"/>
                    </a:lnTo>
                    <a:lnTo>
                      <a:pt x="3121" y="504"/>
                    </a:lnTo>
                    <a:lnTo>
                      <a:pt x="3098" y="507"/>
                    </a:lnTo>
                    <a:lnTo>
                      <a:pt x="3075" y="508"/>
                    </a:lnTo>
                    <a:lnTo>
                      <a:pt x="3050" y="507"/>
                    </a:lnTo>
                    <a:lnTo>
                      <a:pt x="3026" y="507"/>
                    </a:lnTo>
                    <a:lnTo>
                      <a:pt x="3002" y="505"/>
                    </a:lnTo>
                    <a:lnTo>
                      <a:pt x="715" y="507"/>
                    </a:lnTo>
                    <a:lnTo>
                      <a:pt x="656" y="507"/>
                    </a:lnTo>
                    <a:lnTo>
                      <a:pt x="595" y="507"/>
                    </a:lnTo>
                    <a:lnTo>
                      <a:pt x="529" y="507"/>
                    </a:lnTo>
                    <a:lnTo>
                      <a:pt x="529" y="3382"/>
                    </a:lnTo>
                    <a:lnTo>
                      <a:pt x="3405" y="3382"/>
                    </a:lnTo>
                    <a:lnTo>
                      <a:pt x="3406" y="2980"/>
                    </a:lnTo>
                    <a:lnTo>
                      <a:pt x="3406" y="2584"/>
                    </a:lnTo>
                    <a:lnTo>
                      <a:pt x="3406" y="2191"/>
                    </a:lnTo>
                    <a:lnTo>
                      <a:pt x="3403" y="1799"/>
                    </a:lnTo>
                    <a:lnTo>
                      <a:pt x="3404" y="1751"/>
                    </a:lnTo>
                    <a:lnTo>
                      <a:pt x="3410" y="1706"/>
                    </a:lnTo>
                    <a:lnTo>
                      <a:pt x="3421" y="1665"/>
                    </a:lnTo>
                    <a:lnTo>
                      <a:pt x="3437" y="1627"/>
                    </a:lnTo>
                    <a:lnTo>
                      <a:pt x="3460" y="1591"/>
                    </a:lnTo>
                    <a:lnTo>
                      <a:pt x="3489" y="1557"/>
                    </a:lnTo>
                    <a:lnTo>
                      <a:pt x="3524" y="1524"/>
                    </a:lnTo>
                    <a:lnTo>
                      <a:pt x="3598" y="1461"/>
                    </a:lnTo>
                    <a:lnTo>
                      <a:pt x="3674" y="1394"/>
                    </a:lnTo>
                    <a:lnTo>
                      <a:pt x="3747" y="1324"/>
                    </a:lnTo>
                    <a:lnTo>
                      <a:pt x="3825" y="1250"/>
                    </a:lnTo>
                    <a:lnTo>
                      <a:pt x="3907" y="1173"/>
                    </a:lnTo>
                    <a:lnTo>
                      <a:pt x="3907" y="1724"/>
                    </a:lnTo>
                    <a:lnTo>
                      <a:pt x="3907" y="2271"/>
                    </a:lnTo>
                    <a:lnTo>
                      <a:pt x="3907" y="2815"/>
                    </a:lnTo>
                    <a:lnTo>
                      <a:pt x="3907" y="3356"/>
                    </a:lnTo>
                    <a:lnTo>
                      <a:pt x="3907" y="3900"/>
                    </a:lnTo>
                    <a:lnTo>
                      <a:pt x="0" y="3900"/>
                    </a:lnTo>
                    <a:lnTo>
                      <a:pt x="0"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sp>
            <p:nvSpPr>
              <p:cNvPr id="101" name="Freeform 9"/>
              <p:cNvSpPr>
                <a:spLocks/>
              </p:cNvSpPr>
              <p:nvPr/>
            </p:nvSpPr>
            <p:spPr bwMode="auto">
              <a:xfrm>
                <a:off x="-2894015" y="3256364"/>
                <a:ext cx="1548511" cy="1351170"/>
              </a:xfrm>
              <a:custGeom>
                <a:avLst/>
                <a:gdLst>
                  <a:gd name="T0" fmla="*/ 3078 w 3078"/>
                  <a:gd name="T1" fmla="*/ 0 h 2682"/>
                  <a:gd name="T2" fmla="*/ 3078 w 3078"/>
                  <a:gd name="T3" fmla="*/ 157 h 2682"/>
                  <a:gd name="T4" fmla="*/ 3078 w 3078"/>
                  <a:gd name="T5" fmla="*/ 303 h 2682"/>
                  <a:gd name="T6" fmla="*/ 3078 w 3078"/>
                  <a:gd name="T7" fmla="*/ 315 h 2682"/>
                  <a:gd name="T8" fmla="*/ 3078 w 3078"/>
                  <a:gd name="T9" fmla="*/ 454 h 2682"/>
                  <a:gd name="T10" fmla="*/ 3077 w 3078"/>
                  <a:gd name="T11" fmla="*/ 597 h 2682"/>
                  <a:gd name="T12" fmla="*/ 3076 w 3078"/>
                  <a:gd name="T13" fmla="*/ 739 h 2682"/>
                  <a:gd name="T14" fmla="*/ 3072 w 3078"/>
                  <a:gd name="T15" fmla="*/ 755 h 2682"/>
                  <a:gd name="T16" fmla="*/ 3062 w 3078"/>
                  <a:gd name="T17" fmla="*/ 770 h 2682"/>
                  <a:gd name="T18" fmla="*/ 3050 w 3078"/>
                  <a:gd name="T19" fmla="*/ 787 h 2682"/>
                  <a:gd name="T20" fmla="*/ 3036 w 3078"/>
                  <a:gd name="T21" fmla="*/ 801 h 2682"/>
                  <a:gd name="T22" fmla="*/ 3023 w 3078"/>
                  <a:gd name="T23" fmla="*/ 814 h 2682"/>
                  <a:gd name="T24" fmla="*/ 1096 w 3078"/>
                  <a:gd name="T25" fmla="*/ 2666 h 2682"/>
                  <a:gd name="T26" fmla="*/ 1090 w 3078"/>
                  <a:gd name="T27" fmla="*/ 2669 h 2682"/>
                  <a:gd name="T28" fmla="*/ 1082 w 3078"/>
                  <a:gd name="T29" fmla="*/ 2673 h 2682"/>
                  <a:gd name="T30" fmla="*/ 1071 w 3078"/>
                  <a:gd name="T31" fmla="*/ 2676 h 2682"/>
                  <a:gd name="T32" fmla="*/ 1057 w 3078"/>
                  <a:gd name="T33" fmla="*/ 2682 h 2682"/>
                  <a:gd name="T34" fmla="*/ 531 w 3078"/>
                  <a:gd name="T35" fmla="*/ 2131 h 2682"/>
                  <a:gd name="T36" fmla="*/ 0 w 3078"/>
                  <a:gd name="T37" fmla="*/ 1576 h 2682"/>
                  <a:gd name="T38" fmla="*/ 83 w 3078"/>
                  <a:gd name="T39" fmla="*/ 1491 h 2682"/>
                  <a:gd name="T40" fmla="*/ 163 w 3078"/>
                  <a:gd name="T41" fmla="*/ 1408 h 2682"/>
                  <a:gd name="T42" fmla="*/ 240 w 3078"/>
                  <a:gd name="T43" fmla="*/ 1331 h 2682"/>
                  <a:gd name="T44" fmla="*/ 314 w 3078"/>
                  <a:gd name="T45" fmla="*/ 1256 h 2682"/>
                  <a:gd name="T46" fmla="*/ 383 w 3078"/>
                  <a:gd name="T47" fmla="*/ 1184 h 2682"/>
                  <a:gd name="T48" fmla="*/ 562 w 3078"/>
                  <a:gd name="T49" fmla="*/ 1347 h 2682"/>
                  <a:gd name="T50" fmla="*/ 739 w 3078"/>
                  <a:gd name="T51" fmla="*/ 1511 h 2682"/>
                  <a:gd name="T52" fmla="*/ 918 w 3078"/>
                  <a:gd name="T53" fmla="*/ 1674 h 2682"/>
                  <a:gd name="T54" fmla="*/ 1099 w 3078"/>
                  <a:gd name="T55" fmla="*/ 1840 h 2682"/>
                  <a:gd name="T56" fmla="*/ 1374 w 3078"/>
                  <a:gd name="T57" fmla="*/ 1584 h 2682"/>
                  <a:gd name="T58" fmla="*/ 1651 w 3078"/>
                  <a:gd name="T59" fmla="*/ 1326 h 2682"/>
                  <a:gd name="T60" fmla="*/ 1930 w 3078"/>
                  <a:gd name="T61" fmla="*/ 1066 h 2682"/>
                  <a:gd name="T62" fmla="*/ 2213 w 3078"/>
                  <a:gd name="T63" fmla="*/ 804 h 2682"/>
                  <a:gd name="T64" fmla="*/ 2498 w 3078"/>
                  <a:gd name="T65" fmla="*/ 539 h 2682"/>
                  <a:gd name="T66" fmla="*/ 2786 w 3078"/>
                  <a:gd name="T67" fmla="*/ 270 h 2682"/>
                  <a:gd name="T68" fmla="*/ 3078 w 3078"/>
                  <a:gd name="T69" fmla="*/ 0 h 2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8" h="2682">
                    <a:moveTo>
                      <a:pt x="3078" y="0"/>
                    </a:moveTo>
                    <a:lnTo>
                      <a:pt x="3078" y="157"/>
                    </a:lnTo>
                    <a:lnTo>
                      <a:pt x="3078" y="303"/>
                    </a:lnTo>
                    <a:lnTo>
                      <a:pt x="3078" y="315"/>
                    </a:lnTo>
                    <a:lnTo>
                      <a:pt x="3078" y="454"/>
                    </a:lnTo>
                    <a:lnTo>
                      <a:pt x="3077" y="597"/>
                    </a:lnTo>
                    <a:lnTo>
                      <a:pt x="3076" y="739"/>
                    </a:lnTo>
                    <a:lnTo>
                      <a:pt x="3072" y="755"/>
                    </a:lnTo>
                    <a:lnTo>
                      <a:pt x="3062" y="770"/>
                    </a:lnTo>
                    <a:lnTo>
                      <a:pt x="3050" y="787"/>
                    </a:lnTo>
                    <a:lnTo>
                      <a:pt x="3036" y="801"/>
                    </a:lnTo>
                    <a:lnTo>
                      <a:pt x="3023" y="814"/>
                    </a:lnTo>
                    <a:lnTo>
                      <a:pt x="1096" y="2666"/>
                    </a:lnTo>
                    <a:lnTo>
                      <a:pt x="1090" y="2669"/>
                    </a:lnTo>
                    <a:lnTo>
                      <a:pt x="1082" y="2673"/>
                    </a:lnTo>
                    <a:lnTo>
                      <a:pt x="1071" y="2676"/>
                    </a:lnTo>
                    <a:lnTo>
                      <a:pt x="1057" y="2682"/>
                    </a:lnTo>
                    <a:lnTo>
                      <a:pt x="531" y="2131"/>
                    </a:lnTo>
                    <a:lnTo>
                      <a:pt x="0" y="1576"/>
                    </a:lnTo>
                    <a:lnTo>
                      <a:pt x="83" y="1491"/>
                    </a:lnTo>
                    <a:lnTo>
                      <a:pt x="163" y="1408"/>
                    </a:lnTo>
                    <a:lnTo>
                      <a:pt x="240" y="1331"/>
                    </a:lnTo>
                    <a:lnTo>
                      <a:pt x="314" y="1256"/>
                    </a:lnTo>
                    <a:lnTo>
                      <a:pt x="383" y="1184"/>
                    </a:lnTo>
                    <a:lnTo>
                      <a:pt x="562" y="1347"/>
                    </a:lnTo>
                    <a:lnTo>
                      <a:pt x="739" y="1511"/>
                    </a:lnTo>
                    <a:lnTo>
                      <a:pt x="918" y="1674"/>
                    </a:lnTo>
                    <a:lnTo>
                      <a:pt x="1099" y="1840"/>
                    </a:lnTo>
                    <a:lnTo>
                      <a:pt x="1374" y="1584"/>
                    </a:lnTo>
                    <a:lnTo>
                      <a:pt x="1651" y="1326"/>
                    </a:lnTo>
                    <a:lnTo>
                      <a:pt x="1930" y="1066"/>
                    </a:lnTo>
                    <a:lnTo>
                      <a:pt x="2213" y="804"/>
                    </a:lnTo>
                    <a:lnTo>
                      <a:pt x="2498" y="539"/>
                    </a:lnTo>
                    <a:lnTo>
                      <a:pt x="2786" y="270"/>
                    </a:lnTo>
                    <a:lnTo>
                      <a:pt x="3078"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grpSp>
      </p:grpSp>
      <p:grpSp>
        <p:nvGrpSpPr>
          <p:cNvPr id="102" name="Group 101"/>
          <p:cNvGrpSpPr/>
          <p:nvPr/>
        </p:nvGrpSpPr>
        <p:grpSpPr>
          <a:xfrm>
            <a:off x="11070579" y="297389"/>
            <a:ext cx="932340" cy="913874"/>
            <a:chOff x="11070579" y="297389"/>
            <a:chExt cx="932340" cy="913874"/>
          </a:xfrm>
        </p:grpSpPr>
        <p:sp>
          <p:nvSpPr>
            <p:cNvPr id="103" name="Rectangle 102"/>
            <p:cNvSpPr/>
            <p:nvPr/>
          </p:nvSpPr>
          <p:spPr bwMode="auto">
            <a:xfrm>
              <a:off x="11070579" y="297389"/>
              <a:ext cx="932340" cy="913874"/>
            </a:xfrm>
            <a:prstGeom prst="rect">
              <a:avLst/>
            </a:prstGeom>
            <a:solidFill>
              <a:schemeClr val="accent2"/>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p>
              <a:pPr algn="l" defTabSz="932563" fontAlgn="auto">
                <a:spcAft>
                  <a:spcPts val="587"/>
                </a:spcAft>
              </a:pPr>
              <a:endParaRPr lang="en-US" sz="2200" dirty="0">
                <a:solidFill>
                  <a:schemeClr val="bg1"/>
                </a:solidFill>
                <a:latin typeface="+mj-lt"/>
                <a:cs typeface="Segoe UI Semibold" panose="020B0702040204020203" pitchFamily="34" charset="0"/>
              </a:endParaRPr>
            </a:p>
          </p:txBody>
        </p:sp>
        <p:sp>
          <p:nvSpPr>
            <p:cNvPr id="104" name="Rectangle 103"/>
            <p:cNvSpPr/>
            <p:nvPr/>
          </p:nvSpPr>
          <p:spPr>
            <a:xfrm>
              <a:off x="11070579" y="1137623"/>
              <a:ext cx="932340" cy="73640"/>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sp>
          <p:nvSpPr>
            <p:cNvPr id="105" name="Freeform 104"/>
            <p:cNvSpPr>
              <a:spLocks noEditPoints="1"/>
            </p:cNvSpPr>
            <p:nvPr/>
          </p:nvSpPr>
          <p:spPr bwMode="black">
            <a:xfrm>
              <a:off x="11329732" y="467317"/>
              <a:ext cx="414034" cy="574018"/>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alpha val="22000"/>
              </a:schemeClr>
            </a:solidFill>
            <a:ln w="0">
              <a:noFill/>
              <a:prstDash val="solid"/>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grpSp>
    </p:spTree>
    <p:extLst>
      <p:ext uri="{BB962C8B-B14F-4D97-AF65-F5344CB8AC3E}">
        <p14:creationId xmlns:p14="http://schemas.microsoft.com/office/powerpoint/2010/main" val="371891755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ppt_x"/>
                                          </p:val>
                                        </p:tav>
                                        <p:tav tm="100000">
                                          <p:val>
                                            <p:strVal val="#ppt_x"/>
                                          </p:val>
                                        </p:tav>
                                      </p:tavLst>
                                    </p:anim>
                                    <p:anim calcmode="lin" valueType="num">
                                      <p:cBhvr additive="base">
                                        <p:cTn id="8" dur="750" fill="hold"/>
                                        <p:tgtEl>
                                          <p:spTgt spid="7"/>
                                        </p:tgtEl>
                                        <p:attrNameLst>
                                          <p:attrName>ppt_y</p:attrName>
                                        </p:attrNameLst>
                                      </p:cBhvr>
                                      <p:tavLst>
                                        <p:tav tm="0">
                                          <p:val>
                                            <p:strVal val="1+#ppt_h/2"/>
                                          </p:val>
                                        </p:tav>
                                        <p:tav tm="100000">
                                          <p:val>
                                            <p:strVal val="#ppt_y"/>
                                          </p:val>
                                        </p:tav>
                                      </p:tavLst>
                                    </p:anim>
                                  </p:childTnLst>
                                </p:cTn>
                              </p:par>
                            </p:childTnLst>
                          </p:cTn>
                        </p:par>
                        <p:par>
                          <p:cTn id="9" fill="hold">
                            <p:stCondLst>
                              <p:cond delay="750"/>
                            </p:stCondLst>
                            <p:childTnLst>
                              <p:par>
                                <p:cTn id="10" presetID="22" presetClass="entr" presetSubtype="4"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down)">
                                      <p:cBhvr>
                                        <p:cTn id="12" dur="500"/>
                                        <p:tgtEl>
                                          <p:spTgt spid="4"/>
                                        </p:tgtEl>
                                      </p:cBhvr>
                                    </p:animEffect>
                                  </p:childTnLst>
                                </p:cTn>
                              </p:par>
                            </p:childTnLst>
                          </p:cTn>
                        </p:par>
                        <p:par>
                          <p:cTn id="13" fill="hold">
                            <p:stCondLst>
                              <p:cond delay="1250"/>
                            </p:stCondLst>
                            <p:childTnLst>
                              <p:par>
                                <p:cTn id="14" presetID="22" presetClass="entr" presetSubtype="8" fill="hold" nodeType="after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wipe(left)">
                                      <p:cBhvr>
                                        <p:cTn id="16" dur="500"/>
                                        <p:tgtEl>
                                          <p:spTgt spid="3"/>
                                        </p:tgtEl>
                                      </p:cBhvr>
                                    </p:animEffect>
                                  </p:childTnLst>
                                </p:cTn>
                              </p:par>
                            </p:childTnLst>
                          </p:cTn>
                        </p:par>
                        <p:par>
                          <p:cTn id="17" fill="hold">
                            <p:stCondLst>
                              <p:cond delay="1750"/>
                            </p:stCondLst>
                            <p:childTnLst>
                              <p:par>
                                <p:cTn id="18" presetID="22" presetClass="entr" presetSubtype="4" fill="hold" grpId="0" nodeType="after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wipe(down)">
                                      <p:cBhvr>
                                        <p:cTn id="20" dur="500"/>
                                        <p:tgtEl>
                                          <p:spTgt spid="38"/>
                                        </p:tgtEl>
                                      </p:cBhvr>
                                    </p:animEffect>
                                  </p:childTnLst>
                                </p:cTn>
                              </p:par>
                            </p:childTnLst>
                          </p:cTn>
                        </p:par>
                        <p:par>
                          <p:cTn id="21" fill="hold">
                            <p:stCondLst>
                              <p:cond delay="2250"/>
                            </p:stCondLst>
                            <p:childTnLst>
                              <p:par>
                                <p:cTn id="22" presetID="22" presetClass="entr" presetSubtype="8" fill="hold" nodeType="afterEffect">
                                  <p:stCondLst>
                                    <p:cond delay="0"/>
                                  </p:stCondLst>
                                  <p:childTnLst>
                                    <p:set>
                                      <p:cBhvr>
                                        <p:cTn id="23" dur="1" fill="hold">
                                          <p:stCondLst>
                                            <p:cond delay="0"/>
                                          </p:stCondLst>
                                        </p:cTn>
                                        <p:tgtEl>
                                          <p:spTgt spid="33"/>
                                        </p:tgtEl>
                                        <p:attrNameLst>
                                          <p:attrName>style.visibility</p:attrName>
                                        </p:attrNameLst>
                                      </p:cBhvr>
                                      <p:to>
                                        <p:strVal val="visible"/>
                                      </p:to>
                                    </p:set>
                                    <p:animEffect transition="in" filter="wipe(left)">
                                      <p:cBhvr>
                                        <p:cTn id="24" dur="500"/>
                                        <p:tgtEl>
                                          <p:spTgt spid="33"/>
                                        </p:tgtEl>
                                      </p:cBhvr>
                                    </p:animEffect>
                                  </p:childTnLst>
                                </p:cTn>
                              </p:par>
                            </p:childTnLst>
                          </p:cTn>
                        </p:par>
                        <p:par>
                          <p:cTn id="25" fill="hold">
                            <p:stCondLst>
                              <p:cond delay="2750"/>
                            </p:stCondLst>
                            <p:childTnLst>
                              <p:par>
                                <p:cTn id="26" presetID="22" presetClass="entr" presetSubtype="4" fill="hold" grpId="0" nodeType="after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wipe(down)">
                                      <p:cBhvr>
                                        <p:cTn id="28" dur="500"/>
                                        <p:tgtEl>
                                          <p:spTgt spid="40"/>
                                        </p:tgtEl>
                                      </p:cBhvr>
                                    </p:animEffect>
                                  </p:childTnLst>
                                </p:cTn>
                              </p:par>
                            </p:childTnLst>
                          </p:cTn>
                        </p:par>
                        <p:par>
                          <p:cTn id="29" fill="hold">
                            <p:stCondLst>
                              <p:cond delay="3250"/>
                            </p:stCondLst>
                            <p:childTnLst>
                              <p:par>
                                <p:cTn id="30" presetID="22" presetClass="entr" presetSubtype="8" fill="hold" nodeType="afterEffect">
                                  <p:stCondLst>
                                    <p:cond delay="0"/>
                                  </p:stCondLst>
                                  <p:childTnLst>
                                    <p:set>
                                      <p:cBhvr>
                                        <p:cTn id="31" dur="1" fill="hold">
                                          <p:stCondLst>
                                            <p:cond delay="0"/>
                                          </p:stCondLst>
                                        </p:cTn>
                                        <p:tgtEl>
                                          <p:spTgt spid="35"/>
                                        </p:tgtEl>
                                        <p:attrNameLst>
                                          <p:attrName>style.visibility</p:attrName>
                                        </p:attrNameLst>
                                      </p:cBhvr>
                                      <p:to>
                                        <p:strVal val="visible"/>
                                      </p:to>
                                    </p:set>
                                    <p:animEffect transition="in" filter="wipe(left)">
                                      <p:cBhvr>
                                        <p:cTn id="32" dur="500"/>
                                        <p:tgtEl>
                                          <p:spTgt spid="35"/>
                                        </p:tgtEl>
                                      </p:cBhvr>
                                    </p:animEffect>
                                  </p:childTnLst>
                                </p:cTn>
                              </p:par>
                            </p:childTnLst>
                          </p:cTn>
                        </p:par>
                        <p:par>
                          <p:cTn id="33" fill="hold">
                            <p:stCondLst>
                              <p:cond delay="3750"/>
                            </p:stCondLst>
                            <p:childTnLst>
                              <p:par>
                                <p:cTn id="34" presetID="22" presetClass="entr" presetSubtype="4" fill="hold" grpId="0" nodeType="afterEffect">
                                  <p:stCondLst>
                                    <p:cond delay="0"/>
                                  </p:stCondLst>
                                  <p:childTnLst>
                                    <p:set>
                                      <p:cBhvr>
                                        <p:cTn id="35" dur="1" fill="hold">
                                          <p:stCondLst>
                                            <p:cond delay="0"/>
                                          </p:stCondLst>
                                        </p:cTn>
                                        <p:tgtEl>
                                          <p:spTgt spid="41"/>
                                        </p:tgtEl>
                                        <p:attrNameLst>
                                          <p:attrName>style.visibility</p:attrName>
                                        </p:attrNameLst>
                                      </p:cBhvr>
                                      <p:to>
                                        <p:strVal val="visible"/>
                                      </p:to>
                                    </p:set>
                                    <p:animEffect transition="in" filter="wipe(down)">
                                      <p:cBhvr>
                                        <p:cTn id="36" dur="500"/>
                                        <p:tgtEl>
                                          <p:spTgt spid="41"/>
                                        </p:tgtEl>
                                      </p:cBhvr>
                                    </p:animEffect>
                                  </p:childTnLst>
                                </p:cTn>
                              </p:par>
                            </p:childTnLst>
                          </p:cTn>
                        </p:par>
                        <p:par>
                          <p:cTn id="37" fill="hold">
                            <p:stCondLst>
                              <p:cond delay="4250"/>
                            </p:stCondLst>
                            <p:childTnLst>
                              <p:par>
                                <p:cTn id="38" presetID="22" presetClass="entr" presetSubtype="8" fill="hold" nodeType="afterEffect">
                                  <p:stCondLst>
                                    <p:cond delay="0"/>
                                  </p:stCondLst>
                                  <p:childTnLst>
                                    <p:set>
                                      <p:cBhvr>
                                        <p:cTn id="39" dur="1" fill="hold">
                                          <p:stCondLst>
                                            <p:cond delay="0"/>
                                          </p:stCondLst>
                                        </p:cTn>
                                        <p:tgtEl>
                                          <p:spTgt spid="42"/>
                                        </p:tgtEl>
                                        <p:attrNameLst>
                                          <p:attrName>style.visibility</p:attrName>
                                        </p:attrNameLst>
                                      </p:cBhvr>
                                      <p:to>
                                        <p:strVal val="visible"/>
                                      </p:to>
                                    </p:set>
                                    <p:animEffect transition="in" filter="wipe(left)">
                                      <p:cBhvr>
                                        <p:cTn id="40"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8" grpId="0" animBg="1"/>
      <p:bldP spid="40" grpId="0" animBg="1"/>
      <p:bldP spid="41"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1405495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0795"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IN" dirty="0"/>
              <a:t>Law enforcement requests</a:t>
            </a:r>
          </a:p>
        </p:txBody>
      </p:sp>
      <p:grpSp>
        <p:nvGrpSpPr>
          <p:cNvPr id="2" name="Group 1"/>
          <p:cNvGrpSpPr/>
          <p:nvPr/>
        </p:nvGrpSpPr>
        <p:grpSpPr>
          <a:xfrm>
            <a:off x="0" y="1450198"/>
            <a:ext cx="12436475" cy="4343400"/>
            <a:chOff x="0" y="2125663"/>
            <a:chExt cx="12436475" cy="4343400"/>
          </a:xfrm>
        </p:grpSpPr>
        <p:sp>
          <p:nvSpPr>
            <p:cNvPr id="182" name="Rectangle 181"/>
            <p:cNvSpPr/>
            <p:nvPr/>
          </p:nvSpPr>
          <p:spPr>
            <a:xfrm flipH="1">
              <a:off x="4144617" y="2125663"/>
              <a:ext cx="5396948" cy="8339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45720" rIns="548640" bIns="45720" rtlCol="0" anchor="ctr"/>
            <a:lstStyle/>
            <a:p>
              <a:pPr>
                <a:spcBef>
                  <a:spcPts val="400"/>
                </a:spcBef>
              </a:pPr>
              <a:r>
                <a:rPr lang="en-IN" sz="1600" dirty="0">
                  <a:solidFill>
                    <a:schemeClr val="tx2"/>
                  </a:solidFill>
                </a:rPr>
                <a:t>The Law Enforcement Request Report discloses details of requests every 6 months.</a:t>
              </a:r>
            </a:p>
          </p:txBody>
        </p:sp>
        <p:sp>
          <p:nvSpPr>
            <p:cNvPr id="183" name="Rectangle 182"/>
            <p:cNvSpPr/>
            <p:nvPr/>
          </p:nvSpPr>
          <p:spPr>
            <a:xfrm flipH="1">
              <a:off x="4144617" y="3003030"/>
              <a:ext cx="5396948" cy="8339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45720" rIns="548640" bIns="45720" rtlCol="0" anchor="ctr"/>
            <a:lstStyle/>
            <a:p>
              <a:pPr>
                <a:spcBef>
                  <a:spcPts val="400"/>
                </a:spcBef>
              </a:pPr>
              <a:r>
                <a:rPr lang="en-IN" sz="1600" dirty="0">
                  <a:solidFill>
                    <a:schemeClr val="tx2"/>
                  </a:solidFill>
                </a:rPr>
                <a:t>Microsoft doesn’t provide any government with direct or unfettered access to Customer Data. </a:t>
              </a:r>
            </a:p>
          </p:txBody>
        </p:sp>
        <p:sp>
          <p:nvSpPr>
            <p:cNvPr id="184" name="Rectangle 183"/>
            <p:cNvSpPr/>
            <p:nvPr/>
          </p:nvSpPr>
          <p:spPr>
            <a:xfrm flipH="1">
              <a:off x="4144617" y="3880397"/>
              <a:ext cx="5396948" cy="8339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45720" rIns="548640" bIns="45720" rtlCol="0" anchor="ctr"/>
            <a:lstStyle/>
            <a:p>
              <a:pPr>
                <a:spcBef>
                  <a:spcPts val="400"/>
                </a:spcBef>
              </a:pPr>
              <a:r>
                <a:rPr lang="en-IN" sz="1600" dirty="0">
                  <a:solidFill>
                    <a:schemeClr val="tx2"/>
                  </a:solidFill>
                </a:rPr>
                <a:t>Microsoft only releases specific </a:t>
              </a:r>
              <a:r>
                <a:rPr lang="en-IN" sz="1600" dirty="0" smtClean="0">
                  <a:solidFill>
                    <a:schemeClr val="tx2"/>
                  </a:solidFill>
                </a:rPr>
                <a:t>data</a:t>
              </a:r>
              <a:br>
                <a:rPr lang="en-IN" sz="1600" dirty="0" smtClean="0">
                  <a:solidFill>
                    <a:schemeClr val="tx2"/>
                  </a:solidFill>
                </a:rPr>
              </a:br>
              <a:r>
                <a:rPr lang="en-IN" sz="1600" dirty="0" smtClean="0">
                  <a:solidFill>
                    <a:schemeClr val="tx2"/>
                  </a:solidFill>
                </a:rPr>
                <a:t>mandated </a:t>
              </a:r>
              <a:r>
                <a:rPr lang="en-IN" sz="1600" dirty="0">
                  <a:solidFill>
                    <a:schemeClr val="tx2"/>
                  </a:solidFill>
                </a:rPr>
                <a:t>by the relevant legal demand.</a:t>
              </a:r>
            </a:p>
          </p:txBody>
        </p:sp>
        <p:sp>
          <p:nvSpPr>
            <p:cNvPr id="185" name="Rectangle 184"/>
            <p:cNvSpPr/>
            <p:nvPr/>
          </p:nvSpPr>
          <p:spPr>
            <a:xfrm flipH="1">
              <a:off x="4144617" y="4757763"/>
              <a:ext cx="5396948" cy="8339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45720" rIns="548640" bIns="45720" rtlCol="0" anchor="ctr"/>
            <a:lstStyle/>
            <a:p>
              <a:pPr>
                <a:spcBef>
                  <a:spcPts val="400"/>
                </a:spcBef>
              </a:pPr>
              <a:r>
                <a:rPr lang="en-IN" sz="1600" dirty="0">
                  <a:solidFill>
                    <a:schemeClr val="tx2"/>
                  </a:solidFill>
                </a:rPr>
                <a:t>If a government wants customer data </a:t>
              </a:r>
              <a:r>
                <a:rPr lang="en-IN" sz="1600" dirty="0" smtClean="0">
                  <a:solidFill>
                    <a:schemeClr val="tx2"/>
                  </a:solidFill>
                </a:rPr>
                <a:t>it</a:t>
              </a:r>
              <a:br>
                <a:rPr lang="en-IN" sz="1600" dirty="0" smtClean="0">
                  <a:solidFill>
                    <a:schemeClr val="tx2"/>
                  </a:solidFill>
                </a:rPr>
              </a:br>
              <a:r>
                <a:rPr lang="en-IN" sz="1600" dirty="0" smtClean="0">
                  <a:solidFill>
                    <a:schemeClr val="tx2"/>
                  </a:solidFill>
                </a:rPr>
                <a:t>needs </a:t>
              </a:r>
              <a:r>
                <a:rPr lang="en-IN" sz="1600" dirty="0">
                  <a:solidFill>
                    <a:schemeClr val="tx2"/>
                  </a:solidFill>
                </a:rPr>
                <a:t>to follow the applicable legal process.</a:t>
              </a:r>
            </a:p>
          </p:txBody>
        </p:sp>
        <p:sp>
          <p:nvSpPr>
            <p:cNvPr id="186" name="Rectangle 185"/>
            <p:cNvSpPr/>
            <p:nvPr/>
          </p:nvSpPr>
          <p:spPr>
            <a:xfrm flipH="1">
              <a:off x="4144617" y="5635130"/>
              <a:ext cx="5396948" cy="8339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45720" rIns="548640" bIns="45720" rtlCol="0" anchor="ctr"/>
            <a:lstStyle/>
            <a:p>
              <a:pPr>
                <a:spcBef>
                  <a:spcPts val="400"/>
                </a:spcBef>
              </a:pPr>
              <a:r>
                <a:rPr lang="en-IN" sz="1600" dirty="0">
                  <a:solidFill>
                    <a:schemeClr val="tx2"/>
                  </a:solidFill>
                </a:rPr>
                <a:t>Microsoft only responds to requests for specific accounts and identifiers. </a:t>
              </a:r>
            </a:p>
          </p:txBody>
        </p:sp>
        <p:sp>
          <p:nvSpPr>
            <p:cNvPr id="181" name="Rectangle 14"/>
            <p:cNvSpPr/>
            <p:nvPr/>
          </p:nvSpPr>
          <p:spPr>
            <a:xfrm>
              <a:off x="0" y="2125663"/>
              <a:ext cx="4144617" cy="4343400"/>
            </a:xfrm>
            <a:prstGeom prst="rect">
              <a:avLst/>
            </a:prstGeom>
            <a:solidFill>
              <a:schemeClr val="accent2"/>
            </a:solidFill>
          </p:spPr>
          <p:txBody>
            <a:bodyPr wrap="square" lIns="548640" rIns="274320" rtlCol="0" anchor="ctr">
              <a:noAutofit/>
            </a:bodyPr>
            <a:lstStyle/>
            <a:p>
              <a:pPr>
                <a:spcAft>
                  <a:spcPts val="1200"/>
                </a:spcAft>
              </a:pPr>
              <a:r>
                <a:rPr lang="en-IN" sz="2400" dirty="0">
                  <a:solidFill>
                    <a:srgbClr val="FFFFFF"/>
                  </a:solidFill>
                  <a:latin typeface="+mj-lt"/>
                </a:rPr>
                <a:t>Microsoft does not disclose Customer Data to law enforcement unless as directed by customer or required by law, and will notify customers when compelled to </a:t>
              </a:r>
              <a:r>
                <a:rPr lang="en-IN" sz="2400" dirty="0" smtClean="0">
                  <a:solidFill>
                    <a:srgbClr val="FFFFFF"/>
                  </a:solidFill>
                  <a:latin typeface="+mj-lt"/>
                </a:rPr>
                <a:t>disclose, unless prohibited by law. </a:t>
              </a:r>
              <a:endParaRPr lang="en-IN" sz="2400" dirty="0">
                <a:solidFill>
                  <a:srgbClr val="FFFFFF"/>
                </a:solidFill>
                <a:latin typeface="+mj-lt"/>
              </a:endParaRPr>
            </a:p>
          </p:txBody>
        </p:sp>
        <p:sp>
          <p:nvSpPr>
            <p:cNvPr id="188" name="Rectangle 14"/>
            <p:cNvSpPr/>
            <p:nvPr/>
          </p:nvSpPr>
          <p:spPr>
            <a:xfrm>
              <a:off x="4071465" y="2125663"/>
              <a:ext cx="73152" cy="4343400"/>
            </a:xfrm>
            <a:prstGeom prst="rect">
              <a:avLst/>
            </a:prstGeom>
            <a:solidFill>
              <a:schemeClr val="bg1">
                <a:alpha val="25000"/>
              </a:schemeClr>
            </a:solidFill>
          </p:spPr>
          <p:txBody>
            <a:bodyPr wrap="square" rtlCol="0" anchor="ctr">
              <a:noAutofit/>
            </a:bodyPr>
            <a:lstStyle/>
            <a:p>
              <a:endParaRPr lang="en-IN" sz="2000" dirty="0">
                <a:solidFill>
                  <a:srgbClr val="FFFFFF"/>
                </a:solidFill>
                <a:cs typeface="Segoe UI Light"/>
              </a:endParaRPr>
            </a:p>
          </p:txBody>
        </p:sp>
        <p:sp>
          <p:nvSpPr>
            <p:cNvPr id="189" name="Freeform 188"/>
            <p:cNvSpPr/>
            <p:nvPr/>
          </p:nvSpPr>
          <p:spPr bwMode="auto">
            <a:xfrm>
              <a:off x="8460133" y="2125663"/>
              <a:ext cx="3976342" cy="4343400"/>
            </a:xfrm>
            <a:custGeom>
              <a:avLst/>
              <a:gdLst>
                <a:gd name="connsiteX0" fmla="*/ 1468270 w 3976342"/>
                <a:gd name="connsiteY0" fmla="*/ 0 h 4343400"/>
                <a:gd name="connsiteX1" fmla="*/ 3976342 w 3976342"/>
                <a:gd name="connsiteY1" fmla="*/ 0 h 4343400"/>
                <a:gd name="connsiteX2" fmla="*/ 3976342 w 3976342"/>
                <a:gd name="connsiteY2" fmla="*/ 4343399 h 4343400"/>
                <a:gd name="connsiteX3" fmla="*/ 2778692 w 3976342"/>
                <a:gd name="connsiteY3" fmla="*/ 4343399 h 4343400"/>
                <a:gd name="connsiteX4" fmla="*/ 2778691 w 3976342"/>
                <a:gd name="connsiteY4" fmla="*/ 4343400 h 4343400"/>
                <a:gd name="connsiteX5" fmla="*/ 717948 w 3976342"/>
                <a:gd name="connsiteY5" fmla="*/ 4343400 h 4343400"/>
                <a:gd name="connsiteX6" fmla="*/ 636226 w 3976342"/>
                <a:gd name="connsiteY6" fmla="*/ 4249301 h 4343400"/>
                <a:gd name="connsiteX7" fmla="*/ 0 w 3976342"/>
                <a:gd name="connsiteY7" fmla="*/ 2171947 h 4343400"/>
                <a:gd name="connsiteX8" fmla="*/ 636226 w 3976342"/>
                <a:gd name="connsiteY8" fmla="*/ 94593 h 4343400"/>
                <a:gd name="connsiteX9" fmla="*/ 718376 w 3976342"/>
                <a:gd name="connsiteY9" fmla="*/ 1 h 4343400"/>
                <a:gd name="connsiteX10" fmla="*/ 1468270 w 3976342"/>
                <a:gd name="connsiteY10" fmla="*/ 1 h 434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76342" h="4343400">
                  <a:moveTo>
                    <a:pt x="1468270" y="0"/>
                  </a:moveTo>
                  <a:lnTo>
                    <a:pt x="3976342" y="0"/>
                  </a:lnTo>
                  <a:lnTo>
                    <a:pt x="3976342" y="4343399"/>
                  </a:lnTo>
                  <a:lnTo>
                    <a:pt x="2778692" y="4343399"/>
                  </a:lnTo>
                  <a:lnTo>
                    <a:pt x="2778691" y="4343400"/>
                  </a:lnTo>
                  <a:lnTo>
                    <a:pt x="717948" y="4343400"/>
                  </a:lnTo>
                  <a:lnTo>
                    <a:pt x="636226" y="4249301"/>
                  </a:lnTo>
                  <a:cubicBezTo>
                    <a:pt x="247667" y="3755531"/>
                    <a:pt x="0" y="3008274"/>
                    <a:pt x="0" y="2171947"/>
                  </a:cubicBezTo>
                  <a:cubicBezTo>
                    <a:pt x="0" y="1335619"/>
                    <a:pt x="247667" y="588364"/>
                    <a:pt x="636226" y="94593"/>
                  </a:cubicBezTo>
                  <a:lnTo>
                    <a:pt x="718376" y="1"/>
                  </a:lnTo>
                  <a:lnTo>
                    <a:pt x="1468270" y="1"/>
                  </a:lnTo>
                  <a:close/>
                </a:path>
              </a:pathLst>
            </a:custGeom>
            <a:solidFill>
              <a:srgbClr val="E4E4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90" name="Freeform 189"/>
            <p:cNvSpPr/>
            <p:nvPr/>
          </p:nvSpPr>
          <p:spPr bwMode="auto">
            <a:xfrm>
              <a:off x="8381150" y="2125663"/>
              <a:ext cx="1612833" cy="4343400"/>
            </a:xfrm>
            <a:custGeom>
              <a:avLst/>
              <a:gdLst>
                <a:gd name="connsiteX0" fmla="*/ 718376 w 1612833"/>
                <a:gd name="connsiteY0" fmla="*/ 1 h 3946614"/>
                <a:gd name="connsiteX1" fmla="*/ 862939 w 1612833"/>
                <a:gd name="connsiteY1" fmla="*/ 1 h 3946614"/>
                <a:gd name="connsiteX2" fmla="*/ 780789 w 1612833"/>
                <a:gd name="connsiteY2" fmla="*/ 85951 h 3946614"/>
                <a:gd name="connsiteX3" fmla="*/ 144563 w 1612833"/>
                <a:gd name="connsiteY3" fmla="*/ 1973531 h 3946614"/>
                <a:gd name="connsiteX4" fmla="*/ 780789 w 1612833"/>
                <a:gd name="connsiteY4" fmla="*/ 3861111 h 3946614"/>
                <a:gd name="connsiteX5" fmla="*/ 862511 w 1612833"/>
                <a:gd name="connsiteY5" fmla="*/ 3946614 h 3946614"/>
                <a:gd name="connsiteX6" fmla="*/ 717948 w 1612833"/>
                <a:gd name="connsiteY6" fmla="*/ 3946614 h 3946614"/>
                <a:gd name="connsiteX7" fmla="*/ 636226 w 1612833"/>
                <a:gd name="connsiteY7" fmla="*/ 3861111 h 3946614"/>
                <a:gd name="connsiteX8" fmla="*/ 0 w 1612833"/>
                <a:gd name="connsiteY8" fmla="*/ 1973531 h 3946614"/>
                <a:gd name="connsiteX9" fmla="*/ 636226 w 1612833"/>
                <a:gd name="connsiteY9" fmla="*/ 85951 h 3946614"/>
                <a:gd name="connsiteX10" fmla="*/ 1468270 w 1612833"/>
                <a:gd name="connsiteY10" fmla="*/ 0 h 3946614"/>
                <a:gd name="connsiteX11" fmla="*/ 1612833 w 1612833"/>
                <a:gd name="connsiteY11" fmla="*/ 0 h 3946614"/>
                <a:gd name="connsiteX12" fmla="*/ 1612833 w 1612833"/>
                <a:gd name="connsiteY12" fmla="*/ 1 h 3946614"/>
                <a:gd name="connsiteX13" fmla="*/ 1468270 w 1612833"/>
                <a:gd name="connsiteY13" fmla="*/ 1 h 394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12833" h="3946614">
                  <a:moveTo>
                    <a:pt x="718376" y="1"/>
                  </a:moveTo>
                  <a:lnTo>
                    <a:pt x="862939" y="1"/>
                  </a:lnTo>
                  <a:lnTo>
                    <a:pt x="780789" y="85951"/>
                  </a:lnTo>
                  <a:cubicBezTo>
                    <a:pt x="392230" y="534614"/>
                    <a:pt x="144563" y="1213605"/>
                    <a:pt x="144563" y="1973531"/>
                  </a:cubicBezTo>
                  <a:cubicBezTo>
                    <a:pt x="144563" y="2733457"/>
                    <a:pt x="392230" y="3412449"/>
                    <a:pt x="780789" y="3861111"/>
                  </a:cubicBezTo>
                  <a:lnTo>
                    <a:pt x="862511" y="3946614"/>
                  </a:lnTo>
                  <a:lnTo>
                    <a:pt x="717948" y="3946614"/>
                  </a:lnTo>
                  <a:lnTo>
                    <a:pt x="636226" y="3861111"/>
                  </a:lnTo>
                  <a:cubicBezTo>
                    <a:pt x="247667" y="3412449"/>
                    <a:pt x="0" y="2733457"/>
                    <a:pt x="0" y="1973531"/>
                  </a:cubicBezTo>
                  <a:cubicBezTo>
                    <a:pt x="0" y="1213605"/>
                    <a:pt x="247667" y="534614"/>
                    <a:pt x="636226" y="85951"/>
                  </a:cubicBezTo>
                  <a:close/>
                  <a:moveTo>
                    <a:pt x="1468270" y="0"/>
                  </a:moveTo>
                  <a:lnTo>
                    <a:pt x="1612833" y="0"/>
                  </a:lnTo>
                  <a:lnTo>
                    <a:pt x="1612833" y="1"/>
                  </a:lnTo>
                  <a:lnTo>
                    <a:pt x="1468270" y="1"/>
                  </a:lnTo>
                  <a:close/>
                </a:path>
              </a:pathLst>
            </a:custGeom>
            <a:solidFill>
              <a:schemeClr val="bg1">
                <a:alpha val="25000"/>
              </a:schemeClr>
            </a:solidFill>
          </p:spPr>
          <p:txBody>
            <a:bodyPr wrap="square" rtlCol="0" anchor="ctr">
              <a:noAutofit/>
            </a:bodyPr>
            <a:lstStyle/>
            <a:p>
              <a:pPr fontAlgn="base"/>
              <a:endParaRPr lang="en-IN" sz="2000" dirty="0">
                <a:solidFill>
                  <a:srgbClr val="FFFFFF"/>
                </a:solidFill>
                <a:cs typeface="Segoe UI Light"/>
              </a:endParaRPr>
            </a:p>
          </p:txBody>
        </p:sp>
        <p:grpSp>
          <p:nvGrpSpPr>
            <p:cNvPr id="373" name="Group 372"/>
            <p:cNvGrpSpPr/>
            <p:nvPr/>
          </p:nvGrpSpPr>
          <p:grpSpPr>
            <a:xfrm>
              <a:off x="9237956" y="3154253"/>
              <a:ext cx="2655793" cy="2286220"/>
              <a:chOff x="5926378" y="624840"/>
              <a:chExt cx="4441659" cy="3823569"/>
            </a:xfrm>
          </p:grpSpPr>
          <p:sp>
            <p:nvSpPr>
              <p:cNvPr id="302" name="Freeform 75"/>
              <p:cNvSpPr>
                <a:spLocks noEditPoints="1"/>
              </p:cNvSpPr>
              <p:nvPr/>
            </p:nvSpPr>
            <p:spPr bwMode="auto">
              <a:xfrm>
                <a:off x="7342137" y="2523492"/>
                <a:ext cx="1560974" cy="1560975"/>
              </a:xfrm>
              <a:custGeom>
                <a:avLst/>
                <a:gdLst>
                  <a:gd name="T0" fmla="*/ 116 w 231"/>
                  <a:gd name="T1" fmla="*/ 231 h 231"/>
                  <a:gd name="T2" fmla="*/ 0 w 231"/>
                  <a:gd name="T3" fmla="*/ 116 h 231"/>
                  <a:gd name="T4" fmla="*/ 116 w 231"/>
                  <a:gd name="T5" fmla="*/ 0 h 231"/>
                  <a:gd name="T6" fmla="*/ 231 w 231"/>
                  <a:gd name="T7" fmla="*/ 116 h 231"/>
                  <a:gd name="T8" fmla="*/ 116 w 231"/>
                  <a:gd name="T9" fmla="*/ 231 h 231"/>
                  <a:gd name="T10" fmla="*/ 116 w 231"/>
                  <a:gd name="T11" fmla="*/ 17 h 231"/>
                  <a:gd name="T12" fmla="*/ 18 w 231"/>
                  <a:gd name="T13" fmla="*/ 116 h 231"/>
                  <a:gd name="T14" fmla="*/ 116 w 231"/>
                  <a:gd name="T15" fmla="*/ 214 h 231"/>
                  <a:gd name="T16" fmla="*/ 214 w 231"/>
                  <a:gd name="T17" fmla="*/ 116 h 231"/>
                  <a:gd name="T18" fmla="*/ 116 w 231"/>
                  <a:gd name="T19" fmla="*/ 1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231">
                    <a:moveTo>
                      <a:pt x="116" y="231"/>
                    </a:moveTo>
                    <a:cubicBezTo>
                      <a:pt x="52" y="231"/>
                      <a:pt x="0" y="179"/>
                      <a:pt x="0" y="116"/>
                    </a:cubicBezTo>
                    <a:cubicBezTo>
                      <a:pt x="0" y="52"/>
                      <a:pt x="52" y="0"/>
                      <a:pt x="116" y="0"/>
                    </a:cubicBezTo>
                    <a:cubicBezTo>
                      <a:pt x="179" y="0"/>
                      <a:pt x="231" y="52"/>
                      <a:pt x="231" y="116"/>
                    </a:cubicBezTo>
                    <a:cubicBezTo>
                      <a:pt x="231" y="179"/>
                      <a:pt x="179" y="231"/>
                      <a:pt x="116" y="231"/>
                    </a:cubicBezTo>
                    <a:close/>
                    <a:moveTo>
                      <a:pt x="116" y="17"/>
                    </a:moveTo>
                    <a:cubicBezTo>
                      <a:pt x="62" y="17"/>
                      <a:pt x="18" y="61"/>
                      <a:pt x="18" y="116"/>
                    </a:cubicBezTo>
                    <a:cubicBezTo>
                      <a:pt x="18" y="170"/>
                      <a:pt x="62" y="214"/>
                      <a:pt x="116" y="214"/>
                    </a:cubicBezTo>
                    <a:cubicBezTo>
                      <a:pt x="170" y="214"/>
                      <a:pt x="214" y="170"/>
                      <a:pt x="214" y="116"/>
                    </a:cubicBezTo>
                    <a:cubicBezTo>
                      <a:pt x="214" y="61"/>
                      <a:pt x="170" y="17"/>
                      <a:pt x="116" y="17"/>
                    </a:cubicBezTo>
                    <a:close/>
                  </a:path>
                </a:pathLst>
              </a:custGeom>
              <a:solidFill>
                <a:srgbClr val="D2D2D2">
                  <a:alpha val="76000"/>
                </a:srgbClr>
              </a:solidFill>
              <a:ln>
                <a:noFill/>
              </a:ln>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03" name="Freeform 76"/>
              <p:cNvSpPr>
                <a:spLocks noEditPoints="1"/>
              </p:cNvSpPr>
              <p:nvPr/>
            </p:nvSpPr>
            <p:spPr bwMode="auto">
              <a:xfrm>
                <a:off x="6983881" y="2159549"/>
                <a:ext cx="2283173" cy="2288860"/>
              </a:xfrm>
              <a:custGeom>
                <a:avLst/>
                <a:gdLst>
                  <a:gd name="T0" fmla="*/ 169 w 338"/>
                  <a:gd name="T1" fmla="*/ 339 h 339"/>
                  <a:gd name="T2" fmla="*/ 0 w 338"/>
                  <a:gd name="T3" fmla="*/ 170 h 339"/>
                  <a:gd name="T4" fmla="*/ 169 w 338"/>
                  <a:gd name="T5" fmla="*/ 0 h 339"/>
                  <a:gd name="T6" fmla="*/ 338 w 338"/>
                  <a:gd name="T7" fmla="*/ 170 h 339"/>
                  <a:gd name="T8" fmla="*/ 169 w 338"/>
                  <a:gd name="T9" fmla="*/ 339 h 339"/>
                  <a:gd name="T10" fmla="*/ 169 w 338"/>
                  <a:gd name="T11" fmla="*/ 11 h 339"/>
                  <a:gd name="T12" fmla="*/ 10 w 338"/>
                  <a:gd name="T13" fmla="*/ 170 h 339"/>
                  <a:gd name="T14" fmla="*/ 169 w 338"/>
                  <a:gd name="T15" fmla="*/ 328 h 339"/>
                  <a:gd name="T16" fmla="*/ 328 w 338"/>
                  <a:gd name="T17" fmla="*/ 170 h 339"/>
                  <a:gd name="T18" fmla="*/ 169 w 338"/>
                  <a:gd name="T19" fmla="*/ 1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339">
                    <a:moveTo>
                      <a:pt x="169" y="339"/>
                    </a:moveTo>
                    <a:cubicBezTo>
                      <a:pt x="75" y="339"/>
                      <a:pt x="0" y="263"/>
                      <a:pt x="0" y="170"/>
                    </a:cubicBezTo>
                    <a:cubicBezTo>
                      <a:pt x="0" y="76"/>
                      <a:pt x="75" y="0"/>
                      <a:pt x="169" y="0"/>
                    </a:cubicBezTo>
                    <a:cubicBezTo>
                      <a:pt x="262" y="0"/>
                      <a:pt x="338" y="76"/>
                      <a:pt x="338" y="170"/>
                    </a:cubicBezTo>
                    <a:cubicBezTo>
                      <a:pt x="338" y="263"/>
                      <a:pt x="262" y="339"/>
                      <a:pt x="169" y="339"/>
                    </a:cubicBezTo>
                    <a:close/>
                    <a:moveTo>
                      <a:pt x="169" y="11"/>
                    </a:moveTo>
                    <a:cubicBezTo>
                      <a:pt x="81" y="11"/>
                      <a:pt x="10" y="82"/>
                      <a:pt x="10" y="170"/>
                    </a:cubicBezTo>
                    <a:cubicBezTo>
                      <a:pt x="10" y="257"/>
                      <a:pt x="81" y="328"/>
                      <a:pt x="169" y="328"/>
                    </a:cubicBezTo>
                    <a:cubicBezTo>
                      <a:pt x="256" y="328"/>
                      <a:pt x="328" y="257"/>
                      <a:pt x="328" y="170"/>
                    </a:cubicBezTo>
                    <a:cubicBezTo>
                      <a:pt x="328" y="82"/>
                      <a:pt x="256" y="11"/>
                      <a:pt x="169" y="11"/>
                    </a:cubicBezTo>
                    <a:close/>
                  </a:path>
                </a:pathLst>
              </a:custGeom>
              <a:solidFill>
                <a:srgbClr val="D2D2D2">
                  <a:alpha val="40000"/>
                </a:srgbClr>
              </a:solidFill>
              <a:ln>
                <a:noFill/>
              </a:ln>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nvGrpSpPr>
              <p:cNvPr id="304" name="Group 303"/>
              <p:cNvGrpSpPr/>
              <p:nvPr/>
            </p:nvGrpSpPr>
            <p:grpSpPr>
              <a:xfrm>
                <a:off x="7702118" y="2429566"/>
                <a:ext cx="931712" cy="1625823"/>
                <a:chOff x="7521147" y="-930686"/>
                <a:chExt cx="1990227" cy="3472917"/>
              </a:xfrm>
            </p:grpSpPr>
            <p:sp>
              <p:nvSpPr>
                <p:cNvPr id="305" name="Freeform 22"/>
                <p:cNvSpPr>
                  <a:spLocks/>
                </p:cNvSpPr>
                <p:nvPr/>
              </p:nvSpPr>
              <p:spPr bwMode="auto">
                <a:xfrm>
                  <a:off x="7903226" y="-930686"/>
                  <a:ext cx="1226072" cy="1391447"/>
                </a:xfrm>
                <a:custGeom>
                  <a:avLst/>
                  <a:gdLst>
                    <a:gd name="T0" fmla="*/ 91 w 91"/>
                    <a:gd name="T1" fmla="*/ 103 h 103"/>
                    <a:gd name="T2" fmla="*/ 71 w 91"/>
                    <a:gd name="T3" fmla="*/ 103 h 103"/>
                    <a:gd name="T4" fmla="*/ 71 w 91"/>
                    <a:gd name="T5" fmla="*/ 45 h 103"/>
                    <a:gd name="T6" fmla="*/ 45 w 91"/>
                    <a:gd name="T7" fmla="*/ 19 h 103"/>
                    <a:gd name="T8" fmla="*/ 20 w 91"/>
                    <a:gd name="T9" fmla="*/ 45 h 103"/>
                    <a:gd name="T10" fmla="*/ 20 w 91"/>
                    <a:gd name="T11" fmla="*/ 103 h 103"/>
                    <a:gd name="T12" fmla="*/ 0 w 91"/>
                    <a:gd name="T13" fmla="*/ 103 h 103"/>
                    <a:gd name="T14" fmla="*/ 0 w 91"/>
                    <a:gd name="T15" fmla="*/ 45 h 103"/>
                    <a:gd name="T16" fmla="*/ 45 w 91"/>
                    <a:gd name="T17" fmla="*/ 0 h 103"/>
                    <a:gd name="T18" fmla="*/ 91 w 91"/>
                    <a:gd name="T19" fmla="*/ 45 h 103"/>
                    <a:gd name="T20" fmla="*/ 91 w 91"/>
                    <a:gd name="T21"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103">
                      <a:moveTo>
                        <a:pt x="91" y="103"/>
                      </a:moveTo>
                      <a:cubicBezTo>
                        <a:pt x="71" y="103"/>
                        <a:pt x="71" y="103"/>
                        <a:pt x="71" y="103"/>
                      </a:cubicBezTo>
                      <a:cubicBezTo>
                        <a:pt x="71" y="45"/>
                        <a:pt x="71" y="45"/>
                        <a:pt x="71" y="45"/>
                      </a:cubicBezTo>
                      <a:cubicBezTo>
                        <a:pt x="71" y="31"/>
                        <a:pt x="59" y="19"/>
                        <a:pt x="45" y="19"/>
                      </a:cubicBezTo>
                      <a:cubicBezTo>
                        <a:pt x="31" y="19"/>
                        <a:pt x="20" y="31"/>
                        <a:pt x="20" y="45"/>
                      </a:cubicBezTo>
                      <a:cubicBezTo>
                        <a:pt x="20" y="103"/>
                        <a:pt x="20" y="103"/>
                        <a:pt x="20" y="103"/>
                      </a:cubicBezTo>
                      <a:cubicBezTo>
                        <a:pt x="0" y="103"/>
                        <a:pt x="0" y="103"/>
                        <a:pt x="0" y="103"/>
                      </a:cubicBezTo>
                      <a:cubicBezTo>
                        <a:pt x="0" y="45"/>
                        <a:pt x="0" y="45"/>
                        <a:pt x="0" y="45"/>
                      </a:cubicBezTo>
                      <a:cubicBezTo>
                        <a:pt x="0" y="20"/>
                        <a:pt x="20" y="0"/>
                        <a:pt x="45" y="0"/>
                      </a:cubicBezTo>
                      <a:cubicBezTo>
                        <a:pt x="70" y="0"/>
                        <a:pt x="91" y="20"/>
                        <a:pt x="91" y="45"/>
                      </a:cubicBezTo>
                      <a:lnTo>
                        <a:pt x="91" y="103"/>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06" name="Rectangle 23"/>
                <p:cNvSpPr>
                  <a:spLocks noChangeArrowheads="1"/>
                </p:cNvSpPr>
                <p:nvPr/>
              </p:nvSpPr>
              <p:spPr bwMode="auto">
                <a:xfrm>
                  <a:off x="7521147" y="420845"/>
                  <a:ext cx="1990227" cy="186476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07" name="Rectangle 24"/>
                <p:cNvSpPr>
                  <a:spLocks noChangeArrowheads="1"/>
                </p:cNvSpPr>
                <p:nvPr/>
              </p:nvSpPr>
              <p:spPr bwMode="auto">
                <a:xfrm>
                  <a:off x="7521147" y="420845"/>
                  <a:ext cx="513239" cy="186476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08" name="Freeform 25"/>
                <p:cNvSpPr>
                  <a:spLocks/>
                </p:cNvSpPr>
                <p:nvPr/>
              </p:nvSpPr>
              <p:spPr bwMode="auto">
                <a:xfrm>
                  <a:off x="8308113" y="1025326"/>
                  <a:ext cx="404890" cy="707129"/>
                </a:xfrm>
                <a:custGeom>
                  <a:avLst/>
                  <a:gdLst>
                    <a:gd name="T0" fmla="*/ 30 w 30"/>
                    <a:gd name="T1" fmla="*/ 15 h 52"/>
                    <a:gd name="T2" fmla="*/ 15 w 30"/>
                    <a:gd name="T3" fmla="*/ 0 h 52"/>
                    <a:gd name="T4" fmla="*/ 0 w 30"/>
                    <a:gd name="T5" fmla="*/ 15 h 52"/>
                    <a:gd name="T6" fmla="*/ 10 w 30"/>
                    <a:gd name="T7" fmla="*/ 29 h 52"/>
                    <a:gd name="T8" fmla="*/ 10 w 30"/>
                    <a:gd name="T9" fmla="*/ 52 h 52"/>
                    <a:gd name="T10" fmla="*/ 20 w 30"/>
                    <a:gd name="T11" fmla="*/ 52 h 52"/>
                    <a:gd name="T12" fmla="*/ 20 w 30"/>
                    <a:gd name="T13" fmla="*/ 29 h 52"/>
                    <a:gd name="T14" fmla="*/ 30 w 30"/>
                    <a:gd name="T15" fmla="*/ 15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52">
                      <a:moveTo>
                        <a:pt x="30" y="15"/>
                      </a:moveTo>
                      <a:cubicBezTo>
                        <a:pt x="30" y="6"/>
                        <a:pt x="24" y="0"/>
                        <a:pt x="15" y="0"/>
                      </a:cubicBezTo>
                      <a:cubicBezTo>
                        <a:pt x="7" y="0"/>
                        <a:pt x="0" y="6"/>
                        <a:pt x="0" y="15"/>
                      </a:cubicBezTo>
                      <a:cubicBezTo>
                        <a:pt x="0" y="21"/>
                        <a:pt x="4" y="27"/>
                        <a:pt x="10" y="29"/>
                      </a:cubicBezTo>
                      <a:cubicBezTo>
                        <a:pt x="10" y="52"/>
                        <a:pt x="10" y="52"/>
                        <a:pt x="10" y="52"/>
                      </a:cubicBezTo>
                      <a:cubicBezTo>
                        <a:pt x="20" y="52"/>
                        <a:pt x="20" y="52"/>
                        <a:pt x="20" y="52"/>
                      </a:cubicBezTo>
                      <a:cubicBezTo>
                        <a:pt x="20" y="29"/>
                        <a:pt x="20" y="29"/>
                        <a:pt x="20" y="29"/>
                      </a:cubicBezTo>
                      <a:cubicBezTo>
                        <a:pt x="26" y="27"/>
                        <a:pt x="30" y="21"/>
                        <a:pt x="30"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09" name="Rectangle 26"/>
                <p:cNvSpPr>
                  <a:spLocks noChangeArrowheads="1"/>
                </p:cNvSpPr>
                <p:nvPr/>
              </p:nvSpPr>
              <p:spPr bwMode="auto">
                <a:xfrm>
                  <a:off x="7521147" y="2285610"/>
                  <a:ext cx="1973118" cy="256621"/>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nvGrpSpPr>
              <p:cNvPr id="310" name="Group 309"/>
              <p:cNvGrpSpPr/>
              <p:nvPr/>
            </p:nvGrpSpPr>
            <p:grpSpPr>
              <a:xfrm>
                <a:off x="9434275" y="2288523"/>
                <a:ext cx="933762" cy="1053045"/>
                <a:chOff x="10558056" y="354597"/>
                <a:chExt cx="1053570" cy="1188158"/>
              </a:xfrm>
            </p:grpSpPr>
            <p:grpSp>
              <p:nvGrpSpPr>
                <p:cNvPr id="311" name="Group 310"/>
                <p:cNvGrpSpPr/>
                <p:nvPr/>
              </p:nvGrpSpPr>
              <p:grpSpPr>
                <a:xfrm>
                  <a:off x="10558056" y="354597"/>
                  <a:ext cx="756642" cy="1188158"/>
                  <a:chOff x="7140575" y="303916"/>
                  <a:chExt cx="825500" cy="1296284"/>
                </a:xfrm>
              </p:grpSpPr>
              <p:sp>
                <p:nvSpPr>
                  <p:cNvPr id="324" name="Freeform 323"/>
                  <p:cNvSpPr/>
                  <p:nvPr/>
                </p:nvSpPr>
                <p:spPr bwMode="auto">
                  <a:xfrm>
                    <a:off x="7366613" y="638175"/>
                    <a:ext cx="142262" cy="131258"/>
                  </a:xfrm>
                  <a:custGeom>
                    <a:avLst/>
                    <a:gdLst>
                      <a:gd name="connsiteX0" fmla="*/ 41275 w 123825"/>
                      <a:gd name="connsiteY0" fmla="*/ 0 h 127000"/>
                      <a:gd name="connsiteX1" fmla="*/ 0 w 123825"/>
                      <a:gd name="connsiteY1" fmla="*/ 34925 h 127000"/>
                      <a:gd name="connsiteX2" fmla="*/ 104775 w 123825"/>
                      <a:gd name="connsiteY2" fmla="*/ 127000 h 127000"/>
                      <a:gd name="connsiteX3" fmla="*/ 123825 w 123825"/>
                      <a:gd name="connsiteY3" fmla="*/ 15875 h 127000"/>
                      <a:gd name="connsiteX4" fmla="*/ 41275 w 123825"/>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9779 w 142329"/>
                      <a:gd name="connsiteY0" fmla="*/ 0 h 127000"/>
                      <a:gd name="connsiteX1" fmla="*/ 2629 w 142329"/>
                      <a:gd name="connsiteY1" fmla="*/ 34925 h 127000"/>
                      <a:gd name="connsiteX2" fmla="*/ 123279 w 142329"/>
                      <a:gd name="connsiteY2" fmla="*/ 127000 h 127000"/>
                      <a:gd name="connsiteX3" fmla="*/ 142329 w 142329"/>
                      <a:gd name="connsiteY3" fmla="*/ 15875 h 127000"/>
                      <a:gd name="connsiteX4" fmla="*/ 59779 w 142329"/>
                      <a:gd name="connsiteY4" fmla="*/ 0 h 127000"/>
                      <a:gd name="connsiteX0" fmla="*/ 59712 w 142262"/>
                      <a:gd name="connsiteY0" fmla="*/ 0 h 131258"/>
                      <a:gd name="connsiteX1" fmla="*/ 2562 w 142262"/>
                      <a:gd name="connsiteY1" fmla="*/ 34925 h 131258"/>
                      <a:gd name="connsiteX2" fmla="*/ 123212 w 142262"/>
                      <a:gd name="connsiteY2" fmla="*/ 127000 h 131258"/>
                      <a:gd name="connsiteX3" fmla="*/ 142262 w 142262"/>
                      <a:gd name="connsiteY3" fmla="*/ 15875 h 131258"/>
                      <a:gd name="connsiteX4" fmla="*/ 59712 w 142262"/>
                      <a:gd name="connsiteY4" fmla="*/ 0 h 131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62" h="131258">
                        <a:moveTo>
                          <a:pt x="59712" y="0"/>
                        </a:moveTo>
                        <a:cubicBezTo>
                          <a:pt x="78762" y="94192"/>
                          <a:pt x="21612" y="23283"/>
                          <a:pt x="2562" y="34925"/>
                        </a:cubicBezTo>
                        <a:cubicBezTo>
                          <a:pt x="-17546" y="144992"/>
                          <a:pt x="86170" y="134408"/>
                          <a:pt x="123212" y="127000"/>
                        </a:cubicBezTo>
                        <a:lnTo>
                          <a:pt x="142262" y="15875"/>
                        </a:lnTo>
                        <a:lnTo>
                          <a:pt x="59712" y="0"/>
                        </a:lnTo>
                        <a:close/>
                      </a:path>
                    </a:pathLst>
                  </a:cu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25" name="Freeform 324"/>
                  <p:cNvSpPr/>
                  <p:nvPr/>
                </p:nvSpPr>
                <p:spPr bwMode="auto">
                  <a:xfrm flipH="1">
                    <a:off x="7623788" y="638175"/>
                    <a:ext cx="142262" cy="131258"/>
                  </a:xfrm>
                  <a:custGeom>
                    <a:avLst/>
                    <a:gdLst>
                      <a:gd name="connsiteX0" fmla="*/ 41275 w 123825"/>
                      <a:gd name="connsiteY0" fmla="*/ 0 h 127000"/>
                      <a:gd name="connsiteX1" fmla="*/ 0 w 123825"/>
                      <a:gd name="connsiteY1" fmla="*/ 34925 h 127000"/>
                      <a:gd name="connsiteX2" fmla="*/ 104775 w 123825"/>
                      <a:gd name="connsiteY2" fmla="*/ 127000 h 127000"/>
                      <a:gd name="connsiteX3" fmla="*/ 123825 w 123825"/>
                      <a:gd name="connsiteY3" fmla="*/ 15875 h 127000"/>
                      <a:gd name="connsiteX4" fmla="*/ 41275 w 123825"/>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9779 w 142329"/>
                      <a:gd name="connsiteY0" fmla="*/ 0 h 127000"/>
                      <a:gd name="connsiteX1" fmla="*/ 2629 w 142329"/>
                      <a:gd name="connsiteY1" fmla="*/ 34925 h 127000"/>
                      <a:gd name="connsiteX2" fmla="*/ 123279 w 142329"/>
                      <a:gd name="connsiteY2" fmla="*/ 127000 h 127000"/>
                      <a:gd name="connsiteX3" fmla="*/ 142329 w 142329"/>
                      <a:gd name="connsiteY3" fmla="*/ 15875 h 127000"/>
                      <a:gd name="connsiteX4" fmla="*/ 59779 w 142329"/>
                      <a:gd name="connsiteY4" fmla="*/ 0 h 127000"/>
                      <a:gd name="connsiteX0" fmla="*/ 59712 w 142262"/>
                      <a:gd name="connsiteY0" fmla="*/ 0 h 131258"/>
                      <a:gd name="connsiteX1" fmla="*/ 2562 w 142262"/>
                      <a:gd name="connsiteY1" fmla="*/ 34925 h 131258"/>
                      <a:gd name="connsiteX2" fmla="*/ 123212 w 142262"/>
                      <a:gd name="connsiteY2" fmla="*/ 127000 h 131258"/>
                      <a:gd name="connsiteX3" fmla="*/ 142262 w 142262"/>
                      <a:gd name="connsiteY3" fmla="*/ 15875 h 131258"/>
                      <a:gd name="connsiteX4" fmla="*/ 59712 w 142262"/>
                      <a:gd name="connsiteY4" fmla="*/ 0 h 131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62" h="131258">
                        <a:moveTo>
                          <a:pt x="59712" y="0"/>
                        </a:moveTo>
                        <a:cubicBezTo>
                          <a:pt x="78762" y="94192"/>
                          <a:pt x="21612" y="23283"/>
                          <a:pt x="2562" y="34925"/>
                        </a:cubicBezTo>
                        <a:cubicBezTo>
                          <a:pt x="-17546" y="144992"/>
                          <a:pt x="86170" y="134408"/>
                          <a:pt x="123212" y="127000"/>
                        </a:cubicBezTo>
                        <a:lnTo>
                          <a:pt x="142262" y="15875"/>
                        </a:lnTo>
                        <a:lnTo>
                          <a:pt x="59712" y="0"/>
                        </a:lnTo>
                        <a:close/>
                      </a:path>
                    </a:pathLst>
                  </a:cu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26" name="Rectangle 325"/>
                  <p:cNvSpPr/>
                  <p:nvPr/>
                </p:nvSpPr>
                <p:spPr bwMode="auto">
                  <a:xfrm>
                    <a:off x="7477125" y="784225"/>
                    <a:ext cx="164306" cy="4079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27" name="Rounded Rectangle 326"/>
                  <p:cNvSpPr/>
                  <p:nvPr/>
                </p:nvSpPr>
                <p:spPr bwMode="auto">
                  <a:xfrm>
                    <a:off x="7877175" y="1395413"/>
                    <a:ext cx="76200" cy="123825"/>
                  </a:xfrm>
                  <a:prstGeom prst="roundRect">
                    <a:avLst>
                      <a:gd name="adj" fmla="val 50000"/>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28" name="Rounded Rectangle 327"/>
                  <p:cNvSpPr/>
                  <p:nvPr/>
                </p:nvSpPr>
                <p:spPr bwMode="auto">
                  <a:xfrm>
                    <a:off x="7159572" y="1395413"/>
                    <a:ext cx="76200" cy="123825"/>
                  </a:xfrm>
                  <a:prstGeom prst="roundRect">
                    <a:avLst>
                      <a:gd name="adj" fmla="val 50000"/>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29" name="Freeform 328"/>
                  <p:cNvSpPr/>
                  <p:nvPr/>
                </p:nvSpPr>
                <p:spPr bwMode="auto">
                  <a:xfrm>
                    <a:off x="7140575" y="784225"/>
                    <a:ext cx="825500" cy="815975"/>
                  </a:xfrm>
                  <a:custGeom>
                    <a:avLst/>
                    <a:gdLst>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104775 w 825500"/>
                      <a:gd name="connsiteY10" fmla="*/ 660400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104775 w 825500"/>
                      <a:gd name="connsiteY10" fmla="*/ 660400 h 815975"/>
                      <a:gd name="connsiteX11" fmla="*/ 0 w 825500"/>
                      <a:gd name="connsiteY11" fmla="*/ 657225 h 815975"/>
                      <a:gd name="connsiteX12" fmla="*/ 149225 w 825500"/>
                      <a:gd name="connsiteY12" fmla="*/ 28575 h 815975"/>
                      <a:gd name="connsiteX13" fmla="*/ 336550 w 825500"/>
                      <a:gd name="connsiteY13" fmla="*/ 0 h 81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5500" h="815975">
                        <a:moveTo>
                          <a:pt x="336550" y="0"/>
                        </a:moveTo>
                        <a:lnTo>
                          <a:pt x="415925" y="574675"/>
                        </a:lnTo>
                        <a:lnTo>
                          <a:pt x="492125" y="3175"/>
                        </a:lnTo>
                        <a:lnTo>
                          <a:pt x="676275" y="19050"/>
                        </a:lnTo>
                        <a:cubicBezTo>
                          <a:pt x="799042" y="262467"/>
                          <a:pt x="817033" y="531283"/>
                          <a:pt x="825500" y="654050"/>
                        </a:cubicBezTo>
                        <a:lnTo>
                          <a:pt x="717550" y="657225"/>
                        </a:lnTo>
                        <a:cubicBezTo>
                          <a:pt x="729192" y="536575"/>
                          <a:pt x="693208" y="393700"/>
                          <a:pt x="666750" y="285750"/>
                        </a:cubicBezTo>
                        <a:lnTo>
                          <a:pt x="638175" y="815975"/>
                        </a:lnTo>
                        <a:lnTo>
                          <a:pt x="187325" y="815975"/>
                        </a:lnTo>
                        <a:lnTo>
                          <a:pt x="171450" y="285750"/>
                        </a:lnTo>
                        <a:cubicBezTo>
                          <a:pt x="134408" y="384175"/>
                          <a:pt x="110067" y="530225"/>
                          <a:pt x="104775" y="660400"/>
                        </a:cubicBezTo>
                        <a:lnTo>
                          <a:pt x="0" y="657225"/>
                        </a:lnTo>
                        <a:cubicBezTo>
                          <a:pt x="21167" y="508000"/>
                          <a:pt x="35983" y="276225"/>
                          <a:pt x="149225" y="28575"/>
                        </a:cubicBezTo>
                        <a:lnTo>
                          <a:pt x="336550" y="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30" name="Freeform 329"/>
                  <p:cNvSpPr/>
                  <p:nvPr/>
                </p:nvSpPr>
                <p:spPr bwMode="auto">
                  <a:xfrm rot="5400000">
                    <a:off x="7369932" y="462960"/>
                    <a:ext cx="392904" cy="309562"/>
                  </a:xfrm>
                  <a:custGeom>
                    <a:avLst/>
                    <a:gdLst>
                      <a:gd name="connsiteX0" fmla="*/ 0 w 392904"/>
                      <a:gd name="connsiteY0" fmla="*/ 184191 h 309562"/>
                      <a:gd name="connsiteX1" fmla="*/ 0 w 392904"/>
                      <a:gd name="connsiteY1" fmla="*/ 125371 h 309562"/>
                      <a:gd name="connsiteX2" fmla="*/ 95323 w 392904"/>
                      <a:gd name="connsiteY2" fmla="*/ 30048 h 309562"/>
                      <a:gd name="connsiteX3" fmla="*/ 107911 w 392904"/>
                      <a:gd name="connsiteY3" fmla="*/ 30048 h 309562"/>
                      <a:gd name="connsiteX4" fmla="*/ 116458 w 392904"/>
                      <a:gd name="connsiteY4" fmla="*/ 9416 h 309562"/>
                      <a:gd name="connsiteX5" fmla="*/ 139189 w 392904"/>
                      <a:gd name="connsiteY5" fmla="*/ 0 h 309562"/>
                      <a:gd name="connsiteX6" fmla="*/ 182279 w 392904"/>
                      <a:gd name="connsiteY6" fmla="*/ 0 h 309562"/>
                      <a:gd name="connsiteX7" fmla="*/ 205010 w 392904"/>
                      <a:gd name="connsiteY7" fmla="*/ 9416 h 309562"/>
                      <a:gd name="connsiteX8" fmla="*/ 213557 w 392904"/>
                      <a:gd name="connsiteY8" fmla="*/ 30048 h 309562"/>
                      <a:gd name="connsiteX9" fmla="*/ 252339 w 392904"/>
                      <a:gd name="connsiteY9" fmla="*/ 30048 h 309562"/>
                      <a:gd name="connsiteX10" fmla="*/ 319742 w 392904"/>
                      <a:gd name="connsiteY10" fmla="*/ 57968 h 309562"/>
                      <a:gd name="connsiteX11" fmla="*/ 336441 w 392904"/>
                      <a:gd name="connsiteY11" fmla="*/ 82735 h 309562"/>
                      <a:gd name="connsiteX12" fmla="*/ 357186 w 392904"/>
                      <a:gd name="connsiteY12" fmla="*/ 80848 h 309562"/>
                      <a:gd name="connsiteX13" fmla="*/ 392904 w 392904"/>
                      <a:gd name="connsiteY13" fmla="*/ 152286 h 309562"/>
                      <a:gd name="connsiteX14" fmla="*/ 357186 w 392904"/>
                      <a:gd name="connsiteY14" fmla="*/ 235629 h 309562"/>
                      <a:gd name="connsiteX15" fmla="*/ 330992 w 392904"/>
                      <a:gd name="connsiteY15" fmla="*/ 235629 h 309562"/>
                      <a:gd name="connsiteX16" fmla="*/ 330992 w 392904"/>
                      <a:gd name="connsiteY16" fmla="*/ 234909 h 309562"/>
                      <a:gd name="connsiteX17" fmla="*/ 319742 w 392904"/>
                      <a:gd name="connsiteY17" fmla="*/ 251594 h 309562"/>
                      <a:gd name="connsiteX18" fmla="*/ 252339 w 392904"/>
                      <a:gd name="connsiteY18" fmla="*/ 279514 h 309562"/>
                      <a:gd name="connsiteX19" fmla="*/ 213557 w 392904"/>
                      <a:gd name="connsiteY19" fmla="*/ 279514 h 309562"/>
                      <a:gd name="connsiteX20" fmla="*/ 205010 w 392904"/>
                      <a:gd name="connsiteY20" fmla="*/ 300146 h 309562"/>
                      <a:gd name="connsiteX21" fmla="*/ 182279 w 392904"/>
                      <a:gd name="connsiteY21" fmla="*/ 309562 h 309562"/>
                      <a:gd name="connsiteX22" fmla="*/ 139189 w 392904"/>
                      <a:gd name="connsiteY22" fmla="*/ 309562 h 309562"/>
                      <a:gd name="connsiteX23" fmla="*/ 116458 w 392904"/>
                      <a:gd name="connsiteY23" fmla="*/ 300146 h 309562"/>
                      <a:gd name="connsiteX24" fmla="*/ 107911 w 392904"/>
                      <a:gd name="connsiteY24" fmla="*/ 279514 h 309562"/>
                      <a:gd name="connsiteX25" fmla="*/ 95323 w 392904"/>
                      <a:gd name="connsiteY25" fmla="*/ 279514 h 309562"/>
                      <a:gd name="connsiteX26" fmla="*/ 0 w 392904"/>
                      <a:gd name="connsiteY26" fmla="*/ 184191 h 30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904" h="309562">
                        <a:moveTo>
                          <a:pt x="0" y="184191"/>
                        </a:moveTo>
                        <a:lnTo>
                          <a:pt x="0" y="125371"/>
                        </a:lnTo>
                        <a:cubicBezTo>
                          <a:pt x="0" y="72726"/>
                          <a:pt x="42678" y="30048"/>
                          <a:pt x="95323" y="30048"/>
                        </a:cubicBezTo>
                        <a:lnTo>
                          <a:pt x="107911" y="30048"/>
                        </a:lnTo>
                        <a:lnTo>
                          <a:pt x="116458" y="9416"/>
                        </a:lnTo>
                        <a:cubicBezTo>
                          <a:pt x="122275" y="3598"/>
                          <a:pt x="130312" y="0"/>
                          <a:pt x="139189" y="0"/>
                        </a:cubicBezTo>
                        <a:lnTo>
                          <a:pt x="182279" y="0"/>
                        </a:lnTo>
                        <a:cubicBezTo>
                          <a:pt x="191156" y="0"/>
                          <a:pt x="199193" y="3598"/>
                          <a:pt x="205010" y="9416"/>
                        </a:cubicBezTo>
                        <a:lnTo>
                          <a:pt x="213557" y="30048"/>
                        </a:lnTo>
                        <a:lnTo>
                          <a:pt x="252339" y="30048"/>
                        </a:lnTo>
                        <a:cubicBezTo>
                          <a:pt x="278662" y="30048"/>
                          <a:pt x="302492" y="40718"/>
                          <a:pt x="319742" y="57968"/>
                        </a:cubicBezTo>
                        <a:lnTo>
                          <a:pt x="336441" y="82735"/>
                        </a:lnTo>
                        <a:lnTo>
                          <a:pt x="357186" y="80848"/>
                        </a:lnTo>
                        <a:lnTo>
                          <a:pt x="392904" y="152286"/>
                        </a:lnTo>
                        <a:lnTo>
                          <a:pt x="357186" y="235629"/>
                        </a:lnTo>
                        <a:lnTo>
                          <a:pt x="330992" y="235629"/>
                        </a:lnTo>
                        <a:lnTo>
                          <a:pt x="330992" y="234909"/>
                        </a:lnTo>
                        <a:lnTo>
                          <a:pt x="319742" y="251594"/>
                        </a:lnTo>
                        <a:cubicBezTo>
                          <a:pt x="302492" y="268845"/>
                          <a:pt x="278662" y="279514"/>
                          <a:pt x="252339" y="279514"/>
                        </a:cubicBezTo>
                        <a:lnTo>
                          <a:pt x="213557" y="279514"/>
                        </a:lnTo>
                        <a:lnTo>
                          <a:pt x="205010" y="300146"/>
                        </a:lnTo>
                        <a:cubicBezTo>
                          <a:pt x="199193" y="305964"/>
                          <a:pt x="191156" y="309562"/>
                          <a:pt x="182279" y="309562"/>
                        </a:cubicBezTo>
                        <a:lnTo>
                          <a:pt x="139189" y="309562"/>
                        </a:lnTo>
                        <a:cubicBezTo>
                          <a:pt x="130312" y="309562"/>
                          <a:pt x="122275" y="305964"/>
                          <a:pt x="116458" y="300146"/>
                        </a:cubicBezTo>
                        <a:lnTo>
                          <a:pt x="107911" y="279514"/>
                        </a:lnTo>
                        <a:lnTo>
                          <a:pt x="95323" y="279514"/>
                        </a:lnTo>
                        <a:cubicBezTo>
                          <a:pt x="42678" y="279514"/>
                          <a:pt x="0" y="236836"/>
                          <a:pt x="0" y="184191"/>
                        </a:cubicBezTo>
                        <a:close/>
                      </a:path>
                    </a:pathLst>
                  </a:cu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31" name="Freeform 330"/>
                  <p:cNvSpPr/>
                  <p:nvPr/>
                </p:nvSpPr>
                <p:spPr bwMode="auto">
                  <a:xfrm>
                    <a:off x="7375560" y="303916"/>
                    <a:ext cx="364778" cy="283264"/>
                  </a:xfrm>
                  <a:custGeom>
                    <a:avLst/>
                    <a:gdLst>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1649"/>
                      <a:gd name="connsiteY0" fmla="*/ 190500 h 190500"/>
                      <a:gd name="connsiteX1" fmla="*/ 271463 w 301649"/>
                      <a:gd name="connsiteY1" fmla="*/ 116681 h 190500"/>
                      <a:gd name="connsiteX2" fmla="*/ 195263 w 301649"/>
                      <a:gd name="connsiteY2" fmla="*/ 107156 h 190500"/>
                      <a:gd name="connsiteX3" fmla="*/ 52388 w 301649"/>
                      <a:gd name="connsiteY3" fmla="*/ 100012 h 190500"/>
                      <a:gd name="connsiteX4" fmla="*/ 21431 w 301649"/>
                      <a:gd name="connsiteY4" fmla="*/ 119062 h 190500"/>
                      <a:gd name="connsiteX5" fmla="*/ 23813 w 301649"/>
                      <a:gd name="connsiteY5" fmla="*/ 164306 h 190500"/>
                      <a:gd name="connsiteX6" fmla="*/ 0 w 301649"/>
                      <a:gd name="connsiteY6" fmla="*/ 171450 h 190500"/>
                      <a:gd name="connsiteX7" fmla="*/ 97631 w 301649"/>
                      <a:gd name="connsiteY7" fmla="*/ 0 h 190500"/>
                      <a:gd name="connsiteX8" fmla="*/ 214313 w 301649"/>
                      <a:gd name="connsiteY8" fmla="*/ 40481 h 190500"/>
                      <a:gd name="connsiteX9" fmla="*/ 300038 w 301649"/>
                      <a:gd name="connsiteY9" fmla="*/ 190500 h 190500"/>
                      <a:gd name="connsiteX0" fmla="*/ 300038 w 301649"/>
                      <a:gd name="connsiteY0" fmla="*/ 194507 h 194507"/>
                      <a:gd name="connsiteX1" fmla="*/ 271463 w 301649"/>
                      <a:gd name="connsiteY1" fmla="*/ 120688 h 194507"/>
                      <a:gd name="connsiteX2" fmla="*/ 195263 w 301649"/>
                      <a:gd name="connsiteY2" fmla="*/ 111163 h 194507"/>
                      <a:gd name="connsiteX3" fmla="*/ 52388 w 301649"/>
                      <a:gd name="connsiteY3" fmla="*/ 104019 h 194507"/>
                      <a:gd name="connsiteX4" fmla="*/ 21431 w 301649"/>
                      <a:gd name="connsiteY4" fmla="*/ 123069 h 194507"/>
                      <a:gd name="connsiteX5" fmla="*/ 23813 w 301649"/>
                      <a:gd name="connsiteY5" fmla="*/ 168313 h 194507"/>
                      <a:gd name="connsiteX6" fmla="*/ 0 w 301649"/>
                      <a:gd name="connsiteY6" fmla="*/ 175457 h 194507"/>
                      <a:gd name="connsiteX7" fmla="*/ 97631 w 301649"/>
                      <a:gd name="connsiteY7" fmla="*/ 4007 h 194507"/>
                      <a:gd name="connsiteX8" fmla="*/ 214313 w 301649"/>
                      <a:gd name="connsiteY8" fmla="*/ 44488 h 194507"/>
                      <a:gd name="connsiteX9" fmla="*/ 300038 w 301649"/>
                      <a:gd name="connsiteY9" fmla="*/ 194507 h 194507"/>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21431 w 301649"/>
                      <a:gd name="connsiteY4" fmla="*/ 124227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45243 w 301649"/>
                      <a:gd name="connsiteY4" fmla="*/ 150420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4258 w 302094"/>
                      <a:gd name="connsiteY5" fmla="*/ 1694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157 w 305426"/>
                      <a:gd name="connsiteY0" fmla="*/ 207197 h 207197"/>
                      <a:gd name="connsiteX1" fmla="*/ 271582 w 305426"/>
                      <a:gd name="connsiteY1" fmla="*/ 133378 h 207197"/>
                      <a:gd name="connsiteX2" fmla="*/ 195382 w 305426"/>
                      <a:gd name="connsiteY2" fmla="*/ 123853 h 207197"/>
                      <a:gd name="connsiteX3" fmla="*/ 52507 w 305426"/>
                      <a:gd name="connsiteY3" fmla="*/ 116709 h 207197"/>
                      <a:gd name="connsiteX4" fmla="*/ 42981 w 305426"/>
                      <a:gd name="connsiteY4" fmla="*/ 138140 h 207197"/>
                      <a:gd name="connsiteX5" fmla="*/ 12026 w 305426"/>
                      <a:gd name="connsiteY5" fmla="*/ 183384 h 207197"/>
                      <a:gd name="connsiteX6" fmla="*/ 119 w 305426"/>
                      <a:gd name="connsiteY6" fmla="*/ 188147 h 207197"/>
                      <a:gd name="connsiteX7" fmla="*/ 97750 w 305426"/>
                      <a:gd name="connsiteY7" fmla="*/ 16697 h 207197"/>
                      <a:gd name="connsiteX8" fmla="*/ 236657 w 305426"/>
                      <a:gd name="connsiteY8" fmla="*/ 25428 h 207197"/>
                      <a:gd name="connsiteX9" fmla="*/ 300157 w 305426"/>
                      <a:gd name="connsiteY9" fmla="*/ 207197 h 207197"/>
                      <a:gd name="connsiteX0" fmla="*/ 301589 w 306858"/>
                      <a:gd name="connsiteY0" fmla="*/ 228594 h 228594"/>
                      <a:gd name="connsiteX1" fmla="*/ 273014 w 306858"/>
                      <a:gd name="connsiteY1" fmla="*/ 154775 h 228594"/>
                      <a:gd name="connsiteX2" fmla="*/ 196814 w 306858"/>
                      <a:gd name="connsiteY2" fmla="*/ 145250 h 228594"/>
                      <a:gd name="connsiteX3" fmla="*/ 53939 w 306858"/>
                      <a:gd name="connsiteY3" fmla="*/ 138106 h 228594"/>
                      <a:gd name="connsiteX4" fmla="*/ 44413 w 306858"/>
                      <a:gd name="connsiteY4" fmla="*/ 159537 h 228594"/>
                      <a:gd name="connsiteX5" fmla="*/ 13458 w 306858"/>
                      <a:gd name="connsiteY5" fmla="*/ 204781 h 228594"/>
                      <a:gd name="connsiteX6" fmla="*/ 1551 w 306858"/>
                      <a:gd name="connsiteY6" fmla="*/ 209544 h 228594"/>
                      <a:gd name="connsiteX7" fmla="*/ 35682 w 306858"/>
                      <a:gd name="connsiteY7" fmla="*/ 9519 h 228594"/>
                      <a:gd name="connsiteX8" fmla="*/ 238089 w 306858"/>
                      <a:gd name="connsiteY8" fmla="*/ 46825 h 228594"/>
                      <a:gd name="connsiteX9" fmla="*/ 301589 w 306858"/>
                      <a:gd name="connsiteY9" fmla="*/ 228594 h 228594"/>
                      <a:gd name="connsiteX0" fmla="*/ 309678 w 314947"/>
                      <a:gd name="connsiteY0" fmla="*/ 254831 h 254831"/>
                      <a:gd name="connsiteX1" fmla="*/ 281103 w 314947"/>
                      <a:gd name="connsiteY1" fmla="*/ 181012 h 254831"/>
                      <a:gd name="connsiteX2" fmla="*/ 204903 w 314947"/>
                      <a:gd name="connsiteY2" fmla="*/ 171487 h 254831"/>
                      <a:gd name="connsiteX3" fmla="*/ 62028 w 314947"/>
                      <a:gd name="connsiteY3" fmla="*/ 164343 h 254831"/>
                      <a:gd name="connsiteX4" fmla="*/ 52502 w 314947"/>
                      <a:gd name="connsiteY4" fmla="*/ 185774 h 254831"/>
                      <a:gd name="connsiteX5" fmla="*/ 21547 w 314947"/>
                      <a:gd name="connsiteY5" fmla="*/ 231018 h 254831"/>
                      <a:gd name="connsiteX6" fmla="*/ 9640 w 314947"/>
                      <a:gd name="connsiteY6" fmla="*/ 235781 h 254831"/>
                      <a:gd name="connsiteX7" fmla="*/ 43771 w 314947"/>
                      <a:gd name="connsiteY7" fmla="*/ 35756 h 254831"/>
                      <a:gd name="connsiteX8" fmla="*/ 246178 w 314947"/>
                      <a:gd name="connsiteY8" fmla="*/ 73062 h 254831"/>
                      <a:gd name="connsiteX9" fmla="*/ 309678 w 314947"/>
                      <a:gd name="connsiteY9" fmla="*/ 254831 h 254831"/>
                      <a:gd name="connsiteX0" fmla="*/ 322378 w 324871"/>
                      <a:gd name="connsiteY0" fmla="*/ 280231 h 280231"/>
                      <a:gd name="connsiteX1" fmla="*/ 281103 w 324871"/>
                      <a:gd name="connsiteY1" fmla="*/ 181012 h 280231"/>
                      <a:gd name="connsiteX2" fmla="*/ 204903 w 324871"/>
                      <a:gd name="connsiteY2" fmla="*/ 171487 h 280231"/>
                      <a:gd name="connsiteX3" fmla="*/ 62028 w 324871"/>
                      <a:gd name="connsiteY3" fmla="*/ 164343 h 280231"/>
                      <a:gd name="connsiteX4" fmla="*/ 52502 w 324871"/>
                      <a:gd name="connsiteY4" fmla="*/ 185774 h 280231"/>
                      <a:gd name="connsiteX5" fmla="*/ 21547 w 324871"/>
                      <a:gd name="connsiteY5" fmla="*/ 231018 h 280231"/>
                      <a:gd name="connsiteX6" fmla="*/ 9640 w 324871"/>
                      <a:gd name="connsiteY6" fmla="*/ 235781 h 280231"/>
                      <a:gd name="connsiteX7" fmla="*/ 43771 w 324871"/>
                      <a:gd name="connsiteY7" fmla="*/ 35756 h 280231"/>
                      <a:gd name="connsiteX8" fmla="*/ 246178 w 324871"/>
                      <a:gd name="connsiteY8" fmla="*/ 73062 h 280231"/>
                      <a:gd name="connsiteX9" fmla="*/ 322378 w 324871"/>
                      <a:gd name="connsiteY9" fmla="*/ 280231 h 280231"/>
                      <a:gd name="connsiteX0" fmla="*/ 322378 w 335881"/>
                      <a:gd name="connsiteY0" fmla="*/ 280231 h 280231"/>
                      <a:gd name="connsiteX1" fmla="*/ 281103 w 335881"/>
                      <a:gd name="connsiteY1" fmla="*/ 181012 h 280231"/>
                      <a:gd name="connsiteX2" fmla="*/ 204903 w 335881"/>
                      <a:gd name="connsiteY2" fmla="*/ 171487 h 280231"/>
                      <a:gd name="connsiteX3" fmla="*/ 62028 w 335881"/>
                      <a:gd name="connsiteY3" fmla="*/ 164343 h 280231"/>
                      <a:gd name="connsiteX4" fmla="*/ 52502 w 335881"/>
                      <a:gd name="connsiteY4" fmla="*/ 185774 h 280231"/>
                      <a:gd name="connsiteX5" fmla="*/ 21547 w 335881"/>
                      <a:gd name="connsiteY5" fmla="*/ 231018 h 280231"/>
                      <a:gd name="connsiteX6" fmla="*/ 9640 w 335881"/>
                      <a:gd name="connsiteY6" fmla="*/ 235781 h 280231"/>
                      <a:gd name="connsiteX7" fmla="*/ 43771 w 335881"/>
                      <a:gd name="connsiteY7" fmla="*/ 35756 h 280231"/>
                      <a:gd name="connsiteX8" fmla="*/ 246178 w 335881"/>
                      <a:gd name="connsiteY8" fmla="*/ 73062 h 280231"/>
                      <a:gd name="connsiteX9" fmla="*/ 322378 w 335881"/>
                      <a:gd name="connsiteY9" fmla="*/ 280231 h 280231"/>
                      <a:gd name="connsiteX0" fmla="*/ 320006 w 333509"/>
                      <a:gd name="connsiteY0" fmla="*/ 256912 h 256912"/>
                      <a:gd name="connsiteX1" fmla="*/ 278731 w 333509"/>
                      <a:gd name="connsiteY1" fmla="*/ 157693 h 256912"/>
                      <a:gd name="connsiteX2" fmla="*/ 202531 w 333509"/>
                      <a:gd name="connsiteY2" fmla="*/ 148168 h 256912"/>
                      <a:gd name="connsiteX3" fmla="*/ 59656 w 333509"/>
                      <a:gd name="connsiteY3" fmla="*/ 141024 h 256912"/>
                      <a:gd name="connsiteX4" fmla="*/ 50130 w 333509"/>
                      <a:gd name="connsiteY4" fmla="*/ 162455 h 256912"/>
                      <a:gd name="connsiteX5" fmla="*/ 19175 w 333509"/>
                      <a:gd name="connsiteY5" fmla="*/ 207699 h 256912"/>
                      <a:gd name="connsiteX6" fmla="*/ 918 w 333509"/>
                      <a:gd name="connsiteY6" fmla="*/ 253737 h 256912"/>
                      <a:gd name="connsiteX7" fmla="*/ 41399 w 333509"/>
                      <a:gd name="connsiteY7" fmla="*/ 12437 h 256912"/>
                      <a:gd name="connsiteX8" fmla="*/ 243806 w 333509"/>
                      <a:gd name="connsiteY8" fmla="*/ 49743 h 256912"/>
                      <a:gd name="connsiteX9" fmla="*/ 320006 w 333509"/>
                      <a:gd name="connsiteY9" fmla="*/ 256912 h 256912"/>
                      <a:gd name="connsiteX0" fmla="*/ 340397 w 353900"/>
                      <a:gd name="connsiteY0" fmla="*/ 256912 h 256912"/>
                      <a:gd name="connsiteX1" fmla="*/ 299122 w 353900"/>
                      <a:gd name="connsiteY1" fmla="*/ 157693 h 256912"/>
                      <a:gd name="connsiteX2" fmla="*/ 222922 w 353900"/>
                      <a:gd name="connsiteY2" fmla="*/ 148168 h 256912"/>
                      <a:gd name="connsiteX3" fmla="*/ 80047 w 353900"/>
                      <a:gd name="connsiteY3" fmla="*/ 141024 h 256912"/>
                      <a:gd name="connsiteX4" fmla="*/ 70521 w 353900"/>
                      <a:gd name="connsiteY4" fmla="*/ 162455 h 256912"/>
                      <a:gd name="connsiteX5" fmla="*/ 39566 w 353900"/>
                      <a:gd name="connsiteY5" fmla="*/ 207699 h 256912"/>
                      <a:gd name="connsiteX6" fmla="*/ 21309 w 353900"/>
                      <a:gd name="connsiteY6" fmla="*/ 253737 h 256912"/>
                      <a:gd name="connsiteX7" fmla="*/ 61790 w 353900"/>
                      <a:gd name="connsiteY7" fmla="*/ 12437 h 256912"/>
                      <a:gd name="connsiteX8" fmla="*/ 264197 w 353900"/>
                      <a:gd name="connsiteY8" fmla="*/ 49743 h 256912"/>
                      <a:gd name="connsiteX9" fmla="*/ 340397 w 353900"/>
                      <a:gd name="connsiteY9" fmla="*/ 256912 h 256912"/>
                      <a:gd name="connsiteX0" fmla="*/ 351275 w 364778"/>
                      <a:gd name="connsiteY0" fmla="*/ 283264 h 283264"/>
                      <a:gd name="connsiteX1" fmla="*/ 310000 w 364778"/>
                      <a:gd name="connsiteY1" fmla="*/ 184045 h 283264"/>
                      <a:gd name="connsiteX2" fmla="*/ 233800 w 364778"/>
                      <a:gd name="connsiteY2" fmla="*/ 174520 h 283264"/>
                      <a:gd name="connsiteX3" fmla="*/ 90925 w 364778"/>
                      <a:gd name="connsiteY3" fmla="*/ 167376 h 283264"/>
                      <a:gd name="connsiteX4" fmla="*/ 81399 w 364778"/>
                      <a:gd name="connsiteY4" fmla="*/ 188807 h 283264"/>
                      <a:gd name="connsiteX5" fmla="*/ 50444 w 364778"/>
                      <a:gd name="connsiteY5" fmla="*/ 234051 h 283264"/>
                      <a:gd name="connsiteX6" fmla="*/ 32187 w 364778"/>
                      <a:gd name="connsiteY6" fmla="*/ 280089 h 283264"/>
                      <a:gd name="connsiteX7" fmla="*/ 72668 w 364778"/>
                      <a:gd name="connsiteY7" fmla="*/ 38789 h 283264"/>
                      <a:gd name="connsiteX8" fmla="*/ 275075 w 364778"/>
                      <a:gd name="connsiteY8" fmla="*/ 76095 h 283264"/>
                      <a:gd name="connsiteX9" fmla="*/ 351275 w 364778"/>
                      <a:gd name="connsiteY9" fmla="*/ 283264 h 28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778" h="283264">
                        <a:moveTo>
                          <a:pt x="351275" y="283264"/>
                        </a:moveTo>
                        <a:cubicBezTo>
                          <a:pt x="282218" y="246752"/>
                          <a:pt x="319525" y="208651"/>
                          <a:pt x="310000" y="184045"/>
                        </a:cubicBezTo>
                        <a:cubicBezTo>
                          <a:pt x="284600" y="192777"/>
                          <a:pt x="259200" y="177695"/>
                          <a:pt x="233800" y="174520"/>
                        </a:cubicBezTo>
                        <a:cubicBezTo>
                          <a:pt x="155219" y="200714"/>
                          <a:pt x="124262" y="186426"/>
                          <a:pt x="90925" y="167376"/>
                        </a:cubicBezTo>
                        <a:lnTo>
                          <a:pt x="81399" y="188807"/>
                        </a:lnTo>
                        <a:cubicBezTo>
                          <a:pt x="71081" y="203888"/>
                          <a:pt x="70287" y="240402"/>
                          <a:pt x="50444" y="234051"/>
                        </a:cubicBezTo>
                        <a:lnTo>
                          <a:pt x="32187" y="280089"/>
                        </a:lnTo>
                        <a:cubicBezTo>
                          <a:pt x="-18613" y="186426"/>
                          <a:pt x="-12263" y="133113"/>
                          <a:pt x="72668" y="38789"/>
                        </a:cubicBezTo>
                        <a:cubicBezTo>
                          <a:pt x="157599" y="-55535"/>
                          <a:pt x="264756" y="48313"/>
                          <a:pt x="275075" y="76095"/>
                        </a:cubicBezTo>
                        <a:cubicBezTo>
                          <a:pt x="363181" y="61807"/>
                          <a:pt x="381438" y="253102"/>
                          <a:pt x="351275" y="283264"/>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2" name="Group 311"/>
                <p:cNvGrpSpPr/>
                <p:nvPr/>
              </p:nvGrpSpPr>
              <p:grpSpPr>
                <a:xfrm>
                  <a:off x="11174005" y="597264"/>
                  <a:ext cx="437621" cy="872401"/>
                  <a:chOff x="9357905" y="3491726"/>
                  <a:chExt cx="437621" cy="872401"/>
                </a:xfrm>
              </p:grpSpPr>
              <p:sp>
                <p:nvSpPr>
                  <p:cNvPr id="313" name="Rounded Rectangle 312"/>
                  <p:cNvSpPr/>
                  <p:nvPr/>
                </p:nvSpPr>
                <p:spPr bwMode="auto">
                  <a:xfrm>
                    <a:off x="9382183" y="3524481"/>
                    <a:ext cx="375766" cy="818330"/>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4" name="Rounded Rectangle 68"/>
                  <p:cNvSpPr/>
                  <p:nvPr/>
                </p:nvSpPr>
                <p:spPr>
                  <a:xfrm>
                    <a:off x="9357905" y="3491726"/>
                    <a:ext cx="437621" cy="872401"/>
                  </a:xfrm>
                  <a:custGeom>
                    <a:avLst/>
                    <a:gdLst/>
                    <a:ahLst/>
                    <a:cxnLst/>
                    <a:rect l="l" t="t" r="r" b="b"/>
                    <a:pathLst>
                      <a:path w="736663" h="1468542">
                        <a:moveTo>
                          <a:pt x="127441" y="1331784"/>
                        </a:moveTo>
                        <a:lnTo>
                          <a:pt x="127441" y="1333372"/>
                        </a:lnTo>
                        <a:lnTo>
                          <a:pt x="126399" y="1332578"/>
                        </a:lnTo>
                        <a:close/>
                        <a:moveTo>
                          <a:pt x="369735" y="1314798"/>
                        </a:moveTo>
                        <a:lnTo>
                          <a:pt x="357710" y="1354631"/>
                        </a:lnTo>
                        <a:cubicBezTo>
                          <a:pt x="363388" y="1358973"/>
                          <a:pt x="380090" y="1370330"/>
                          <a:pt x="405310" y="1358639"/>
                        </a:cubicBezTo>
                        <a:lnTo>
                          <a:pt x="417335" y="1317052"/>
                        </a:lnTo>
                        <a:cubicBezTo>
                          <a:pt x="391197" y="1326823"/>
                          <a:pt x="381844" y="1320309"/>
                          <a:pt x="369735" y="1314798"/>
                        </a:cubicBezTo>
                        <a:close/>
                        <a:moveTo>
                          <a:pt x="140687" y="1309718"/>
                        </a:moveTo>
                        <a:lnTo>
                          <a:pt x="110683" y="1332578"/>
                        </a:lnTo>
                        <a:lnTo>
                          <a:pt x="140687" y="1355438"/>
                        </a:lnTo>
                        <a:lnTo>
                          <a:pt x="156403" y="1355438"/>
                        </a:lnTo>
                        <a:lnTo>
                          <a:pt x="133275" y="1337817"/>
                        </a:lnTo>
                        <a:lnTo>
                          <a:pt x="218881" y="1337817"/>
                        </a:lnTo>
                        <a:lnTo>
                          <a:pt x="218881" y="1328673"/>
                        </a:lnTo>
                        <a:lnTo>
                          <a:pt x="131524" y="1328673"/>
                        </a:lnTo>
                        <a:lnTo>
                          <a:pt x="156403" y="1309718"/>
                        </a:lnTo>
                        <a:close/>
                        <a:moveTo>
                          <a:pt x="341326" y="1303311"/>
                        </a:moveTo>
                        <a:cubicBezTo>
                          <a:pt x="330365" y="1302817"/>
                          <a:pt x="321446" y="1307351"/>
                          <a:pt x="317323" y="1308656"/>
                        </a:cubicBezTo>
                        <a:lnTo>
                          <a:pt x="305799" y="1349742"/>
                        </a:lnTo>
                        <a:cubicBezTo>
                          <a:pt x="332438" y="1338385"/>
                          <a:pt x="344297" y="1348072"/>
                          <a:pt x="350393" y="1351996"/>
                        </a:cubicBezTo>
                        <a:lnTo>
                          <a:pt x="362668" y="1311412"/>
                        </a:lnTo>
                        <a:cubicBezTo>
                          <a:pt x="355215" y="1305713"/>
                          <a:pt x="347903" y="1303607"/>
                          <a:pt x="341326" y="1303311"/>
                        </a:cubicBezTo>
                        <a:close/>
                        <a:moveTo>
                          <a:pt x="609845" y="1293468"/>
                        </a:moveTo>
                        <a:cubicBezTo>
                          <a:pt x="615874" y="1293468"/>
                          <a:pt x="620761" y="1298355"/>
                          <a:pt x="620761" y="1304384"/>
                        </a:cubicBezTo>
                        <a:cubicBezTo>
                          <a:pt x="620761" y="1310412"/>
                          <a:pt x="615874" y="1315299"/>
                          <a:pt x="609845" y="1315299"/>
                        </a:cubicBezTo>
                        <a:cubicBezTo>
                          <a:pt x="603816" y="1315299"/>
                          <a:pt x="598929" y="1310412"/>
                          <a:pt x="598929" y="1304384"/>
                        </a:cubicBezTo>
                        <a:cubicBezTo>
                          <a:pt x="598929" y="1298355"/>
                          <a:pt x="603816" y="1293468"/>
                          <a:pt x="609845" y="1293468"/>
                        </a:cubicBezTo>
                        <a:close/>
                        <a:moveTo>
                          <a:pt x="609845" y="1272471"/>
                        </a:moveTo>
                        <a:cubicBezTo>
                          <a:pt x="592965" y="1272471"/>
                          <a:pt x="579282" y="1286759"/>
                          <a:pt x="579282" y="1304384"/>
                        </a:cubicBezTo>
                        <a:cubicBezTo>
                          <a:pt x="579282" y="1307127"/>
                          <a:pt x="579613" y="1309790"/>
                          <a:pt x="580345" y="1312304"/>
                        </a:cubicBezTo>
                        <a:lnTo>
                          <a:pt x="545743" y="1335166"/>
                        </a:lnTo>
                        <a:cubicBezTo>
                          <a:pt x="543087" y="1336921"/>
                          <a:pt x="542356" y="1340498"/>
                          <a:pt x="544112" y="1343154"/>
                        </a:cubicBezTo>
                        <a:lnTo>
                          <a:pt x="547808" y="1348749"/>
                        </a:lnTo>
                        <a:cubicBezTo>
                          <a:pt x="549564" y="1351406"/>
                          <a:pt x="553140" y="1352136"/>
                          <a:pt x="555796" y="1350381"/>
                        </a:cubicBezTo>
                        <a:lnTo>
                          <a:pt x="589546" y="1328081"/>
                        </a:lnTo>
                        <a:cubicBezTo>
                          <a:pt x="594873" y="1333223"/>
                          <a:pt x="602015" y="1336297"/>
                          <a:pt x="609845" y="1336297"/>
                        </a:cubicBezTo>
                        <a:cubicBezTo>
                          <a:pt x="626724" y="1336297"/>
                          <a:pt x="640408" y="1322009"/>
                          <a:pt x="640408" y="1304384"/>
                        </a:cubicBezTo>
                        <a:cubicBezTo>
                          <a:pt x="640408" y="1286759"/>
                          <a:pt x="626724" y="1272471"/>
                          <a:pt x="609845" y="1272471"/>
                        </a:cubicBezTo>
                        <a:close/>
                        <a:moveTo>
                          <a:pt x="383263" y="1263939"/>
                        </a:moveTo>
                        <a:lnTo>
                          <a:pt x="371238" y="1303772"/>
                        </a:lnTo>
                        <a:cubicBezTo>
                          <a:pt x="376917" y="1308115"/>
                          <a:pt x="393618" y="1319472"/>
                          <a:pt x="418838" y="1307781"/>
                        </a:cubicBezTo>
                        <a:lnTo>
                          <a:pt x="430863" y="1266194"/>
                        </a:lnTo>
                        <a:cubicBezTo>
                          <a:pt x="404725" y="1275964"/>
                          <a:pt x="395372" y="1269451"/>
                          <a:pt x="383263" y="1263939"/>
                        </a:cubicBezTo>
                        <a:close/>
                        <a:moveTo>
                          <a:pt x="354354" y="1252330"/>
                        </a:moveTo>
                        <a:cubicBezTo>
                          <a:pt x="343392" y="1251837"/>
                          <a:pt x="334474" y="1256371"/>
                          <a:pt x="330351" y="1257676"/>
                        </a:cubicBezTo>
                        <a:lnTo>
                          <a:pt x="318826" y="1298762"/>
                        </a:lnTo>
                        <a:cubicBezTo>
                          <a:pt x="345466" y="1287405"/>
                          <a:pt x="357324" y="1297092"/>
                          <a:pt x="363420" y="1301016"/>
                        </a:cubicBezTo>
                        <a:lnTo>
                          <a:pt x="375696" y="1260432"/>
                        </a:lnTo>
                        <a:cubicBezTo>
                          <a:pt x="368242" y="1254732"/>
                          <a:pt x="360930" y="1252626"/>
                          <a:pt x="354354" y="1252330"/>
                        </a:cubicBezTo>
                        <a:close/>
                        <a:moveTo>
                          <a:pt x="91262" y="129693"/>
                        </a:moveTo>
                        <a:lnTo>
                          <a:pt x="91262" y="1125642"/>
                        </a:lnTo>
                        <a:lnTo>
                          <a:pt x="645400" y="1125642"/>
                        </a:lnTo>
                        <a:lnTo>
                          <a:pt x="645400" y="129693"/>
                        </a:lnTo>
                        <a:close/>
                        <a:moveTo>
                          <a:pt x="46579" y="0"/>
                        </a:moveTo>
                        <a:lnTo>
                          <a:pt x="690084" y="0"/>
                        </a:lnTo>
                        <a:cubicBezTo>
                          <a:pt x="715809" y="0"/>
                          <a:pt x="736663" y="20854"/>
                          <a:pt x="736663" y="46579"/>
                        </a:cubicBezTo>
                        <a:lnTo>
                          <a:pt x="736663" y="1421963"/>
                        </a:lnTo>
                        <a:cubicBezTo>
                          <a:pt x="736663" y="1447688"/>
                          <a:pt x="715809" y="1468542"/>
                          <a:pt x="690084" y="1468542"/>
                        </a:cubicBezTo>
                        <a:lnTo>
                          <a:pt x="46579" y="1468542"/>
                        </a:lnTo>
                        <a:cubicBezTo>
                          <a:pt x="20854" y="1468542"/>
                          <a:pt x="0" y="1447688"/>
                          <a:pt x="0" y="1421963"/>
                        </a:cubicBezTo>
                        <a:lnTo>
                          <a:pt x="0" y="46579"/>
                        </a:lnTo>
                        <a:cubicBezTo>
                          <a:pt x="0" y="20854"/>
                          <a:pt x="20854" y="0"/>
                          <a:pt x="4657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16"/>
                    <a:endParaRPr lang="en-US" sz="1836" dirty="0">
                      <a:solidFill>
                        <a:srgbClr val="FFFFFF"/>
                      </a:solidFill>
                    </a:endParaRPr>
                  </a:p>
                </p:txBody>
              </p:sp>
              <p:grpSp>
                <p:nvGrpSpPr>
                  <p:cNvPr id="315" name="Group 314"/>
                  <p:cNvGrpSpPr/>
                  <p:nvPr/>
                </p:nvGrpSpPr>
                <p:grpSpPr>
                  <a:xfrm>
                    <a:off x="9439100" y="3591961"/>
                    <a:ext cx="238070" cy="352378"/>
                    <a:chOff x="10682344" y="3596230"/>
                    <a:chExt cx="217772" cy="322335"/>
                  </a:xfrm>
                </p:grpSpPr>
                <p:grpSp>
                  <p:nvGrpSpPr>
                    <p:cNvPr id="316" name="Group 315"/>
                    <p:cNvGrpSpPr/>
                    <p:nvPr/>
                  </p:nvGrpSpPr>
                  <p:grpSpPr>
                    <a:xfrm>
                      <a:off x="10682344" y="3596230"/>
                      <a:ext cx="102521" cy="210485"/>
                      <a:chOff x="10341626" y="2189201"/>
                      <a:chExt cx="193482" cy="397237"/>
                    </a:xfrm>
                  </p:grpSpPr>
                  <p:sp>
                    <p:nvSpPr>
                      <p:cNvPr id="322" name="Rectangle 321"/>
                      <p:cNvSpPr/>
                      <p:nvPr/>
                    </p:nvSpPr>
                    <p:spPr bwMode="auto">
                      <a:xfrm>
                        <a:off x="10341626" y="2189201"/>
                        <a:ext cx="193482" cy="18807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23" name="Rectangle 322"/>
                      <p:cNvSpPr/>
                      <p:nvPr/>
                    </p:nvSpPr>
                    <p:spPr bwMode="auto">
                      <a:xfrm>
                        <a:off x="10341626" y="2398364"/>
                        <a:ext cx="193482" cy="1880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7" name="Group 316"/>
                    <p:cNvGrpSpPr/>
                    <p:nvPr/>
                  </p:nvGrpSpPr>
                  <p:grpSpPr>
                    <a:xfrm>
                      <a:off x="10797595" y="3596230"/>
                      <a:ext cx="102521" cy="210485"/>
                      <a:chOff x="10341626" y="2189201"/>
                      <a:chExt cx="193482" cy="397237"/>
                    </a:xfrm>
                  </p:grpSpPr>
                  <p:sp>
                    <p:nvSpPr>
                      <p:cNvPr id="320" name="Rectangle 319"/>
                      <p:cNvSpPr/>
                      <p:nvPr/>
                    </p:nvSpPr>
                    <p:spPr bwMode="auto">
                      <a:xfrm>
                        <a:off x="10341626" y="2189201"/>
                        <a:ext cx="193482" cy="18807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21" name="Rectangle 320"/>
                      <p:cNvSpPr/>
                      <p:nvPr/>
                    </p:nvSpPr>
                    <p:spPr bwMode="auto">
                      <a:xfrm>
                        <a:off x="10341626" y="2398364"/>
                        <a:ext cx="193482" cy="1880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318" name="Rectangle 317"/>
                    <p:cNvSpPr/>
                    <p:nvPr/>
                  </p:nvSpPr>
                  <p:spPr bwMode="auto">
                    <a:xfrm>
                      <a:off x="10682344" y="3818910"/>
                      <a:ext cx="102521" cy="996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9" name="Rectangle 318"/>
                    <p:cNvSpPr/>
                    <p:nvPr/>
                  </p:nvSpPr>
                  <p:spPr bwMode="auto">
                    <a:xfrm>
                      <a:off x="10797595" y="3818910"/>
                      <a:ext cx="102521" cy="996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332" name="Group 331"/>
              <p:cNvGrpSpPr/>
              <p:nvPr/>
            </p:nvGrpSpPr>
            <p:grpSpPr>
              <a:xfrm>
                <a:off x="7700008" y="624840"/>
                <a:ext cx="1090143" cy="1406559"/>
                <a:chOff x="8073545" y="675080"/>
                <a:chExt cx="1090143" cy="1406559"/>
              </a:xfrm>
            </p:grpSpPr>
            <p:grpSp>
              <p:nvGrpSpPr>
                <p:cNvPr id="333" name="Group 332"/>
                <p:cNvGrpSpPr/>
                <p:nvPr/>
              </p:nvGrpSpPr>
              <p:grpSpPr>
                <a:xfrm>
                  <a:off x="8235946" y="675080"/>
                  <a:ext cx="754425" cy="1209066"/>
                  <a:chOff x="11163443" y="1019300"/>
                  <a:chExt cx="928687" cy="1488344"/>
                </a:xfrm>
              </p:grpSpPr>
              <p:grpSp>
                <p:nvGrpSpPr>
                  <p:cNvPr id="343" name="Group 342"/>
                  <p:cNvGrpSpPr/>
                  <p:nvPr/>
                </p:nvGrpSpPr>
                <p:grpSpPr>
                  <a:xfrm flipH="1">
                    <a:off x="11163443" y="1505138"/>
                    <a:ext cx="238124" cy="1002506"/>
                    <a:chOff x="6437822" y="1926236"/>
                    <a:chExt cx="238124" cy="1002506"/>
                  </a:xfrm>
                </p:grpSpPr>
                <p:sp>
                  <p:nvSpPr>
                    <p:cNvPr id="351" name="Rounded Rectangle 350"/>
                    <p:cNvSpPr/>
                    <p:nvPr/>
                  </p:nvSpPr>
                  <p:spPr bwMode="auto">
                    <a:xfrm>
                      <a:off x="6552349" y="2757292"/>
                      <a:ext cx="106928" cy="171450"/>
                    </a:xfrm>
                    <a:prstGeom prst="roundRect">
                      <a:avLst>
                        <a:gd name="adj" fmla="val 50000"/>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2" name="Freeform 351"/>
                    <p:cNvSpPr/>
                    <p:nvPr/>
                  </p:nvSpPr>
                  <p:spPr bwMode="auto">
                    <a:xfrm>
                      <a:off x="6437822" y="1926236"/>
                      <a:ext cx="238124" cy="895350"/>
                    </a:xfrm>
                    <a:custGeom>
                      <a:avLst/>
                      <a:gdLst>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33338 w 238125"/>
                        <a:gd name="connsiteY0" fmla="*/ 0 h 895350"/>
                        <a:gd name="connsiteX1" fmla="*/ 238125 w 238125"/>
                        <a:gd name="connsiteY1" fmla="*/ 895350 h 895350"/>
                        <a:gd name="connsiteX2" fmla="*/ 109537 w 238125"/>
                        <a:gd name="connsiteY2" fmla="*/ 895350 h 895350"/>
                        <a:gd name="connsiteX3" fmla="*/ 0 w 238125"/>
                        <a:gd name="connsiteY3" fmla="*/ 423863 h 895350"/>
                        <a:gd name="connsiteX4" fmla="*/ 33338 w 238125"/>
                        <a:gd name="connsiteY4" fmla="*/ 0 h 895350"/>
                        <a:gd name="connsiteX0" fmla="*/ 9525 w 214312"/>
                        <a:gd name="connsiteY0" fmla="*/ 0 h 895350"/>
                        <a:gd name="connsiteX1" fmla="*/ 214312 w 214312"/>
                        <a:gd name="connsiteY1" fmla="*/ 895350 h 895350"/>
                        <a:gd name="connsiteX2" fmla="*/ 85724 w 214312"/>
                        <a:gd name="connsiteY2" fmla="*/ 895350 h 895350"/>
                        <a:gd name="connsiteX3" fmla="*/ 0 w 214312"/>
                        <a:gd name="connsiteY3" fmla="*/ 350045 h 895350"/>
                        <a:gd name="connsiteX4" fmla="*/ 9525 w 214312"/>
                        <a:gd name="connsiteY4" fmla="*/ 0 h 895350"/>
                        <a:gd name="connsiteX0" fmla="*/ 33337 w 238124"/>
                        <a:gd name="connsiteY0" fmla="*/ 0 h 895350"/>
                        <a:gd name="connsiteX1" fmla="*/ 238124 w 238124"/>
                        <a:gd name="connsiteY1" fmla="*/ 895350 h 895350"/>
                        <a:gd name="connsiteX2" fmla="*/ 109536 w 238124"/>
                        <a:gd name="connsiteY2" fmla="*/ 895350 h 895350"/>
                        <a:gd name="connsiteX3" fmla="*/ 0 w 238124"/>
                        <a:gd name="connsiteY3" fmla="*/ 350045 h 895350"/>
                        <a:gd name="connsiteX4" fmla="*/ 33337 w 238124"/>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4" h="895350">
                          <a:moveTo>
                            <a:pt x="33337" y="0"/>
                          </a:moveTo>
                          <a:cubicBezTo>
                            <a:pt x="129381" y="253999"/>
                            <a:pt x="215899" y="558007"/>
                            <a:pt x="238124" y="895350"/>
                          </a:cubicBezTo>
                          <a:lnTo>
                            <a:pt x="109536" y="895350"/>
                          </a:lnTo>
                          <a:cubicBezTo>
                            <a:pt x="94456" y="776289"/>
                            <a:pt x="74612" y="504826"/>
                            <a:pt x="0" y="350045"/>
                          </a:cubicBezTo>
                          <a:lnTo>
                            <a:pt x="33337" y="0"/>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44" name="Group 343"/>
                  <p:cNvGrpSpPr/>
                  <p:nvPr/>
                </p:nvGrpSpPr>
                <p:grpSpPr>
                  <a:xfrm>
                    <a:off x="11854006" y="1505138"/>
                    <a:ext cx="238124" cy="1002506"/>
                    <a:chOff x="6437822" y="1926236"/>
                    <a:chExt cx="238124" cy="1002506"/>
                  </a:xfrm>
                </p:grpSpPr>
                <p:sp>
                  <p:nvSpPr>
                    <p:cNvPr id="349" name="Rounded Rectangle 348"/>
                    <p:cNvSpPr/>
                    <p:nvPr/>
                  </p:nvSpPr>
                  <p:spPr bwMode="auto">
                    <a:xfrm>
                      <a:off x="6552349" y="2757292"/>
                      <a:ext cx="106928" cy="171450"/>
                    </a:xfrm>
                    <a:prstGeom prst="roundRect">
                      <a:avLst>
                        <a:gd name="adj" fmla="val 50000"/>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0" name="Freeform 349"/>
                    <p:cNvSpPr/>
                    <p:nvPr/>
                  </p:nvSpPr>
                  <p:spPr bwMode="auto">
                    <a:xfrm>
                      <a:off x="6437822" y="1926236"/>
                      <a:ext cx="238124" cy="895350"/>
                    </a:xfrm>
                    <a:custGeom>
                      <a:avLst/>
                      <a:gdLst>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33338 w 238125"/>
                        <a:gd name="connsiteY0" fmla="*/ 0 h 895350"/>
                        <a:gd name="connsiteX1" fmla="*/ 238125 w 238125"/>
                        <a:gd name="connsiteY1" fmla="*/ 895350 h 895350"/>
                        <a:gd name="connsiteX2" fmla="*/ 109537 w 238125"/>
                        <a:gd name="connsiteY2" fmla="*/ 895350 h 895350"/>
                        <a:gd name="connsiteX3" fmla="*/ 0 w 238125"/>
                        <a:gd name="connsiteY3" fmla="*/ 423863 h 895350"/>
                        <a:gd name="connsiteX4" fmla="*/ 33338 w 238125"/>
                        <a:gd name="connsiteY4" fmla="*/ 0 h 895350"/>
                        <a:gd name="connsiteX0" fmla="*/ 9525 w 214312"/>
                        <a:gd name="connsiteY0" fmla="*/ 0 h 895350"/>
                        <a:gd name="connsiteX1" fmla="*/ 214312 w 214312"/>
                        <a:gd name="connsiteY1" fmla="*/ 895350 h 895350"/>
                        <a:gd name="connsiteX2" fmla="*/ 85724 w 214312"/>
                        <a:gd name="connsiteY2" fmla="*/ 895350 h 895350"/>
                        <a:gd name="connsiteX3" fmla="*/ 0 w 214312"/>
                        <a:gd name="connsiteY3" fmla="*/ 350045 h 895350"/>
                        <a:gd name="connsiteX4" fmla="*/ 9525 w 214312"/>
                        <a:gd name="connsiteY4" fmla="*/ 0 h 895350"/>
                        <a:gd name="connsiteX0" fmla="*/ 33337 w 238124"/>
                        <a:gd name="connsiteY0" fmla="*/ 0 h 895350"/>
                        <a:gd name="connsiteX1" fmla="*/ 238124 w 238124"/>
                        <a:gd name="connsiteY1" fmla="*/ 895350 h 895350"/>
                        <a:gd name="connsiteX2" fmla="*/ 109536 w 238124"/>
                        <a:gd name="connsiteY2" fmla="*/ 895350 h 895350"/>
                        <a:gd name="connsiteX3" fmla="*/ 0 w 238124"/>
                        <a:gd name="connsiteY3" fmla="*/ 350045 h 895350"/>
                        <a:gd name="connsiteX4" fmla="*/ 33337 w 238124"/>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4" h="895350">
                          <a:moveTo>
                            <a:pt x="33337" y="0"/>
                          </a:moveTo>
                          <a:cubicBezTo>
                            <a:pt x="129381" y="253999"/>
                            <a:pt x="215899" y="558007"/>
                            <a:pt x="238124" y="895350"/>
                          </a:cubicBezTo>
                          <a:lnTo>
                            <a:pt x="109536" y="895350"/>
                          </a:lnTo>
                          <a:cubicBezTo>
                            <a:pt x="94456" y="776289"/>
                            <a:pt x="74612" y="504826"/>
                            <a:pt x="0" y="350045"/>
                          </a:cubicBezTo>
                          <a:lnTo>
                            <a:pt x="33337" y="0"/>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45" name="Rectangle 109"/>
                  <p:cNvSpPr/>
                  <p:nvPr/>
                </p:nvSpPr>
                <p:spPr bwMode="auto">
                  <a:xfrm>
                    <a:off x="11428839" y="1443421"/>
                    <a:ext cx="391947" cy="328612"/>
                  </a:xfrm>
                  <a:custGeom>
                    <a:avLst/>
                    <a:gdLst>
                      <a:gd name="connsiteX0" fmla="*/ 0 w 390296"/>
                      <a:gd name="connsiteY0" fmla="*/ 0 h 571500"/>
                      <a:gd name="connsiteX1" fmla="*/ 390296 w 390296"/>
                      <a:gd name="connsiteY1" fmla="*/ 0 h 571500"/>
                      <a:gd name="connsiteX2" fmla="*/ 390296 w 390296"/>
                      <a:gd name="connsiteY2" fmla="*/ 571500 h 571500"/>
                      <a:gd name="connsiteX3" fmla="*/ 0 w 390296"/>
                      <a:gd name="connsiteY3" fmla="*/ 571500 h 571500"/>
                      <a:gd name="connsiteX4" fmla="*/ 0 w 390296"/>
                      <a:gd name="connsiteY4" fmla="*/ 0 h 571500"/>
                      <a:gd name="connsiteX0" fmla="*/ 0 w 390296"/>
                      <a:gd name="connsiteY0" fmla="*/ 2833 h 574333"/>
                      <a:gd name="connsiteX1" fmla="*/ 193612 w 390296"/>
                      <a:gd name="connsiteY1" fmla="*/ 0 h 574333"/>
                      <a:gd name="connsiteX2" fmla="*/ 390296 w 390296"/>
                      <a:gd name="connsiteY2" fmla="*/ 2833 h 574333"/>
                      <a:gd name="connsiteX3" fmla="*/ 390296 w 390296"/>
                      <a:gd name="connsiteY3" fmla="*/ 574333 h 574333"/>
                      <a:gd name="connsiteX4" fmla="*/ 0 w 390296"/>
                      <a:gd name="connsiteY4" fmla="*/ 574333 h 574333"/>
                      <a:gd name="connsiteX5" fmla="*/ 0 w 390296"/>
                      <a:gd name="connsiteY5" fmla="*/ 2833 h 574333"/>
                      <a:gd name="connsiteX0" fmla="*/ 0 w 390296"/>
                      <a:gd name="connsiteY0" fmla="*/ 57601 h 629101"/>
                      <a:gd name="connsiteX1" fmla="*/ 188850 w 390296"/>
                      <a:gd name="connsiteY1" fmla="*/ 0 h 629101"/>
                      <a:gd name="connsiteX2" fmla="*/ 390296 w 390296"/>
                      <a:gd name="connsiteY2" fmla="*/ 57601 h 629101"/>
                      <a:gd name="connsiteX3" fmla="*/ 390296 w 390296"/>
                      <a:gd name="connsiteY3" fmla="*/ 629101 h 629101"/>
                      <a:gd name="connsiteX4" fmla="*/ 0 w 390296"/>
                      <a:gd name="connsiteY4" fmla="*/ 629101 h 629101"/>
                      <a:gd name="connsiteX5" fmla="*/ 0 w 390296"/>
                      <a:gd name="connsiteY5" fmla="*/ 57601 h 629101"/>
                      <a:gd name="connsiteX0" fmla="*/ 0 w 390296"/>
                      <a:gd name="connsiteY0" fmla="*/ 57601 h 629101"/>
                      <a:gd name="connsiteX1" fmla="*/ 188850 w 390296"/>
                      <a:gd name="connsiteY1" fmla="*/ 0 h 629101"/>
                      <a:gd name="connsiteX2" fmla="*/ 390296 w 390296"/>
                      <a:gd name="connsiteY2" fmla="*/ 57601 h 629101"/>
                      <a:gd name="connsiteX3" fmla="*/ 388874 w 390296"/>
                      <a:gd name="connsiteY3" fmla="*/ 328612 h 629101"/>
                      <a:gd name="connsiteX4" fmla="*/ 390296 w 390296"/>
                      <a:gd name="connsiteY4" fmla="*/ 629101 h 629101"/>
                      <a:gd name="connsiteX5" fmla="*/ 0 w 390296"/>
                      <a:gd name="connsiteY5" fmla="*/ 629101 h 629101"/>
                      <a:gd name="connsiteX6" fmla="*/ 0 w 390296"/>
                      <a:gd name="connsiteY6" fmla="*/ 57601 h 629101"/>
                      <a:gd name="connsiteX0" fmla="*/ 1651 w 391947"/>
                      <a:gd name="connsiteY0" fmla="*/ 57601 h 629101"/>
                      <a:gd name="connsiteX1" fmla="*/ 190501 w 391947"/>
                      <a:gd name="connsiteY1" fmla="*/ 0 h 629101"/>
                      <a:gd name="connsiteX2" fmla="*/ 391947 w 391947"/>
                      <a:gd name="connsiteY2" fmla="*/ 57601 h 629101"/>
                      <a:gd name="connsiteX3" fmla="*/ 390525 w 391947"/>
                      <a:gd name="connsiteY3" fmla="*/ 328612 h 629101"/>
                      <a:gd name="connsiteX4" fmla="*/ 391947 w 391947"/>
                      <a:gd name="connsiteY4" fmla="*/ 629101 h 629101"/>
                      <a:gd name="connsiteX5" fmla="*/ 1651 w 391947"/>
                      <a:gd name="connsiteY5" fmla="*/ 629101 h 629101"/>
                      <a:gd name="connsiteX6" fmla="*/ 0 w 391947"/>
                      <a:gd name="connsiteY6" fmla="*/ 311944 h 629101"/>
                      <a:gd name="connsiteX7" fmla="*/ 1651 w 391947"/>
                      <a:gd name="connsiteY7" fmla="*/ 57601 h 629101"/>
                      <a:gd name="connsiteX0" fmla="*/ 1651 w 391947"/>
                      <a:gd name="connsiteY0" fmla="*/ 57601 h 629101"/>
                      <a:gd name="connsiteX1" fmla="*/ 190501 w 391947"/>
                      <a:gd name="connsiteY1" fmla="*/ 0 h 629101"/>
                      <a:gd name="connsiteX2" fmla="*/ 391947 w 391947"/>
                      <a:gd name="connsiteY2" fmla="*/ 57601 h 629101"/>
                      <a:gd name="connsiteX3" fmla="*/ 390525 w 391947"/>
                      <a:gd name="connsiteY3" fmla="*/ 328612 h 629101"/>
                      <a:gd name="connsiteX4" fmla="*/ 391947 w 391947"/>
                      <a:gd name="connsiteY4" fmla="*/ 629101 h 629101"/>
                      <a:gd name="connsiteX5" fmla="*/ 0 w 391947"/>
                      <a:gd name="connsiteY5" fmla="*/ 311944 h 629101"/>
                      <a:gd name="connsiteX6" fmla="*/ 1651 w 391947"/>
                      <a:gd name="connsiteY6" fmla="*/ 57601 h 629101"/>
                      <a:gd name="connsiteX0" fmla="*/ 1651 w 391947"/>
                      <a:gd name="connsiteY0" fmla="*/ 57601 h 328612"/>
                      <a:gd name="connsiteX1" fmla="*/ 190501 w 391947"/>
                      <a:gd name="connsiteY1" fmla="*/ 0 h 328612"/>
                      <a:gd name="connsiteX2" fmla="*/ 391947 w 391947"/>
                      <a:gd name="connsiteY2" fmla="*/ 57601 h 328612"/>
                      <a:gd name="connsiteX3" fmla="*/ 390525 w 391947"/>
                      <a:gd name="connsiteY3" fmla="*/ 328612 h 328612"/>
                      <a:gd name="connsiteX4" fmla="*/ 0 w 391947"/>
                      <a:gd name="connsiteY4" fmla="*/ 311944 h 328612"/>
                      <a:gd name="connsiteX5" fmla="*/ 1651 w 391947"/>
                      <a:gd name="connsiteY5" fmla="*/ 57601 h 32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947" h="328612">
                        <a:moveTo>
                          <a:pt x="1651" y="57601"/>
                        </a:moveTo>
                        <a:lnTo>
                          <a:pt x="190501" y="0"/>
                        </a:lnTo>
                        <a:lnTo>
                          <a:pt x="391947" y="57601"/>
                        </a:lnTo>
                        <a:lnTo>
                          <a:pt x="390525" y="328612"/>
                        </a:lnTo>
                        <a:lnTo>
                          <a:pt x="0" y="311944"/>
                        </a:lnTo>
                        <a:cubicBezTo>
                          <a:pt x="550" y="227163"/>
                          <a:pt x="1101" y="142382"/>
                          <a:pt x="1651" y="5760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6" name="Freeform 345"/>
                  <p:cNvSpPr/>
                  <p:nvPr/>
                </p:nvSpPr>
                <p:spPr bwMode="auto">
                  <a:xfrm>
                    <a:off x="11364266" y="1474182"/>
                    <a:ext cx="525457" cy="907255"/>
                  </a:xfrm>
                  <a:custGeom>
                    <a:avLst/>
                    <a:gdLst>
                      <a:gd name="connsiteX0" fmla="*/ 0 w 608801"/>
                      <a:gd name="connsiteY0" fmla="*/ 0 h 1019175"/>
                      <a:gd name="connsiteX1" fmla="*/ 225692 w 608801"/>
                      <a:gd name="connsiteY1" fmla="*/ 0 h 1019175"/>
                      <a:gd name="connsiteX2" fmla="*/ 225420 w 608801"/>
                      <a:gd name="connsiteY2" fmla="*/ 2381 h 1019175"/>
                      <a:gd name="connsiteX3" fmla="*/ 306382 w 608801"/>
                      <a:gd name="connsiteY3" fmla="*/ 569119 h 1019175"/>
                      <a:gd name="connsiteX4" fmla="*/ 347756 w 608801"/>
                      <a:gd name="connsiteY4" fmla="*/ 283964 h 1019175"/>
                      <a:gd name="connsiteX5" fmla="*/ 379666 w 608801"/>
                      <a:gd name="connsiteY5" fmla="*/ 0 h 1019175"/>
                      <a:gd name="connsiteX6" fmla="*/ 608801 w 608801"/>
                      <a:gd name="connsiteY6" fmla="*/ 0 h 1019175"/>
                      <a:gd name="connsiteX7" fmla="*/ 608801 w 608801"/>
                      <a:gd name="connsiteY7" fmla="*/ 1019175 h 1019175"/>
                      <a:gd name="connsiteX8" fmla="*/ 0 w 608801"/>
                      <a:gd name="connsiteY8" fmla="*/ 1019175 h 1019175"/>
                      <a:gd name="connsiteX0" fmla="*/ 0 w 608801"/>
                      <a:gd name="connsiteY0" fmla="*/ 0 h 1019175"/>
                      <a:gd name="connsiteX1" fmla="*/ 225692 w 608801"/>
                      <a:gd name="connsiteY1" fmla="*/ 0 h 1019175"/>
                      <a:gd name="connsiteX2" fmla="*/ 225420 w 608801"/>
                      <a:gd name="connsiteY2" fmla="*/ 2381 h 1019175"/>
                      <a:gd name="connsiteX3" fmla="*/ 306382 w 608801"/>
                      <a:gd name="connsiteY3" fmla="*/ 569119 h 1019175"/>
                      <a:gd name="connsiteX4" fmla="*/ 347756 w 608801"/>
                      <a:gd name="connsiteY4" fmla="*/ 283964 h 1019175"/>
                      <a:gd name="connsiteX5" fmla="*/ 379666 w 608801"/>
                      <a:gd name="connsiteY5" fmla="*/ 0 h 1019175"/>
                      <a:gd name="connsiteX6" fmla="*/ 608801 w 608801"/>
                      <a:gd name="connsiteY6" fmla="*/ 0 h 1019175"/>
                      <a:gd name="connsiteX7" fmla="*/ 608801 w 608801"/>
                      <a:gd name="connsiteY7" fmla="*/ 1019175 h 1019175"/>
                      <a:gd name="connsiteX8" fmla="*/ 0 w 608801"/>
                      <a:gd name="connsiteY8" fmla="*/ 1019175 h 1019175"/>
                      <a:gd name="connsiteX9" fmla="*/ 0 w 608801"/>
                      <a:gd name="connsiteY9" fmla="*/ 0 h 1019175"/>
                      <a:gd name="connsiteX0" fmla="*/ 0 w 608801"/>
                      <a:gd name="connsiteY0" fmla="*/ 28575 h 1047750"/>
                      <a:gd name="connsiteX1" fmla="*/ 225692 w 608801"/>
                      <a:gd name="connsiteY1" fmla="*/ 28575 h 1047750"/>
                      <a:gd name="connsiteX2" fmla="*/ 225420 w 608801"/>
                      <a:gd name="connsiteY2" fmla="*/ 30956 h 1047750"/>
                      <a:gd name="connsiteX3" fmla="*/ 306382 w 608801"/>
                      <a:gd name="connsiteY3" fmla="*/ 597694 h 1047750"/>
                      <a:gd name="connsiteX4" fmla="*/ 347756 w 608801"/>
                      <a:gd name="connsiteY4" fmla="*/ 312539 h 1047750"/>
                      <a:gd name="connsiteX5" fmla="*/ 432054 w 608801"/>
                      <a:gd name="connsiteY5" fmla="*/ 0 h 1047750"/>
                      <a:gd name="connsiteX6" fmla="*/ 608801 w 608801"/>
                      <a:gd name="connsiteY6" fmla="*/ 28575 h 1047750"/>
                      <a:gd name="connsiteX7" fmla="*/ 608801 w 608801"/>
                      <a:gd name="connsiteY7" fmla="*/ 1047750 h 1047750"/>
                      <a:gd name="connsiteX8" fmla="*/ 0 w 608801"/>
                      <a:gd name="connsiteY8" fmla="*/ 1047750 h 1047750"/>
                      <a:gd name="connsiteX9" fmla="*/ 0 w 608801"/>
                      <a:gd name="connsiteY9" fmla="*/ 28575 h 1047750"/>
                      <a:gd name="connsiteX0" fmla="*/ 0 w 608801"/>
                      <a:gd name="connsiteY0" fmla="*/ 28575 h 1047750"/>
                      <a:gd name="connsiteX1" fmla="*/ 225692 w 608801"/>
                      <a:gd name="connsiteY1" fmla="*/ 28575 h 1047750"/>
                      <a:gd name="connsiteX2" fmla="*/ 306382 w 608801"/>
                      <a:gd name="connsiteY2" fmla="*/ 597694 h 1047750"/>
                      <a:gd name="connsiteX3" fmla="*/ 347756 w 608801"/>
                      <a:gd name="connsiteY3" fmla="*/ 312539 h 1047750"/>
                      <a:gd name="connsiteX4" fmla="*/ 432054 w 608801"/>
                      <a:gd name="connsiteY4" fmla="*/ 0 h 1047750"/>
                      <a:gd name="connsiteX5" fmla="*/ 608801 w 608801"/>
                      <a:gd name="connsiteY5" fmla="*/ 28575 h 1047750"/>
                      <a:gd name="connsiteX6" fmla="*/ 608801 w 608801"/>
                      <a:gd name="connsiteY6" fmla="*/ 1047750 h 1047750"/>
                      <a:gd name="connsiteX7" fmla="*/ 0 w 608801"/>
                      <a:gd name="connsiteY7" fmla="*/ 1047750 h 1047750"/>
                      <a:gd name="connsiteX8" fmla="*/ 0 w 608801"/>
                      <a:gd name="connsiteY8" fmla="*/ 28575 h 1047750"/>
                      <a:gd name="connsiteX0" fmla="*/ 0 w 608801"/>
                      <a:gd name="connsiteY0" fmla="*/ 30956 h 1050131"/>
                      <a:gd name="connsiteX1" fmla="*/ 213786 w 608801"/>
                      <a:gd name="connsiteY1" fmla="*/ 0 h 1050131"/>
                      <a:gd name="connsiteX2" fmla="*/ 306382 w 608801"/>
                      <a:gd name="connsiteY2" fmla="*/ 600075 h 1050131"/>
                      <a:gd name="connsiteX3" fmla="*/ 347756 w 608801"/>
                      <a:gd name="connsiteY3" fmla="*/ 314920 h 1050131"/>
                      <a:gd name="connsiteX4" fmla="*/ 432054 w 608801"/>
                      <a:gd name="connsiteY4" fmla="*/ 2381 h 1050131"/>
                      <a:gd name="connsiteX5" fmla="*/ 608801 w 608801"/>
                      <a:gd name="connsiteY5" fmla="*/ 30956 h 1050131"/>
                      <a:gd name="connsiteX6" fmla="*/ 608801 w 608801"/>
                      <a:gd name="connsiteY6" fmla="*/ 1050131 h 1050131"/>
                      <a:gd name="connsiteX7" fmla="*/ 0 w 608801"/>
                      <a:gd name="connsiteY7" fmla="*/ 1050131 h 1050131"/>
                      <a:gd name="connsiteX8" fmla="*/ 0 w 608801"/>
                      <a:gd name="connsiteY8" fmla="*/ 30956 h 1050131"/>
                      <a:gd name="connsiteX0" fmla="*/ 0 w 608801"/>
                      <a:gd name="connsiteY0" fmla="*/ 30956 h 1050131"/>
                      <a:gd name="connsiteX1" fmla="*/ 213786 w 608801"/>
                      <a:gd name="connsiteY1" fmla="*/ 0 h 1050131"/>
                      <a:gd name="connsiteX2" fmla="*/ 306382 w 608801"/>
                      <a:gd name="connsiteY2" fmla="*/ 600075 h 1050131"/>
                      <a:gd name="connsiteX3" fmla="*/ 347756 w 608801"/>
                      <a:gd name="connsiteY3" fmla="*/ 314920 h 1050131"/>
                      <a:gd name="connsiteX4" fmla="*/ 432054 w 608801"/>
                      <a:gd name="connsiteY4" fmla="*/ 2381 h 1050131"/>
                      <a:gd name="connsiteX5" fmla="*/ 589751 w 608801"/>
                      <a:gd name="connsiteY5" fmla="*/ 26194 h 1050131"/>
                      <a:gd name="connsiteX6" fmla="*/ 608801 w 608801"/>
                      <a:gd name="connsiteY6" fmla="*/ 1050131 h 1050131"/>
                      <a:gd name="connsiteX7" fmla="*/ 0 w 608801"/>
                      <a:gd name="connsiteY7" fmla="*/ 1050131 h 1050131"/>
                      <a:gd name="connsiteX8" fmla="*/ 0 w 608801"/>
                      <a:gd name="connsiteY8" fmla="*/ 30956 h 1050131"/>
                      <a:gd name="connsiteX0" fmla="*/ 64294 w 608801"/>
                      <a:gd name="connsiteY0" fmla="*/ 26193 h 1050131"/>
                      <a:gd name="connsiteX1" fmla="*/ 213786 w 608801"/>
                      <a:gd name="connsiteY1" fmla="*/ 0 h 1050131"/>
                      <a:gd name="connsiteX2" fmla="*/ 306382 w 608801"/>
                      <a:gd name="connsiteY2" fmla="*/ 600075 h 1050131"/>
                      <a:gd name="connsiteX3" fmla="*/ 347756 w 608801"/>
                      <a:gd name="connsiteY3" fmla="*/ 314920 h 1050131"/>
                      <a:gd name="connsiteX4" fmla="*/ 432054 w 608801"/>
                      <a:gd name="connsiteY4" fmla="*/ 2381 h 1050131"/>
                      <a:gd name="connsiteX5" fmla="*/ 589751 w 608801"/>
                      <a:gd name="connsiteY5" fmla="*/ 26194 h 1050131"/>
                      <a:gd name="connsiteX6" fmla="*/ 608801 w 608801"/>
                      <a:gd name="connsiteY6" fmla="*/ 1050131 h 1050131"/>
                      <a:gd name="connsiteX7" fmla="*/ 0 w 608801"/>
                      <a:gd name="connsiteY7" fmla="*/ 1050131 h 1050131"/>
                      <a:gd name="connsiteX8" fmla="*/ 64294 w 608801"/>
                      <a:gd name="connsiteY8" fmla="*/ 26193 h 1050131"/>
                      <a:gd name="connsiteX0" fmla="*/ 0 w 544507"/>
                      <a:gd name="connsiteY0" fmla="*/ 26193 h 1050131"/>
                      <a:gd name="connsiteX1" fmla="*/ 149492 w 544507"/>
                      <a:gd name="connsiteY1" fmla="*/ 0 h 1050131"/>
                      <a:gd name="connsiteX2" fmla="*/ 242088 w 544507"/>
                      <a:gd name="connsiteY2" fmla="*/ 600075 h 1050131"/>
                      <a:gd name="connsiteX3" fmla="*/ 283462 w 544507"/>
                      <a:gd name="connsiteY3" fmla="*/ 314920 h 1050131"/>
                      <a:gd name="connsiteX4" fmla="*/ 367760 w 544507"/>
                      <a:gd name="connsiteY4" fmla="*/ 2381 h 1050131"/>
                      <a:gd name="connsiteX5" fmla="*/ 525457 w 544507"/>
                      <a:gd name="connsiteY5" fmla="*/ 26194 h 1050131"/>
                      <a:gd name="connsiteX6" fmla="*/ 544507 w 544507"/>
                      <a:gd name="connsiteY6" fmla="*/ 1050131 h 1050131"/>
                      <a:gd name="connsiteX7" fmla="*/ 14287 w 544507"/>
                      <a:gd name="connsiteY7" fmla="*/ 900112 h 1050131"/>
                      <a:gd name="connsiteX8" fmla="*/ 0 w 544507"/>
                      <a:gd name="connsiteY8" fmla="*/ 26193 h 1050131"/>
                      <a:gd name="connsiteX0" fmla="*/ 0 w 525457"/>
                      <a:gd name="connsiteY0" fmla="*/ 26193 h 902493"/>
                      <a:gd name="connsiteX1" fmla="*/ 149492 w 525457"/>
                      <a:gd name="connsiteY1" fmla="*/ 0 h 902493"/>
                      <a:gd name="connsiteX2" fmla="*/ 242088 w 525457"/>
                      <a:gd name="connsiteY2" fmla="*/ 600075 h 902493"/>
                      <a:gd name="connsiteX3" fmla="*/ 283462 w 525457"/>
                      <a:gd name="connsiteY3" fmla="*/ 314920 h 902493"/>
                      <a:gd name="connsiteX4" fmla="*/ 367760 w 525457"/>
                      <a:gd name="connsiteY4" fmla="*/ 2381 h 902493"/>
                      <a:gd name="connsiteX5" fmla="*/ 525457 w 525457"/>
                      <a:gd name="connsiteY5" fmla="*/ 26194 h 902493"/>
                      <a:gd name="connsiteX6" fmla="*/ 511169 w 525457"/>
                      <a:gd name="connsiteY6" fmla="*/ 902493 h 902493"/>
                      <a:gd name="connsiteX7" fmla="*/ 14287 w 525457"/>
                      <a:gd name="connsiteY7" fmla="*/ 900112 h 902493"/>
                      <a:gd name="connsiteX8" fmla="*/ 0 w 525457"/>
                      <a:gd name="connsiteY8" fmla="*/ 26193 h 902493"/>
                      <a:gd name="connsiteX0" fmla="*/ 0 w 525457"/>
                      <a:gd name="connsiteY0" fmla="*/ 26193 h 902493"/>
                      <a:gd name="connsiteX1" fmla="*/ 149492 w 525457"/>
                      <a:gd name="connsiteY1" fmla="*/ 0 h 902493"/>
                      <a:gd name="connsiteX2" fmla="*/ 283462 w 525457"/>
                      <a:gd name="connsiteY2" fmla="*/ 314920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64412 w 525457"/>
                      <a:gd name="connsiteY2" fmla="*/ 172045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64412 w 525457"/>
                      <a:gd name="connsiteY2" fmla="*/ 172045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57268 w 525457"/>
                      <a:gd name="connsiteY2" fmla="*/ 174427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57268 w 525457"/>
                      <a:gd name="connsiteY2" fmla="*/ 174427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30955 h 907255"/>
                      <a:gd name="connsiteX1" fmla="*/ 149492 w 525457"/>
                      <a:gd name="connsiteY1" fmla="*/ 0 h 907255"/>
                      <a:gd name="connsiteX2" fmla="*/ 257268 w 525457"/>
                      <a:gd name="connsiteY2" fmla="*/ 179189 h 907255"/>
                      <a:gd name="connsiteX3" fmla="*/ 367760 w 525457"/>
                      <a:gd name="connsiteY3" fmla="*/ 7143 h 907255"/>
                      <a:gd name="connsiteX4" fmla="*/ 525457 w 525457"/>
                      <a:gd name="connsiteY4" fmla="*/ 30956 h 907255"/>
                      <a:gd name="connsiteX5" fmla="*/ 511169 w 525457"/>
                      <a:gd name="connsiteY5" fmla="*/ 907255 h 907255"/>
                      <a:gd name="connsiteX6" fmla="*/ 14287 w 525457"/>
                      <a:gd name="connsiteY6" fmla="*/ 904874 h 907255"/>
                      <a:gd name="connsiteX7" fmla="*/ 0 w 525457"/>
                      <a:gd name="connsiteY7" fmla="*/ 30955 h 907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457" h="907255">
                        <a:moveTo>
                          <a:pt x="0" y="30955"/>
                        </a:moveTo>
                        <a:lnTo>
                          <a:pt x="149492" y="0"/>
                        </a:lnTo>
                        <a:cubicBezTo>
                          <a:pt x="196736" y="48121"/>
                          <a:pt x="199808" y="93166"/>
                          <a:pt x="257268" y="179189"/>
                        </a:cubicBezTo>
                        <a:lnTo>
                          <a:pt x="367760" y="7143"/>
                        </a:lnTo>
                        <a:lnTo>
                          <a:pt x="525457" y="30956"/>
                        </a:lnTo>
                        <a:lnTo>
                          <a:pt x="511169" y="907255"/>
                        </a:lnTo>
                        <a:lnTo>
                          <a:pt x="14287" y="904874"/>
                        </a:lnTo>
                        <a:lnTo>
                          <a:pt x="0" y="30955"/>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7" name="Freeform 346"/>
                  <p:cNvSpPr/>
                  <p:nvPr/>
                </p:nvSpPr>
                <p:spPr bwMode="auto">
                  <a:xfrm rot="5400000">
                    <a:off x="11428551" y="1116145"/>
                    <a:ext cx="392904" cy="309562"/>
                  </a:xfrm>
                  <a:custGeom>
                    <a:avLst/>
                    <a:gdLst>
                      <a:gd name="connsiteX0" fmla="*/ 0 w 392904"/>
                      <a:gd name="connsiteY0" fmla="*/ 184191 h 309562"/>
                      <a:gd name="connsiteX1" fmla="*/ 0 w 392904"/>
                      <a:gd name="connsiteY1" fmla="*/ 125371 h 309562"/>
                      <a:gd name="connsiteX2" fmla="*/ 95323 w 392904"/>
                      <a:gd name="connsiteY2" fmla="*/ 30048 h 309562"/>
                      <a:gd name="connsiteX3" fmla="*/ 107911 w 392904"/>
                      <a:gd name="connsiteY3" fmla="*/ 30048 h 309562"/>
                      <a:gd name="connsiteX4" fmla="*/ 116458 w 392904"/>
                      <a:gd name="connsiteY4" fmla="*/ 9416 h 309562"/>
                      <a:gd name="connsiteX5" fmla="*/ 139189 w 392904"/>
                      <a:gd name="connsiteY5" fmla="*/ 0 h 309562"/>
                      <a:gd name="connsiteX6" fmla="*/ 182279 w 392904"/>
                      <a:gd name="connsiteY6" fmla="*/ 0 h 309562"/>
                      <a:gd name="connsiteX7" fmla="*/ 205010 w 392904"/>
                      <a:gd name="connsiteY7" fmla="*/ 9416 h 309562"/>
                      <a:gd name="connsiteX8" fmla="*/ 213557 w 392904"/>
                      <a:gd name="connsiteY8" fmla="*/ 30048 h 309562"/>
                      <a:gd name="connsiteX9" fmla="*/ 252339 w 392904"/>
                      <a:gd name="connsiteY9" fmla="*/ 30048 h 309562"/>
                      <a:gd name="connsiteX10" fmla="*/ 319742 w 392904"/>
                      <a:gd name="connsiteY10" fmla="*/ 57968 h 309562"/>
                      <a:gd name="connsiteX11" fmla="*/ 336441 w 392904"/>
                      <a:gd name="connsiteY11" fmla="*/ 82735 h 309562"/>
                      <a:gd name="connsiteX12" fmla="*/ 357186 w 392904"/>
                      <a:gd name="connsiteY12" fmla="*/ 80848 h 309562"/>
                      <a:gd name="connsiteX13" fmla="*/ 392904 w 392904"/>
                      <a:gd name="connsiteY13" fmla="*/ 152286 h 309562"/>
                      <a:gd name="connsiteX14" fmla="*/ 357186 w 392904"/>
                      <a:gd name="connsiteY14" fmla="*/ 235629 h 309562"/>
                      <a:gd name="connsiteX15" fmla="*/ 330992 w 392904"/>
                      <a:gd name="connsiteY15" fmla="*/ 235629 h 309562"/>
                      <a:gd name="connsiteX16" fmla="*/ 330992 w 392904"/>
                      <a:gd name="connsiteY16" fmla="*/ 234909 h 309562"/>
                      <a:gd name="connsiteX17" fmla="*/ 319742 w 392904"/>
                      <a:gd name="connsiteY17" fmla="*/ 251594 h 309562"/>
                      <a:gd name="connsiteX18" fmla="*/ 252339 w 392904"/>
                      <a:gd name="connsiteY18" fmla="*/ 279514 h 309562"/>
                      <a:gd name="connsiteX19" fmla="*/ 213557 w 392904"/>
                      <a:gd name="connsiteY19" fmla="*/ 279514 h 309562"/>
                      <a:gd name="connsiteX20" fmla="*/ 205010 w 392904"/>
                      <a:gd name="connsiteY20" fmla="*/ 300146 h 309562"/>
                      <a:gd name="connsiteX21" fmla="*/ 182279 w 392904"/>
                      <a:gd name="connsiteY21" fmla="*/ 309562 h 309562"/>
                      <a:gd name="connsiteX22" fmla="*/ 139189 w 392904"/>
                      <a:gd name="connsiteY22" fmla="*/ 309562 h 309562"/>
                      <a:gd name="connsiteX23" fmla="*/ 116458 w 392904"/>
                      <a:gd name="connsiteY23" fmla="*/ 300146 h 309562"/>
                      <a:gd name="connsiteX24" fmla="*/ 107911 w 392904"/>
                      <a:gd name="connsiteY24" fmla="*/ 279514 h 309562"/>
                      <a:gd name="connsiteX25" fmla="*/ 95323 w 392904"/>
                      <a:gd name="connsiteY25" fmla="*/ 279514 h 309562"/>
                      <a:gd name="connsiteX26" fmla="*/ 0 w 392904"/>
                      <a:gd name="connsiteY26" fmla="*/ 184191 h 30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904" h="309562">
                        <a:moveTo>
                          <a:pt x="0" y="184191"/>
                        </a:moveTo>
                        <a:lnTo>
                          <a:pt x="0" y="125371"/>
                        </a:lnTo>
                        <a:cubicBezTo>
                          <a:pt x="0" y="72726"/>
                          <a:pt x="42678" y="30048"/>
                          <a:pt x="95323" y="30048"/>
                        </a:cubicBezTo>
                        <a:lnTo>
                          <a:pt x="107911" y="30048"/>
                        </a:lnTo>
                        <a:lnTo>
                          <a:pt x="116458" y="9416"/>
                        </a:lnTo>
                        <a:cubicBezTo>
                          <a:pt x="122275" y="3598"/>
                          <a:pt x="130312" y="0"/>
                          <a:pt x="139189" y="0"/>
                        </a:cubicBezTo>
                        <a:lnTo>
                          <a:pt x="182279" y="0"/>
                        </a:lnTo>
                        <a:cubicBezTo>
                          <a:pt x="191156" y="0"/>
                          <a:pt x="199193" y="3598"/>
                          <a:pt x="205010" y="9416"/>
                        </a:cubicBezTo>
                        <a:lnTo>
                          <a:pt x="213557" y="30048"/>
                        </a:lnTo>
                        <a:lnTo>
                          <a:pt x="252339" y="30048"/>
                        </a:lnTo>
                        <a:cubicBezTo>
                          <a:pt x="278662" y="30048"/>
                          <a:pt x="302492" y="40718"/>
                          <a:pt x="319742" y="57968"/>
                        </a:cubicBezTo>
                        <a:lnTo>
                          <a:pt x="336441" y="82735"/>
                        </a:lnTo>
                        <a:lnTo>
                          <a:pt x="357186" y="80848"/>
                        </a:lnTo>
                        <a:lnTo>
                          <a:pt x="392904" y="152286"/>
                        </a:lnTo>
                        <a:lnTo>
                          <a:pt x="357186" y="235629"/>
                        </a:lnTo>
                        <a:lnTo>
                          <a:pt x="330992" y="235629"/>
                        </a:lnTo>
                        <a:lnTo>
                          <a:pt x="330992" y="234909"/>
                        </a:lnTo>
                        <a:lnTo>
                          <a:pt x="319742" y="251594"/>
                        </a:lnTo>
                        <a:cubicBezTo>
                          <a:pt x="302492" y="268845"/>
                          <a:pt x="278662" y="279514"/>
                          <a:pt x="252339" y="279514"/>
                        </a:cubicBezTo>
                        <a:lnTo>
                          <a:pt x="213557" y="279514"/>
                        </a:lnTo>
                        <a:lnTo>
                          <a:pt x="205010" y="300146"/>
                        </a:lnTo>
                        <a:cubicBezTo>
                          <a:pt x="199193" y="305964"/>
                          <a:pt x="191156" y="309562"/>
                          <a:pt x="182279" y="309562"/>
                        </a:cubicBezTo>
                        <a:lnTo>
                          <a:pt x="139189" y="309562"/>
                        </a:lnTo>
                        <a:cubicBezTo>
                          <a:pt x="130312" y="309562"/>
                          <a:pt x="122275" y="305964"/>
                          <a:pt x="116458" y="300146"/>
                        </a:cubicBezTo>
                        <a:lnTo>
                          <a:pt x="107911" y="279514"/>
                        </a:lnTo>
                        <a:lnTo>
                          <a:pt x="95323" y="279514"/>
                        </a:lnTo>
                        <a:cubicBezTo>
                          <a:pt x="42678" y="279514"/>
                          <a:pt x="0" y="236836"/>
                          <a:pt x="0" y="184191"/>
                        </a:cubicBezTo>
                        <a:close/>
                      </a:path>
                    </a:pathLst>
                  </a:cu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8" name="Freeform 347"/>
                  <p:cNvSpPr/>
                  <p:nvPr/>
                </p:nvSpPr>
                <p:spPr bwMode="auto">
                  <a:xfrm>
                    <a:off x="11472272" y="1019300"/>
                    <a:ext cx="301906" cy="195665"/>
                  </a:xfrm>
                  <a:custGeom>
                    <a:avLst/>
                    <a:gdLst>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1649"/>
                      <a:gd name="connsiteY0" fmla="*/ 190500 h 190500"/>
                      <a:gd name="connsiteX1" fmla="*/ 271463 w 301649"/>
                      <a:gd name="connsiteY1" fmla="*/ 116681 h 190500"/>
                      <a:gd name="connsiteX2" fmla="*/ 195263 w 301649"/>
                      <a:gd name="connsiteY2" fmla="*/ 107156 h 190500"/>
                      <a:gd name="connsiteX3" fmla="*/ 52388 w 301649"/>
                      <a:gd name="connsiteY3" fmla="*/ 100012 h 190500"/>
                      <a:gd name="connsiteX4" fmla="*/ 21431 w 301649"/>
                      <a:gd name="connsiteY4" fmla="*/ 119062 h 190500"/>
                      <a:gd name="connsiteX5" fmla="*/ 23813 w 301649"/>
                      <a:gd name="connsiteY5" fmla="*/ 164306 h 190500"/>
                      <a:gd name="connsiteX6" fmla="*/ 0 w 301649"/>
                      <a:gd name="connsiteY6" fmla="*/ 171450 h 190500"/>
                      <a:gd name="connsiteX7" fmla="*/ 97631 w 301649"/>
                      <a:gd name="connsiteY7" fmla="*/ 0 h 190500"/>
                      <a:gd name="connsiteX8" fmla="*/ 214313 w 301649"/>
                      <a:gd name="connsiteY8" fmla="*/ 40481 h 190500"/>
                      <a:gd name="connsiteX9" fmla="*/ 300038 w 301649"/>
                      <a:gd name="connsiteY9" fmla="*/ 190500 h 190500"/>
                      <a:gd name="connsiteX0" fmla="*/ 300038 w 301649"/>
                      <a:gd name="connsiteY0" fmla="*/ 194507 h 194507"/>
                      <a:gd name="connsiteX1" fmla="*/ 271463 w 301649"/>
                      <a:gd name="connsiteY1" fmla="*/ 120688 h 194507"/>
                      <a:gd name="connsiteX2" fmla="*/ 195263 w 301649"/>
                      <a:gd name="connsiteY2" fmla="*/ 111163 h 194507"/>
                      <a:gd name="connsiteX3" fmla="*/ 52388 w 301649"/>
                      <a:gd name="connsiteY3" fmla="*/ 104019 h 194507"/>
                      <a:gd name="connsiteX4" fmla="*/ 21431 w 301649"/>
                      <a:gd name="connsiteY4" fmla="*/ 123069 h 194507"/>
                      <a:gd name="connsiteX5" fmla="*/ 23813 w 301649"/>
                      <a:gd name="connsiteY5" fmla="*/ 168313 h 194507"/>
                      <a:gd name="connsiteX6" fmla="*/ 0 w 301649"/>
                      <a:gd name="connsiteY6" fmla="*/ 175457 h 194507"/>
                      <a:gd name="connsiteX7" fmla="*/ 97631 w 301649"/>
                      <a:gd name="connsiteY7" fmla="*/ 4007 h 194507"/>
                      <a:gd name="connsiteX8" fmla="*/ 214313 w 301649"/>
                      <a:gd name="connsiteY8" fmla="*/ 44488 h 194507"/>
                      <a:gd name="connsiteX9" fmla="*/ 300038 w 301649"/>
                      <a:gd name="connsiteY9" fmla="*/ 194507 h 194507"/>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21431 w 301649"/>
                      <a:gd name="connsiteY4" fmla="*/ 124227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45243 w 301649"/>
                      <a:gd name="connsiteY4" fmla="*/ 150420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4258 w 302094"/>
                      <a:gd name="connsiteY5" fmla="*/ 1694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1906" h="195665">
                        <a:moveTo>
                          <a:pt x="300483" y="195665"/>
                        </a:moveTo>
                        <a:cubicBezTo>
                          <a:pt x="231426" y="159153"/>
                          <a:pt x="281433" y="146452"/>
                          <a:pt x="271908" y="121846"/>
                        </a:cubicBezTo>
                        <a:cubicBezTo>
                          <a:pt x="246508" y="130578"/>
                          <a:pt x="221108" y="115496"/>
                          <a:pt x="195708" y="112321"/>
                        </a:cubicBezTo>
                        <a:cubicBezTo>
                          <a:pt x="117127" y="138515"/>
                          <a:pt x="86170" y="124227"/>
                          <a:pt x="52833" y="105177"/>
                        </a:cubicBezTo>
                        <a:lnTo>
                          <a:pt x="43307" y="126608"/>
                        </a:lnTo>
                        <a:cubicBezTo>
                          <a:pt x="32989" y="141689"/>
                          <a:pt x="32195" y="178203"/>
                          <a:pt x="12352" y="171852"/>
                        </a:cubicBezTo>
                        <a:lnTo>
                          <a:pt x="445" y="176615"/>
                        </a:lnTo>
                        <a:cubicBezTo>
                          <a:pt x="-2730" y="105177"/>
                          <a:pt x="9176" y="22627"/>
                          <a:pt x="98076" y="5165"/>
                        </a:cubicBezTo>
                        <a:cubicBezTo>
                          <a:pt x="186976" y="-12297"/>
                          <a:pt x="204439" y="17864"/>
                          <a:pt x="214758" y="45646"/>
                        </a:cubicBezTo>
                        <a:cubicBezTo>
                          <a:pt x="302864" y="31358"/>
                          <a:pt x="305246" y="133753"/>
                          <a:pt x="300483" y="19566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334" name="Rounded Rectangle 333"/>
                <p:cNvSpPr/>
                <p:nvPr/>
              </p:nvSpPr>
              <p:spPr bwMode="auto">
                <a:xfrm>
                  <a:off x="8174481" y="1331501"/>
                  <a:ext cx="877952" cy="719573"/>
                </a:xfrm>
                <a:prstGeom prst="roundRect">
                  <a:avLst>
                    <a:gd name="adj" fmla="val 8466"/>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35" name="Group 334"/>
                <p:cNvGrpSpPr/>
                <p:nvPr/>
              </p:nvGrpSpPr>
              <p:grpSpPr>
                <a:xfrm>
                  <a:off x="8073545" y="1323731"/>
                  <a:ext cx="1090143" cy="757908"/>
                  <a:chOff x="7381716" y="3699474"/>
                  <a:chExt cx="1230016" cy="855153"/>
                </a:xfrm>
              </p:grpSpPr>
              <p:sp>
                <p:nvSpPr>
                  <p:cNvPr id="336" name="Freeform 20"/>
                  <p:cNvSpPr>
                    <a:spLocks noEditPoints="1"/>
                  </p:cNvSpPr>
                  <p:nvPr/>
                </p:nvSpPr>
                <p:spPr bwMode="black">
                  <a:xfrm>
                    <a:off x="7381716" y="3699474"/>
                    <a:ext cx="1230016" cy="855153"/>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accent1"/>
                  </a:solidFill>
                  <a:extLst/>
                </p:spPr>
                <p:txBody>
                  <a:bodyPr vert="horz" wrap="square" lIns="82305" tIns="41153" rIns="82305" bIns="41153" numCol="1" anchor="t" anchorCtr="0" compatLnSpc="1">
                    <a:prstTxWarp prst="textNoShape">
                      <a:avLst/>
                    </a:prstTxWarp>
                  </a:bodyPr>
                  <a:lstStyle/>
                  <a:p>
                    <a:pPr defTabSz="932316"/>
                    <a:endParaRPr lang="en-US" sz="900" dirty="0">
                      <a:solidFill>
                        <a:srgbClr val="FFFFFF"/>
                      </a:solidFill>
                    </a:endParaRPr>
                  </a:p>
                </p:txBody>
              </p:sp>
              <p:grpSp>
                <p:nvGrpSpPr>
                  <p:cNvPr id="337" name="Group 336"/>
                  <p:cNvGrpSpPr/>
                  <p:nvPr/>
                </p:nvGrpSpPr>
                <p:grpSpPr>
                  <a:xfrm>
                    <a:off x="7559578" y="3772221"/>
                    <a:ext cx="508055" cy="321947"/>
                    <a:chOff x="4514106" y="3476226"/>
                    <a:chExt cx="697117" cy="441752"/>
                  </a:xfrm>
                </p:grpSpPr>
                <p:sp>
                  <p:nvSpPr>
                    <p:cNvPr id="338" name="Rectangle 337"/>
                    <p:cNvSpPr/>
                    <p:nvPr/>
                  </p:nvSpPr>
                  <p:spPr bwMode="auto">
                    <a:xfrm>
                      <a:off x="4514106" y="3703469"/>
                      <a:ext cx="219786" cy="21364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39" name="Rectangle 338"/>
                    <p:cNvSpPr/>
                    <p:nvPr/>
                  </p:nvSpPr>
                  <p:spPr bwMode="auto">
                    <a:xfrm>
                      <a:off x="4752723" y="3704335"/>
                      <a:ext cx="219787" cy="2136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0" name="Rectangle 339"/>
                    <p:cNvSpPr/>
                    <p:nvPr/>
                  </p:nvSpPr>
                  <p:spPr bwMode="auto">
                    <a:xfrm>
                      <a:off x="4514106" y="3476226"/>
                      <a:ext cx="219786" cy="2136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1" name="Rectangle 340"/>
                    <p:cNvSpPr/>
                    <p:nvPr/>
                  </p:nvSpPr>
                  <p:spPr bwMode="auto">
                    <a:xfrm>
                      <a:off x="4752723" y="3476226"/>
                      <a:ext cx="219786" cy="21364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2" name="Rectangle 341"/>
                    <p:cNvSpPr/>
                    <p:nvPr/>
                  </p:nvSpPr>
                  <p:spPr bwMode="auto">
                    <a:xfrm>
                      <a:off x="4991436" y="3704335"/>
                      <a:ext cx="219787" cy="2136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353" name="Group 352"/>
              <p:cNvGrpSpPr/>
              <p:nvPr/>
            </p:nvGrpSpPr>
            <p:grpSpPr>
              <a:xfrm>
                <a:off x="5926378" y="2402382"/>
                <a:ext cx="1017087" cy="1053045"/>
                <a:chOff x="6604713" y="113297"/>
                <a:chExt cx="1147587" cy="1188158"/>
              </a:xfrm>
            </p:grpSpPr>
            <p:grpSp>
              <p:nvGrpSpPr>
                <p:cNvPr id="354" name="Group 353"/>
                <p:cNvGrpSpPr/>
                <p:nvPr/>
              </p:nvGrpSpPr>
              <p:grpSpPr>
                <a:xfrm>
                  <a:off x="6604713" y="113297"/>
                  <a:ext cx="756643" cy="1188158"/>
                  <a:chOff x="7140575" y="303916"/>
                  <a:chExt cx="825500" cy="1296284"/>
                </a:xfrm>
              </p:grpSpPr>
              <p:sp>
                <p:nvSpPr>
                  <p:cNvPr id="365" name="Freeform 364"/>
                  <p:cNvSpPr/>
                  <p:nvPr/>
                </p:nvSpPr>
                <p:spPr bwMode="auto">
                  <a:xfrm>
                    <a:off x="7366613" y="638175"/>
                    <a:ext cx="142262" cy="131258"/>
                  </a:xfrm>
                  <a:custGeom>
                    <a:avLst/>
                    <a:gdLst>
                      <a:gd name="connsiteX0" fmla="*/ 41275 w 123825"/>
                      <a:gd name="connsiteY0" fmla="*/ 0 h 127000"/>
                      <a:gd name="connsiteX1" fmla="*/ 0 w 123825"/>
                      <a:gd name="connsiteY1" fmla="*/ 34925 h 127000"/>
                      <a:gd name="connsiteX2" fmla="*/ 104775 w 123825"/>
                      <a:gd name="connsiteY2" fmla="*/ 127000 h 127000"/>
                      <a:gd name="connsiteX3" fmla="*/ 123825 w 123825"/>
                      <a:gd name="connsiteY3" fmla="*/ 15875 h 127000"/>
                      <a:gd name="connsiteX4" fmla="*/ 41275 w 123825"/>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9779 w 142329"/>
                      <a:gd name="connsiteY0" fmla="*/ 0 h 127000"/>
                      <a:gd name="connsiteX1" fmla="*/ 2629 w 142329"/>
                      <a:gd name="connsiteY1" fmla="*/ 34925 h 127000"/>
                      <a:gd name="connsiteX2" fmla="*/ 123279 w 142329"/>
                      <a:gd name="connsiteY2" fmla="*/ 127000 h 127000"/>
                      <a:gd name="connsiteX3" fmla="*/ 142329 w 142329"/>
                      <a:gd name="connsiteY3" fmla="*/ 15875 h 127000"/>
                      <a:gd name="connsiteX4" fmla="*/ 59779 w 142329"/>
                      <a:gd name="connsiteY4" fmla="*/ 0 h 127000"/>
                      <a:gd name="connsiteX0" fmla="*/ 59712 w 142262"/>
                      <a:gd name="connsiteY0" fmla="*/ 0 h 131258"/>
                      <a:gd name="connsiteX1" fmla="*/ 2562 w 142262"/>
                      <a:gd name="connsiteY1" fmla="*/ 34925 h 131258"/>
                      <a:gd name="connsiteX2" fmla="*/ 123212 w 142262"/>
                      <a:gd name="connsiteY2" fmla="*/ 127000 h 131258"/>
                      <a:gd name="connsiteX3" fmla="*/ 142262 w 142262"/>
                      <a:gd name="connsiteY3" fmla="*/ 15875 h 131258"/>
                      <a:gd name="connsiteX4" fmla="*/ 59712 w 142262"/>
                      <a:gd name="connsiteY4" fmla="*/ 0 h 131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62" h="131258">
                        <a:moveTo>
                          <a:pt x="59712" y="0"/>
                        </a:moveTo>
                        <a:cubicBezTo>
                          <a:pt x="78762" y="94192"/>
                          <a:pt x="21612" y="23283"/>
                          <a:pt x="2562" y="34925"/>
                        </a:cubicBezTo>
                        <a:cubicBezTo>
                          <a:pt x="-17546" y="144992"/>
                          <a:pt x="86170" y="134408"/>
                          <a:pt x="123212" y="127000"/>
                        </a:cubicBezTo>
                        <a:lnTo>
                          <a:pt x="142262" y="15875"/>
                        </a:lnTo>
                        <a:lnTo>
                          <a:pt x="59712" y="0"/>
                        </a:lnTo>
                        <a:close/>
                      </a:path>
                    </a:pathLst>
                  </a:cu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66" name="Freeform 365"/>
                  <p:cNvSpPr/>
                  <p:nvPr/>
                </p:nvSpPr>
                <p:spPr bwMode="auto">
                  <a:xfrm flipH="1">
                    <a:off x="7623788" y="638175"/>
                    <a:ext cx="142262" cy="131258"/>
                  </a:xfrm>
                  <a:custGeom>
                    <a:avLst/>
                    <a:gdLst>
                      <a:gd name="connsiteX0" fmla="*/ 41275 w 123825"/>
                      <a:gd name="connsiteY0" fmla="*/ 0 h 127000"/>
                      <a:gd name="connsiteX1" fmla="*/ 0 w 123825"/>
                      <a:gd name="connsiteY1" fmla="*/ 34925 h 127000"/>
                      <a:gd name="connsiteX2" fmla="*/ 104775 w 123825"/>
                      <a:gd name="connsiteY2" fmla="*/ 127000 h 127000"/>
                      <a:gd name="connsiteX3" fmla="*/ 123825 w 123825"/>
                      <a:gd name="connsiteY3" fmla="*/ 15875 h 127000"/>
                      <a:gd name="connsiteX4" fmla="*/ 41275 w 123825"/>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9779 w 142329"/>
                      <a:gd name="connsiteY0" fmla="*/ 0 h 127000"/>
                      <a:gd name="connsiteX1" fmla="*/ 2629 w 142329"/>
                      <a:gd name="connsiteY1" fmla="*/ 34925 h 127000"/>
                      <a:gd name="connsiteX2" fmla="*/ 123279 w 142329"/>
                      <a:gd name="connsiteY2" fmla="*/ 127000 h 127000"/>
                      <a:gd name="connsiteX3" fmla="*/ 142329 w 142329"/>
                      <a:gd name="connsiteY3" fmla="*/ 15875 h 127000"/>
                      <a:gd name="connsiteX4" fmla="*/ 59779 w 142329"/>
                      <a:gd name="connsiteY4" fmla="*/ 0 h 127000"/>
                      <a:gd name="connsiteX0" fmla="*/ 59712 w 142262"/>
                      <a:gd name="connsiteY0" fmla="*/ 0 h 131258"/>
                      <a:gd name="connsiteX1" fmla="*/ 2562 w 142262"/>
                      <a:gd name="connsiteY1" fmla="*/ 34925 h 131258"/>
                      <a:gd name="connsiteX2" fmla="*/ 123212 w 142262"/>
                      <a:gd name="connsiteY2" fmla="*/ 127000 h 131258"/>
                      <a:gd name="connsiteX3" fmla="*/ 142262 w 142262"/>
                      <a:gd name="connsiteY3" fmla="*/ 15875 h 131258"/>
                      <a:gd name="connsiteX4" fmla="*/ 59712 w 142262"/>
                      <a:gd name="connsiteY4" fmla="*/ 0 h 131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62" h="131258">
                        <a:moveTo>
                          <a:pt x="59712" y="0"/>
                        </a:moveTo>
                        <a:cubicBezTo>
                          <a:pt x="78762" y="94192"/>
                          <a:pt x="21612" y="23283"/>
                          <a:pt x="2562" y="34925"/>
                        </a:cubicBezTo>
                        <a:cubicBezTo>
                          <a:pt x="-17546" y="144992"/>
                          <a:pt x="86170" y="134408"/>
                          <a:pt x="123212" y="127000"/>
                        </a:cubicBezTo>
                        <a:lnTo>
                          <a:pt x="142262" y="15875"/>
                        </a:lnTo>
                        <a:lnTo>
                          <a:pt x="59712" y="0"/>
                        </a:lnTo>
                        <a:close/>
                      </a:path>
                    </a:pathLst>
                  </a:cu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67" name="Rectangle 366"/>
                  <p:cNvSpPr/>
                  <p:nvPr/>
                </p:nvSpPr>
                <p:spPr bwMode="auto">
                  <a:xfrm>
                    <a:off x="7477125" y="784225"/>
                    <a:ext cx="164306" cy="4079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68" name="Rounded Rectangle 367"/>
                  <p:cNvSpPr/>
                  <p:nvPr/>
                </p:nvSpPr>
                <p:spPr bwMode="auto">
                  <a:xfrm>
                    <a:off x="7877175" y="1395413"/>
                    <a:ext cx="76200" cy="123825"/>
                  </a:xfrm>
                  <a:prstGeom prst="roundRect">
                    <a:avLst>
                      <a:gd name="adj" fmla="val 50000"/>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69" name="Rounded Rectangle 368"/>
                  <p:cNvSpPr/>
                  <p:nvPr/>
                </p:nvSpPr>
                <p:spPr bwMode="auto">
                  <a:xfrm>
                    <a:off x="7159572" y="1395413"/>
                    <a:ext cx="76200" cy="123825"/>
                  </a:xfrm>
                  <a:prstGeom prst="roundRect">
                    <a:avLst>
                      <a:gd name="adj" fmla="val 50000"/>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0" name="Freeform 369"/>
                  <p:cNvSpPr/>
                  <p:nvPr/>
                </p:nvSpPr>
                <p:spPr bwMode="auto">
                  <a:xfrm>
                    <a:off x="7140575" y="784225"/>
                    <a:ext cx="825500" cy="815975"/>
                  </a:xfrm>
                  <a:custGeom>
                    <a:avLst/>
                    <a:gdLst>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104775 w 825500"/>
                      <a:gd name="connsiteY10" fmla="*/ 660400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104775 w 825500"/>
                      <a:gd name="connsiteY10" fmla="*/ 660400 h 815975"/>
                      <a:gd name="connsiteX11" fmla="*/ 0 w 825500"/>
                      <a:gd name="connsiteY11" fmla="*/ 657225 h 815975"/>
                      <a:gd name="connsiteX12" fmla="*/ 149225 w 825500"/>
                      <a:gd name="connsiteY12" fmla="*/ 28575 h 815975"/>
                      <a:gd name="connsiteX13" fmla="*/ 336550 w 825500"/>
                      <a:gd name="connsiteY13" fmla="*/ 0 h 81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5500" h="815975">
                        <a:moveTo>
                          <a:pt x="336550" y="0"/>
                        </a:moveTo>
                        <a:lnTo>
                          <a:pt x="415925" y="574675"/>
                        </a:lnTo>
                        <a:lnTo>
                          <a:pt x="492125" y="3175"/>
                        </a:lnTo>
                        <a:lnTo>
                          <a:pt x="676275" y="19050"/>
                        </a:lnTo>
                        <a:cubicBezTo>
                          <a:pt x="799042" y="262467"/>
                          <a:pt x="817033" y="531283"/>
                          <a:pt x="825500" y="654050"/>
                        </a:cubicBezTo>
                        <a:lnTo>
                          <a:pt x="717550" y="657225"/>
                        </a:lnTo>
                        <a:cubicBezTo>
                          <a:pt x="729192" y="536575"/>
                          <a:pt x="693208" y="393700"/>
                          <a:pt x="666750" y="285750"/>
                        </a:cubicBezTo>
                        <a:lnTo>
                          <a:pt x="638175" y="815975"/>
                        </a:lnTo>
                        <a:lnTo>
                          <a:pt x="187325" y="815975"/>
                        </a:lnTo>
                        <a:lnTo>
                          <a:pt x="171450" y="285750"/>
                        </a:lnTo>
                        <a:cubicBezTo>
                          <a:pt x="134408" y="384175"/>
                          <a:pt x="110067" y="530225"/>
                          <a:pt x="104775" y="660400"/>
                        </a:cubicBezTo>
                        <a:lnTo>
                          <a:pt x="0" y="657225"/>
                        </a:lnTo>
                        <a:cubicBezTo>
                          <a:pt x="21167" y="508000"/>
                          <a:pt x="35983" y="276225"/>
                          <a:pt x="149225" y="28575"/>
                        </a:cubicBezTo>
                        <a:lnTo>
                          <a:pt x="336550" y="0"/>
                        </a:lnTo>
                        <a:close/>
                      </a:path>
                    </a:pathLst>
                  </a:custGeom>
                  <a:solidFill>
                    <a:srgbClr val="ADD4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1" name="Freeform 370"/>
                  <p:cNvSpPr/>
                  <p:nvPr/>
                </p:nvSpPr>
                <p:spPr bwMode="auto">
                  <a:xfrm rot="5400000">
                    <a:off x="7369932" y="462960"/>
                    <a:ext cx="392904" cy="309562"/>
                  </a:xfrm>
                  <a:custGeom>
                    <a:avLst/>
                    <a:gdLst>
                      <a:gd name="connsiteX0" fmla="*/ 0 w 392904"/>
                      <a:gd name="connsiteY0" fmla="*/ 184191 h 309562"/>
                      <a:gd name="connsiteX1" fmla="*/ 0 w 392904"/>
                      <a:gd name="connsiteY1" fmla="*/ 125371 h 309562"/>
                      <a:gd name="connsiteX2" fmla="*/ 95323 w 392904"/>
                      <a:gd name="connsiteY2" fmla="*/ 30048 h 309562"/>
                      <a:gd name="connsiteX3" fmla="*/ 107911 w 392904"/>
                      <a:gd name="connsiteY3" fmla="*/ 30048 h 309562"/>
                      <a:gd name="connsiteX4" fmla="*/ 116458 w 392904"/>
                      <a:gd name="connsiteY4" fmla="*/ 9416 h 309562"/>
                      <a:gd name="connsiteX5" fmla="*/ 139189 w 392904"/>
                      <a:gd name="connsiteY5" fmla="*/ 0 h 309562"/>
                      <a:gd name="connsiteX6" fmla="*/ 182279 w 392904"/>
                      <a:gd name="connsiteY6" fmla="*/ 0 h 309562"/>
                      <a:gd name="connsiteX7" fmla="*/ 205010 w 392904"/>
                      <a:gd name="connsiteY7" fmla="*/ 9416 h 309562"/>
                      <a:gd name="connsiteX8" fmla="*/ 213557 w 392904"/>
                      <a:gd name="connsiteY8" fmla="*/ 30048 h 309562"/>
                      <a:gd name="connsiteX9" fmla="*/ 252339 w 392904"/>
                      <a:gd name="connsiteY9" fmla="*/ 30048 h 309562"/>
                      <a:gd name="connsiteX10" fmla="*/ 319742 w 392904"/>
                      <a:gd name="connsiteY10" fmla="*/ 57968 h 309562"/>
                      <a:gd name="connsiteX11" fmla="*/ 336441 w 392904"/>
                      <a:gd name="connsiteY11" fmla="*/ 82735 h 309562"/>
                      <a:gd name="connsiteX12" fmla="*/ 357186 w 392904"/>
                      <a:gd name="connsiteY12" fmla="*/ 80848 h 309562"/>
                      <a:gd name="connsiteX13" fmla="*/ 392904 w 392904"/>
                      <a:gd name="connsiteY13" fmla="*/ 152286 h 309562"/>
                      <a:gd name="connsiteX14" fmla="*/ 357186 w 392904"/>
                      <a:gd name="connsiteY14" fmla="*/ 235629 h 309562"/>
                      <a:gd name="connsiteX15" fmla="*/ 330992 w 392904"/>
                      <a:gd name="connsiteY15" fmla="*/ 235629 h 309562"/>
                      <a:gd name="connsiteX16" fmla="*/ 330992 w 392904"/>
                      <a:gd name="connsiteY16" fmla="*/ 234909 h 309562"/>
                      <a:gd name="connsiteX17" fmla="*/ 319742 w 392904"/>
                      <a:gd name="connsiteY17" fmla="*/ 251594 h 309562"/>
                      <a:gd name="connsiteX18" fmla="*/ 252339 w 392904"/>
                      <a:gd name="connsiteY18" fmla="*/ 279514 h 309562"/>
                      <a:gd name="connsiteX19" fmla="*/ 213557 w 392904"/>
                      <a:gd name="connsiteY19" fmla="*/ 279514 h 309562"/>
                      <a:gd name="connsiteX20" fmla="*/ 205010 w 392904"/>
                      <a:gd name="connsiteY20" fmla="*/ 300146 h 309562"/>
                      <a:gd name="connsiteX21" fmla="*/ 182279 w 392904"/>
                      <a:gd name="connsiteY21" fmla="*/ 309562 h 309562"/>
                      <a:gd name="connsiteX22" fmla="*/ 139189 w 392904"/>
                      <a:gd name="connsiteY22" fmla="*/ 309562 h 309562"/>
                      <a:gd name="connsiteX23" fmla="*/ 116458 w 392904"/>
                      <a:gd name="connsiteY23" fmla="*/ 300146 h 309562"/>
                      <a:gd name="connsiteX24" fmla="*/ 107911 w 392904"/>
                      <a:gd name="connsiteY24" fmla="*/ 279514 h 309562"/>
                      <a:gd name="connsiteX25" fmla="*/ 95323 w 392904"/>
                      <a:gd name="connsiteY25" fmla="*/ 279514 h 309562"/>
                      <a:gd name="connsiteX26" fmla="*/ 0 w 392904"/>
                      <a:gd name="connsiteY26" fmla="*/ 184191 h 30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904" h="309562">
                        <a:moveTo>
                          <a:pt x="0" y="184191"/>
                        </a:moveTo>
                        <a:lnTo>
                          <a:pt x="0" y="125371"/>
                        </a:lnTo>
                        <a:cubicBezTo>
                          <a:pt x="0" y="72726"/>
                          <a:pt x="42678" y="30048"/>
                          <a:pt x="95323" y="30048"/>
                        </a:cubicBezTo>
                        <a:lnTo>
                          <a:pt x="107911" y="30048"/>
                        </a:lnTo>
                        <a:lnTo>
                          <a:pt x="116458" y="9416"/>
                        </a:lnTo>
                        <a:cubicBezTo>
                          <a:pt x="122275" y="3598"/>
                          <a:pt x="130312" y="0"/>
                          <a:pt x="139189" y="0"/>
                        </a:cubicBezTo>
                        <a:lnTo>
                          <a:pt x="182279" y="0"/>
                        </a:lnTo>
                        <a:cubicBezTo>
                          <a:pt x="191156" y="0"/>
                          <a:pt x="199193" y="3598"/>
                          <a:pt x="205010" y="9416"/>
                        </a:cubicBezTo>
                        <a:lnTo>
                          <a:pt x="213557" y="30048"/>
                        </a:lnTo>
                        <a:lnTo>
                          <a:pt x="252339" y="30048"/>
                        </a:lnTo>
                        <a:cubicBezTo>
                          <a:pt x="278662" y="30048"/>
                          <a:pt x="302492" y="40718"/>
                          <a:pt x="319742" y="57968"/>
                        </a:cubicBezTo>
                        <a:lnTo>
                          <a:pt x="336441" y="82735"/>
                        </a:lnTo>
                        <a:lnTo>
                          <a:pt x="357186" y="80848"/>
                        </a:lnTo>
                        <a:lnTo>
                          <a:pt x="392904" y="152286"/>
                        </a:lnTo>
                        <a:lnTo>
                          <a:pt x="357186" y="235629"/>
                        </a:lnTo>
                        <a:lnTo>
                          <a:pt x="330992" y="235629"/>
                        </a:lnTo>
                        <a:lnTo>
                          <a:pt x="330992" y="234909"/>
                        </a:lnTo>
                        <a:lnTo>
                          <a:pt x="319742" y="251594"/>
                        </a:lnTo>
                        <a:cubicBezTo>
                          <a:pt x="302492" y="268845"/>
                          <a:pt x="278662" y="279514"/>
                          <a:pt x="252339" y="279514"/>
                        </a:cubicBezTo>
                        <a:lnTo>
                          <a:pt x="213557" y="279514"/>
                        </a:lnTo>
                        <a:lnTo>
                          <a:pt x="205010" y="300146"/>
                        </a:lnTo>
                        <a:cubicBezTo>
                          <a:pt x="199193" y="305964"/>
                          <a:pt x="191156" y="309562"/>
                          <a:pt x="182279" y="309562"/>
                        </a:cubicBezTo>
                        <a:lnTo>
                          <a:pt x="139189" y="309562"/>
                        </a:lnTo>
                        <a:cubicBezTo>
                          <a:pt x="130312" y="309562"/>
                          <a:pt x="122275" y="305964"/>
                          <a:pt x="116458" y="300146"/>
                        </a:cubicBezTo>
                        <a:lnTo>
                          <a:pt x="107911" y="279514"/>
                        </a:lnTo>
                        <a:lnTo>
                          <a:pt x="95323" y="279514"/>
                        </a:lnTo>
                        <a:cubicBezTo>
                          <a:pt x="42678" y="279514"/>
                          <a:pt x="0" y="236836"/>
                          <a:pt x="0" y="184191"/>
                        </a:cubicBezTo>
                        <a:close/>
                      </a:path>
                    </a:pathLst>
                  </a:custGeom>
                  <a:solidFill>
                    <a:srgbClr val="FDB8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2" name="Freeform 371"/>
                  <p:cNvSpPr/>
                  <p:nvPr/>
                </p:nvSpPr>
                <p:spPr bwMode="auto">
                  <a:xfrm>
                    <a:off x="7375560" y="303916"/>
                    <a:ext cx="364778" cy="283264"/>
                  </a:xfrm>
                  <a:custGeom>
                    <a:avLst/>
                    <a:gdLst>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1649"/>
                      <a:gd name="connsiteY0" fmla="*/ 190500 h 190500"/>
                      <a:gd name="connsiteX1" fmla="*/ 271463 w 301649"/>
                      <a:gd name="connsiteY1" fmla="*/ 116681 h 190500"/>
                      <a:gd name="connsiteX2" fmla="*/ 195263 w 301649"/>
                      <a:gd name="connsiteY2" fmla="*/ 107156 h 190500"/>
                      <a:gd name="connsiteX3" fmla="*/ 52388 w 301649"/>
                      <a:gd name="connsiteY3" fmla="*/ 100012 h 190500"/>
                      <a:gd name="connsiteX4" fmla="*/ 21431 w 301649"/>
                      <a:gd name="connsiteY4" fmla="*/ 119062 h 190500"/>
                      <a:gd name="connsiteX5" fmla="*/ 23813 w 301649"/>
                      <a:gd name="connsiteY5" fmla="*/ 164306 h 190500"/>
                      <a:gd name="connsiteX6" fmla="*/ 0 w 301649"/>
                      <a:gd name="connsiteY6" fmla="*/ 171450 h 190500"/>
                      <a:gd name="connsiteX7" fmla="*/ 97631 w 301649"/>
                      <a:gd name="connsiteY7" fmla="*/ 0 h 190500"/>
                      <a:gd name="connsiteX8" fmla="*/ 214313 w 301649"/>
                      <a:gd name="connsiteY8" fmla="*/ 40481 h 190500"/>
                      <a:gd name="connsiteX9" fmla="*/ 300038 w 301649"/>
                      <a:gd name="connsiteY9" fmla="*/ 190500 h 190500"/>
                      <a:gd name="connsiteX0" fmla="*/ 300038 w 301649"/>
                      <a:gd name="connsiteY0" fmla="*/ 194507 h 194507"/>
                      <a:gd name="connsiteX1" fmla="*/ 271463 w 301649"/>
                      <a:gd name="connsiteY1" fmla="*/ 120688 h 194507"/>
                      <a:gd name="connsiteX2" fmla="*/ 195263 w 301649"/>
                      <a:gd name="connsiteY2" fmla="*/ 111163 h 194507"/>
                      <a:gd name="connsiteX3" fmla="*/ 52388 w 301649"/>
                      <a:gd name="connsiteY3" fmla="*/ 104019 h 194507"/>
                      <a:gd name="connsiteX4" fmla="*/ 21431 w 301649"/>
                      <a:gd name="connsiteY4" fmla="*/ 123069 h 194507"/>
                      <a:gd name="connsiteX5" fmla="*/ 23813 w 301649"/>
                      <a:gd name="connsiteY5" fmla="*/ 168313 h 194507"/>
                      <a:gd name="connsiteX6" fmla="*/ 0 w 301649"/>
                      <a:gd name="connsiteY6" fmla="*/ 175457 h 194507"/>
                      <a:gd name="connsiteX7" fmla="*/ 97631 w 301649"/>
                      <a:gd name="connsiteY7" fmla="*/ 4007 h 194507"/>
                      <a:gd name="connsiteX8" fmla="*/ 214313 w 301649"/>
                      <a:gd name="connsiteY8" fmla="*/ 44488 h 194507"/>
                      <a:gd name="connsiteX9" fmla="*/ 300038 w 301649"/>
                      <a:gd name="connsiteY9" fmla="*/ 194507 h 194507"/>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21431 w 301649"/>
                      <a:gd name="connsiteY4" fmla="*/ 124227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45243 w 301649"/>
                      <a:gd name="connsiteY4" fmla="*/ 150420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4258 w 302094"/>
                      <a:gd name="connsiteY5" fmla="*/ 1694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157 w 305426"/>
                      <a:gd name="connsiteY0" fmla="*/ 207197 h 207197"/>
                      <a:gd name="connsiteX1" fmla="*/ 271582 w 305426"/>
                      <a:gd name="connsiteY1" fmla="*/ 133378 h 207197"/>
                      <a:gd name="connsiteX2" fmla="*/ 195382 w 305426"/>
                      <a:gd name="connsiteY2" fmla="*/ 123853 h 207197"/>
                      <a:gd name="connsiteX3" fmla="*/ 52507 w 305426"/>
                      <a:gd name="connsiteY3" fmla="*/ 116709 h 207197"/>
                      <a:gd name="connsiteX4" fmla="*/ 42981 w 305426"/>
                      <a:gd name="connsiteY4" fmla="*/ 138140 h 207197"/>
                      <a:gd name="connsiteX5" fmla="*/ 12026 w 305426"/>
                      <a:gd name="connsiteY5" fmla="*/ 183384 h 207197"/>
                      <a:gd name="connsiteX6" fmla="*/ 119 w 305426"/>
                      <a:gd name="connsiteY6" fmla="*/ 188147 h 207197"/>
                      <a:gd name="connsiteX7" fmla="*/ 97750 w 305426"/>
                      <a:gd name="connsiteY7" fmla="*/ 16697 h 207197"/>
                      <a:gd name="connsiteX8" fmla="*/ 236657 w 305426"/>
                      <a:gd name="connsiteY8" fmla="*/ 25428 h 207197"/>
                      <a:gd name="connsiteX9" fmla="*/ 300157 w 305426"/>
                      <a:gd name="connsiteY9" fmla="*/ 207197 h 207197"/>
                      <a:gd name="connsiteX0" fmla="*/ 301589 w 306858"/>
                      <a:gd name="connsiteY0" fmla="*/ 228594 h 228594"/>
                      <a:gd name="connsiteX1" fmla="*/ 273014 w 306858"/>
                      <a:gd name="connsiteY1" fmla="*/ 154775 h 228594"/>
                      <a:gd name="connsiteX2" fmla="*/ 196814 w 306858"/>
                      <a:gd name="connsiteY2" fmla="*/ 145250 h 228594"/>
                      <a:gd name="connsiteX3" fmla="*/ 53939 w 306858"/>
                      <a:gd name="connsiteY3" fmla="*/ 138106 h 228594"/>
                      <a:gd name="connsiteX4" fmla="*/ 44413 w 306858"/>
                      <a:gd name="connsiteY4" fmla="*/ 159537 h 228594"/>
                      <a:gd name="connsiteX5" fmla="*/ 13458 w 306858"/>
                      <a:gd name="connsiteY5" fmla="*/ 204781 h 228594"/>
                      <a:gd name="connsiteX6" fmla="*/ 1551 w 306858"/>
                      <a:gd name="connsiteY6" fmla="*/ 209544 h 228594"/>
                      <a:gd name="connsiteX7" fmla="*/ 35682 w 306858"/>
                      <a:gd name="connsiteY7" fmla="*/ 9519 h 228594"/>
                      <a:gd name="connsiteX8" fmla="*/ 238089 w 306858"/>
                      <a:gd name="connsiteY8" fmla="*/ 46825 h 228594"/>
                      <a:gd name="connsiteX9" fmla="*/ 301589 w 306858"/>
                      <a:gd name="connsiteY9" fmla="*/ 228594 h 228594"/>
                      <a:gd name="connsiteX0" fmla="*/ 309678 w 314947"/>
                      <a:gd name="connsiteY0" fmla="*/ 254831 h 254831"/>
                      <a:gd name="connsiteX1" fmla="*/ 281103 w 314947"/>
                      <a:gd name="connsiteY1" fmla="*/ 181012 h 254831"/>
                      <a:gd name="connsiteX2" fmla="*/ 204903 w 314947"/>
                      <a:gd name="connsiteY2" fmla="*/ 171487 h 254831"/>
                      <a:gd name="connsiteX3" fmla="*/ 62028 w 314947"/>
                      <a:gd name="connsiteY3" fmla="*/ 164343 h 254831"/>
                      <a:gd name="connsiteX4" fmla="*/ 52502 w 314947"/>
                      <a:gd name="connsiteY4" fmla="*/ 185774 h 254831"/>
                      <a:gd name="connsiteX5" fmla="*/ 21547 w 314947"/>
                      <a:gd name="connsiteY5" fmla="*/ 231018 h 254831"/>
                      <a:gd name="connsiteX6" fmla="*/ 9640 w 314947"/>
                      <a:gd name="connsiteY6" fmla="*/ 235781 h 254831"/>
                      <a:gd name="connsiteX7" fmla="*/ 43771 w 314947"/>
                      <a:gd name="connsiteY7" fmla="*/ 35756 h 254831"/>
                      <a:gd name="connsiteX8" fmla="*/ 246178 w 314947"/>
                      <a:gd name="connsiteY8" fmla="*/ 73062 h 254831"/>
                      <a:gd name="connsiteX9" fmla="*/ 309678 w 314947"/>
                      <a:gd name="connsiteY9" fmla="*/ 254831 h 254831"/>
                      <a:gd name="connsiteX0" fmla="*/ 322378 w 324871"/>
                      <a:gd name="connsiteY0" fmla="*/ 280231 h 280231"/>
                      <a:gd name="connsiteX1" fmla="*/ 281103 w 324871"/>
                      <a:gd name="connsiteY1" fmla="*/ 181012 h 280231"/>
                      <a:gd name="connsiteX2" fmla="*/ 204903 w 324871"/>
                      <a:gd name="connsiteY2" fmla="*/ 171487 h 280231"/>
                      <a:gd name="connsiteX3" fmla="*/ 62028 w 324871"/>
                      <a:gd name="connsiteY3" fmla="*/ 164343 h 280231"/>
                      <a:gd name="connsiteX4" fmla="*/ 52502 w 324871"/>
                      <a:gd name="connsiteY4" fmla="*/ 185774 h 280231"/>
                      <a:gd name="connsiteX5" fmla="*/ 21547 w 324871"/>
                      <a:gd name="connsiteY5" fmla="*/ 231018 h 280231"/>
                      <a:gd name="connsiteX6" fmla="*/ 9640 w 324871"/>
                      <a:gd name="connsiteY6" fmla="*/ 235781 h 280231"/>
                      <a:gd name="connsiteX7" fmla="*/ 43771 w 324871"/>
                      <a:gd name="connsiteY7" fmla="*/ 35756 h 280231"/>
                      <a:gd name="connsiteX8" fmla="*/ 246178 w 324871"/>
                      <a:gd name="connsiteY8" fmla="*/ 73062 h 280231"/>
                      <a:gd name="connsiteX9" fmla="*/ 322378 w 324871"/>
                      <a:gd name="connsiteY9" fmla="*/ 280231 h 280231"/>
                      <a:gd name="connsiteX0" fmla="*/ 322378 w 335881"/>
                      <a:gd name="connsiteY0" fmla="*/ 280231 h 280231"/>
                      <a:gd name="connsiteX1" fmla="*/ 281103 w 335881"/>
                      <a:gd name="connsiteY1" fmla="*/ 181012 h 280231"/>
                      <a:gd name="connsiteX2" fmla="*/ 204903 w 335881"/>
                      <a:gd name="connsiteY2" fmla="*/ 171487 h 280231"/>
                      <a:gd name="connsiteX3" fmla="*/ 62028 w 335881"/>
                      <a:gd name="connsiteY3" fmla="*/ 164343 h 280231"/>
                      <a:gd name="connsiteX4" fmla="*/ 52502 w 335881"/>
                      <a:gd name="connsiteY4" fmla="*/ 185774 h 280231"/>
                      <a:gd name="connsiteX5" fmla="*/ 21547 w 335881"/>
                      <a:gd name="connsiteY5" fmla="*/ 231018 h 280231"/>
                      <a:gd name="connsiteX6" fmla="*/ 9640 w 335881"/>
                      <a:gd name="connsiteY6" fmla="*/ 235781 h 280231"/>
                      <a:gd name="connsiteX7" fmla="*/ 43771 w 335881"/>
                      <a:gd name="connsiteY7" fmla="*/ 35756 h 280231"/>
                      <a:gd name="connsiteX8" fmla="*/ 246178 w 335881"/>
                      <a:gd name="connsiteY8" fmla="*/ 73062 h 280231"/>
                      <a:gd name="connsiteX9" fmla="*/ 322378 w 335881"/>
                      <a:gd name="connsiteY9" fmla="*/ 280231 h 280231"/>
                      <a:gd name="connsiteX0" fmla="*/ 320006 w 333509"/>
                      <a:gd name="connsiteY0" fmla="*/ 256912 h 256912"/>
                      <a:gd name="connsiteX1" fmla="*/ 278731 w 333509"/>
                      <a:gd name="connsiteY1" fmla="*/ 157693 h 256912"/>
                      <a:gd name="connsiteX2" fmla="*/ 202531 w 333509"/>
                      <a:gd name="connsiteY2" fmla="*/ 148168 h 256912"/>
                      <a:gd name="connsiteX3" fmla="*/ 59656 w 333509"/>
                      <a:gd name="connsiteY3" fmla="*/ 141024 h 256912"/>
                      <a:gd name="connsiteX4" fmla="*/ 50130 w 333509"/>
                      <a:gd name="connsiteY4" fmla="*/ 162455 h 256912"/>
                      <a:gd name="connsiteX5" fmla="*/ 19175 w 333509"/>
                      <a:gd name="connsiteY5" fmla="*/ 207699 h 256912"/>
                      <a:gd name="connsiteX6" fmla="*/ 918 w 333509"/>
                      <a:gd name="connsiteY6" fmla="*/ 253737 h 256912"/>
                      <a:gd name="connsiteX7" fmla="*/ 41399 w 333509"/>
                      <a:gd name="connsiteY7" fmla="*/ 12437 h 256912"/>
                      <a:gd name="connsiteX8" fmla="*/ 243806 w 333509"/>
                      <a:gd name="connsiteY8" fmla="*/ 49743 h 256912"/>
                      <a:gd name="connsiteX9" fmla="*/ 320006 w 333509"/>
                      <a:gd name="connsiteY9" fmla="*/ 256912 h 256912"/>
                      <a:gd name="connsiteX0" fmla="*/ 340397 w 353900"/>
                      <a:gd name="connsiteY0" fmla="*/ 256912 h 256912"/>
                      <a:gd name="connsiteX1" fmla="*/ 299122 w 353900"/>
                      <a:gd name="connsiteY1" fmla="*/ 157693 h 256912"/>
                      <a:gd name="connsiteX2" fmla="*/ 222922 w 353900"/>
                      <a:gd name="connsiteY2" fmla="*/ 148168 h 256912"/>
                      <a:gd name="connsiteX3" fmla="*/ 80047 w 353900"/>
                      <a:gd name="connsiteY3" fmla="*/ 141024 h 256912"/>
                      <a:gd name="connsiteX4" fmla="*/ 70521 w 353900"/>
                      <a:gd name="connsiteY4" fmla="*/ 162455 h 256912"/>
                      <a:gd name="connsiteX5" fmla="*/ 39566 w 353900"/>
                      <a:gd name="connsiteY5" fmla="*/ 207699 h 256912"/>
                      <a:gd name="connsiteX6" fmla="*/ 21309 w 353900"/>
                      <a:gd name="connsiteY6" fmla="*/ 253737 h 256912"/>
                      <a:gd name="connsiteX7" fmla="*/ 61790 w 353900"/>
                      <a:gd name="connsiteY7" fmla="*/ 12437 h 256912"/>
                      <a:gd name="connsiteX8" fmla="*/ 264197 w 353900"/>
                      <a:gd name="connsiteY8" fmla="*/ 49743 h 256912"/>
                      <a:gd name="connsiteX9" fmla="*/ 340397 w 353900"/>
                      <a:gd name="connsiteY9" fmla="*/ 256912 h 256912"/>
                      <a:gd name="connsiteX0" fmla="*/ 351275 w 364778"/>
                      <a:gd name="connsiteY0" fmla="*/ 283264 h 283264"/>
                      <a:gd name="connsiteX1" fmla="*/ 310000 w 364778"/>
                      <a:gd name="connsiteY1" fmla="*/ 184045 h 283264"/>
                      <a:gd name="connsiteX2" fmla="*/ 233800 w 364778"/>
                      <a:gd name="connsiteY2" fmla="*/ 174520 h 283264"/>
                      <a:gd name="connsiteX3" fmla="*/ 90925 w 364778"/>
                      <a:gd name="connsiteY3" fmla="*/ 167376 h 283264"/>
                      <a:gd name="connsiteX4" fmla="*/ 81399 w 364778"/>
                      <a:gd name="connsiteY4" fmla="*/ 188807 h 283264"/>
                      <a:gd name="connsiteX5" fmla="*/ 50444 w 364778"/>
                      <a:gd name="connsiteY5" fmla="*/ 234051 h 283264"/>
                      <a:gd name="connsiteX6" fmla="*/ 32187 w 364778"/>
                      <a:gd name="connsiteY6" fmla="*/ 280089 h 283264"/>
                      <a:gd name="connsiteX7" fmla="*/ 72668 w 364778"/>
                      <a:gd name="connsiteY7" fmla="*/ 38789 h 283264"/>
                      <a:gd name="connsiteX8" fmla="*/ 275075 w 364778"/>
                      <a:gd name="connsiteY8" fmla="*/ 76095 h 283264"/>
                      <a:gd name="connsiteX9" fmla="*/ 351275 w 364778"/>
                      <a:gd name="connsiteY9" fmla="*/ 283264 h 28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778" h="283264">
                        <a:moveTo>
                          <a:pt x="351275" y="283264"/>
                        </a:moveTo>
                        <a:cubicBezTo>
                          <a:pt x="282218" y="246752"/>
                          <a:pt x="319525" y="208651"/>
                          <a:pt x="310000" y="184045"/>
                        </a:cubicBezTo>
                        <a:cubicBezTo>
                          <a:pt x="284600" y="192777"/>
                          <a:pt x="259200" y="177695"/>
                          <a:pt x="233800" y="174520"/>
                        </a:cubicBezTo>
                        <a:cubicBezTo>
                          <a:pt x="155219" y="200714"/>
                          <a:pt x="124262" y="186426"/>
                          <a:pt x="90925" y="167376"/>
                        </a:cubicBezTo>
                        <a:lnTo>
                          <a:pt x="81399" y="188807"/>
                        </a:lnTo>
                        <a:cubicBezTo>
                          <a:pt x="71081" y="203888"/>
                          <a:pt x="70287" y="240402"/>
                          <a:pt x="50444" y="234051"/>
                        </a:cubicBezTo>
                        <a:lnTo>
                          <a:pt x="32187" y="280089"/>
                        </a:lnTo>
                        <a:cubicBezTo>
                          <a:pt x="-18613" y="186426"/>
                          <a:pt x="-12263" y="133113"/>
                          <a:pt x="72668" y="38789"/>
                        </a:cubicBezTo>
                        <a:cubicBezTo>
                          <a:pt x="157599" y="-55535"/>
                          <a:pt x="264756" y="48313"/>
                          <a:pt x="275075" y="76095"/>
                        </a:cubicBezTo>
                        <a:cubicBezTo>
                          <a:pt x="363181" y="61807"/>
                          <a:pt x="381438" y="253102"/>
                          <a:pt x="351275" y="283264"/>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355" name="Rounded Rectangle 354"/>
                <p:cNvSpPr/>
                <p:nvPr/>
              </p:nvSpPr>
              <p:spPr bwMode="auto">
                <a:xfrm>
                  <a:off x="7250334" y="369439"/>
                  <a:ext cx="480026" cy="862185"/>
                </a:xfrm>
                <a:prstGeom prst="roundRect">
                  <a:avLst>
                    <a:gd name="adj" fmla="val 469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56" name="Group 355"/>
                <p:cNvGrpSpPr/>
                <p:nvPr/>
              </p:nvGrpSpPr>
              <p:grpSpPr>
                <a:xfrm>
                  <a:off x="7233294" y="358167"/>
                  <a:ext cx="519006" cy="879723"/>
                  <a:chOff x="6687194" y="3493929"/>
                  <a:chExt cx="519006" cy="879723"/>
                </a:xfrm>
              </p:grpSpPr>
              <p:sp>
                <p:nvSpPr>
                  <p:cNvPr id="357" name="Rectangle 79"/>
                  <p:cNvSpPr/>
                  <p:nvPr/>
                </p:nvSpPr>
                <p:spPr>
                  <a:xfrm>
                    <a:off x="6687194" y="3493929"/>
                    <a:ext cx="519006" cy="879723"/>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316"/>
                    <a:endParaRPr lang="en-US" sz="1836" dirty="0">
                      <a:solidFill>
                        <a:srgbClr val="FFFFFF"/>
                      </a:solidFill>
                    </a:endParaRPr>
                  </a:p>
                </p:txBody>
              </p:sp>
              <p:grpSp>
                <p:nvGrpSpPr>
                  <p:cNvPr id="358" name="Group 357"/>
                  <p:cNvGrpSpPr/>
                  <p:nvPr/>
                </p:nvGrpSpPr>
                <p:grpSpPr>
                  <a:xfrm>
                    <a:off x="6764987" y="3587992"/>
                    <a:ext cx="314070" cy="462508"/>
                    <a:chOff x="6764864" y="3556134"/>
                    <a:chExt cx="314070" cy="462508"/>
                  </a:xfrm>
                </p:grpSpPr>
                <p:sp>
                  <p:nvSpPr>
                    <p:cNvPr id="359" name="Rectangle 358"/>
                    <p:cNvSpPr/>
                    <p:nvPr/>
                  </p:nvSpPr>
                  <p:spPr bwMode="auto">
                    <a:xfrm>
                      <a:off x="6764864" y="3556134"/>
                      <a:ext cx="147979" cy="14384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60" name="Rectangle 359"/>
                    <p:cNvSpPr/>
                    <p:nvPr/>
                  </p:nvSpPr>
                  <p:spPr bwMode="auto">
                    <a:xfrm>
                      <a:off x="6764864" y="3716106"/>
                      <a:ext cx="147979" cy="1438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61" name="Rectangle 360"/>
                    <p:cNvSpPr/>
                    <p:nvPr/>
                  </p:nvSpPr>
                  <p:spPr bwMode="auto">
                    <a:xfrm>
                      <a:off x="6930955" y="3556134"/>
                      <a:ext cx="147979" cy="14384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62" name="Rectangle 361"/>
                    <p:cNvSpPr/>
                    <p:nvPr/>
                  </p:nvSpPr>
                  <p:spPr bwMode="auto">
                    <a:xfrm>
                      <a:off x="6930955" y="3716106"/>
                      <a:ext cx="147979" cy="1438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63" name="Rectangle 362"/>
                    <p:cNvSpPr/>
                    <p:nvPr/>
                  </p:nvSpPr>
                  <p:spPr bwMode="auto">
                    <a:xfrm>
                      <a:off x="6764864" y="3874799"/>
                      <a:ext cx="147979" cy="14384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64" name="Rectangle 363"/>
                    <p:cNvSpPr/>
                    <p:nvPr/>
                  </p:nvSpPr>
                  <p:spPr bwMode="auto">
                    <a:xfrm>
                      <a:off x="6930955" y="3874800"/>
                      <a:ext cx="147979" cy="1438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grpSp>
        </p:grpSp>
      </p:grpSp>
      <p:sp>
        <p:nvSpPr>
          <p:cNvPr id="3" name="Slide Number Placeholder 2"/>
          <p:cNvSpPr>
            <a:spLocks noGrp="1"/>
          </p:cNvSpPr>
          <p:nvPr>
            <p:ph type="sldNum" sz="quarter" idx="11"/>
          </p:nvPr>
        </p:nvSpPr>
        <p:spPr/>
        <p:txBody>
          <a:bodyPr/>
          <a:lstStyle/>
          <a:p>
            <a:fld id="{27258FFF-F925-446B-8502-81C933981705}" type="slidenum">
              <a:rPr lang="en-US" smtClean="0"/>
              <a:pPr/>
              <a:t>18</a:t>
            </a:fld>
            <a:endParaRPr lang="en-US" dirty="0"/>
          </a:p>
        </p:txBody>
      </p:sp>
      <p:grpSp>
        <p:nvGrpSpPr>
          <p:cNvPr id="91" name="Group 90"/>
          <p:cNvGrpSpPr/>
          <p:nvPr/>
        </p:nvGrpSpPr>
        <p:grpSpPr>
          <a:xfrm>
            <a:off x="11070579" y="297389"/>
            <a:ext cx="932340" cy="913874"/>
            <a:chOff x="11070579" y="297389"/>
            <a:chExt cx="932340" cy="913874"/>
          </a:xfrm>
        </p:grpSpPr>
        <p:sp>
          <p:nvSpPr>
            <p:cNvPr id="92" name="Rectangle 91"/>
            <p:cNvSpPr/>
            <p:nvPr/>
          </p:nvSpPr>
          <p:spPr bwMode="auto">
            <a:xfrm>
              <a:off x="11070579" y="297389"/>
              <a:ext cx="932340" cy="913874"/>
            </a:xfrm>
            <a:prstGeom prst="rect">
              <a:avLst/>
            </a:prstGeom>
            <a:solidFill>
              <a:schemeClr val="accent2"/>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p>
              <a:pPr algn="l" defTabSz="932563" fontAlgn="auto">
                <a:spcAft>
                  <a:spcPts val="587"/>
                </a:spcAft>
              </a:pPr>
              <a:endParaRPr lang="en-US" sz="2200" dirty="0">
                <a:solidFill>
                  <a:schemeClr val="bg1"/>
                </a:solidFill>
                <a:latin typeface="+mj-lt"/>
                <a:cs typeface="Segoe UI Semibold" panose="020B0702040204020203" pitchFamily="34" charset="0"/>
              </a:endParaRPr>
            </a:p>
          </p:txBody>
        </p:sp>
        <p:sp>
          <p:nvSpPr>
            <p:cNvPr id="93" name="Rectangle 92"/>
            <p:cNvSpPr/>
            <p:nvPr/>
          </p:nvSpPr>
          <p:spPr>
            <a:xfrm>
              <a:off x="11070579" y="1137623"/>
              <a:ext cx="932340" cy="73640"/>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sp>
          <p:nvSpPr>
            <p:cNvPr id="94" name="Freeform 93"/>
            <p:cNvSpPr>
              <a:spLocks noEditPoints="1"/>
            </p:cNvSpPr>
            <p:nvPr/>
          </p:nvSpPr>
          <p:spPr bwMode="black">
            <a:xfrm>
              <a:off x="11329732" y="467317"/>
              <a:ext cx="414034" cy="574018"/>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alpha val="22000"/>
              </a:schemeClr>
            </a:solidFill>
            <a:ln w="0">
              <a:noFill/>
              <a:prstDash val="solid"/>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grpSp>
    </p:spTree>
    <p:extLst>
      <p:ext uri="{BB962C8B-B14F-4D97-AF65-F5344CB8AC3E}">
        <p14:creationId xmlns:p14="http://schemas.microsoft.com/office/powerpoint/2010/main" val="21902352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0-#ppt_w/2"/>
                                          </p:val>
                                        </p:tav>
                                        <p:tav tm="100000">
                                          <p:val>
                                            <p:strVal val="#ppt_x"/>
                                          </p:val>
                                        </p:tav>
                                      </p:tavLst>
                                    </p:anim>
                                    <p:anim calcmode="lin" valueType="num">
                                      <p:cBhvr additive="base">
                                        <p:cTn id="8" dur="7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6872"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ustomer Data</a:t>
            </a:r>
          </a:p>
        </p:txBody>
      </p:sp>
      <p:sp>
        <p:nvSpPr>
          <p:cNvPr id="3" name="Slide Number Placeholder 2"/>
          <p:cNvSpPr>
            <a:spLocks noGrp="1"/>
          </p:cNvSpPr>
          <p:nvPr>
            <p:ph type="sldNum" sz="quarter" idx="11"/>
          </p:nvPr>
        </p:nvSpPr>
        <p:spPr/>
        <p:txBody>
          <a:bodyPr/>
          <a:lstStyle/>
          <a:p>
            <a:fld id="{27258FFF-F925-446B-8502-81C933981705}" type="slidenum">
              <a:rPr lang="en-US" smtClean="0"/>
              <a:pPr/>
              <a:t>19</a:t>
            </a:fld>
            <a:endParaRPr lang="en-US" dirty="0"/>
          </a:p>
        </p:txBody>
      </p:sp>
      <p:grpSp>
        <p:nvGrpSpPr>
          <p:cNvPr id="17" name="Group 16"/>
          <p:cNvGrpSpPr/>
          <p:nvPr/>
        </p:nvGrpSpPr>
        <p:grpSpPr>
          <a:xfrm>
            <a:off x="579438" y="1411042"/>
            <a:ext cx="11277600" cy="5096121"/>
            <a:chOff x="579438" y="1411042"/>
            <a:chExt cx="11277600" cy="5096121"/>
          </a:xfrm>
        </p:grpSpPr>
        <p:sp>
          <p:nvSpPr>
            <p:cNvPr id="100" name="Rectangle 99"/>
            <p:cNvSpPr/>
            <p:nvPr/>
          </p:nvSpPr>
          <p:spPr>
            <a:xfrm>
              <a:off x="585216" y="1411042"/>
              <a:ext cx="11271822" cy="914400"/>
            </a:xfrm>
            <a:prstGeom prst="rect">
              <a:avLst/>
            </a:prstGeom>
            <a:solidFill>
              <a:schemeClr val="bg1">
                <a:lumMod val="95000"/>
              </a:schemeClr>
            </a:solidFill>
          </p:spPr>
          <p:txBody>
            <a:bodyPr wrap="square" lIns="137160" tIns="91440" rIns="137160" bIns="91440" anchor="ctr">
              <a:noAutofit/>
            </a:bodyPr>
            <a:lstStyle/>
            <a:p>
              <a:r>
                <a:rPr lang="en-IN" sz="2400" dirty="0">
                  <a:solidFill>
                    <a:schemeClr val="accent2"/>
                  </a:solidFill>
                  <a:latin typeface="+mj-lt"/>
                </a:rPr>
                <a:t>When a customer utilizes Azure, they </a:t>
              </a:r>
              <a:r>
                <a:rPr lang="en-IN" sz="2400" dirty="0" smtClean="0">
                  <a:solidFill>
                    <a:schemeClr val="accent2"/>
                  </a:solidFill>
                  <a:latin typeface="+mj-lt"/>
                </a:rPr>
                <a:t>retain exclusive </a:t>
              </a:r>
              <a:r>
                <a:rPr lang="en-IN" sz="2400" dirty="0">
                  <a:solidFill>
                    <a:schemeClr val="accent2"/>
                  </a:solidFill>
                  <a:latin typeface="+mj-lt"/>
                </a:rPr>
                <a:t>ownership of their data.</a:t>
              </a:r>
            </a:p>
          </p:txBody>
        </p:sp>
        <p:sp>
          <p:nvSpPr>
            <p:cNvPr id="43" name="Rounded Rectangle 42"/>
            <p:cNvSpPr/>
            <p:nvPr/>
          </p:nvSpPr>
          <p:spPr bwMode="auto">
            <a:xfrm>
              <a:off x="579438" y="2561079"/>
              <a:ext cx="8869680" cy="867377"/>
            </a:xfrm>
            <a:prstGeom prst="roundRect">
              <a:avLst>
                <a:gd name="adj" fmla="val 50000"/>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defRPr/>
              </a:pPr>
              <a:r>
                <a:rPr lang="en-US" sz="1600" dirty="0">
                  <a:ln w="3175">
                    <a:noFill/>
                  </a:ln>
                  <a:solidFill>
                    <a:schemeClr val="bg1"/>
                  </a:solidFill>
                  <a:latin typeface="Segoe UI Semibold" panose="020B0702040204020203" pitchFamily="34" charset="0"/>
                  <a:cs typeface="Segoe UI" pitchFamily="34" charset="0"/>
                </a:rPr>
                <a:t>Control over </a:t>
              </a:r>
              <a:br>
                <a:rPr lang="en-US" sz="1600" dirty="0">
                  <a:ln w="3175">
                    <a:noFill/>
                  </a:ln>
                  <a:solidFill>
                    <a:schemeClr val="bg1"/>
                  </a:solidFill>
                  <a:latin typeface="Segoe UI Semibold" panose="020B0702040204020203" pitchFamily="34" charset="0"/>
                  <a:cs typeface="Segoe UI" pitchFamily="34" charset="0"/>
                </a:rPr>
              </a:br>
              <a:r>
                <a:rPr lang="en-US" sz="1600" dirty="0">
                  <a:ln w="3175">
                    <a:noFill/>
                  </a:ln>
                  <a:solidFill>
                    <a:schemeClr val="bg1"/>
                  </a:solidFill>
                  <a:latin typeface="Segoe UI Semibold" panose="020B0702040204020203" pitchFamily="34" charset="0"/>
                  <a:cs typeface="Segoe UI" pitchFamily="34" charset="0"/>
                </a:rPr>
                <a:t>data location</a:t>
              </a:r>
            </a:p>
          </p:txBody>
        </p:sp>
        <p:sp>
          <p:nvSpPr>
            <p:cNvPr id="51" name="Rectangle 50"/>
            <p:cNvSpPr/>
            <p:nvPr/>
          </p:nvSpPr>
          <p:spPr bwMode="auto">
            <a:xfrm>
              <a:off x="4292618" y="2656047"/>
              <a:ext cx="4428647" cy="67744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r>
                <a:rPr lang="en-IN" sz="1400" dirty="0">
                  <a:ln w="3175">
                    <a:noFill/>
                  </a:ln>
                  <a:solidFill>
                    <a:schemeClr val="bg1"/>
                  </a:solidFill>
                  <a:cs typeface="Segoe UI" pitchFamily="34" charset="0"/>
                </a:rPr>
                <a:t>Customers choose data location </a:t>
              </a:r>
              <a:r>
                <a:rPr lang="en-IN" sz="1400" dirty="0" smtClean="0">
                  <a:ln w="3175">
                    <a:noFill/>
                  </a:ln>
                  <a:solidFill>
                    <a:schemeClr val="bg1"/>
                  </a:solidFill>
                  <a:cs typeface="Segoe UI" pitchFamily="34" charset="0"/>
                </a:rPr>
                <a:t>and</a:t>
              </a:r>
              <a:br>
                <a:rPr lang="en-IN" sz="1400" dirty="0" smtClean="0">
                  <a:ln w="3175">
                    <a:noFill/>
                  </a:ln>
                  <a:solidFill>
                    <a:schemeClr val="bg1"/>
                  </a:solidFill>
                  <a:cs typeface="Segoe UI" pitchFamily="34" charset="0"/>
                </a:rPr>
              </a:br>
              <a:r>
                <a:rPr lang="en-IN" sz="1400" dirty="0" smtClean="0">
                  <a:ln w="3175">
                    <a:noFill/>
                  </a:ln>
                  <a:solidFill>
                    <a:schemeClr val="bg1"/>
                  </a:solidFill>
                  <a:cs typeface="Segoe UI" pitchFamily="34" charset="0"/>
                </a:rPr>
                <a:t>replication </a:t>
              </a:r>
              <a:r>
                <a:rPr lang="en-IN" sz="1400" dirty="0">
                  <a:ln w="3175">
                    <a:noFill/>
                  </a:ln>
                  <a:solidFill>
                    <a:schemeClr val="bg1"/>
                  </a:solidFill>
                  <a:cs typeface="Segoe UI" pitchFamily="34" charset="0"/>
                </a:rPr>
                <a:t>options.</a:t>
              </a:r>
            </a:p>
          </p:txBody>
        </p:sp>
        <p:sp>
          <p:nvSpPr>
            <p:cNvPr id="30" name="Rounded Rectangle 29"/>
            <p:cNvSpPr/>
            <p:nvPr/>
          </p:nvSpPr>
          <p:spPr bwMode="auto">
            <a:xfrm>
              <a:off x="579438" y="3555487"/>
              <a:ext cx="9487841" cy="867377"/>
            </a:xfrm>
            <a:prstGeom prst="roundRect">
              <a:avLst>
                <a:gd name="adj" fmla="val 50000"/>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defRPr/>
              </a:pPr>
              <a:r>
                <a:rPr lang="en-US" sz="1600" dirty="0">
                  <a:ln w="3175">
                    <a:noFill/>
                  </a:ln>
                  <a:solidFill>
                    <a:schemeClr val="bg1"/>
                  </a:solidFill>
                  <a:latin typeface="Segoe UI Semibold" panose="020B0702040204020203" pitchFamily="34" charset="0"/>
                  <a:cs typeface="Segoe UI" pitchFamily="34" charset="0"/>
                </a:rPr>
                <a:t>Role based </a:t>
              </a:r>
              <a:br>
                <a:rPr lang="en-US" sz="1600" dirty="0">
                  <a:ln w="3175">
                    <a:noFill/>
                  </a:ln>
                  <a:solidFill>
                    <a:schemeClr val="bg1"/>
                  </a:solidFill>
                  <a:latin typeface="Segoe UI Semibold" panose="020B0702040204020203" pitchFamily="34" charset="0"/>
                  <a:cs typeface="Segoe UI" pitchFamily="34" charset="0"/>
                </a:rPr>
              </a:br>
              <a:r>
                <a:rPr lang="en-US" sz="1600" dirty="0">
                  <a:ln w="3175">
                    <a:noFill/>
                  </a:ln>
                  <a:solidFill>
                    <a:schemeClr val="bg1"/>
                  </a:solidFill>
                  <a:latin typeface="Segoe UI Semibold" panose="020B0702040204020203" pitchFamily="34" charset="0"/>
                  <a:cs typeface="Segoe UI" pitchFamily="34" charset="0"/>
                </a:rPr>
                <a:t>access control</a:t>
              </a:r>
            </a:p>
          </p:txBody>
        </p:sp>
        <p:sp>
          <p:nvSpPr>
            <p:cNvPr id="68" name="Rectangle 67"/>
            <p:cNvSpPr/>
            <p:nvPr/>
          </p:nvSpPr>
          <p:spPr bwMode="auto">
            <a:xfrm>
              <a:off x="4292618" y="3650455"/>
              <a:ext cx="4978973" cy="67744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r>
                <a:rPr lang="en-IN" sz="1400" dirty="0">
                  <a:ln w="3175">
                    <a:noFill/>
                  </a:ln>
                  <a:solidFill>
                    <a:schemeClr val="bg1"/>
                  </a:solidFill>
                  <a:cs typeface="Segoe UI" pitchFamily="34" charset="0"/>
                </a:rPr>
                <a:t>Tools support authorization based on a user’s role, simplifying access control across defined groups of users.</a:t>
              </a:r>
            </a:p>
          </p:txBody>
        </p:sp>
        <p:sp>
          <p:nvSpPr>
            <p:cNvPr id="31" name="Rounded Rectangle 30"/>
            <p:cNvSpPr/>
            <p:nvPr/>
          </p:nvSpPr>
          <p:spPr bwMode="auto">
            <a:xfrm>
              <a:off x="579438" y="4549895"/>
              <a:ext cx="10233874" cy="867377"/>
            </a:xfrm>
            <a:prstGeom prst="roundRect">
              <a:avLst>
                <a:gd name="adj" fmla="val 50000"/>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defRPr/>
              </a:pPr>
              <a:r>
                <a:rPr lang="en-US" sz="1600" dirty="0">
                  <a:ln w="3175">
                    <a:noFill/>
                  </a:ln>
                  <a:solidFill>
                    <a:schemeClr val="bg1"/>
                  </a:solidFill>
                  <a:latin typeface="Segoe UI Semibold" panose="020B0702040204020203" pitchFamily="34" charset="0"/>
                  <a:cs typeface="Segoe UI" pitchFamily="34" charset="0"/>
                </a:rPr>
                <a:t>Encryption key </a:t>
              </a:r>
              <a:br>
                <a:rPr lang="en-US" sz="1600" dirty="0">
                  <a:ln w="3175">
                    <a:noFill/>
                  </a:ln>
                  <a:solidFill>
                    <a:schemeClr val="bg1"/>
                  </a:solidFill>
                  <a:latin typeface="Segoe UI Semibold" panose="020B0702040204020203" pitchFamily="34" charset="0"/>
                  <a:cs typeface="Segoe UI" pitchFamily="34" charset="0"/>
                </a:rPr>
              </a:br>
              <a:r>
                <a:rPr lang="en-US" sz="1600" dirty="0">
                  <a:ln w="3175">
                    <a:noFill/>
                  </a:ln>
                  <a:solidFill>
                    <a:schemeClr val="bg1"/>
                  </a:solidFill>
                  <a:latin typeface="Segoe UI Semibold" panose="020B0702040204020203" pitchFamily="34" charset="0"/>
                  <a:cs typeface="Segoe UI" pitchFamily="34" charset="0"/>
                </a:rPr>
                <a:t>management</a:t>
              </a:r>
            </a:p>
          </p:txBody>
        </p:sp>
        <p:sp>
          <p:nvSpPr>
            <p:cNvPr id="69" name="Rectangle 68"/>
            <p:cNvSpPr/>
            <p:nvPr/>
          </p:nvSpPr>
          <p:spPr bwMode="auto">
            <a:xfrm>
              <a:off x="4292618" y="4644863"/>
              <a:ext cx="4806558" cy="67744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r>
                <a:rPr lang="en-IN" sz="1400" dirty="0">
                  <a:ln w="3175">
                    <a:noFill/>
                  </a:ln>
                  <a:solidFill>
                    <a:schemeClr val="bg1"/>
                  </a:solidFill>
                  <a:cs typeface="Segoe UI" pitchFamily="34" charset="0"/>
                </a:rPr>
                <a:t>Customers have the flexibility to generate and manage their own encryption keys. </a:t>
              </a:r>
            </a:p>
          </p:txBody>
        </p:sp>
        <p:sp>
          <p:nvSpPr>
            <p:cNvPr id="32" name="Rounded Rectangle 31"/>
            <p:cNvSpPr/>
            <p:nvPr/>
          </p:nvSpPr>
          <p:spPr bwMode="auto">
            <a:xfrm>
              <a:off x="579438" y="5544302"/>
              <a:ext cx="11277600" cy="867377"/>
            </a:xfrm>
            <a:prstGeom prst="roundRect">
              <a:avLst>
                <a:gd name="adj" fmla="val 50000"/>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defRPr/>
              </a:pPr>
              <a:r>
                <a:rPr lang="en-US" sz="1600" dirty="0">
                  <a:ln w="3175">
                    <a:noFill/>
                  </a:ln>
                  <a:solidFill>
                    <a:schemeClr val="bg1"/>
                  </a:solidFill>
                  <a:latin typeface="Segoe UI Semibold" panose="020B0702040204020203" pitchFamily="34" charset="0"/>
                  <a:cs typeface="Segoe UI" pitchFamily="34" charset="0"/>
                </a:rPr>
                <a:t>Control </a:t>
              </a:r>
              <a:br>
                <a:rPr lang="en-US" sz="1600" dirty="0">
                  <a:ln w="3175">
                    <a:noFill/>
                  </a:ln>
                  <a:solidFill>
                    <a:schemeClr val="bg1"/>
                  </a:solidFill>
                  <a:latin typeface="Segoe UI Semibold" panose="020B0702040204020203" pitchFamily="34" charset="0"/>
                  <a:cs typeface="Segoe UI" pitchFamily="34" charset="0"/>
                </a:rPr>
              </a:br>
              <a:r>
                <a:rPr lang="en-US" sz="1600" dirty="0">
                  <a:ln w="3175">
                    <a:noFill/>
                  </a:ln>
                  <a:solidFill>
                    <a:schemeClr val="bg1"/>
                  </a:solidFill>
                  <a:latin typeface="Segoe UI Semibold" panose="020B0702040204020203" pitchFamily="34" charset="0"/>
                  <a:cs typeface="Segoe UI" pitchFamily="34" charset="0"/>
                </a:rPr>
                <a:t>over data destruction</a:t>
              </a:r>
            </a:p>
          </p:txBody>
        </p:sp>
        <p:sp>
          <p:nvSpPr>
            <p:cNvPr id="70" name="Rectangle 69"/>
            <p:cNvSpPr/>
            <p:nvPr/>
          </p:nvSpPr>
          <p:spPr bwMode="auto">
            <a:xfrm>
              <a:off x="4292618" y="5639270"/>
              <a:ext cx="4428647" cy="67744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r>
                <a:rPr lang="en-IN" sz="1400" dirty="0">
                  <a:ln w="3175">
                    <a:noFill/>
                  </a:ln>
                  <a:solidFill>
                    <a:schemeClr val="bg1"/>
                  </a:solidFill>
                  <a:cs typeface="Segoe UI" pitchFamily="34" charset="0"/>
                </a:rPr>
                <a:t>Deletion of data on customer request and on contract termination.</a:t>
              </a:r>
            </a:p>
          </p:txBody>
        </p:sp>
        <p:sp>
          <p:nvSpPr>
            <p:cNvPr id="10" name="Rounded Rectangle 9"/>
            <p:cNvSpPr/>
            <p:nvPr/>
          </p:nvSpPr>
          <p:spPr bwMode="auto">
            <a:xfrm>
              <a:off x="3298929" y="2104883"/>
              <a:ext cx="396158" cy="4402280"/>
            </a:xfrm>
            <a:prstGeom prst="roundRect">
              <a:avLst>
                <a:gd name="adj" fmla="val 50000"/>
              </a:avLst>
            </a:prstGeom>
            <a:solidFill>
              <a:schemeClr val="bg1"/>
            </a:solid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3079241" y="2577000"/>
              <a:ext cx="835534" cy="835534"/>
              <a:chOff x="3079241" y="2674105"/>
              <a:chExt cx="835534" cy="835534"/>
            </a:xfrm>
          </p:grpSpPr>
          <p:sp>
            <p:nvSpPr>
              <p:cNvPr id="58" name="Oval 57"/>
              <p:cNvSpPr/>
              <p:nvPr/>
            </p:nvSpPr>
            <p:spPr bwMode="auto">
              <a:xfrm>
                <a:off x="3079241" y="2674105"/>
                <a:ext cx="835534" cy="835534"/>
              </a:xfrm>
              <a:prstGeom prst="ellipse">
                <a:avLst/>
              </a:prstGeom>
              <a:solidFill>
                <a:schemeClr val="bg1"/>
              </a:solidFill>
              <a:ln w="6350">
                <a:noFill/>
                <a:headEnd type="none" w="med" len="med"/>
                <a:tailEnd type="none" w="med" len="med"/>
              </a:ln>
              <a:effectLst>
                <a:outerShdw blurRad="63500" sx="104000" sy="104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58"/>
              <p:cNvGrpSpPr/>
              <p:nvPr/>
            </p:nvGrpSpPr>
            <p:grpSpPr>
              <a:xfrm>
                <a:off x="3291995" y="2897700"/>
                <a:ext cx="410027" cy="388344"/>
                <a:chOff x="-3227388" y="3256364"/>
                <a:chExt cx="1881884" cy="1782362"/>
              </a:xfrm>
              <a:solidFill>
                <a:schemeClr val="accent2"/>
              </a:solidFill>
            </p:grpSpPr>
            <p:sp>
              <p:nvSpPr>
                <p:cNvPr id="60" name="Freeform 8"/>
                <p:cNvSpPr>
                  <a:spLocks/>
                </p:cNvSpPr>
                <p:nvPr/>
              </p:nvSpPr>
              <p:spPr bwMode="auto">
                <a:xfrm>
                  <a:off x="-3227388" y="3490913"/>
                  <a:ext cx="1550988" cy="1547813"/>
                </a:xfrm>
                <a:custGeom>
                  <a:avLst/>
                  <a:gdLst>
                    <a:gd name="T0" fmla="*/ 0 w 3907"/>
                    <a:gd name="T1" fmla="*/ 0 h 3900"/>
                    <a:gd name="T2" fmla="*/ 3706 w 3907"/>
                    <a:gd name="T3" fmla="*/ 0 h 3900"/>
                    <a:gd name="T4" fmla="*/ 3609 w 3907"/>
                    <a:gd name="T5" fmla="*/ 87 h 3900"/>
                    <a:gd name="T6" fmla="*/ 3516 w 3907"/>
                    <a:gd name="T7" fmla="*/ 171 h 3900"/>
                    <a:gd name="T8" fmla="*/ 3425 w 3907"/>
                    <a:gd name="T9" fmla="*/ 254 h 3900"/>
                    <a:gd name="T10" fmla="*/ 3336 w 3907"/>
                    <a:gd name="T11" fmla="*/ 334 h 3900"/>
                    <a:gd name="T12" fmla="*/ 3246 w 3907"/>
                    <a:gd name="T13" fmla="*/ 412 h 3900"/>
                    <a:gd name="T14" fmla="*/ 3157 w 3907"/>
                    <a:gd name="T15" fmla="*/ 489 h 3900"/>
                    <a:gd name="T16" fmla="*/ 3140 w 3907"/>
                    <a:gd name="T17" fmla="*/ 498 h 3900"/>
                    <a:gd name="T18" fmla="*/ 3121 w 3907"/>
                    <a:gd name="T19" fmla="*/ 504 h 3900"/>
                    <a:gd name="T20" fmla="*/ 3098 w 3907"/>
                    <a:gd name="T21" fmla="*/ 507 h 3900"/>
                    <a:gd name="T22" fmla="*/ 3075 w 3907"/>
                    <a:gd name="T23" fmla="*/ 508 h 3900"/>
                    <a:gd name="T24" fmla="*/ 3050 w 3907"/>
                    <a:gd name="T25" fmla="*/ 507 h 3900"/>
                    <a:gd name="T26" fmla="*/ 3026 w 3907"/>
                    <a:gd name="T27" fmla="*/ 507 h 3900"/>
                    <a:gd name="T28" fmla="*/ 3002 w 3907"/>
                    <a:gd name="T29" fmla="*/ 505 h 3900"/>
                    <a:gd name="T30" fmla="*/ 715 w 3907"/>
                    <a:gd name="T31" fmla="*/ 507 h 3900"/>
                    <a:gd name="T32" fmla="*/ 656 w 3907"/>
                    <a:gd name="T33" fmla="*/ 507 h 3900"/>
                    <a:gd name="T34" fmla="*/ 595 w 3907"/>
                    <a:gd name="T35" fmla="*/ 507 h 3900"/>
                    <a:gd name="T36" fmla="*/ 529 w 3907"/>
                    <a:gd name="T37" fmla="*/ 507 h 3900"/>
                    <a:gd name="T38" fmla="*/ 529 w 3907"/>
                    <a:gd name="T39" fmla="*/ 3382 h 3900"/>
                    <a:gd name="T40" fmla="*/ 3405 w 3907"/>
                    <a:gd name="T41" fmla="*/ 3382 h 3900"/>
                    <a:gd name="T42" fmla="*/ 3406 w 3907"/>
                    <a:gd name="T43" fmla="*/ 2980 h 3900"/>
                    <a:gd name="T44" fmla="*/ 3406 w 3907"/>
                    <a:gd name="T45" fmla="*/ 2584 h 3900"/>
                    <a:gd name="T46" fmla="*/ 3406 w 3907"/>
                    <a:gd name="T47" fmla="*/ 2191 h 3900"/>
                    <a:gd name="T48" fmla="*/ 3403 w 3907"/>
                    <a:gd name="T49" fmla="*/ 1799 h 3900"/>
                    <a:gd name="T50" fmla="*/ 3404 w 3907"/>
                    <a:gd name="T51" fmla="*/ 1751 h 3900"/>
                    <a:gd name="T52" fmla="*/ 3410 w 3907"/>
                    <a:gd name="T53" fmla="*/ 1706 h 3900"/>
                    <a:gd name="T54" fmla="*/ 3421 w 3907"/>
                    <a:gd name="T55" fmla="*/ 1665 h 3900"/>
                    <a:gd name="T56" fmla="*/ 3437 w 3907"/>
                    <a:gd name="T57" fmla="*/ 1627 h 3900"/>
                    <a:gd name="T58" fmla="*/ 3460 w 3907"/>
                    <a:gd name="T59" fmla="*/ 1591 h 3900"/>
                    <a:gd name="T60" fmla="*/ 3489 w 3907"/>
                    <a:gd name="T61" fmla="*/ 1557 h 3900"/>
                    <a:gd name="T62" fmla="*/ 3524 w 3907"/>
                    <a:gd name="T63" fmla="*/ 1524 h 3900"/>
                    <a:gd name="T64" fmla="*/ 3598 w 3907"/>
                    <a:gd name="T65" fmla="*/ 1461 h 3900"/>
                    <a:gd name="T66" fmla="*/ 3674 w 3907"/>
                    <a:gd name="T67" fmla="*/ 1394 h 3900"/>
                    <a:gd name="T68" fmla="*/ 3747 w 3907"/>
                    <a:gd name="T69" fmla="*/ 1324 h 3900"/>
                    <a:gd name="T70" fmla="*/ 3825 w 3907"/>
                    <a:gd name="T71" fmla="*/ 1250 h 3900"/>
                    <a:gd name="T72" fmla="*/ 3907 w 3907"/>
                    <a:gd name="T73" fmla="*/ 1173 h 3900"/>
                    <a:gd name="T74" fmla="*/ 3907 w 3907"/>
                    <a:gd name="T75" fmla="*/ 1724 h 3900"/>
                    <a:gd name="T76" fmla="*/ 3907 w 3907"/>
                    <a:gd name="T77" fmla="*/ 2271 h 3900"/>
                    <a:gd name="T78" fmla="*/ 3907 w 3907"/>
                    <a:gd name="T79" fmla="*/ 2815 h 3900"/>
                    <a:gd name="T80" fmla="*/ 3907 w 3907"/>
                    <a:gd name="T81" fmla="*/ 3356 h 3900"/>
                    <a:gd name="T82" fmla="*/ 3907 w 3907"/>
                    <a:gd name="T83" fmla="*/ 3900 h 3900"/>
                    <a:gd name="T84" fmla="*/ 0 w 3907"/>
                    <a:gd name="T85" fmla="*/ 3900 h 3900"/>
                    <a:gd name="T86" fmla="*/ 0 w 3907"/>
                    <a:gd name="T87"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7" h="3900">
                      <a:moveTo>
                        <a:pt x="0" y="0"/>
                      </a:moveTo>
                      <a:lnTo>
                        <a:pt x="3706" y="0"/>
                      </a:lnTo>
                      <a:lnTo>
                        <a:pt x="3609" y="87"/>
                      </a:lnTo>
                      <a:lnTo>
                        <a:pt x="3516" y="171"/>
                      </a:lnTo>
                      <a:lnTo>
                        <a:pt x="3425" y="254"/>
                      </a:lnTo>
                      <a:lnTo>
                        <a:pt x="3336" y="334"/>
                      </a:lnTo>
                      <a:lnTo>
                        <a:pt x="3246" y="412"/>
                      </a:lnTo>
                      <a:lnTo>
                        <a:pt x="3157" y="489"/>
                      </a:lnTo>
                      <a:lnTo>
                        <a:pt x="3140" y="498"/>
                      </a:lnTo>
                      <a:lnTo>
                        <a:pt x="3121" y="504"/>
                      </a:lnTo>
                      <a:lnTo>
                        <a:pt x="3098" y="507"/>
                      </a:lnTo>
                      <a:lnTo>
                        <a:pt x="3075" y="508"/>
                      </a:lnTo>
                      <a:lnTo>
                        <a:pt x="3050" y="507"/>
                      </a:lnTo>
                      <a:lnTo>
                        <a:pt x="3026" y="507"/>
                      </a:lnTo>
                      <a:lnTo>
                        <a:pt x="3002" y="505"/>
                      </a:lnTo>
                      <a:lnTo>
                        <a:pt x="715" y="507"/>
                      </a:lnTo>
                      <a:lnTo>
                        <a:pt x="656" y="507"/>
                      </a:lnTo>
                      <a:lnTo>
                        <a:pt x="595" y="507"/>
                      </a:lnTo>
                      <a:lnTo>
                        <a:pt x="529" y="507"/>
                      </a:lnTo>
                      <a:lnTo>
                        <a:pt x="529" y="3382"/>
                      </a:lnTo>
                      <a:lnTo>
                        <a:pt x="3405" y="3382"/>
                      </a:lnTo>
                      <a:lnTo>
                        <a:pt x="3406" y="2980"/>
                      </a:lnTo>
                      <a:lnTo>
                        <a:pt x="3406" y="2584"/>
                      </a:lnTo>
                      <a:lnTo>
                        <a:pt x="3406" y="2191"/>
                      </a:lnTo>
                      <a:lnTo>
                        <a:pt x="3403" y="1799"/>
                      </a:lnTo>
                      <a:lnTo>
                        <a:pt x="3404" y="1751"/>
                      </a:lnTo>
                      <a:lnTo>
                        <a:pt x="3410" y="1706"/>
                      </a:lnTo>
                      <a:lnTo>
                        <a:pt x="3421" y="1665"/>
                      </a:lnTo>
                      <a:lnTo>
                        <a:pt x="3437" y="1627"/>
                      </a:lnTo>
                      <a:lnTo>
                        <a:pt x="3460" y="1591"/>
                      </a:lnTo>
                      <a:lnTo>
                        <a:pt x="3489" y="1557"/>
                      </a:lnTo>
                      <a:lnTo>
                        <a:pt x="3524" y="1524"/>
                      </a:lnTo>
                      <a:lnTo>
                        <a:pt x="3598" y="1461"/>
                      </a:lnTo>
                      <a:lnTo>
                        <a:pt x="3674" y="1394"/>
                      </a:lnTo>
                      <a:lnTo>
                        <a:pt x="3747" y="1324"/>
                      </a:lnTo>
                      <a:lnTo>
                        <a:pt x="3825" y="1250"/>
                      </a:lnTo>
                      <a:lnTo>
                        <a:pt x="3907" y="1173"/>
                      </a:lnTo>
                      <a:lnTo>
                        <a:pt x="3907" y="1724"/>
                      </a:lnTo>
                      <a:lnTo>
                        <a:pt x="3907" y="2271"/>
                      </a:lnTo>
                      <a:lnTo>
                        <a:pt x="3907" y="2815"/>
                      </a:lnTo>
                      <a:lnTo>
                        <a:pt x="3907" y="3356"/>
                      </a:lnTo>
                      <a:lnTo>
                        <a:pt x="3907" y="3900"/>
                      </a:lnTo>
                      <a:lnTo>
                        <a:pt x="0" y="3900"/>
                      </a:lnTo>
                      <a:lnTo>
                        <a:pt x="0"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sp>
              <p:nvSpPr>
                <p:cNvPr id="61" name="Freeform 9"/>
                <p:cNvSpPr>
                  <a:spLocks/>
                </p:cNvSpPr>
                <p:nvPr/>
              </p:nvSpPr>
              <p:spPr bwMode="auto">
                <a:xfrm>
                  <a:off x="-2894015" y="3256364"/>
                  <a:ext cx="1548511" cy="1351170"/>
                </a:xfrm>
                <a:custGeom>
                  <a:avLst/>
                  <a:gdLst>
                    <a:gd name="T0" fmla="*/ 3078 w 3078"/>
                    <a:gd name="T1" fmla="*/ 0 h 2682"/>
                    <a:gd name="T2" fmla="*/ 3078 w 3078"/>
                    <a:gd name="T3" fmla="*/ 157 h 2682"/>
                    <a:gd name="T4" fmla="*/ 3078 w 3078"/>
                    <a:gd name="T5" fmla="*/ 303 h 2682"/>
                    <a:gd name="T6" fmla="*/ 3078 w 3078"/>
                    <a:gd name="T7" fmla="*/ 315 h 2682"/>
                    <a:gd name="T8" fmla="*/ 3078 w 3078"/>
                    <a:gd name="T9" fmla="*/ 454 h 2682"/>
                    <a:gd name="T10" fmla="*/ 3077 w 3078"/>
                    <a:gd name="T11" fmla="*/ 597 h 2682"/>
                    <a:gd name="T12" fmla="*/ 3076 w 3078"/>
                    <a:gd name="T13" fmla="*/ 739 h 2682"/>
                    <a:gd name="T14" fmla="*/ 3072 w 3078"/>
                    <a:gd name="T15" fmla="*/ 755 h 2682"/>
                    <a:gd name="T16" fmla="*/ 3062 w 3078"/>
                    <a:gd name="T17" fmla="*/ 770 h 2682"/>
                    <a:gd name="T18" fmla="*/ 3050 w 3078"/>
                    <a:gd name="T19" fmla="*/ 787 h 2682"/>
                    <a:gd name="T20" fmla="*/ 3036 w 3078"/>
                    <a:gd name="T21" fmla="*/ 801 h 2682"/>
                    <a:gd name="T22" fmla="*/ 3023 w 3078"/>
                    <a:gd name="T23" fmla="*/ 814 h 2682"/>
                    <a:gd name="T24" fmla="*/ 1096 w 3078"/>
                    <a:gd name="T25" fmla="*/ 2666 h 2682"/>
                    <a:gd name="T26" fmla="*/ 1090 w 3078"/>
                    <a:gd name="T27" fmla="*/ 2669 h 2682"/>
                    <a:gd name="T28" fmla="*/ 1082 w 3078"/>
                    <a:gd name="T29" fmla="*/ 2673 h 2682"/>
                    <a:gd name="T30" fmla="*/ 1071 w 3078"/>
                    <a:gd name="T31" fmla="*/ 2676 h 2682"/>
                    <a:gd name="T32" fmla="*/ 1057 w 3078"/>
                    <a:gd name="T33" fmla="*/ 2682 h 2682"/>
                    <a:gd name="T34" fmla="*/ 531 w 3078"/>
                    <a:gd name="T35" fmla="*/ 2131 h 2682"/>
                    <a:gd name="T36" fmla="*/ 0 w 3078"/>
                    <a:gd name="T37" fmla="*/ 1576 h 2682"/>
                    <a:gd name="T38" fmla="*/ 83 w 3078"/>
                    <a:gd name="T39" fmla="*/ 1491 h 2682"/>
                    <a:gd name="T40" fmla="*/ 163 w 3078"/>
                    <a:gd name="T41" fmla="*/ 1408 h 2682"/>
                    <a:gd name="T42" fmla="*/ 240 w 3078"/>
                    <a:gd name="T43" fmla="*/ 1331 h 2682"/>
                    <a:gd name="T44" fmla="*/ 314 w 3078"/>
                    <a:gd name="T45" fmla="*/ 1256 h 2682"/>
                    <a:gd name="T46" fmla="*/ 383 w 3078"/>
                    <a:gd name="T47" fmla="*/ 1184 h 2682"/>
                    <a:gd name="T48" fmla="*/ 562 w 3078"/>
                    <a:gd name="T49" fmla="*/ 1347 h 2682"/>
                    <a:gd name="T50" fmla="*/ 739 w 3078"/>
                    <a:gd name="T51" fmla="*/ 1511 h 2682"/>
                    <a:gd name="T52" fmla="*/ 918 w 3078"/>
                    <a:gd name="T53" fmla="*/ 1674 h 2682"/>
                    <a:gd name="T54" fmla="*/ 1099 w 3078"/>
                    <a:gd name="T55" fmla="*/ 1840 h 2682"/>
                    <a:gd name="T56" fmla="*/ 1374 w 3078"/>
                    <a:gd name="T57" fmla="*/ 1584 h 2682"/>
                    <a:gd name="T58" fmla="*/ 1651 w 3078"/>
                    <a:gd name="T59" fmla="*/ 1326 h 2682"/>
                    <a:gd name="T60" fmla="*/ 1930 w 3078"/>
                    <a:gd name="T61" fmla="*/ 1066 h 2682"/>
                    <a:gd name="T62" fmla="*/ 2213 w 3078"/>
                    <a:gd name="T63" fmla="*/ 804 h 2682"/>
                    <a:gd name="T64" fmla="*/ 2498 w 3078"/>
                    <a:gd name="T65" fmla="*/ 539 h 2682"/>
                    <a:gd name="T66" fmla="*/ 2786 w 3078"/>
                    <a:gd name="T67" fmla="*/ 270 h 2682"/>
                    <a:gd name="T68" fmla="*/ 3078 w 3078"/>
                    <a:gd name="T69" fmla="*/ 0 h 2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8" h="2682">
                      <a:moveTo>
                        <a:pt x="3078" y="0"/>
                      </a:moveTo>
                      <a:lnTo>
                        <a:pt x="3078" y="157"/>
                      </a:lnTo>
                      <a:lnTo>
                        <a:pt x="3078" y="303"/>
                      </a:lnTo>
                      <a:lnTo>
                        <a:pt x="3078" y="315"/>
                      </a:lnTo>
                      <a:lnTo>
                        <a:pt x="3078" y="454"/>
                      </a:lnTo>
                      <a:lnTo>
                        <a:pt x="3077" y="597"/>
                      </a:lnTo>
                      <a:lnTo>
                        <a:pt x="3076" y="739"/>
                      </a:lnTo>
                      <a:lnTo>
                        <a:pt x="3072" y="755"/>
                      </a:lnTo>
                      <a:lnTo>
                        <a:pt x="3062" y="770"/>
                      </a:lnTo>
                      <a:lnTo>
                        <a:pt x="3050" y="787"/>
                      </a:lnTo>
                      <a:lnTo>
                        <a:pt x="3036" y="801"/>
                      </a:lnTo>
                      <a:lnTo>
                        <a:pt x="3023" y="814"/>
                      </a:lnTo>
                      <a:lnTo>
                        <a:pt x="1096" y="2666"/>
                      </a:lnTo>
                      <a:lnTo>
                        <a:pt x="1090" y="2669"/>
                      </a:lnTo>
                      <a:lnTo>
                        <a:pt x="1082" y="2673"/>
                      </a:lnTo>
                      <a:lnTo>
                        <a:pt x="1071" y="2676"/>
                      </a:lnTo>
                      <a:lnTo>
                        <a:pt x="1057" y="2682"/>
                      </a:lnTo>
                      <a:lnTo>
                        <a:pt x="531" y="2131"/>
                      </a:lnTo>
                      <a:lnTo>
                        <a:pt x="0" y="1576"/>
                      </a:lnTo>
                      <a:lnTo>
                        <a:pt x="83" y="1491"/>
                      </a:lnTo>
                      <a:lnTo>
                        <a:pt x="163" y="1408"/>
                      </a:lnTo>
                      <a:lnTo>
                        <a:pt x="240" y="1331"/>
                      </a:lnTo>
                      <a:lnTo>
                        <a:pt x="314" y="1256"/>
                      </a:lnTo>
                      <a:lnTo>
                        <a:pt x="383" y="1184"/>
                      </a:lnTo>
                      <a:lnTo>
                        <a:pt x="562" y="1347"/>
                      </a:lnTo>
                      <a:lnTo>
                        <a:pt x="739" y="1511"/>
                      </a:lnTo>
                      <a:lnTo>
                        <a:pt x="918" y="1674"/>
                      </a:lnTo>
                      <a:lnTo>
                        <a:pt x="1099" y="1840"/>
                      </a:lnTo>
                      <a:lnTo>
                        <a:pt x="1374" y="1584"/>
                      </a:lnTo>
                      <a:lnTo>
                        <a:pt x="1651" y="1326"/>
                      </a:lnTo>
                      <a:lnTo>
                        <a:pt x="1930" y="1066"/>
                      </a:lnTo>
                      <a:lnTo>
                        <a:pt x="2213" y="804"/>
                      </a:lnTo>
                      <a:lnTo>
                        <a:pt x="2498" y="539"/>
                      </a:lnTo>
                      <a:lnTo>
                        <a:pt x="2786" y="270"/>
                      </a:lnTo>
                      <a:lnTo>
                        <a:pt x="3078"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grpSp>
        </p:grpSp>
        <p:grpSp>
          <p:nvGrpSpPr>
            <p:cNvPr id="36" name="Group 35"/>
            <p:cNvGrpSpPr/>
            <p:nvPr/>
          </p:nvGrpSpPr>
          <p:grpSpPr>
            <a:xfrm>
              <a:off x="3079241" y="3571408"/>
              <a:ext cx="835534" cy="835534"/>
              <a:chOff x="3079241" y="2674105"/>
              <a:chExt cx="835534" cy="835534"/>
            </a:xfrm>
          </p:grpSpPr>
          <p:sp>
            <p:nvSpPr>
              <p:cNvPr id="37" name="Oval 36"/>
              <p:cNvSpPr/>
              <p:nvPr/>
            </p:nvSpPr>
            <p:spPr bwMode="auto">
              <a:xfrm>
                <a:off x="3079241" y="2674105"/>
                <a:ext cx="835534" cy="835534"/>
              </a:xfrm>
              <a:prstGeom prst="ellipse">
                <a:avLst/>
              </a:prstGeom>
              <a:solidFill>
                <a:schemeClr val="bg1"/>
              </a:solidFill>
              <a:ln w="6350">
                <a:noFill/>
                <a:headEnd type="none" w="med" len="med"/>
                <a:tailEnd type="none" w="med" len="med"/>
              </a:ln>
              <a:effectLst>
                <a:outerShdw blurRad="63500" sx="104000" sy="104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8" name="Group 37"/>
              <p:cNvGrpSpPr/>
              <p:nvPr/>
            </p:nvGrpSpPr>
            <p:grpSpPr>
              <a:xfrm>
                <a:off x="3291995" y="2897700"/>
                <a:ext cx="410027" cy="388344"/>
                <a:chOff x="-3227388" y="3256364"/>
                <a:chExt cx="1881884" cy="1782362"/>
              </a:xfrm>
              <a:solidFill>
                <a:schemeClr val="accent2"/>
              </a:solidFill>
            </p:grpSpPr>
            <p:sp>
              <p:nvSpPr>
                <p:cNvPr id="40" name="Freeform 8"/>
                <p:cNvSpPr>
                  <a:spLocks/>
                </p:cNvSpPr>
                <p:nvPr/>
              </p:nvSpPr>
              <p:spPr bwMode="auto">
                <a:xfrm>
                  <a:off x="-3227388" y="3490913"/>
                  <a:ext cx="1550988" cy="1547813"/>
                </a:xfrm>
                <a:custGeom>
                  <a:avLst/>
                  <a:gdLst>
                    <a:gd name="T0" fmla="*/ 0 w 3907"/>
                    <a:gd name="T1" fmla="*/ 0 h 3900"/>
                    <a:gd name="T2" fmla="*/ 3706 w 3907"/>
                    <a:gd name="T3" fmla="*/ 0 h 3900"/>
                    <a:gd name="T4" fmla="*/ 3609 w 3907"/>
                    <a:gd name="T5" fmla="*/ 87 h 3900"/>
                    <a:gd name="T6" fmla="*/ 3516 w 3907"/>
                    <a:gd name="T7" fmla="*/ 171 h 3900"/>
                    <a:gd name="T8" fmla="*/ 3425 w 3907"/>
                    <a:gd name="T9" fmla="*/ 254 h 3900"/>
                    <a:gd name="T10" fmla="*/ 3336 w 3907"/>
                    <a:gd name="T11" fmla="*/ 334 h 3900"/>
                    <a:gd name="T12" fmla="*/ 3246 w 3907"/>
                    <a:gd name="T13" fmla="*/ 412 h 3900"/>
                    <a:gd name="T14" fmla="*/ 3157 w 3907"/>
                    <a:gd name="T15" fmla="*/ 489 h 3900"/>
                    <a:gd name="T16" fmla="*/ 3140 w 3907"/>
                    <a:gd name="T17" fmla="*/ 498 h 3900"/>
                    <a:gd name="T18" fmla="*/ 3121 w 3907"/>
                    <a:gd name="T19" fmla="*/ 504 h 3900"/>
                    <a:gd name="T20" fmla="*/ 3098 w 3907"/>
                    <a:gd name="T21" fmla="*/ 507 h 3900"/>
                    <a:gd name="T22" fmla="*/ 3075 w 3907"/>
                    <a:gd name="T23" fmla="*/ 508 h 3900"/>
                    <a:gd name="T24" fmla="*/ 3050 w 3907"/>
                    <a:gd name="T25" fmla="*/ 507 h 3900"/>
                    <a:gd name="T26" fmla="*/ 3026 w 3907"/>
                    <a:gd name="T27" fmla="*/ 507 h 3900"/>
                    <a:gd name="T28" fmla="*/ 3002 w 3907"/>
                    <a:gd name="T29" fmla="*/ 505 h 3900"/>
                    <a:gd name="T30" fmla="*/ 715 w 3907"/>
                    <a:gd name="T31" fmla="*/ 507 h 3900"/>
                    <a:gd name="T32" fmla="*/ 656 w 3907"/>
                    <a:gd name="T33" fmla="*/ 507 h 3900"/>
                    <a:gd name="T34" fmla="*/ 595 w 3907"/>
                    <a:gd name="T35" fmla="*/ 507 h 3900"/>
                    <a:gd name="T36" fmla="*/ 529 w 3907"/>
                    <a:gd name="T37" fmla="*/ 507 h 3900"/>
                    <a:gd name="T38" fmla="*/ 529 w 3907"/>
                    <a:gd name="T39" fmla="*/ 3382 h 3900"/>
                    <a:gd name="T40" fmla="*/ 3405 w 3907"/>
                    <a:gd name="T41" fmla="*/ 3382 h 3900"/>
                    <a:gd name="T42" fmla="*/ 3406 w 3907"/>
                    <a:gd name="T43" fmla="*/ 2980 h 3900"/>
                    <a:gd name="T44" fmla="*/ 3406 w 3907"/>
                    <a:gd name="T45" fmla="*/ 2584 h 3900"/>
                    <a:gd name="T46" fmla="*/ 3406 w 3907"/>
                    <a:gd name="T47" fmla="*/ 2191 h 3900"/>
                    <a:gd name="T48" fmla="*/ 3403 w 3907"/>
                    <a:gd name="T49" fmla="*/ 1799 h 3900"/>
                    <a:gd name="T50" fmla="*/ 3404 w 3907"/>
                    <a:gd name="T51" fmla="*/ 1751 h 3900"/>
                    <a:gd name="T52" fmla="*/ 3410 w 3907"/>
                    <a:gd name="T53" fmla="*/ 1706 h 3900"/>
                    <a:gd name="T54" fmla="*/ 3421 w 3907"/>
                    <a:gd name="T55" fmla="*/ 1665 h 3900"/>
                    <a:gd name="T56" fmla="*/ 3437 w 3907"/>
                    <a:gd name="T57" fmla="*/ 1627 h 3900"/>
                    <a:gd name="T58" fmla="*/ 3460 w 3907"/>
                    <a:gd name="T59" fmla="*/ 1591 h 3900"/>
                    <a:gd name="T60" fmla="*/ 3489 w 3907"/>
                    <a:gd name="T61" fmla="*/ 1557 h 3900"/>
                    <a:gd name="T62" fmla="*/ 3524 w 3907"/>
                    <a:gd name="T63" fmla="*/ 1524 h 3900"/>
                    <a:gd name="T64" fmla="*/ 3598 w 3907"/>
                    <a:gd name="T65" fmla="*/ 1461 h 3900"/>
                    <a:gd name="T66" fmla="*/ 3674 w 3907"/>
                    <a:gd name="T67" fmla="*/ 1394 h 3900"/>
                    <a:gd name="T68" fmla="*/ 3747 w 3907"/>
                    <a:gd name="T69" fmla="*/ 1324 h 3900"/>
                    <a:gd name="T70" fmla="*/ 3825 w 3907"/>
                    <a:gd name="T71" fmla="*/ 1250 h 3900"/>
                    <a:gd name="T72" fmla="*/ 3907 w 3907"/>
                    <a:gd name="T73" fmla="*/ 1173 h 3900"/>
                    <a:gd name="T74" fmla="*/ 3907 w 3907"/>
                    <a:gd name="T75" fmla="*/ 1724 h 3900"/>
                    <a:gd name="T76" fmla="*/ 3907 w 3907"/>
                    <a:gd name="T77" fmla="*/ 2271 h 3900"/>
                    <a:gd name="T78" fmla="*/ 3907 w 3907"/>
                    <a:gd name="T79" fmla="*/ 2815 h 3900"/>
                    <a:gd name="T80" fmla="*/ 3907 w 3907"/>
                    <a:gd name="T81" fmla="*/ 3356 h 3900"/>
                    <a:gd name="T82" fmla="*/ 3907 w 3907"/>
                    <a:gd name="T83" fmla="*/ 3900 h 3900"/>
                    <a:gd name="T84" fmla="*/ 0 w 3907"/>
                    <a:gd name="T85" fmla="*/ 3900 h 3900"/>
                    <a:gd name="T86" fmla="*/ 0 w 3907"/>
                    <a:gd name="T87"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7" h="3900">
                      <a:moveTo>
                        <a:pt x="0" y="0"/>
                      </a:moveTo>
                      <a:lnTo>
                        <a:pt x="3706" y="0"/>
                      </a:lnTo>
                      <a:lnTo>
                        <a:pt x="3609" y="87"/>
                      </a:lnTo>
                      <a:lnTo>
                        <a:pt x="3516" y="171"/>
                      </a:lnTo>
                      <a:lnTo>
                        <a:pt x="3425" y="254"/>
                      </a:lnTo>
                      <a:lnTo>
                        <a:pt x="3336" y="334"/>
                      </a:lnTo>
                      <a:lnTo>
                        <a:pt x="3246" y="412"/>
                      </a:lnTo>
                      <a:lnTo>
                        <a:pt x="3157" y="489"/>
                      </a:lnTo>
                      <a:lnTo>
                        <a:pt x="3140" y="498"/>
                      </a:lnTo>
                      <a:lnTo>
                        <a:pt x="3121" y="504"/>
                      </a:lnTo>
                      <a:lnTo>
                        <a:pt x="3098" y="507"/>
                      </a:lnTo>
                      <a:lnTo>
                        <a:pt x="3075" y="508"/>
                      </a:lnTo>
                      <a:lnTo>
                        <a:pt x="3050" y="507"/>
                      </a:lnTo>
                      <a:lnTo>
                        <a:pt x="3026" y="507"/>
                      </a:lnTo>
                      <a:lnTo>
                        <a:pt x="3002" y="505"/>
                      </a:lnTo>
                      <a:lnTo>
                        <a:pt x="715" y="507"/>
                      </a:lnTo>
                      <a:lnTo>
                        <a:pt x="656" y="507"/>
                      </a:lnTo>
                      <a:lnTo>
                        <a:pt x="595" y="507"/>
                      </a:lnTo>
                      <a:lnTo>
                        <a:pt x="529" y="507"/>
                      </a:lnTo>
                      <a:lnTo>
                        <a:pt x="529" y="3382"/>
                      </a:lnTo>
                      <a:lnTo>
                        <a:pt x="3405" y="3382"/>
                      </a:lnTo>
                      <a:lnTo>
                        <a:pt x="3406" y="2980"/>
                      </a:lnTo>
                      <a:lnTo>
                        <a:pt x="3406" y="2584"/>
                      </a:lnTo>
                      <a:lnTo>
                        <a:pt x="3406" y="2191"/>
                      </a:lnTo>
                      <a:lnTo>
                        <a:pt x="3403" y="1799"/>
                      </a:lnTo>
                      <a:lnTo>
                        <a:pt x="3404" y="1751"/>
                      </a:lnTo>
                      <a:lnTo>
                        <a:pt x="3410" y="1706"/>
                      </a:lnTo>
                      <a:lnTo>
                        <a:pt x="3421" y="1665"/>
                      </a:lnTo>
                      <a:lnTo>
                        <a:pt x="3437" y="1627"/>
                      </a:lnTo>
                      <a:lnTo>
                        <a:pt x="3460" y="1591"/>
                      </a:lnTo>
                      <a:lnTo>
                        <a:pt x="3489" y="1557"/>
                      </a:lnTo>
                      <a:lnTo>
                        <a:pt x="3524" y="1524"/>
                      </a:lnTo>
                      <a:lnTo>
                        <a:pt x="3598" y="1461"/>
                      </a:lnTo>
                      <a:lnTo>
                        <a:pt x="3674" y="1394"/>
                      </a:lnTo>
                      <a:lnTo>
                        <a:pt x="3747" y="1324"/>
                      </a:lnTo>
                      <a:lnTo>
                        <a:pt x="3825" y="1250"/>
                      </a:lnTo>
                      <a:lnTo>
                        <a:pt x="3907" y="1173"/>
                      </a:lnTo>
                      <a:lnTo>
                        <a:pt x="3907" y="1724"/>
                      </a:lnTo>
                      <a:lnTo>
                        <a:pt x="3907" y="2271"/>
                      </a:lnTo>
                      <a:lnTo>
                        <a:pt x="3907" y="2815"/>
                      </a:lnTo>
                      <a:lnTo>
                        <a:pt x="3907" y="3356"/>
                      </a:lnTo>
                      <a:lnTo>
                        <a:pt x="3907" y="3900"/>
                      </a:lnTo>
                      <a:lnTo>
                        <a:pt x="0" y="3900"/>
                      </a:lnTo>
                      <a:lnTo>
                        <a:pt x="0"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sp>
              <p:nvSpPr>
                <p:cNvPr id="41" name="Freeform 9"/>
                <p:cNvSpPr>
                  <a:spLocks/>
                </p:cNvSpPr>
                <p:nvPr/>
              </p:nvSpPr>
              <p:spPr bwMode="auto">
                <a:xfrm>
                  <a:off x="-2894015" y="3256364"/>
                  <a:ext cx="1548511" cy="1351170"/>
                </a:xfrm>
                <a:custGeom>
                  <a:avLst/>
                  <a:gdLst>
                    <a:gd name="T0" fmla="*/ 3078 w 3078"/>
                    <a:gd name="T1" fmla="*/ 0 h 2682"/>
                    <a:gd name="T2" fmla="*/ 3078 w 3078"/>
                    <a:gd name="T3" fmla="*/ 157 h 2682"/>
                    <a:gd name="T4" fmla="*/ 3078 w 3078"/>
                    <a:gd name="T5" fmla="*/ 303 h 2682"/>
                    <a:gd name="T6" fmla="*/ 3078 w 3078"/>
                    <a:gd name="T7" fmla="*/ 315 h 2682"/>
                    <a:gd name="T8" fmla="*/ 3078 w 3078"/>
                    <a:gd name="T9" fmla="*/ 454 h 2682"/>
                    <a:gd name="T10" fmla="*/ 3077 w 3078"/>
                    <a:gd name="T11" fmla="*/ 597 h 2682"/>
                    <a:gd name="T12" fmla="*/ 3076 w 3078"/>
                    <a:gd name="T13" fmla="*/ 739 h 2682"/>
                    <a:gd name="T14" fmla="*/ 3072 w 3078"/>
                    <a:gd name="T15" fmla="*/ 755 h 2682"/>
                    <a:gd name="T16" fmla="*/ 3062 w 3078"/>
                    <a:gd name="T17" fmla="*/ 770 h 2682"/>
                    <a:gd name="T18" fmla="*/ 3050 w 3078"/>
                    <a:gd name="T19" fmla="*/ 787 h 2682"/>
                    <a:gd name="T20" fmla="*/ 3036 w 3078"/>
                    <a:gd name="T21" fmla="*/ 801 h 2682"/>
                    <a:gd name="T22" fmla="*/ 3023 w 3078"/>
                    <a:gd name="T23" fmla="*/ 814 h 2682"/>
                    <a:gd name="T24" fmla="*/ 1096 w 3078"/>
                    <a:gd name="T25" fmla="*/ 2666 h 2682"/>
                    <a:gd name="T26" fmla="*/ 1090 w 3078"/>
                    <a:gd name="T27" fmla="*/ 2669 h 2682"/>
                    <a:gd name="T28" fmla="*/ 1082 w 3078"/>
                    <a:gd name="T29" fmla="*/ 2673 h 2682"/>
                    <a:gd name="T30" fmla="*/ 1071 w 3078"/>
                    <a:gd name="T31" fmla="*/ 2676 h 2682"/>
                    <a:gd name="T32" fmla="*/ 1057 w 3078"/>
                    <a:gd name="T33" fmla="*/ 2682 h 2682"/>
                    <a:gd name="T34" fmla="*/ 531 w 3078"/>
                    <a:gd name="T35" fmla="*/ 2131 h 2682"/>
                    <a:gd name="T36" fmla="*/ 0 w 3078"/>
                    <a:gd name="T37" fmla="*/ 1576 h 2682"/>
                    <a:gd name="T38" fmla="*/ 83 w 3078"/>
                    <a:gd name="T39" fmla="*/ 1491 h 2682"/>
                    <a:gd name="T40" fmla="*/ 163 w 3078"/>
                    <a:gd name="T41" fmla="*/ 1408 h 2682"/>
                    <a:gd name="T42" fmla="*/ 240 w 3078"/>
                    <a:gd name="T43" fmla="*/ 1331 h 2682"/>
                    <a:gd name="T44" fmla="*/ 314 w 3078"/>
                    <a:gd name="T45" fmla="*/ 1256 h 2682"/>
                    <a:gd name="T46" fmla="*/ 383 w 3078"/>
                    <a:gd name="T47" fmla="*/ 1184 h 2682"/>
                    <a:gd name="T48" fmla="*/ 562 w 3078"/>
                    <a:gd name="T49" fmla="*/ 1347 h 2682"/>
                    <a:gd name="T50" fmla="*/ 739 w 3078"/>
                    <a:gd name="T51" fmla="*/ 1511 h 2682"/>
                    <a:gd name="T52" fmla="*/ 918 w 3078"/>
                    <a:gd name="T53" fmla="*/ 1674 h 2682"/>
                    <a:gd name="T54" fmla="*/ 1099 w 3078"/>
                    <a:gd name="T55" fmla="*/ 1840 h 2682"/>
                    <a:gd name="T56" fmla="*/ 1374 w 3078"/>
                    <a:gd name="T57" fmla="*/ 1584 h 2682"/>
                    <a:gd name="T58" fmla="*/ 1651 w 3078"/>
                    <a:gd name="T59" fmla="*/ 1326 h 2682"/>
                    <a:gd name="T60" fmla="*/ 1930 w 3078"/>
                    <a:gd name="T61" fmla="*/ 1066 h 2682"/>
                    <a:gd name="T62" fmla="*/ 2213 w 3078"/>
                    <a:gd name="T63" fmla="*/ 804 h 2682"/>
                    <a:gd name="T64" fmla="*/ 2498 w 3078"/>
                    <a:gd name="T65" fmla="*/ 539 h 2682"/>
                    <a:gd name="T66" fmla="*/ 2786 w 3078"/>
                    <a:gd name="T67" fmla="*/ 270 h 2682"/>
                    <a:gd name="T68" fmla="*/ 3078 w 3078"/>
                    <a:gd name="T69" fmla="*/ 0 h 2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8" h="2682">
                      <a:moveTo>
                        <a:pt x="3078" y="0"/>
                      </a:moveTo>
                      <a:lnTo>
                        <a:pt x="3078" y="157"/>
                      </a:lnTo>
                      <a:lnTo>
                        <a:pt x="3078" y="303"/>
                      </a:lnTo>
                      <a:lnTo>
                        <a:pt x="3078" y="315"/>
                      </a:lnTo>
                      <a:lnTo>
                        <a:pt x="3078" y="454"/>
                      </a:lnTo>
                      <a:lnTo>
                        <a:pt x="3077" y="597"/>
                      </a:lnTo>
                      <a:lnTo>
                        <a:pt x="3076" y="739"/>
                      </a:lnTo>
                      <a:lnTo>
                        <a:pt x="3072" y="755"/>
                      </a:lnTo>
                      <a:lnTo>
                        <a:pt x="3062" y="770"/>
                      </a:lnTo>
                      <a:lnTo>
                        <a:pt x="3050" y="787"/>
                      </a:lnTo>
                      <a:lnTo>
                        <a:pt x="3036" y="801"/>
                      </a:lnTo>
                      <a:lnTo>
                        <a:pt x="3023" y="814"/>
                      </a:lnTo>
                      <a:lnTo>
                        <a:pt x="1096" y="2666"/>
                      </a:lnTo>
                      <a:lnTo>
                        <a:pt x="1090" y="2669"/>
                      </a:lnTo>
                      <a:lnTo>
                        <a:pt x="1082" y="2673"/>
                      </a:lnTo>
                      <a:lnTo>
                        <a:pt x="1071" y="2676"/>
                      </a:lnTo>
                      <a:lnTo>
                        <a:pt x="1057" y="2682"/>
                      </a:lnTo>
                      <a:lnTo>
                        <a:pt x="531" y="2131"/>
                      </a:lnTo>
                      <a:lnTo>
                        <a:pt x="0" y="1576"/>
                      </a:lnTo>
                      <a:lnTo>
                        <a:pt x="83" y="1491"/>
                      </a:lnTo>
                      <a:lnTo>
                        <a:pt x="163" y="1408"/>
                      </a:lnTo>
                      <a:lnTo>
                        <a:pt x="240" y="1331"/>
                      </a:lnTo>
                      <a:lnTo>
                        <a:pt x="314" y="1256"/>
                      </a:lnTo>
                      <a:lnTo>
                        <a:pt x="383" y="1184"/>
                      </a:lnTo>
                      <a:lnTo>
                        <a:pt x="562" y="1347"/>
                      </a:lnTo>
                      <a:lnTo>
                        <a:pt x="739" y="1511"/>
                      </a:lnTo>
                      <a:lnTo>
                        <a:pt x="918" y="1674"/>
                      </a:lnTo>
                      <a:lnTo>
                        <a:pt x="1099" y="1840"/>
                      </a:lnTo>
                      <a:lnTo>
                        <a:pt x="1374" y="1584"/>
                      </a:lnTo>
                      <a:lnTo>
                        <a:pt x="1651" y="1326"/>
                      </a:lnTo>
                      <a:lnTo>
                        <a:pt x="1930" y="1066"/>
                      </a:lnTo>
                      <a:lnTo>
                        <a:pt x="2213" y="804"/>
                      </a:lnTo>
                      <a:lnTo>
                        <a:pt x="2498" y="539"/>
                      </a:lnTo>
                      <a:lnTo>
                        <a:pt x="2786" y="270"/>
                      </a:lnTo>
                      <a:lnTo>
                        <a:pt x="3078"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grpSp>
        </p:grpSp>
        <p:grpSp>
          <p:nvGrpSpPr>
            <p:cNvPr id="42" name="Group 41"/>
            <p:cNvGrpSpPr/>
            <p:nvPr/>
          </p:nvGrpSpPr>
          <p:grpSpPr>
            <a:xfrm>
              <a:off x="3079241" y="4565816"/>
              <a:ext cx="835534" cy="835534"/>
              <a:chOff x="3079241" y="2674105"/>
              <a:chExt cx="835534" cy="835534"/>
            </a:xfrm>
          </p:grpSpPr>
          <p:sp>
            <p:nvSpPr>
              <p:cNvPr id="46" name="Oval 45"/>
              <p:cNvSpPr/>
              <p:nvPr/>
            </p:nvSpPr>
            <p:spPr bwMode="auto">
              <a:xfrm>
                <a:off x="3079241" y="2674105"/>
                <a:ext cx="835534" cy="835534"/>
              </a:xfrm>
              <a:prstGeom prst="ellipse">
                <a:avLst/>
              </a:prstGeom>
              <a:solidFill>
                <a:schemeClr val="bg1"/>
              </a:solidFill>
              <a:ln w="6350">
                <a:noFill/>
                <a:headEnd type="none" w="med" len="med"/>
                <a:tailEnd type="none" w="med" len="med"/>
              </a:ln>
              <a:effectLst>
                <a:outerShdw blurRad="63500" sx="104000" sy="104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7" name="Group 46"/>
              <p:cNvGrpSpPr/>
              <p:nvPr/>
            </p:nvGrpSpPr>
            <p:grpSpPr>
              <a:xfrm>
                <a:off x="3291995" y="2897700"/>
                <a:ext cx="410027" cy="388344"/>
                <a:chOff x="-3227388" y="3256364"/>
                <a:chExt cx="1881884" cy="1782362"/>
              </a:xfrm>
              <a:solidFill>
                <a:schemeClr val="accent2"/>
              </a:solidFill>
            </p:grpSpPr>
            <p:sp>
              <p:nvSpPr>
                <p:cNvPr id="48" name="Freeform 8"/>
                <p:cNvSpPr>
                  <a:spLocks/>
                </p:cNvSpPr>
                <p:nvPr/>
              </p:nvSpPr>
              <p:spPr bwMode="auto">
                <a:xfrm>
                  <a:off x="-3227388" y="3490913"/>
                  <a:ext cx="1550988" cy="1547813"/>
                </a:xfrm>
                <a:custGeom>
                  <a:avLst/>
                  <a:gdLst>
                    <a:gd name="T0" fmla="*/ 0 w 3907"/>
                    <a:gd name="T1" fmla="*/ 0 h 3900"/>
                    <a:gd name="T2" fmla="*/ 3706 w 3907"/>
                    <a:gd name="T3" fmla="*/ 0 h 3900"/>
                    <a:gd name="T4" fmla="*/ 3609 w 3907"/>
                    <a:gd name="T5" fmla="*/ 87 h 3900"/>
                    <a:gd name="T6" fmla="*/ 3516 w 3907"/>
                    <a:gd name="T7" fmla="*/ 171 h 3900"/>
                    <a:gd name="T8" fmla="*/ 3425 w 3907"/>
                    <a:gd name="T9" fmla="*/ 254 h 3900"/>
                    <a:gd name="T10" fmla="*/ 3336 w 3907"/>
                    <a:gd name="T11" fmla="*/ 334 h 3900"/>
                    <a:gd name="T12" fmla="*/ 3246 w 3907"/>
                    <a:gd name="T13" fmla="*/ 412 h 3900"/>
                    <a:gd name="T14" fmla="*/ 3157 w 3907"/>
                    <a:gd name="T15" fmla="*/ 489 h 3900"/>
                    <a:gd name="T16" fmla="*/ 3140 w 3907"/>
                    <a:gd name="T17" fmla="*/ 498 h 3900"/>
                    <a:gd name="T18" fmla="*/ 3121 w 3907"/>
                    <a:gd name="T19" fmla="*/ 504 h 3900"/>
                    <a:gd name="T20" fmla="*/ 3098 w 3907"/>
                    <a:gd name="T21" fmla="*/ 507 h 3900"/>
                    <a:gd name="T22" fmla="*/ 3075 w 3907"/>
                    <a:gd name="T23" fmla="*/ 508 h 3900"/>
                    <a:gd name="T24" fmla="*/ 3050 w 3907"/>
                    <a:gd name="T25" fmla="*/ 507 h 3900"/>
                    <a:gd name="T26" fmla="*/ 3026 w 3907"/>
                    <a:gd name="T27" fmla="*/ 507 h 3900"/>
                    <a:gd name="T28" fmla="*/ 3002 w 3907"/>
                    <a:gd name="T29" fmla="*/ 505 h 3900"/>
                    <a:gd name="T30" fmla="*/ 715 w 3907"/>
                    <a:gd name="T31" fmla="*/ 507 h 3900"/>
                    <a:gd name="T32" fmla="*/ 656 w 3907"/>
                    <a:gd name="T33" fmla="*/ 507 h 3900"/>
                    <a:gd name="T34" fmla="*/ 595 w 3907"/>
                    <a:gd name="T35" fmla="*/ 507 h 3900"/>
                    <a:gd name="T36" fmla="*/ 529 w 3907"/>
                    <a:gd name="T37" fmla="*/ 507 h 3900"/>
                    <a:gd name="T38" fmla="*/ 529 w 3907"/>
                    <a:gd name="T39" fmla="*/ 3382 h 3900"/>
                    <a:gd name="T40" fmla="*/ 3405 w 3907"/>
                    <a:gd name="T41" fmla="*/ 3382 h 3900"/>
                    <a:gd name="T42" fmla="*/ 3406 w 3907"/>
                    <a:gd name="T43" fmla="*/ 2980 h 3900"/>
                    <a:gd name="T44" fmla="*/ 3406 w 3907"/>
                    <a:gd name="T45" fmla="*/ 2584 h 3900"/>
                    <a:gd name="T46" fmla="*/ 3406 w 3907"/>
                    <a:gd name="T47" fmla="*/ 2191 h 3900"/>
                    <a:gd name="T48" fmla="*/ 3403 w 3907"/>
                    <a:gd name="T49" fmla="*/ 1799 h 3900"/>
                    <a:gd name="T50" fmla="*/ 3404 w 3907"/>
                    <a:gd name="T51" fmla="*/ 1751 h 3900"/>
                    <a:gd name="T52" fmla="*/ 3410 w 3907"/>
                    <a:gd name="T53" fmla="*/ 1706 h 3900"/>
                    <a:gd name="T54" fmla="*/ 3421 w 3907"/>
                    <a:gd name="T55" fmla="*/ 1665 h 3900"/>
                    <a:gd name="T56" fmla="*/ 3437 w 3907"/>
                    <a:gd name="T57" fmla="*/ 1627 h 3900"/>
                    <a:gd name="T58" fmla="*/ 3460 w 3907"/>
                    <a:gd name="T59" fmla="*/ 1591 h 3900"/>
                    <a:gd name="T60" fmla="*/ 3489 w 3907"/>
                    <a:gd name="T61" fmla="*/ 1557 h 3900"/>
                    <a:gd name="T62" fmla="*/ 3524 w 3907"/>
                    <a:gd name="T63" fmla="*/ 1524 h 3900"/>
                    <a:gd name="T64" fmla="*/ 3598 w 3907"/>
                    <a:gd name="T65" fmla="*/ 1461 h 3900"/>
                    <a:gd name="T66" fmla="*/ 3674 w 3907"/>
                    <a:gd name="T67" fmla="*/ 1394 h 3900"/>
                    <a:gd name="T68" fmla="*/ 3747 w 3907"/>
                    <a:gd name="T69" fmla="*/ 1324 h 3900"/>
                    <a:gd name="T70" fmla="*/ 3825 w 3907"/>
                    <a:gd name="T71" fmla="*/ 1250 h 3900"/>
                    <a:gd name="T72" fmla="*/ 3907 w 3907"/>
                    <a:gd name="T73" fmla="*/ 1173 h 3900"/>
                    <a:gd name="T74" fmla="*/ 3907 w 3907"/>
                    <a:gd name="T75" fmla="*/ 1724 h 3900"/>
                    <a:gd name="T76" fmla="*/ 3907 w 3907"/>
                    <a:gd name="T77" fmla="*/ 2271 h 3900"/>
                    <a:gd name="T78" fmla="*/ 3907 w 3907"/>
                    <a:gd name="T79" fmla="*/ 2815 h 3900"/>
                    <a:gd name="T80" fmla="*/ 3907 w 3907"/>
                    <a:gd name="T81" fmla="*/ 3356 h 3900"/>
                    <a:gd name="T82" fmla="*/ 3907 w 3907"/>
                    <a:gd name="T83" fmla="*/ 3900 h 3900"/>
                    <a:gd name="T84" fmla="*/ 0 w 3907"/>
                    <a:gd name="T85" fmla="*/ 3900 h 3900"/>
                    <a:gd name="T86" fmla="*/ 0 w 3907"/>
                    <a:gd name="T87"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7" h="3900">
                      <a:moveTo>
                        <a:pt x="0" y="0"/>
                      </a:moveTo>
                      <a:lnTo>
                        <a:pt x="3706" y="0"/>
                      </a:lnTo>
                      <a:lnTo>
                        <a:pt x="3609" y="87"/>
                      </a:lnTo>
                      <a:lnTo>
                        <a:pt x="3516" y="171"/>
                      </a:lnTo>
                      <a:lnTo>
                        <a:pt x="3425" y="254"/>
                      </a:lnTo>
                      <a:lnTo>
                        <a:pt x="3336" y="334"/>
                      </a:lnTo>
                      <a:lnTo>
                        <a:pt x="3246" y="412"/>
                      </a:lnTo>
                      <a:lnTo>
                        <a:pt x="3157" y="489"/>
                      </a:lnTo>
                      <a:lnTo>
                        <a:pt x="3140" y="498"/>
                      </a:lnTo>
                      <a:lnTo>
                        <a:pt x="3121" y="504"/>
                      </a:lnTo>
                      <a:lnTo>
                        <a:pt x="3098" y="507"/>
                      </a:lnTo>
                      <a:lnTo>
                        <a:pt x="3075" y="508"/>
                      </a:lnTo>
                      <a:lnTo>
                        <a:pt x="3050" y="507"/>
                      </a:lnTo>
                      <a:lnTo>
                        <a:pt x="3026" y="507"/>
                      </a:lnTo>
                      <a:lnTo>
                        <a:pt x="3002" y="505"/>
                      </a:lnTo>
                      <a:lnTo>
                        <a:pt x="715" y="507"/>
                      </a:lnTo>
                      <a:lnTo>
                        <a:pt x="656" y="507"/>
                      </a:lnTo>
                      <a:lnTo>
                        <a:pt x="595" y="507"/>
                      </a:lnTo>
                      <a:lnTo>
                        <a:pt x="529" y="507"/>
                      </a:lnTo>
                      <a:lnTo>
                        <a:pt x="529" y="3382"/>
                      </a:lnTo>
                      <a:lnTo>
                        <a:pt x="3405" y="3382"/>
                      </a:lnTo>
                      <a:lnTo>
                        <a:pt x="3406" y="2980"/>
                      </a:lnTo>
                      <a:lnTo>
                        <a:pt x="3406" y="2584"/>
                      </a:lnTo>
                      <a:lnTo>
                        <a:pt x="3406" y="2191"/>
                      </a:lnTo>
                      <a:lnTo>
                        <a:pt x="3403" y="1799"/>
                      </a:lnTo>
                      <a:lnTo>
                        <a:pt x="3404" y="1751"/>
                      </a:lnTo>
                      <a:lnTo>
                        <a:pt x="3410" y="1706"/>
                      </a:lnTo>
                      <a:lnTo>
                        <a:pt x="3421" y="1665"/>
                      </a:lnTo>
                      <a:lnTo>
                        <a:pt x="3437" y="1627"/>
                      </a:lnTo>
                      <a:lnTo>
                        <a:pt x="3460" y="1591"/>
                      </a:lnTo>
                      <a:lnTo>
                        <a:pt x="3489" y="1557"/>
                      </a:lnTo>
                      <a:lnTo>
                        <a:pt x="3524" y="1524"/>
                      </a:lnTo>
                      <a:lnTo>
                        <a:pt x="3598" y="1461"/>
                      </a:lnTo>
                      <a:lnTo>
                        <a:pt x="3674" y="1394"/>
                      </a:lnTo>
                      <a:lnTo>
                        <a:pt x="3747" y="1324"/>
                      </a:lnTo>
                      <a:lnTo>
                        <a:pt x="3825" y="1250"/>
                      </a:lnTo>
                      <a:lnTo>
                        <a:pt x="3907" y="1173"/>
                      </a:lnTo>
                      <a:lnTo>
                        <a:pt x="3907" y="1724"/>
                      </a:lnTo>
                      <a:lnTo>
                        <a:pt x="3907" y="2271"/>
                      </a:lnTo>
                      <a:lnTo>
                        <a:pt x="3907" y="2815"/>
                      </a:lnTo>
                      <a:lnTo>
                        <a:pt x="3907" y="3356"/>
                      </a:lnTo>
                      <a:lnTo>
                        <a:pt x="3907" y="3900"/>
                      </a:lnTo>
                      <a:lnTo>
                        <a:pt x="0" y="3900"/>
                      </a:lnTo>
                      <a:lnTo>
                        <a:pt x="0"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sp>
              <p:nvSpPr>
                <p:cNvPr id="56" name="Freeform 9"/>
                <p:cNvSpPr>
                  <a:spLocks/>
                </p:cNvSpPr>
                <p:nvPr/>
              </p:nvSpPr>
              <p:spPr bwMode="auto">
                <a:xfrm>
                  <a:off x="-2894015" y="3256364"/>
                  <a:ext cx="1548511" cy="1351170"/>
                </a:xfrm>
                <a:custGeom>
                  <a:avLst/>
                  <a:gdLst>
                    <a:gd name="T0" fmla="*/ 3078 w 3078"/>
                    <a:gd name="T1" fmla="*/ 0 h 2682"/>
                    <a:gd name="T2" fmla="*/ 3078 w 3078"/>
                    <a:gd name="T3" fmla="*/ 157 h 2682"/>
                    <a:gd name="T4" fmla="*/ 3078 w 3078"/>
                    <a:gd name="T5" fmla="*/ 303 h 2682"/>
                    <a:gd name="T6" fmla="*/ 3078 w 3078"/>
                    <a:gd name="T7" fmla="*/ 315 h 2682"/>
                    <a:gd name="T8" fmla="*/ 3078 w 3078"/>
                    <a:gd name="T9" fmla="*/ 454 h 2682"/>
                    <a:gd name="T10" fmla="*/ 3077 w 3078"/>
                    <a:gd name="T11" fmla="*/ 597 h 2682"/>
                    <a:gd name="T12" fmla="*/ 3076 w 3078"/>
                    <a:gd name="T13" fmla="*/ 739 h 2682"/>
                    <a:gd name="T14" fmla="*/ 3072 w 3078"/>
                    <a:gd name="T15" fmla="*/ 755 h 2682"/>
                    <a:gd name="T16" fmla="*/ 3062 w 3078"/>
                    <a:gd name="T17" fmla="*/ 770 h 2682"/>
                    <a:gd name="T18" fmla="*/ 3050 w 3078"/>
                    <a:gd name="T19" fmla="*/ 787 h 2682"/>
                    <a:gd name="T20" fmla="*/ 3036 w 3078"/>
                    <a:gd name="T21" fmla="*/ 801 h 2682"/>
                    <a:gd name="T22" fmla="*/ 3023 w 3078"/>
                    <a:gd name="T23" fmla="*/ 814 h 2682"/>
                    <a:gd name="T24" fmla="*/ 1096 w 3078"/>
                    <a:gd name="T25" fmla="*/ 2666 h 2682"/>
                    <a:gd name="T26" fmla="*/ 1090 w 3078"/>
                    <a:gd name="T27" fmla="*/ 2669 h 2682"/>
                    <a:gd name="T28" fmla="*/ 1082 w 3078"/>
                    <a:gd name="T29" fmla="*/ 2673 h 2682"/>
                    <a:gd name="T30" fmla="*/ 1071 w 3078"/>
                    <a:gd name="T31" fmla="*/ 2676 h 2682"/>
                    <a:gd name="T32" fmla="*/ 1057 w 3078"/>
                    <a:gd name="T33" fmla="*/ 2682 h 2682"/>
                    <a:gd name="T34" fmla="*/ 531 w 3078"/>
                    <a:gd name="T35" fmla="*/ 2131 h 2682"/>
                    <a:gd name="T36" fmla="*/ 0 w 3078"/>
                    <a:gd name="T37" fmla="*/ 1576 h 2682"/>
                    <a:gd name="T38" fmla="*/ 83 w 3078"/>
                    <a:gd name="T39" fmla="*/ 1491 h 2682"/>
                    <a:gd name="T40" fmla="*/ 163 w 3078"/>
                    <a:gd name="T41" fmla="*/ 1408 h 2682"/>
                    <a:gd name="T42" fmla="*/ 240 w 3078"/>
                    <a:gd name="T43" fmla="*/ 1331 h 2682"/>
                    <a:gd name="T44" fmla="*/ 314 w 3078"/>
                    <a:gd name="T45" fmla="*/ 1256 h 2682"/>
                    <a:gd name="T46" fmla="*/ 383 w 3078"/>
                    <a:gd name="T47" fmla="*/ 1184 h 2682"/>
                    <a:gd name="T48" fmla="*/ 562 w 3078"/>
                    <a:gd name="T49" fmla="*/ 1347 h 2682"/>
                    <a:gd name="T50" fmla="*/ 739 w 3078"/>
                    <a:gd name="T51" fmla="*/ 1511 h 2682"/>
                    <a:gd name="T52" fmla="*/ 918 w 3078"/>
                    <a:gd name="T53" fmla="*/ 1674 h 2682"/>
                    <a:gd name="T54" fmla="*/ 1099 w 3078"/>
                    <a:gd name="T55" fmla="*/ 1840 h 2682"/>
                    <a:gd name="T56" fmla="*/ 1374 w 3078"/>
                    <a:gd name="T57" fmla="*/ 1584 h 2682"/>
                    <a:gd name="T58" fmla="*/ 1651 w 3078"/>
                    <a:gd name="T59" fmla="*/ 1326 h 2682"/>
                    <a:gd name="T60" fmla="*/ 1930 w 3078"/>
                    <a:gd name="T61" fmla="*/ 1066 h 2682"/>
                    <a:gd name="T62" fmla="*/ 2213 w 3078"/>
                    <a:gd name="T63" fmla="*/ 804 h 2682"/>
                    <a:gd name="T64" fmla="*/ 2498 w 3078"/>
                    <a:gd name="T65" fmla="*/ 539 h 2682"/>
                    <a:gd name="T66" fmla="*/ 2786 w 3078"/>
                    <a:gd name="T67" fmla="*/ 270 h 2682"/>
                    <a:gd name="T68" fmla="*/ 3078 w 3078"/>
                    <a:gd name="T69" fmla="*/ 0 h 2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8" h="2682">
                      <a:moveTo>
                        <a:pt x="3078" y="0"/>
                      </a:moveTo>
                      <a:lnTo>
                        <a:pt x="3078" y="157"/>
                      </a:lnTo>
                      <a:lnTo>
                        <a:pt x="3078" y="303"/>
                      </a:lnTo>
                      <a:lnTo>
                        <a:pt x="3078" y="315"/>
                      </a:lnTo>
                      <a:lnTo>
                        <a:pt x="3078" y="454"/>
                      </a:lnTo>
                      <a:lnTo>
                        <a:pt x="3077" y="597"/>
                      </a:lnTo>
                      <a:lnTo>
                        <a:pt x="3076" y="739"/>
                      </a:lnTo>
                      <a:lnTo>
                        <a:pt x="3072" y="755"/>
                      </a:lnTo>
                      <a:lnTo>
                        <a:pt x="3062" y="770"/>
                      </a:lnTo>
                      <a:lnTo>
                        <a:pt x="3050" y="787"/>
                      </a:lnTo>
                      <a:lnTo>
                        <a:pt x="3036" y="801"/>
                      </a:lnTo>
                      <a:lnTo>
                        <a:pt x="3023" y="814"/>
                      </a:lnTo>
                      <a:lnTo>
                        <a:pt x="1096" y="2666"/>
                      </a:lnTo>
                      <a:lnTo>
                        <a:pt x="1090" y="2669"/>
                      </a:lnTo>
                      <a:lnTo>
                        <a:pt x="1082" y="2673"/>
                      </a:lnTo>
                      <a:lnTo>
                        <a:pt x="1071" y="2676"/>
                      </a:lnTo>
                      <a:lnTo>
                        <a:pt x="1057" y="2682"/>
                      </a:lnTo>
                      <a:lnTo>
                        <a:pt x="531" y="2131"/>
                      </a:lnTo>
                      <a:lnTo>
                        <a:pt x="0" y="1576"/>
                      </a:lnTo>
                      <a:lnTo>
                        <a:pt x="83" y="1491"/>
                      </a:lnTo>
                      <a:lnTo>
                        <a:pt x="163" y="1408"/>
                      </a:lnTo>
                      <a:lnTo>
                        <a:pt x="240" y="1331"/>
                      </a:lnTo>
                      <a:lnTo>
                        <a:pt x="314" y="1256"/>
                      </a:lnTo>
                      <a:lnTo>
                        <a:pt x="383" y="1184"/>
                      </a:lnTo>
                      <a:lnTo>
                        <a:pt x="562" y="1347"/>
                      </a:lnTo>
                      <a:lnTo>
                        <a:pt x="739" y="1511"/>
                      </a:lnTo>
                      <a:lnTo>
                        <a:pt x="918" y="1674"/>
                      </a:lnTo>
                      <a:lnTo>
                        <a:pt x="1099" y="1840"/>
                      </a:lnTo>
                      <a:lnTo>
                        <a:pt x="1374" y="1584"/>
                      </a:lnTo>
                      <a:lnTo>
                        <a:pt x="1651" y="1326"/>
                      </a:lnTo>
                      <a:lnTo>
                        <a:pt x="1930" y="1066"/>
                      </a:lnTo>
                      <a:lnTo>
                        <a:pt x="2213" y="804"/>
                      </a:lnTo>
                      <a:lnTo>
                        <a:pt x="2498" y="539"/>
                      </a:lnTo>
                      <a:lnTo>
                        <a:pt x="2786" y="270"/>
                      </a:lnTo>
                      <a:lnTo>
                        <a:pt x="3078"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grpSp>
        </p:grpSp>
        <p:grpSp>
          <p:nvGrpSpPr>
            <p:cNvPr id="57" name="Group 56"/>
            <p:cNvGrpSpPr/>
            <p:nvPr/>
          </p:nvGrpSpPr>
          <p:grpSpPr>
            <a:xfrm>
              <a:off x="3079241" y="5560223"/>
              <a:ext cx="835534" cy="835534"/>
              <a:chOff x="3079241" y="2674105"/>
              <a:chExt cx="835534" cy="835534"/>
            </a:xfrm>
          </p:grpSpPr>
          <p:sp>
            <p:nvSpPr>
              <p:cNvPr id="64" name="Oval 63"/>
              <p:cNvSpPr/>
              <p:nvPr/>
            </p:nvSpPr>
            <p:spPr bwMode="auto">
              <a:xfrm>
                <a:off x="3079241" y="2674105"/>
                <a:ext cx="835534" cy="835534"/>
              </a:xfrm>
              <a:prstGeom prst="ellipse">
                <a:avLst/>
              </a:prstGeom>
              <a:solidFill>
                <a:schemeClr val="bg1"/>
              </a:solidFill>
              <a:ln w="6350">
                <a:noFill/>
                <a:headEnd type="none" w="med" len="med"/>
                <a:tailEnd type="none" w="med" len="med"/>
              </a:ln>
              <a:effectLst>
                <a:outerShdw blurRad="63500" sx="104000" sy="104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5" name="Group 64"/>
              <p:cNvGrpSpPr/>
              <p:nvPr/>
            </p:nvGrpSpPr>
            <p:grpSpPr>
              <a:xfrm>
                <a:off x="3291995" y="2897700"/>
                <a:ext cx="410027" cy="388344"/>
                <a:chOff x="-3227388" y="3256364"/>
                <a:chExt cx="1881884" cy="1782362"/>
              </a:xfrm>
              <a:solidFill>
                <a:schemeClr val="accent2"/>
              </a:solidFill>
            </p:grpSpPr>
            <p:sp>
              <p:nvSpPr>
                <p:cNvPr id="66" name="Freeform 8"/>
                <p:cNvSpPr>
                  <a:spLocks/>
                </p:cNvSpPr>
                <p:nvPr/>
              </p:nvSpPr>
              <p:spPr bwMode="auto">
                <a:xfrm>
                  <a:off x="-3227388" y="3490913"/>
                  <a:ext cx="1550988" cy="1547813"/>
                </a:xfrm>
                <a:custGeom>
                  <a:avLst/>
                  <a:gdLst>
                    <a:gd name="T0" fmla="*/ 0 w 3907"/>
                    <a:gd name="T1" fmla="*/ 0 h 3900"/>
                    <a:gd name="T2" fmla="*/ 3706 w 3907"/>
                    <a:gd name="T3" fmla="*/ 0 h 3900"/>
                    <a:gd name="T4" fmla="*/ 3609 w 3907"/>
                    <a:gd name="T5" fmla="*/ 87 h 3900"/>
                    <a:gd name="T6" fmla="*/ 3516 w 3907"/>
                    <a:gd name="T7" fmla="*/ 171 h 3900"/>
                    <a:gd name="T8" fmla="*/ 3425 w 3907"/>
                    <a:gd name="T9" fmla="*/ 254 h 3900"/>
                    <a:gd name="T10" fmla="*/ 3336 w 3907"/>
                    <a:gd name="T11" fmla="*/ 334 h 3900"/>
                    <a:gd name="T12" fmla="*/ 3246 w 3907"/>
                    <a:gd name="T13" fmla="*/ 412 h 3900"/>
                    <a:gd name="T14" fmla="*/ 3157 w 3907"/>
                    <a:gd name="T15" fmla="*/ 489 h 3900"/>
                    <a:gd name="T16" fmla="*/ 3140 w 3907"/>
                    <a:gd name="T17" fmla="*/ 498 h 3900"/>
                    <a:gd name="T18" fmla="*/ 3121 w 3907"/>
                    <a:gd name="T19" fmla="*/ 504 h 3900"/>
                    <a:gd name="T20" fmla="*/ 3098 w 3907"/>
                    <a:gd name="T21" fmla="*/ 507 h 3900"/>
                    <a:gd name="T22" fmla="*/ 3075 w 3907"/>
                    <a:gd name="T23" fmla="*/ 508 h 3900"/>
                    <a:gd name="T24" fmla="*/ 3050 w 3907"/>
                    <a:gd name="T25" fmla="*/ 507 h 3900"/>
                    <a:gd name="T26" fmla="*/ 3026 w 3907"/>
                    <a:gd name="T27" fmla="*/ 507 h 3900"/>
                    <a:gd name="T28" fmla="*/ 3002 w 3907"/>
                    <a:gd name="T29" fmla="*/ 505 h 3900"/>
                    <a:gd name="T30" fmla="*/ 715 w 3907"/>
                    <a:gd name="T31" fmla="*/ 507 h 3900"/>
                    <a:gd name="T32" fmla="*/ 656 w 3907"/>
                    <a:gd name="T33" fmla="*/ 507 h 3900"/>
                    <a:gd name="T34" fmla="*/ 595 w 3907"/>
                    <a:gd name="T35" fmla="*/ 507 h 3900"/>
                    <a:gd name="T36" fmla="*/ 529 w 3907"/>
                    <a:gd name="T37" fmla="*/ 507 h 3900"/>
                    <a:gd name="T38" fmla="*/ 529 w 3907"/>
                    <a:gd name="T39" fmla="*/ 3382 h 3900"/>
                    <a:gd name="T40" fmla="*/ 3405 w 3907"/>
                    <a:gd name="T41" fmla="*/ 3382 h 3900"/>
                    <a:gd name="T42" fmla="*/ 3406 w 3907"/>
                    <a:gd name="T43" fmla="*/ 2980 h 3900"/>
                    <a:gd name="T44" fmla="*/ 3406 w 3907"/>
                    <a:gd name="T45" fmla="*/ 2584 h 3900"/>
                    <a:gd name="T46" fmla="*/ 3406 w 3907"/>
                    <a:gd name="T47" fmla="*/ 2191 h 3900"/>
                    <a:gd name="T48" fmla="*/ 3403 w 3907"/>
                    <a:gd name="T49" fmla="*/ 1799 h 3900"/>
                    <a:gd name="T50" fmla="*/ 3404 w 3907"/>
                    <a:gd name="T51" fmla="*/ 1751 h 3900"/>
                    <a:gd name="T52" fmla="*/ 3410 w 3907"/>
                    <a:gd name="T53" fmla="*/ 1706 h 3900"/>
                    <a:gd name="T54" fmla="*/ 3421 w 3907"/>
                    <a:gd name="T55" fmla="*/ 1665 h 3900"/>
                    <a:gd name="T56" fmla="*/ 3437 w 3907"/>
                    <a:gd name="T57" fmla="*/ 1627 h 3900"/>
                    <a:gd name="T58" fmla="*/ 3460 w 3907"/>
                    <a:gd name="T59" fmla="*/ 1591 h 3900"/>
                    <a:gd name="T60" fmla="*/ 3489 w 3907"/>
                    <a:gd name="T61" fmla="*/ 1557 h 3900"/>
                    <a:gd name="T62" fmla="*/ 3524 w 3907"/>
                    <a:gd name="T63" fmla="*/ 1524 h 3900"/>
                    <a:gd name="T64" fmla="*/ 3598 w 3907"/>
                    <a:gd name="T65" fmla="*/ 1461 h 3900"/>
                    <a:gd name="T66" fmla="*/ 3674 w 3907"/>
                    <a:gd name="T67" fmla="*/ 1394 h 3900"/>
                    <a:gd name="T68" fmla="*/ 3747 w 3907"/>
                    <a:gd name="T69" fmla="*/ 1324 h 3900"/>
                    <a:gd name="T70" fmla="*/ 3825 w 3907"/>
                    <a:gd name="T71" fmla="*/ 1250 h 3900"/>
                    <a:gd name="T72" fmla="*/ 3907 w 3907"/>
                    <a:gd name="T73" fmla="*/ 1173 h 3900"/>
                    <a:gd name="T74" fmla="*/ 3907 w 3907"/>
                    <a:gd name="T75" fmla="*/ 1724 h 3900"/>
                    <a:gd name="T76" fmla="*/ 3907 w 3907"/>
                    <a:gd name="T77" fmla="*/ 2271 h 3900"/>
                    <a:gd name="T78" fmla="*/ 3907 w 3907"/>
                    <a:gd name="T79" fmla="*/ 2815 h 3900"/>
                    <a:gd name="T80" fmla="*/ 3907 w 3907"/>
                    <a:gd name="T81" fmla="*/ 3356 h 3900"/>
                    <a:gd name="T82" fmla="*/ 3907 w 3907"/>
                    <a:gd name="T83" fmla="*/ 3900 h 3900"/>
                    <a:gd name="T84" fmla="*/ 0 w 3907"/>
                    <a:gd name="T85" fmla="*/ 3900 h 3900"/>
                    <a:gd name="T86" fmla="*/ 0 w 3907"/>
                    <a:gd name="T87"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7" h="3900">
                      <a:moveTo>
                        <a:pt x="0" y="0"/>
                      </a:moveTo>
                      <a:lnTo>
                        <a:pt x="3706" y="0"/>
                      </a:lnTo>
                      <a:lnTo>
                        <a:pt x="3609" y="87"/>
                      </a:lnTo>
                      <a:lnTo>
                        <a:pt x="3516" y="171"/>
                      </a:lnTo>
                      <a:lnTo>
                        <a:pt x="3425" y="254"/>
                      </a:lnTo>
                      <a:lnTo>
                        <a:pt x="3336" y="334"/>
                      </a:lnTo>
                      <a:lnTo>
                        <a:pt x="3246" y="412"/>
                      </a:lnTo>
                      <a:lnTo>
                        <a:pt x="3157" y="489"/>
                      </a:lnTo>
                      <a:lnTo>
                        <a:pt x="3140" y="498"/>
                      </a:lnTo>
                      <a:lnTo>
                        <a:pt x="3121" y="504"/>
                      </a:lnTo>
                      <a:lnTo>
                        <a:pt x="3098" y="507"/>
                      </a:lnTo>
                      <a:lnTo>
                        <a:pt x="3075" y="508"/>
                      </a:lnTo>
                      <a:lnTo>
                        <a:pt x="3050" y="507"/>
                      </a:lnTo>
                      <a:lnTo>
                        <a:pt x="3026" y="507"/>
                      </a:lnTo>
                      <a:lnTo>
                        <a:pt x="3002" y="505"/>
                      </a:lnTo>
                      <a:lnTo>
                        <a:pt x="715" y="507"/>
                      </a:lnTo>
                      <a:lnTo>
                        <a:pt x="656" y="507"/>
                      </a:lnTo>
                      <a:lnTo>
                        <a:pt x="595" y="507"/>
                      </a:lnTo>
                      <a:lnTo>
                        <a:pt x="529" y="507"/>
                      </a:lnTo>
                      <a:lnTo>
                        <a:pt x="529" y="3382"/>
                      </a:lnTo>
                      <a:lnTo>
                        <a:pt x="3405" y="3382"/>
                      </a:lnTo>
                      <a:lnTo>
                        <a:pt x="3406" y="2980"/>
                      </a:lnTo>
                      <a:lnTo>
                        <a:pt x="3406" y="2584"/>
                      </a:lnTo>
                      <a:lnTo>
                        <a:pt x="3406" y="2191"/>
                      </a:lnTo>
                      <a:lnTo>
                        <a:pt x="3403" y="1799"/>
                      </a:lnTo>
                      <a:lnTo>
                        <a:pt x="3404" y="1751"/>
                      </a:lnTo>
                      <a:lnTo>
                        <a:pt x="3410" y="1706"/>
                      </a:lnTo>
                      <a:lnTo>
                        <a:pt x="3421" y="1665"/>
                      </a:lnTo>
                      <a:lnTo>
                        <a:pt x="3437" y="1627"/>
                      </a:lnTo>
                      <a:lnTo>
                        <a:pt x="3460" y="1591"/>
                      </a:lnTo>
                      <a:lnTo>
                        <a:pt x="3489" y="1557"/>
                      </a:lnTo>
                      <a:lnTo>
                        <a:pt x="3524" y="1524"/>
                      </a:lnTo>
                      <a:lnTo>
                        <a:pt x="3598" y="1461"/>
                      </a:lnTo>
                      <a:lnTo>
                        <a:pt x="3674" y="1394"/>
                      </a:lnTo>
                      <a:lnTo>
                        <a:pt x="3747" y="1324"/>
                      </a:lnTo>
                      <a:lnTo>
                        <a:pt x="3825" y="1250"/>
                      </a:lnTo>
                      <a:lnTo>
                        <a:pt x="3907" y="1173"/>
                      </a:lnTo>
                      <a:lnTo>
                        <a:pt x="3907" y="1724"/>
                      </a:lnTo>
                      <a:lnTo>
                        <a:pt x="3907" y="2271"/>
                      </a:lnTo>
                      <a:lnTo>
                        <a:pt x="3907" y="2815"/>
                      </a:lnTo>
                      <a:lnTo>
                        <a:pt x="3907" y="3356"/>
                      </a:lnTo>
                      <a:lnTo>
                        <a:pt x="3907" y="3900"/>
                      </a:lnTo>
                      <a:lnTo>
                        <a:pt x="0" y="3900"/>
                      </a:lnTo>
                      <a:lnTo>
                        <a:pt x="0"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sp>
              <p:nvSpPr>
                <p:cNvPr id="67" name="Freeform 9"/>
                <p:cNvSpPr>
                  <a:spLocks/>
                </p:cNvSpPr>
                <p:nvPr/>
              </p:nvSpPr>
              <p:spPr bwMode="auto">
                <a:xfrm>
                  <a:off x="-2894015" y="3256364"/>
                  <a:ext cx="1548511" cy="1351170"/>
                </a:xfrm>
                <a:custGeom>
                  <a:avLst/>
                  <a:gdLst>
                    <a:gd name="T0" fmla="*/ 3078 w 3078"/>
                    <a:gd name="T1" fmla="*/ 0 h 2682"/>
                    <a:gd name="T2" fmla="*/ 3078 w 3078"/>
                    <a:gd name="T3" fmla="*/ 157 h 2682"/>
                    <a:gd name="T4" fmla="*/ 3078 w 3078"/>
                    <a:gd name="T5" fmla="*/ 303 h 2682"/>
                    <a:gd name="T6" fmla="*/ 3078 w 3078"/>
                    <a:gd name="T7" fmla="*/ 315 h 2682"/>
                    <a:gd name="T8" fmla="*/ 3078 w 3078"/>
                    <a:gd name="T9" fmla="*/ 454 h 2682"/>
                    <a:gd name="T10" fmla="*/ 3077 w 3078"/>
                    <a:gd name="T11" fmla="*/ 597 h 2682"/>
                    <a:gd name="T12" fmla="*/ 3076 w 3078"/>
                    <a:gd name="T13" fmla="*/ 739 h 2682"/>
                    <a:gd name="T14" fmla="*/ 3072 w 3078"/>
                    <a:gd name="T15" fmla="*/ 755 h 2682"/>
                    <a:gd name="T16" fmla="*/ 3062 w 3078"/>
                    <a:gd name="T17" fmla="*/ 770 h 2682"/>
                    <a:gd name="T18" fmla="*/ 3050 w 3078"/>
                    <a:gd name="T19" fmla="*/ 787 h 2682"/>
                    <a:gd name="T20" fmla="*/ 3036 w 3078"/>
                    <a:gd name="T21" fmla="*/ 801 h 2682"/>
                    <a:gd name="T22" fmla="*/ 3023 w 3078"/>
                    <a:gd name="T23" fmla="*/ 814 h 2682"/>
                    <a:gd name="T24" fmla="*/ 1096 w 3078"/>
                    <a:gd name="T25" fmla="*/ 2666 h 2682"/>
                    <a:gd name="T26" fmla="*/ 1090 w 3078"/>
                    <a:gd name="T27" fmla="*/ 2669 h 2682"/>
                    <a:gd name="T28" fmla="*/ 1082 w 3078"/>
                    <a:gd name="T29" fmla="*/ 2673 h 2682"/>
                    <a:gd name="T30" fmla="*/ 1071 w 3078"/>
                    <a:gd name="T31" fmla="*/ 2676 h 2682"/>
                    <a:gd name="T32" fmla="*/ 1057 w 3078"/>
                    <a:gd name="T33" fmla="*/ 2682 h 2682"/>
                    <a:gd name="T34" fmla="*/ 531 w 3078"/>
                    <a:gd name="T35" fmla="*/ 2131 h 2682"/>
                    <a:gd name="T36" fmla="*/ 0 w 3078"/>
                    <a:gd name="T37" fmla="*/ 1576 h 2682"/>
                    <a:gd name="T38" fmla="*/ 83 w 3078"/>
                    <a:gd name="T39" fmla="*/ 1491 h 2682"/>
                    <a:gd name="T40" fmla="*/ 163 w 3078"/>
                    <a:gd name="T41" fmla="*/ 1408 h 2682"/>
                    <a:gd name="T42" fmla="*/ 240 w 3078"/>
                    <a:gd name="T43" fmla="*/ 1331 h 2682"/>
                    <a:gd name="T44" fmla="*/ 314 w 3078"/>
                    <a:gd name="T45" fmla="*/ 1256 h 2682"/>
                    <a:gd name="T46" fmla="*/ 383 w 3078"/>
                    <a:gd name="T47" fmla="*/ 1184 h 2682"/>
                    <a:gd name="T48" fmla="*/ 562 w 3078"/>
                    <a:gd name="T49" fmla="*/ 1347 h 2682"/>
                    <a:gd name="T50" fmla="*/ 739 w 3078"/>
                    <a:gd name="T51" fmla="*/ 1511 h 2682"/>
                    <a:gd name="T52" fmla="*/ 918 w 3078"/>
                    <a:gd name="T53" fmla="*/ 1674 h 2682"/>
                    <a:gd name="T54" fmla="*/ 1099 w 3078"/>
                    <a:gd name="T55" fmla="*/ 1840 h 2682"/>
                    <a:gd name="T56" fmla="*/ 1374 w 3078"/>
                    <a:gd name="T57" fmla="*/ 1584 h 2682"/>
                    <a:gd name="T58" fmla="*/ 1651 w 3078"/>
                    <a:gd name="T59" fmla="*/ 1326 h 2682"/>
                    <a:gd name="T60" fmla="*/ 1930 w 3078"/>
                    <a:gd name="T61" fmla="*/ 1066 h 2682"/>
                    <a:gd name="T62" fmla="*/ 2213 w 3078"/>
                    <a:gd name="T63" fmla="*/ 804 h 2682"/>
                    <a:gd name="T64" fmla="*/ 2498 w 3078"/>
                    <a:gd name="T65" fmla="*/ 539 h 2682"/>
                    <a:gd name="T66" fmla="*/ 2786 w 3078"/>
                    <a:gd name="T67" fmla="*/ 270 h 2682"/>
                    <a:gd name="T68" fmla="*/ 3078 w 3078"/>
                    <a:gd name="T69" fmla="*/ 0 h 2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8" h="2682">
                      <a:moveTo>
                        <a:pt x="3078" y="0"/>
                      </a:moveTo>
                      <a:lnTo>
                        <a:pt x="3078" y="157"/>
                      </a:lnTo>
                      <a:lnTo>
                        <a:pt x="3078" y="303"/>
                      </a:lnTo>
                      <a:lnTo>
                        <a:pt x="3078" y="315"/>
                      </a:lnTo>
                      <a:lnTo>
                        <a:pt x="3078" y="454"/>
                      </a:lnTo>
                      <a:lnTo>
                        <a:pt x="3077" y="597"/>
                      </a:lnTo>
                      <a:lnTo>
                        <a:pt x="3076" y="739"/>
                      </a:lnTo>
                      <a:lnTo>
                        <a:pt x="3072" y="755"/>
                      </a:lnTo>
                      <a:lnTo>
                        <a:pt x="3062" y="770"/>
                      </a:lnTo>
                      <a:lnTo>
                        <a:pt x="3050" y="787"/>
                      </a:lnTo>
                      <a:lnTo>
                        <a:pt x="3036" y="801"/>
                      </a:lnTo>
                      <a:lnTo>
                        <a:pt x="3023" y="814"/>
                      </a:lnTo>
                      <a:lnTo>
                        <a:pt x="1096" y="2666"/>
                      </a:lnTo>
                      <a:lnTo>
                        <a:pt x="1090" y="2669"/>
                      </a:lnTo>
                      <a:lnTo>
                        <a:pt x="1082" y="2673"/>
                      </a:lnTo>
                      <a:lnTo>
                        <a:pt x="1071" y="2676"/>
                      </a:lnTo>
                      <a:lnTo>
                        <a:pt x="1057" y="2682"/>
                      </a:lnTo>
                      <a:lnTo>
                        <a:pt x="531" y="2131"/>
                      </a:lnTo>
                      <a:lnTo>
                        <a:pt x="0" y="1576"/>
                      </a:lnTo>
                      <a:lnTo>
                        <a:pt x="83" y="1491"/>
                      </a:lnTo>
                      <a:lnTo>
                        <a:pt x="163" y="1408"/>
                      </a:lnTo>
                      <a:lnTo>
                        <a:pt x="240" y="1331"/>
                      </a:lnTo>
                      <a:lnTo>
                        <a:pt x="314" y="1256"/>
                      </a:lnTo>
                      <a:lnTo>
                        <a:pt x="383" y="1184"/>
                      </a:lnTo>
                      <a:lnTo>
                        <a:pt x="562" y="1347"/>
                      </a:lnTo>
                      <a:lnTo>
                        <a:pt x="739" y="1511"/>
                      </a:lnTo>
                      <a:lnTo>
                        <a:pt x="918" y="1674"/>
                      </a:lnTo>
                      <a:lnTo>
                        <a:pt x="1099" y="1840"/>
                      </a:lnTo>
                      <a:lnTo>
                        <a:pt x="1374" y="1584"/>
                      </a:lnTo>
                      <a:lnTo>
                        <a:pt x="1651" y="1326"/>
                      </a:lnTo>
                      <a:lnTo>
                        <a:pt x="1930" y="1066"/>
                      </a:lnTo>
                      <a:lnTo>
                        <a:pt x="2213" y="804"/>
                      </a:lnTo>
                      <a:lnTo>
                        <a:pt x="2498" y="539"/>
                      </a:lnTo>
                      <a:lnTo>
                        <a:pt x="2786" y="270"/>
                      </a:lnTo>
                      <a:lnTo>
                        <a:pt x="3078"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grpSp>
        </p:grpSp>
      </p:grpSp>
      <p:sp>
        <p:nvSpPr>
          <p:cNvPr id="71" name="Rectangle 70"/>
          <p:cNvSpPr/>
          <p:nvPr/>
        </p:nvSpPr>
        <p:spPr bwMode="auto">
          <a:xfrm>
            <a:off x="0" y="1411041"/>
            <a:ext cx="579438" cy="50961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p:cNvGrpSpPr/>
          <p:nvPr/>
        </p:nvGrpSpPr>
        <p:grpSpPr>
          <a:xfrm>
            <a:off x="11070579" y="297389"/>
            <a:ext cx="932340" cy="913874"/>
            <a:chOff x="11070579" y="297389"/>
            <a:chExt cx="932340" cy="913874"/>
          </a:xfrm>
        </p:grpSpPr>
        <p:sp>
          <p:nvSpPr>
            <p:cNvPr id="45" name="Rectangle 44"/>
            <p:cNvSpPr/>
            <p:nvPr/>
          </p:nvSpPr>
          <p:spPr bwMode="auto">
            <a:xfrm>
              <a:off x="11070579" y="297389"/>
              <a:ext cx="932340" cy="913874"/>
            </a:xfrm>
            <a:prstGeom prst="rect">
              <a:avLst/>
            </a:prstGeom>
            <a:solidFill>
              <a:schemeClr val="accent2"/>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p>
              <a:pPr algn="l" defTabSz="932563" fontAlgn="auto">
                <a:spcAft>
                  <a:spcPts val="587"/>
                </a:spcAft>
              </a:pPr>
              <a:endParaRPr lang="en-US" sz="2200" dirty="0">
                <a:solidFill>
                  <a:schemeClr val="bg1"/>
                </a:solidFill>
                <a:latin typeface="+mj-lt"/>
                <a:cs typeface="Segoe UI Semibold" panose="020B0702040204020203" pitchFamily="34" charset="0"/>
              </a:endParaRPr>
            </a:p>
          </p:txBody>
        </p:sp>
        <p:sp>
          <p:nvSpPr>
            <p:cNvPr id="49" name="Rectangle 48"/>
            <p:cNvSpPr/>
            <p:nvPr/>
          </p:nvSpPr>
          <p:spPr>
            <a:xfrm>
              <a:off x="11070579" y="1137623"/>
              <a:ext cx="932340" cy="73640"/>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sp>
          <p:nvSpPr>
            <p:cNvPr id="53" name="Freeform 52"/>
            <p:cNvSpPr>
              <a:spLocks noEditPoints="1"/>
            </p:cNvSpPr>
            <p:nvPr/>
          </p:nvSpPr>
          <p:spPr bwMode="black">
            <a:xfrm>
              <a:off x="11329732" y="467317"/>
              <a:ext cx="414034" cy="574018"/>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alpha val="22000"/>
              </a:schemeClr>
            </a:solidFill>
            <a:ln w="0">
              <a:noFill/>
              <a:prstDash val="solid"/>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grpSp>
    </p:spTree>
    <p:extLst>
      <p:ext uri="{BB962C8B-B14F-4D97-AF65-F5344CB8AC3E}">
        <p14:creationId xmlns:p14="http://schemas.microsoft.com/office/powerpoint/2010/main" val="111986209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1000" fill="hold"/>
                                        <p:tgtEl>
                                          <p:spTgt spid="17"/>
                                        </p:tgtEl>
                                        <p:attrNameLst>
                                          <p:attrName>ppt_x</p:attrName>
                                        </p:attrNameLst>
                                      </p:cBhvr>
                                      <p:tavLst>
                                        <p:tav tm="0">
                                          <p:val>
                                            <p:strVal val="0-#ppt_w/2"/>
                                          </p:val>
                                        </p:tav>
                                        <p:tav tm="100000">
                                          <p:val>
                                            <p:strVal val="#ppt_x"/>
                                          </p:val>
                                        </p:tav>
                                      </p:tavLst>
                                    </p:anim>
                                    <p:anim calcmode="lin" valueType="num">
                                      <p:cBhvr additive="base">
                                        <p:cTn id="8" dur="100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5192"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IN" sz="4000" dirty="0" smtClean="0"/>
              <a:t>Cloud is becoming integral to business transformation</a:t>
            </a:r>
            <a:endParaRPr lang="en-IN" sz="4000" dirty="0"/>
          </a:p>
        </p:txBody>
      </p:sp>
      <p:sp>
        <p:nvSpPr>
          <p:cNvPr id="108" name="Text Placeholder 30"/>
          <p:cNvSpPr txBox="1">
            <a:spLocks/>
          </p:cNvSpPr>
          <p:nvPr/>
        </p:nvSpPr>
        <p:spPr>
          <a:xfrm>
            <a:off x="585216" y="1005734"/>
            <a:ext cx="11887878" cy="583860"/>
          </a:xfrm>
          <a:prstGeom prst="rect">
            <a:avLst/>
          </a:prstGeom>
        </p:spPr>
        <p:txBody>
          <a:bodyPr vert="horz" wrap="square" lIns="0" tIns="93260" rIns="0" bIns="9326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IN" sz="2800" dirty="0">
                <a:solidFill>
                  <a:schemeClr val="tx2"/>
                </a:solidFill>
              </a:rPr>
              <a:t>The secure pathway to innovation</a:t>
            </a:r>
          </a:p>
        </p:txBody>
      </p:sp>
      <p:grpSp>
        <p:nvGrpSpPr>
          <p:cNvPr id="11" name="Group 10"/>
          <p:cNvGrpSpPr/>
          <p:nvPr/>
        </p:nvGrpSpPr>
        <p:grpSpPr>
          <a:xfrm>
            <a:off x="-1" y="5788074"/>
            <a:ext cx="12436476" cy="1206451"/>
            <a:chOff x="-1" y="5788074"/>
            <a:chExt cx="12436476" cy="1206451"/>
          </a:xfrm>
        </p:grpSpPr>
        <p:sp>
          <p:nvSpPr>
            <p:cNvPr id="21" name="Freeform 11"/>
            <p:cNvSpPr>
              <a:spLocks/>
            </p:cNvSpPr>
            <p:nvPr/>
          </p:nvSpPr>
          <p:spPr bwMode="auto">
            <a:xfrm>
              <a:off x="9990641" y="6534509"/>
              <a:ext cx="43908" cy="165874"/>
            </a:xfrm>
            <a:custGeom>
              <a:avLst/>
              <a:gdLst>
                <a:gd name="T0" fmla="*/ 27 w 27"/>
                <a:gd name="T1" fmla="*/ 102 h 102"/>
                <a:gd name="T2" fmla="*/ 27 w 27"/>
                <a:gd name="T3" fmla="*/ 102 h 102"/>
                <a:gd name="T4" fmla="*/ 0 w 27"/>
                <a:gd name="T5" fmla="*/ 102 h 102"/>
                <a:gd name="T6" fmla="*/ 0 w 27"/>
                <a:gd name="T7" fmla="*/ 0 h 102"/>
                <a:gd name="T8" fmla="*/ 27 w 27"/>
                <a:gd name="T9" fmla="*/ 0 h 102"/>
                <a:gd name="T10" fmla="*/ 27 w 27"/>
                <a:gd name="T11" fmla="*/ 102 h 102"/>
                <a:gd name="T12" fmla="*/ 27 w 27"/>
                <a:gd name="T13" fmla="*/ 102 h 102"/>
                <a:gd name="T14" fmla="*/ 27 w 27"/>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02">
                  <a:moveTo>
                    <a:pt x="27" y="102"/>
                  </a:moveTo>
                  <a:lnTo>
                    <a:pt x="27" y="102"/>
                  </a:lnTo>
                  <a:lnTo>
                    <a:pt x="0" y="102"/>
                  </a:lnTo>
                  <a:lnTo>
                    <a:pt x="0" y="0"/>
                  </a:lnTo>
                  <a:lnTo>
                    <a:pt x="27" y="0"/>
                  </a:lnTo>
                  <a:lnTo>
                    <a:pt x="27" y="102"/>
                  </a:lnTo>
                  <a:lnTo>
                    <a:pt x="27" y="102"/>
                  </a:lnTo>
                  <a:lnTo>
                    <a:pt x="27" y="10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 name="Freeform 12"/>
            <p:cNvSpPr>
              <a:spLocks/>
            </p:cNvSpPr>
            <p:nvPr/>
          </p:nvSpPr>
          <p:spPr bwMode="auto">
            <a:xfrm>
              <a:off x="9899573" y="6388149"/>
              <a:ext cx="221166" cy="221166"/>
            </a:xfrm>
            <a:custGeom>
              <a:avLst/>
              <a:gdLst>
                <a:gd name="T0" fmla="*/ 97 w 97"/>
                <a:gd name="T1" fmla="*/ 49 h 97"/>
                <a:gd name="T2" fmla="*/ 97 w 97"/>
                <a:gd name="T3" fmla="*/ 49 h 97"/>
                <a:gd name="T4" fmla="*/ 49 w 97"/>
                <a:gd name="T5" fmla="*/ 97 h 97"/>
                <a:gd name="T6" fmla="*/ 0 w 97"/>
                <a:gd name="T7" fmla="*/ 49 h 97"/>
                <a:gd name="T8" fmla="*/ 49 w 97"/>
                <a:gd name="T9" fmla="*/ 0 h 97"/>
                <a:gd name="T10" fmla="*/ 97 w 97"/>
                <a:gd name="T11" fmla="*/ 49 h 97"/>
              </a:gdLst>
              <a:ahLst/>
              <a:cxnLst>
                <a:cxn ang="0">
                  <a:pos x="T0" y="T1"/>
                </a:cxn>
                <a:cxn ang="0">
                  <a:pos x="T2" y="T3"/>
                </a:cxn>
                <a:cxn ang="0">
                  <a:pos x="T4" y="T5"/>
                </a:cxn>
                <a:cxn ang="0">
                  <a:pos x="T6" y="T7"/>
                </a:cxn>
                <a:cxn ang="0">
                  <a:pos x="T8" y="T9"/>
                </a:cxn>
                <a:cxn ang="0">
                  <a:pos x="T10" y="T11"/>
                </a:cxn>
              </a:cxnLst>
              <a:rect l="0" t="0" r="r" b="b"/>
              <a:pathLst>
                <a:path w="97" h="97">
                  <a:moveTo>
                    <a:pt x="97" y="49"/>
                  </a:moveTo>
                  <a:cubicBezTo>
                    <a:pt x="97" y="49"/>
                    <a:pt x="97" y="49"/>
                    <a:pt x="97" y="49"/>
                  </a:cubicBezTo>
                  <a:cubicBezTo>
                    <a:pt x="97" y="75"/>
                    <a:pt x="75" y="97"/>
                    <a:pt x="49" y="97"/>
                  </a:cubicBezTo>
                  <a:cubicBezTo>
                    <a:pt x="22" y="97"/>
                    <a:pt x="0" y="75"/>
                    <a:pt x="0" y="49"/>
                  </a:cubicBezTo>
                  <a:cubicBezTo>
                    <a:pt x="0" y="22"/>
                    <a:pt x="22" y="0"/>
                    <a:pt x="49" y="0"/>
                  </a:cubicBezTo>
                  <a:cubicBezTo>
                    <a:pt x="75" y="0"/>
                    <a:pt x="97" y="22"/>
                    <a:pt x="97" y="49"/>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3" name="Freeform 13"/>
            <p:cNvSpPr>
              <a:spLocks/>
            </p:cNvSpPr>
            <p:nvPr/>
          </p:nvSpPr>
          <p:spPr bwMode="auto">
            <a:xfrm>
              <a:off x="9928845" y="6274314"/>
              <a:ext cx="162622" cy="162622"/>
            </a:xfrm>
            <a:custGeom>
              <a:avLst/>
              <a:gdLst>
                <a:gd name="T0" fmla="*/ 71 w 71"/>
                <a:gd name="T1" fmla="*/ 36 h 71"/>
                <a:gd name="T2" fmla="*/ 71 w 71"/>
                <a:gd name="T3" fmla="*/ 36 h 71"/>
                <a:gd name="T4" fmla="*/ 36 w 71"/>
                <a:gd name="T5" fmla="*/ 71 h 71"/>
                <a:gd name="T6" fmla="*/ 0 w 71"/>
                <a:gd name="T7" fmla="*/ 36 h 71"/>
                <a:gd name="T8" fmla="*/ 36 w 71"/>
                <a:gd name="T9" fmla="*/ 0 h 71"/>
                <a:gd name="T10" fmla="*/ 71 w 71"/>
                <a:gd name="T11" fmla="*/ 36 h 71"/>
              </a:gdLst>
              <a:ahLst/>
              <a:cxnLst>
                <a:cxn ang="0">
                  <a:pos x="T0" y="T1"/>
                </a:cxn>
                <a:cxn ang="0">
                  <a:pos x="T2" y="T3"/>
                </a:cxn>
                <a:cxn ang="0">
                  <a:pos x="T4" y="T5"/>
                </a:cxn>
                <a:cxn ang="0">
                  <a:pos x="T6" y="T7"/>
                </a:cxn>
                <a:cxn ang="0">
                  <a:pos x="T8" y="T9"/>
                </a:cxn>
                <a:cxn ang="0">
                  <a:pos x="T10" y="T11"/>
                </a:cxn>
              </a:cxnLst>
              <a:rect l="0" t="0" r="r" b="b"/>
              <a:pathLst>
                <a:path w="71" h="71">
                  <a:moveTo>
                    <a:pt x="71" y="36"/>
                  </a:moveTo>
                  <a:cubicBezTo>
                    <a:pt x="71" y="36"/>
                    <a:pt x="71" y="36"/>
                    <a:pt x="71" y="36"/>
                  </a:cubicBezTo>
                  <a:cubicBezTo>
                    <a:pt x="71" y="55"/>
                    <a:pt x="55" y="71"/>
                    <a:pt x="36" y="71"/>
                  </a:cubicBezTo>
                  <a:cubicBezTo>
                    <a:pt x="16" y="71"/>
                    <a:pt x="0" y="55"/>
                    <a:pt x="0" y="36"/>
                  </a:cubicBezTo>
                  <a:cubicBezTo>
                    <a:pt x="0" y="16"/>
                    <a:pt x="16" y="0"/>
                    <a:pt x="36" y="0"/>
                  </a:cubicBezTo>
                  <a:cubicBezTo>
                    <a:pt x="55" y="0"/>
                    <a:pt x="71" y="16"/>
                    <a:pt x="71" y="3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9" name="Freeform 14"/>
            <p:cNvSpPr>
              <a:spLocks/>
            </p:cNvSpPr>
            <p:nvPr/>
          </p:nvSpPr>
          <p:spPr bwMode="auto">
            <a:xfrm>
              <a:off x="9436100" y="6675990"/>
              <a:ext cx="1517263" cy="315487"/>
            </a:xfrm>
            <a:custGeom>
              <a:avLst/>
              <a:gdLst>
                <a:gd name="T0" fmla="*/ 413 w 667"/>
                <a:gd name="T1" fmla="*/ 7 h 139"/>
                <a:gd name="T2" fmla="*/ 413 w 667"/>
                <a:gd name="T3" fmla="*/ 7 h 139"/>
                <a:gd name="T4" fmla="*/ 405 w 667"/>
                <a:gd name="T5" fmla="*/ 6 h 139"/>
                <a:gd name="T6" fmla="*/ 392 w 667"/>
                <a:gd name="T7" fmla="*/ 22 h 139"/>
                <a:gd name="T8" fmla="*/ 357 w 667"/>
                <a:gd name="T9" fmla="*/ 38 h 139"/>
                <a:gd name="T10" fmla="*/ 330 w 667"/>
                <a:gd name="T11" fmla="*/ 23 h 139"/>
                <a:gd name="T12" fmla="*/ 330 w 667"/>
                <a:gd name="T13" fmla="*/ 0 h 139"/>
                <a:gd name="T14" fmla="*/ 0 w 667"/>
                <a:gd name="T15" fmla="*/ 139 h 139"/>
                <a:gd name="T16" fmla="*/ 236 w 667"/>
                <a:gd name="T17" fmla="*/ 139 h 139"/>
                <a:gd name="T18" fmla="*/ 667 w 667"/>
                <a:gd name="T19" fmla="*/ 139 h 139"/>
                <a:gd name="T20" fmla="*/ 413 w 667"/>
                <a:gd name="T21" fmla="*/ 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7" h="139">
                  <a:moveTo>
                    <a:pt x="413" y="7"/>
                  </a:moveTo>
                  <a:cubicBezTo>
                    <a:pt x="413" y="7"/>
                    <a:pt x="413" y="7"/>
                    <a:pt x="413" y="7"/>
                  </a:cubicBezTo>
                  <a:cubicBezTo>
                    <a:pt x="410" y="6"/>
                    <a:pt x="408" y="6"/>
                    <a:pt x="405" y="6"/>
                  </a:cubicBezTo>
                  <a:cubicBezTo>
                    <a:pt x="401" y="12"/>
                    <a:pt x="396" y="18"/>
                    <a:pt x="392" y="22"/>
                  </a:cubicBezTo>
                  <a:cubicBezTo>
                    <a:pt x="381" y="33"/>
                    <a:pt x="371" y="38"/>
                    <a:pt x="357" y="38"/>
                  </a:cubicBezTo>
                  <a:cubicBezTo>
                    <a:pt x="344" y="38"/>
                    <a:pt x="334" y="33"/>
                    <a:pt x="330" y="23"/>
                  </a:cubicBezTo>
                  <a:cubicBezTo>
                    <a:pt x="327" y="17"/>
                    <a:pt x="327" y="9"/>
                    <a:pt x="330" y="0"/>
                  </a:cubicBezTo>
                  <a:cubicBezTo>
                    <a:pt x="210" y="1"/>
                    <a:pt x="92" y="47"/>
                    <a:pt x="0" y="139"/>
                  </a:cubicBezTo>
                  <a:cubicBezTo>
                    <a:pt x="236" y="139"/>
                    <a:pt x="236" y="139"/>
                    <a:pt x="236" y="139"/>
                  </a:cubicBezTo>
                  <a:cubicBezTo>
                    <a:pt x="667" y="139"/>
                    <a:pt x="667" y="139"/>
                    <a:pt x="667" y="139"/>
                  </a:cubicBezTo>
                  <a:cubicBezTo>
                    <a:pt x="595" y="66"/>
                    <a:pt x="506" y="23"/>
                    <a:pt x="413" y="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0" name="Freeform 15"/>
            <p:cNvSpPr>
              <a:spLocks/>
            </p:cNvSpPr>
            <p:nvPr/>
          </p:nvSpPr>
          <p:spPr bwMode="auto">
            <a:xfrm>
              <a:off x="10219938" y="6677617"/>
              <a:ext cx="95947" cy="50413"/>
            </a:xfrm>
            <a:custGeom>
              <a:avLst/>
              <a:gdLst>
                <a:gd name="T0" fmla="*/ 16 w 42"/>
                <a:gd name="T1" fmla="*/ 22 h 22"/>
                <a:gd name="T2" fmla="*/ 16 w 42"/>
                <a:gd name="T3" fmla="*/ 22 h 22"/>
                <a:gd name="T4" fmla="*/ 42 w 42"/>
                <a:gd name="T5" fmla="*/ 2 h 22"/>
                <a:gd name="T6" fmla="*/ 5 w 42"/>
                <a:gd name="T7" fmla="*/ 0 h 22"/>
                <a:gd name="T8" fmla="*/ 16 w 42"/>
                <a:gd name="T9" fmla="*/ 22 h 22"/>
              </a:gdLst>
              <a:ahLst/>
              <a:cxnLst>
                <a:cxn ang="0">
                  <a:pos x="T0" y="T1"/>
                </a:cxn>
                <a:cxn ang="0">
                  <a:pos x="T2" y="T3"/>
                </a:cxn>
                <a:cxn ang="0">
                  <a:pos x="T4" y="T5"/>
                </a:cxn>
                <a:cxn ang="0">
                  <a:pos x="T6" y="T7"/>
                </a:cxn>
                <a:cxn ang="0">
                  <a:pos x="T8" y="T9"/>
                </a:cxn>
              </a:cxnLst>
              <a:rect l="0" t="0" r="r" b="b"/>
              <a:pathLst>
                <a:path w="42" h="22">
                  <a:moveTo>
                    <a:pt x="16" y="22"/>
                  </a:moveTo>
                  <a:cubicBezTo>
                    <a:pt x="16" y="22"/>
                    <a:pt x="16" y="22"/>
                    <a:pt x="16" y="22"/>
                  </a:cubicBezTo>
                  <a:cubicBezTo>
                    <a:pt x="26" y="22"/>
                    <a:pt x="32" y="15"/>
                    <a:pt x="42" y="2"/>
                  </a:cubicBezTo>
                  <a:cubicBezTo>
                    <a:pt x="30" y="1"/>
                    <a:pt x="18" y="0"/>
                    <a:pt x="5" y="0"/>
                  </a:cubicBezTo>
                  <a:cubicBezTo>
                    <a:pt x="0" y="14"/>
                    <a:pt x="7" y="22"/>
                    <a:pt x="16" y="2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1" name="Freeform 16"/>
            <p:cNvSpPr>
              <a:spLocks/>
            </p:cNvSpPr>
            <p:nvPr/>
          </p:nvSpPr>
          <p:spPr bwMode="auto">
            <a:xfrm>
              <a:off x="10179282" y="6675990"/>
              <a:ext cx="177258" cy="86190"/>
            </a:xfrm>
            <a:custGeom>
              <a:avLst/>
              <a:gdLst>
                <a:gd name="T0" fmla="*/ 3 w 78"/>
                <a:gd name="T1" fmla="*/ 23 h 38"/>
                <a:gd name="T2" fmla="*/ 3 w 78"/>
                <a:gd name="T3" fmla="*/ 23 h 38"/>
                <a:gd name="T4" fmla="*/ 30 w 78"/>
                <a:gd name="T5" fmla="*/ 38 h 38"/>
                <a:gd name="T6" fmla="*/ 65 w 78"/>
                <a:gd name="T7" fmla="*/ 22 h 38"/>
                <a:gd name="T8" fmla="*/ 78 w 78"/>
                <a:gd name="T9" fmla="*/ 6 h 38"/>
                <a:gd name="T10" fmla="*/ 60 w 78"/>
                <a:gd name="T11" fmla="*/ 3 h 38"/>
                <a:gd name="T12" fmla="*/ 34 w 78"/>
                <a:gd name="T13" fmla="*/ 23 h 38"/>
                <a:gd name="T14" fmla="*/ 23 w 78"/>
                <a:gd name="T15" fmla="*/ 1 h 38"/>
                <a:gd name="T16" fmla="*/ 3 w 78"/>
                <a:gd name="T17" fmla="*/ 0 h 38"/>
                <a:gd name="T18" fmla="*/ 3 w 78"/>
                <a:gd name="T19" fmla="*/ 2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8">
                  <a:moveTo>
                    <a:pt x="3" y="23"/>
                  </a:moveTo>
                  <a:cubicBezTo>
                    <a:pt x="3" y="23"/>
                    <a:pt x="3" y="23"/>
                    <a:pt x="3" y="23"/>
                  </a:cubicBezTo>
                  <a:cubicBezTo>
                    <a:pt x="7" y="33"/>
                    <a:pt x="17" y="38"/>
                    <a:pt x="30" y="38"/>
                  </a:cubicBezTo>
                  <a:cubicBezTo>
                    <a:pt x="44" y="38"/>
                    <a:pt x="54" y="33"/>
                    <a:pt x="65" y="22"/>
                  </a:cubicBezTo>
                  <a:cubicBezTo>
                    <a:pt x="69" y="18"/>
                    <a:pt x="74" y="12"/>
                    <a:pt x="78" y="6"/>
                  </a:cubicBezTo>
                  <a:cubicBezTo>
                    <a:pt x="72" y="5"/>
                    <a:pt x="66" y="4"/>
                    <a:pt x="60" y="3"/>
                  </a:cubicBezTo>
                  <a:cubicBezTo>
                    <a:pt x="50" y="16"/>
                    <a:pt x="44" y="23"/>
                    <a:pt x="34" y="23"/>
                  </a:cubicBezTo>
                  <a:cubicBezTo>
                    <a:pt x="25" y="23"/>
                    <a:pt x="18" y="15"/>
                    <a:pt x="23" y="1"/>
                  </a:cubicBezTo>
                  <a:cubicBezTo>
                    <a:pt x="16" y="0"/>
                    <a:pt x="10" y="0"/>
                    <a:pt x="3" y="0"/>
                  </a:cubicBezTo>
                  <a:cubicBezTo>
                    <a:pt x="0" y="9"/>
                    <a:pt x="0" y="17"/>
                    <a:pt x="3" y="23"/>
                  </a:cubicBezTo>
                  <a:close/>
                </a:path>
              </a:pathLst>
            </a:custGeom>
            <a:solidFill>
              <a:srgbClr val="6E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9" name="Freeform 17"/>
            <p:cNvSpPr>
              <a:spLocks noEditPoints="1"/>
            </p:cNvSpPr>
            <p:nvPr/>
          </p:nvSpPr>
          <p:spPr bwMode="auto">
            <a:xfrm>
              <a:off x="10150010" y="6459703"/>
              <a:ext cx="200025" cy="299224"/>
            </a:xfrm>
            <a:custGeom>
              <a:avLst/>
              <a:gdLst>
                <a:gd name="T0" fmla="*/ 44 w 88"/>
                <a:gd name="T1" fmla="*/ 16 h 132"/>
                <a:gd name="T2" fmla="*/ 44 w 88"/>
                <a:gd name="T3" fmla="*/ 16 h 132"/>
                <a:gd name="T4" fmla="*/ 21 w 88"/>
                <a:gd name="T5" fmla="*/ 67 h 132"/>
                <a:gd name="T6" fmla="*/ 44 w 88"/>
                <a:gd name="T7" fmla="*/ 116 h 132"/>
                <a:gd name="T8" fmla="*/ 66 w 88"/>
                <a:gd name="T9" fmla="*/ 67 h 132"/>
                <a:gd name="T10" fmla="*/ 44 w 88"/>
                <a:gd name="T11" fmla="*/ 16 h 132"/>
                <a:gd name="T12" fmla="*/ 42 w 88"/>
                <a:gd name="T13" fmla="*/ 132 h 132"/>
                <a:gd name="T14" fmla="*/ 42 w 88"/>
                <a:gd name="T15" fmla="*/ 132 h 132"/>
                <a:gd name="T16" fmla="*/ 11 w 88"/>
                <a:gd name="T17" fmla="*/ 116 h 132"/>
                <a:gd name="T18" fmla="*/ 0 w 88"/>
                <a:gd name="T19" fmla="*/ 68 h 132"/>
                <a:gd name="T20" fmla="*/ 11 w 88"/>
                <a:gd name="T21" fmla="*/ 17 h 132"/>
                <a:gd name="T22" fmla="*/ 45 w 88"/>
                <a:gd name="T23" fmla="*/ 0 h 132"/>
                <a:gd name="T24" fmla="*/ 88 w 88"/>
                <a:gd name="T25" fmla="*/ 65 h 132"/>
                <a:gd name="T26" fmla="*/ 76 w 88"/>
                <a:gd name="T27" fmla="*/ 115 h 132"/>
                <a:gd name="T28" fmla="*/ 42 w 88"/>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32">
                  <a:moveTo>
                    <a:pt x="44" y="16"/>
                  </a:moveTo>
                  <a:cubicBezTo>
                    <a:pt x="44" y="16"/>
                    <a:pt x="44" y="16"/>
                    <a:pt x="44" y="16"/>
                  </a:cubicBezTo>
                  <a:cubicBezTo>
                    <a:pt x="29" y="16"/>
                    <a:pt x="21" y="33"/>
                    <a:pt x="21" y="67"/>
                  </a:cubicBezTo>
                  <a:cubicBezTo>
                    <a:pt x="21" y="100"/>
                    <a:pt x="29" y="116"/>
                    <a:pt x="44" y="116"/>
                  </a:cubicBezTo>
                  <a:cubicBezTo>
                    <a:pt x="59" y="116"/>
                    <a:pt x="66" y="99"/>
                    <a:pt x="66" y="67"/>
                  </a:cubicBezTo>
                  <a:cubicBezTo>
                    <a:pt x="66" y="33"/>
                    <a:pt x="59" y="16"/>
                    <a:pt x="44" y="16"/>
                  </a:cubicBezTo>
                  <a:close/>
                  <a:moveTo>
                    <a:pt x="42" y="132"/>
                  </a:moveTo>
                  <a:cubicBezTo>
                    <a:pt x="42" y="132"/>
                    <a:pt x="42" y="132"/>
                    <a:pt x="42" y="132"/>
                  </a:cubicBezTo>
                  <a:cubicBezTo>
                    <a:pt x="29" y="132"/>
                    <a:pt x="18" y="127"/>
                    <a:pt x="11" y="116"/>
                  </a:cubicBezTo>
                  <a:cubicBezTo>
                    <a:pt x="3" y="105"/>
                    <a:pt x="0" y="89"/>
                    <a:pt x="0" y="68"/>
                  </a:cubicBezTo>
                  <a:cubicBezTo>
                    <a:pt x="0" y="46"/>
                    <a:pt x="4" y="29"/>
                    <a:pt x="11" y="17"/>
                  </a:cubicBezTo>
                  <a:cubicBezTo>
                    <a:pt x="19" y="5"/>
                    <a:pt x="31" y="0"/>
                    <a:pt x="45" y="0"/>
                  </a:cubicBezTo>
                  <a:cubicBezTo>
                    <a:pt x="73" y="0"/>
                    <a:pt x="88" y="21"/>
                    <a:pt x="88" y="65"/>
                  </a:cubicBezTo>
                  <a:cubicBezTo>
                    <a:pt x="88" y="87"/>
                    <a:pt x="84" y="104"/>
                    <a:pt x="76" y="115"/>
                  </a:cubicBezTo>
                  <a:cubicBezTo>
                    <a:pt x="68" y="126"/>
                    <a:pt x="57" y="132"/>
                    <a:pt x="42" y="13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50" name="Freeform 18"/>
            <p:cNvSpPr>
              <a:spLocks/>
            </p:cNvSpPr>
            <p:nvPr/>
          </p:nvSpPr>
          <p:spPr bwMode="auto">
            <a:xfrm>
              <a:off x="10371176" y="6461329"/>
              <a:ext cx="104078" cy="291093"/>
            </a:xfrm>
            <a:custGeom>
              <a:avLst/>
              <a:gdLst>
                <a:gd name="T0" fmla="*/ 46 w 46"/>
                <a:gd name="T1" fmla="*/ 0 h 128"/>
                <a:gd name="T2" fmla="*/ 46 w 46"/>
                <a:gd name="T3" fmla="*/ 0 h 128"/>
                <a:gd name="T4" fmla="*/ 46 w 46"/>
                <a:gd name="T5" fmla="*/ 128 h 128"/>
                <a:gd name="T6" fmla="*/ 26 w 46"/>
                <a:gd name="T7" fmla="*/ 128 h 128"/>
                <a:gd name="T8" fmla="*/ 26 w 46"/>
                <a:gd name="T9" fmla="*/ 25 h 128"/>
                <a:gd name="T10" fmla="*/ 14 w 46"/>
                <a:gd name="T11" fmla="*/ 32 h 128"/>
                <a:gd name="T12" fmla="*/ 0 w 46"/>
                <a:gd name="T13" fmla="*/ 36 h 128"/>
                <a:gd name="T14" fmla="*/ 0 w 46"/>
                <a:gd name="T15" fmla="*/ 19 h 128"/>
                <a:gd name="T16" fmla="*/ 9 w 46"/>
                <a:gd name="T17" fmla="*/ 16 h 128"/>
                <a:gd name="T18" fmla="*/ 19 w 46"/>
                <a:gd name="T19" fmla="*/ 11 h 128"/>
                <a:gd name="T20" fmla="*/ 28 w 46"/>
                <a:gd name="T21" fmla="*/ 6 h 128"/>
                <a:gd name="T22" fmla="*/ 38 w 46"/>
                <a:gd name="T23" fmla="*/ 0 h 128"/>
                <a:gd name="T24" fmla="*/ 46 w 46"/>
                <a:gd name="T25" fmla="*/ 0 h 128"/>
                <a:gd name="T26" fmla="*/ 46 w 46"/>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128">
                  <a:moveTo>
                    <a:pt x="46" y="0"/>
                  </a:moveTo>
                  <a:cubicBezTo>
                    <a:pt x="46" y="0"/>
                    <a:pt x="46" y="0"/>
                    <a:pt x="46" y="0"/>
                  </a:cubicBezTo>
                  <a:cubicBezTo>
                    <a:pt x="46" y="128"/>
                    <a:pt x="46" y="128"/>
                    <a:pt x="46" y="128"/>
                  </a:cubicBezTo>
                  <a:cubicBezTo>
                    <a:pt x="26" y="128"/>
                    <a:pt x="26" y="128"/>
                    <a:pt x="26" y="128"/>
                  </a:cubicBezTo>
                  <a:cubicBezTo>
                    <a:pt x="26" y="25"/>
                    <a:pt x="26" y="25"/>
                    <a:pt x="26" y="25"/>
                  </a:cubicBezTo>
                  <a:cubicBezTo>
                    <a:pt x="22" y="28"/>
                    <a:pt x="18" y="30"/>
                    <a:pt x="14" y="32"/>
                  </a:cubicBezTo>
                  <a:cubicBezTo>
                    <a:pt x="10" y="33"/>
                    <a:pt x="5" y="35"/>
                    <a:pt x="0" y="36"/>
                  </a:cubicBezTo>
                  <a:cubicBezTo>
                    <a:pt x="0" y="19"/>
                    <a:pt x="0" y="19"/>
                    <a:pt x="0" y="19"/>
                  </a:cubicBezTo>
                  <a:cubicBezTo>
                    <a:pt x="3" y="18"/>
                    <a:pt x="6" y="17"/>
                    <a:pt x="9" y="16"/>
                  </a:cubicBezTo>
                  <a:cubicBezTo>
                    <a:pt x="12" y="14"/>
                    <a:pt x="16" y="13"/>
                    <a:pt x="19" y="11"/>
                  </a:cubicBezTo>
                  <a:cubicBezTo>
                    <a:pt x="22" y="10"/>
                    <a:pt x="25" y="8"/>
                    <a:pt x="28" y="6"/>
                  </a:cubicBezTo>
                  <a:cubicBezTo>
                    <a:pt x="31" y="5"/>
                    <a:pt x="34" y="2"/>
                    <a:pt x="38" y="0"/>
                  </a:cubicBezTo>
                  <a:cubicBezTo>
                    <a:pt x="46" y="0"/>
                    <a:pt x="46" y="0"/>
                    <a:pt x="46" y="0"/>
                  </a:cubicBezTo>
                  <a:cubicBezTo>
                    <a:pt x="46" y="0"/>
                    <a:pt x="46" y="0"/>
                    <a:pt x="46"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51" name="Freeform 19"/>
            <p:cNvSpPr>
              <a:spLocks noEditPoints="1"/>
            </p:cNvSpPr>
            <p:nvPr/>
          </p:nvSpPr>
          <p:spPr bwMode="auto">
            <a:xfrm>
              <a:off x="10522415" y="6459703"/>
              <a:ext cx="198399" cy="299224"/>
            </a:xfrm>
            <a:custGeom>
              <a:avLst/>
              <a:gdLst>
                <a:gd name="T0" fmla="*/ 44 w 87"/>
                <a:gd name="T1" fmla="*/ 16 h 132"/>
                <a:gd name="T2" fmla="*/ 44 w 87"/>
                <a:gd name="T3" fmla="*/ 16 h 132"/>
                <a:gd name="T4" fmla="*/ 21 w 87"/>
                <a:gd name="T5" fmla="*/ 67 h 132"/>
                <a:gd name="T6" fmla="*/ 44 w 87"/>
                <a:gd name="T7" fmla="*/ 116 h 132"/>
                <a:gd name="T8" fmla="*/ 66 w 87"/>
                <a:gd name="T9" fmla="*/ 67 h 132"/>
                <a:gd name="T10" fmla="*/ 44 w 87"/>
                <a:gd name="T11" fmla="*/ 16 h 132"/>
                <a:gd name="T12" fmla="*/ 42 w 87"/>
                <a:gd name="T13" fmla="*/ 132 h 132"/>
                <a:gd name="T14" fmla="*/ 42 w 87"/>
                <a:gd name="T15" fmla="*/ 132 h 132"/>
                <a:gd name="T16" fmla="*/ 11 w 87"/>
                <a:gd name="T17" fmla="*/ 116 h 132"/>
                <a:gd name="T18" fmla="*/ 0 w 87"/>
                <a:gd name="T19" fmla="*/ 68 h 132"/>
                <a:gd name="T20" fmla="*/ 11 w 87"/>
                <a:gd name="T21" fmla="*/ 17 h 132"/>
                <a:gd name="T22" fmla="*/ 45 w 87"/>
                <a:gd name="T23" fmla="*/ 0 h 132"/>
                <a:gd name="T24" fmla="*/ 87 w 87"/>
                <a:gd name="T25" fmla="*/ 65 h 132"/>
                <a:gd name="T26" fmla="*/ 75 w 87"/>
                <a:gd name="T27" fmla="*/ 115 h 132"/>
                <a:gd name="T28" fmla="*/ 42 w 87"/>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132">
                  <a:moveTo>
                    <a:pt x="44" y="16"/>
                  </a:moveTo>
                  <a:cubicBezTo>
                    <a:pt x="44" y="16"/>
                    <a:pt x="44" y="16"/>
                    <a:pt x="44" y="16"/>
                  </a:cubicBezTo>
                  <a:cubicBezTo>
                    <a:pt x="29" y="16"/>
                    <a:pt x="21" y="33"/>
                    <a:pt x="21" y="67"/>
                  </a:cubicBezTo>
                  <a:cubicBezTo>
                    <a:pt x="21" y="100"/>
                    <a:pt x="28" y="116"/>
                    <a:pt x="44" y="116"/>
                  </a:cubicBezTo>
                  <a:cubicBezTo>
                    <a:pt x="59" y="116"/>
                    <a:pt x="66" y="99"/>
                    <a:pt x="66" y="67"/>
                  </a:cubicBezTo>
                  <a:cubicBezTo>
                    <a:pt x="66" y="33"/>
                    <a:pt x="59" y="16"/>
                    <a:pt x="44" y="16"/>
                  </a:cubicBezTo>
                  <a:close/>
                  <a:moveTo>
                    <a:pt x="42" y="132"/>
                  </a:moveTo>
                  <a:cubicBezTo>
                    <a:pt x="42" y="132"/>
                    <a:pt x="42" y="132"/>
                    <a:pt x="42" y="132"/>
                  </a:cubicBezTo>
                  <a:cubicBezTo>
                    <a:pt x="29" y="132"/>
                    <a:pt x="18" y="127"/>
                    <a:pt x="11" y="116"/>
                  </a:cubicBezTo>
                  <a:cubicBezTo>
                    <a:pt x="3" y="105"/>
                    <a:pt x="0" y="89"/>
                    <a:pt x="0" y="68"/>
                  </a:cubicBezTo>
                  <a:cubicBezTo>
                    <a:pt x="0" y="46"/>
                    <a:pt x="3" y="29"/>
                    <a:pt x="11" y="17"/>
                  </a:cubicBezTo>
                  <a:cubicBezTo>
                    <a:pt x="19" y="5"/>
                    <a:pt x="30" y="0"/>
                    <a:pt x="45" y="0"/>
                  </a:cubicBezTo>
                  <a:cubicBezTo>
                    <a:pt x="73" y="0"/>
                    <a:pt x="87" y="21"/>
                    <a:pt x="87" y="65"/>
                  </a:cubicBezTo>
                  <a:cubicBezTo>
                    <a:pt x="87" y="87"/>
                    <a:pt x="83" y="104"/>
                    <a:pt x="75" y="115"/>
                  </a:cubicBezTo>
                  <a:cubicBezTo>
                    <a:pt x="67" y="126"/>
                    <a:pt x="56" y="132"/>
                    <a:pt x="42" y="13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52" name="Freeform 20"/>
            <p:cNvSpPr>
              <a:spLocks noEditPoints="1"/>
            </p:cNvSpPr>
            <p:nvPr/>
          </p:nvSpPr>
          <p:spPr bwMode="auto">
            <a:xfrm>
              <a:off x="10753338" y="6459703"/>
              <a:ext cx="200025" cy="299224"/>
            </a:xfrm>
            <a:custGeom>
              <a:avLst/>
              <a:gdLst>
                <a:gd name="T0" fmla="*/ 45 w 88"/>
                <a:gd name="T1" fmla="*/ 16 h 132"/>
                <a:gd name="T2" fmla="*/ 45 w 88"/>
                <a:gd name="T3" fmla="*/ 16 h 132"/>
                <a:gd name="T4" fmla="*/ 22 w 88"/>
                <a:gd name="T5" fmla="*/ 67 h 132"/>
                <a:gd name="T6" fmla="*/ 45 w 88"/>
                <a:gd name="T7" fmla="*/ 116 h 132"/>
                <a:gd name="T8" fmla="*/ 67 w 88"/>
                <a:gd name="T9" fmla="*/ 67 h 132"/>
                <a:gd name="T10" fmla="*/ 45 w 88"/>
                <a:gd name="T11" fmla="*/ 16 h 132"/>
                <a:gd name="T12" fmla="*/ 43 w 88"/>
                <a:gd name="T13" fmla="*/ 132 h 132"/>
                <a:gd name="T14" fmla="*/ 43 w 88"/>
                <a:gd name="T15" fmla="*/ 132 h 132"/>
                <a:gd name="T16" fmla="*/ 12 w 88"/>
                <a:gd name="T17" fmla="*/ 116 h 132"/>
                <a:gd name="T18" fmla="*/ 0 w 88"/>
                <a:gd name="T19" fmla="*/ 68 h 132"/>
                <a:gd name="T20" fmla="*/ 12 w 88"/>
                <a:gd name="T21" fmla="*/ 17 h 132"/>
                <a:gd name="T22" fmla="*/ 46 w 88"/>
                <a:gd name="T23" fmla="*/ 0 h 132"/>
                <a:gd name="T24" fmla="*/ 88 w 88"/>
                <a:gd name="T25" fmla="*/ 65 h 132"/>
                <a:gd name="T26" fmla="*/ 76 w 88"/>
                <a:gd name="T27" fmla="*/ 115 h 132"/>
                <a:gd name="T28" fmla="*/ 43 w 88"/>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32">
                  <a:moveTo>
                    <a:pt x="45" y="16"/>
                  </a:moveTo>
                  <a:cubicBezTo>
                    <a:pt x="45" y="16"/>
                    <a:pt x="45" y="16"/>
                    <a:pt x="45" y="16"/>
                  </a:cubicBezTo>
                  <a:cubicBezTo>
                    <a:pt x="29" y="16"/>
                    <a:pt x="22" y="33"/>
                    <a:pt x="22" y="67"/>
                  </a:cubicBezTo>
                  <a:cubicBezTo>
                    <a:pt x="22" y="100"/>
                    <a:pt x="29" y="116"/>
                    <a:pt x="45" y="116"/>
                  </a:cubicBezTo>
                  <a:cubicBezTo>
                    <a:pt x="60" y="116"/>
                    <a:pt x="67" y="99"/>
                    <a:pt x="67" y="67"/>
                  </a:cubicBezTo>
                  <a:cubicBezTo>
                    <a:pt x="67" y="33"/>
                    <a:pt x="60" y="16"/>
                    <a:pt x="45" y="16"/>
                  </a:cubicBezTo>
                  <a:close/>
                  <a:moveTo>
                    <a:pt x="43" y="132"/>
                  </a:moveTo>
                  <a:cubicBezTo>
                    <a:pt x="43" y="132"/>
                    <a:pt x="43" y="132"/>
                    <a:pt x="43" y="132"/>
                  </a:cubicBezTo>
                  <a:cubicBezTo>
                    <a:pt x="29" y="132"/>
                    <a:pt x="19" y="127"/>
                    <a:pt x="12" y="116"/>
                  </a:cubicBezTo>
                  <a:cubicBezTo>
                    <a:pt x="4" y="105"/>
                    <a:pt x="0" y="89"/>
                    <a:pt x="0" y="68"/>
                  </a:cubicBezTo>
                  <a:cubicBezTo>
                    <a:pt x="0" y="46"/>
                    <a:pt x="4" y="29"/>
                    <a:pt x="12" y="17"/>
                  </a:cubicBezTo>
                  <a:cubicBezTo>
                    <a:pt x="20" y="5"/>
                    <a:pt x="31" y="0"/>
                    <a:pt x="46" y="0"/>
                  </a:cubicBezTo>
                  <a:cubicBezTo>
                    <a:pt x="74" y="0"/>
                    <a:pt x="88" y="21"/>
                    <a:pt x="88" y="65"/>
                  </a:cubicBezTo>
                  <a:cubicBezTo>
                    <a:pt x="88" y="87"/>
                    <a:pt x="84" y="104"/>
                    <a:pt x="76" y="115"/>
                  </a:cubicBezTo>
                  <a:cubicBezTo>
                    <a:pt x="68" y="126"/>
                    <a:pt x="57" y="132"/>
                    <a:pt x="43" y="13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53" name="Freeform 21"/>
            <p:cNvSpPr>
              <a:spLocks noEditPoints="1"/>
            </p:cNvSpPr>
            <p:nvPr/>
          </p:nvSpPr>
          <p:spPr bwMode="auto">
            <a:xfrm>
              <a:off x="10998897" y="6459703"/>
              <a:ext cx="200025" cy="299224"/>
            </a:xfrm>
            <a:custGeom>
              <a:avLst/>
              <a:gdLst>
                <a:gd name="T0" fmla="*/ 45 w 88"/>
                <a:gd name="T1" fmla="*/ 16 h 132"/>
                <a:gd name="T2" fmla="*/ 45 w 88"/>
                <a:gd name="T3" fmla="*/ 16 h 132"/>
                <a:gd name="T4" fmla="*/ 21 w 88"/>
                <a:gd name="T5" fmla="*/ 67 h 132"/>
                <a:gd name="T6" fmla="*/ 44 w 88"/>
                <a:gd name="T7" fmla="*/ 116 h 132"/>
                <a:gd name="T8" fmla="*/ 67 w 88"/>
                <a:gd name="T9" fmla="*/ 67 h 132"/>
                <a:gd name="T10" fmla="*/ 45 w 88"/>
                <a:gd name="T11" fmla="*/ 16 h 132"/>
                <a:gd name="T12" fmla="*/ 43 w 88"/>
                <a:gd name="T13" fmla="*/ 132 h 132"/>
                <a:gd name="T14" fmla="*/ 43 w 88"/>
                <a:gd name="T15" fmla="*/ 132 h 132"/>
                <a:gd name="T16" fmla="*/ 11 w 88"/>
                <a:gd name="T17" fmla="*/ 116 h 132"/>
                <a:gd name="T18" fmla="*/ 0 w 88"/>
                <a:gd name="T19" fmla="*/ 68 h 132"/>
                <a:gd name="T20" fmla="*/ 12 w 88"/>
                <a:gd name="T21" fmla="*/ 17 h 132"/>
                <a:gd name="T22" fmla="*/ 46 w 88"/>
                <a:gd name="T23" fmla="*/ 0 h 132"/>
                <a:gd name="T24" fmla="*/ 88 w 88"/>
                <a:gd name="T25" fmla="*/ 65 h 132"/>
                <a:gd name="T26" fmla="*/ 76 w 88"/>
                <a:gd name="T27" fmla="*/ 115 h 132"/>
                <a:gd name="T28" fmla="*/ 43 w 88"/>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32">
                  <a:moveTo>
                    <a:pt x="45" y="16"/>
                  </a:moveTo>
                  <a:cubicBezTo>
                    <a:pt x="45" y="16"/>
                    <a:pt x="45" y="16"/>
                    <a:pt x="45" y="16"/>
                  </a:cubicBezTo>
                  <a:cubicBezTo>
                    <a:pt x="29" y="16"/>
                    <a:pt x="21" y="33"/>
                    <a:pt x="21" y="67"/>
                  </a:cubicBezTo>
                  <a:cubicBezTo>
                    <a:pt x="21" y="100"/>
                    <a:pt x="29" y="116"/>
                    <a:pt x="44" y="116"/>
                  </a:cubicBezTo>
                  <a:cubicBezTo>
                    <a:pt x="59" y="116"/>
                    <a:pt x="67" y="99"/>
                    <a:pt x="67" y="67"/>
                  </a:cubicBezTo>
                  <a:cubicBezTo>
                    <a:pt x="67" y="33"/>
                    <a:pt x="59" y="16"/>
                    <a:pt x="45" y="16"/>
                  </a:cubicBezTo>
                  <a:close/>
                  <a:moveTo>
                    <a:pt x="43" y="132"/>
                  </a:moveTo>
                  <a:cubicBezTo>
                    <a:pt x="43" y="132"/>
                    <a:pt x="43" y="132"/>
                    <a:pt x="43" y="132"/>
                  </a:cubicBezTo>
                  <a:cubicBezTo>
                    <a:pt x="29" y="132"/>
                    <a:pt x="19" y="127"/>
                    <a:pt x="11" y="116"/>
                  </a:cubicBezTo>
                  <a:cubicBezTo>
                    <a:pt x="4" y="105"/>
                    <a:pt x="0" y="89"/>
                    <a:pt x="0" y="68"/>
                  </a:cubicBezTo>
                  <a:cubicBezTo>
                    <a:pt x="0" y="46"/>
                    <a:pt x="4" y="29"/>
                    <a:pt x="12" y="17"/>
                  </a:cubicBezTo>
                  <a:cubicBezTo>
                    <a:pt x="20" y="5"/>
                    <a:pt x="31" y="0"/>
                    <a:pt x="46" y="0"/>
                  </a:cubicBezTo>
                  <a:cubicBezTo>
                    <a:pt x="74" y="0"/>
                    <a:pt x="88" y="21"/>
                    <a:pt x="88" y="65"/>
                  </a:cubicBezTo>
                  <a:cubicBezTo>
                    <a:pt x="88" y="87"/>
                    <a:pt x="84" y="104"/>
                    <a:pt x="76" y="115"/>
                  </a:cubicBezTo>
                  <a:cubicBezTo>
                    <a:pt x="68" y="126"/>
                    <a:pt x="57" y="132"/>
                    <a:pt x="43" y="13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54" name="Freeform 22"/>
            <p:cNvSpPr>
              <a:spLocks/>
            </p:cNvSpPr>
            <p:nvPr/>
          </p:nvSpPr>
          <p:spPr bwMode="auto">
            <a:xfrm>
              <a:off x="11431471" y="6584922"/>
              <a:ext cx="1005004" cy="406555"/>
            </a:xfrm>
            <a:custGeom>
              <a:avLst/>
              <a:gdLst>
                <a:gd name="T0" fmla="*/ 0 w 442"/>
                <a:gd name="T1" fmla="*/ 179 h 179"/>
                <a:gd name="T2" fmla="*/ 0 w 442"/>
                <a:gd name="T3" fmla="*/ 179 h 179"/>
                <a:gd name="T4" fmla="*/ 290 w 442"/>
                <a:gd name="T5" fmla="*/ 179 h 179"/>
                <a:gd name="T6" fmla="*/ 442 w 442"/>
                <a:gd name="T7" fmla="*/ 179 h 179"/>
                <a:gd name="T8" fmla="*/ 442 w 442"/>
                <a:gd name="T9" fmla="*/ 9 h 179"/>
                <a:gd name="T10" fmla="*/ 0 w 442"/>
                <a:gd name="T11" fmla="*/ 179 h 179"/>
              </a:gdLst>
              <a:ahLst/>
              <a:cxnLst>
                <a:cxn ang="0">
                  <a:pos x="T0" y="T1"/>
                </a:cxn>
                <a:cxn ang="0">
                  <a:pos x="T2" y="T3"/>
                </a:cxn>
                <a:cxn ang="0">
                  <a:pos x="T4" y="T5"/>
                </a:cxn>
                <a:cxn ang="0">
                  <a:pos x="T6" y="T7"/>
                </a:cxn>
                <a:cxn ang="0">
                  <a:pos x="T8" y="T9"/>
                </a:cxn>
                <a:cxn ang="0">
                  <a:pos x="T10" y="T11"/>
                </a:cxn>
              </a:cxnLst>
              <a:rect l="0" t="0" r="r" b="b"/>
              <a:pathLst>
                <a:path w="442" h="179">
                  <a:moveTo>
                    <a:pt x="0" y="179"/>
                  </a:moveTo>
                  <a:cubicBezTo>
                    <a:pt x="0" y="179"/>
                    <a:pt x="0" y="179"/>
                    <a:pt x="0" y="179"/>
                  </a:cubicBezTo>
                  <a:cubicBezTo>
                    <a:pt x="290" y="179"/>
                    <a:pt x="290" y="179"/>
                    <a:pt x="290" y="179"/>
                  </a:cubicBezTo>
                  <a:cubicBezTo>
                    <a:pt x="442" y="179"/>
                    <a:pt x="442" y="179"/>
                    <a:pt x="442" y="179"/>
                  </a:cubicBezTo>
                  <a:cubicBezTo>
                    <a:pt x="442" y="9"/>
                    <a:pt x="442" y="9"/>
                    <a:pt x="442" y="9"/>
                  </a:cubicBezTo>
                  <a:cubicBezTo>
                    <a:pt x="283" y="0"/>
                    <a:pt x="122" y="57"/>
                    <a:pt x="0" y="17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5" name="Freeform 23"/>
            <p:cNvSpPr>
              <a:spLocks/>
            </p:cNvSpPr>
            <p:nvPr/>
          </p:nvSpPr>
          <p:spPr bwMode="auto">
            <a:xfrm>
              <a:off x="11197296" y="5799458"/>
              <a:ext cx="317113" cy="876533"/>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6" name="Freeform 24"/>
            <p:cNvSpPr>
              <a:spLocks noEditPoints="1"/>
            </p:cNvSpPr>
            <p:nvPr/>
          </p:nvSpPr>
          <p:spPr bwMode="auto">
            <a:xfrm>
              <a:off x="11598972" y="5788074"/>
              <a:ext cx="624468" cy="941581"/>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7" name="Freeform 25"/>
            <p:cNvSpPr>
              <a:spLocks/>
            </p:cNvSpPr>
            <p:nvPr/>
          </p:nvSpPr>
          <p:spPr bwMode="auto">
            <a:xfrm>
              <a:off x="10132122" y="6316596"/>
              <a:ext cx="2304353" cy="674881"/>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8" name="Freeform 26"/>
            <p:cNvSpPr>
              <a:spLocks/>
            </p:cNvSpPr>
            <p:nvPr/>
          </p:nvSpPr>
          <p:spPr bwMode="auto">
            <a:xfrm>
              <a:off x="10803751" y="6500359"/>
              <a:ext cx="294346" cy="361021"/>
            </a:xfrm>
            <a:custGeom>
              <a:avLst/>
              <a:gdLst>
                <a:gd name="T0" fmla="*/ 43 w 130"/>
                <a:gd name="T1" fmla="*/ 159 h 159"/>
                <a:gd name="T2" fmla="*/ 43 w 130"/>
                <a:gd name="T3" fmla="*/ 159 h 159"/>
                <a:gd name="T4" fmla="*/ 130 w 130"/>
                <a:gd name="T5" fmla="*/ 0 h 159"/>
                <a:gd name="T6" fmla="*/ 77 w 130"/>
                <a:gd name="T7" fmla="*/ 10 h 159"/>
                <a:gd name="T8" fmla="*/ 0 w 130"/>
                <a:gd name="T9" fmla="*/ 159 h 159"/>
                <a:gd name="T10" fmla="*/ 43 w 130"/>
                <a:gd name="T11" fmla="*/ 159 h 159"/>
                <a:gd name="T12" fmla="*/ 43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3" y="159"/>
                  </a:moveTo>
                  <a:cubicBezTo>
                    <a:pt x="43" y="159"/>
                    <a:pt x="43" y="159"/>
                    <a:pt x="43" y="159"/>
                  </a:cubicBezTo>
                  <a:cubicBezTo>
                    <a:pt x="48" y="109"/>
                    <a:pt x="77" y="51"/>
                    <a:pt x="130" y="0"/>
                  </a:cubicBezTo>
                  <a:cubicBezTo>
                    <a:pt x="112" y="3"/>
                    <a:pt x="95" y="6"/>
                    <a:pt x="77" y="10"/>
                  </a:cubicBezTo>
                  <a:cubicBezTo>
                    <a:pt x="31" y="59"/>
                    <a:pt x="5" y="113"/>
                    <a:pt x="0" y="159"/>
                  </a:cubicBezTo>
                  <a:cubicBezTo>
                    <a:pt x="43" y="159"/>
                    <a:pt x="43" y="159"/>
                    <a:pt x="43" y="159"/>
                  </a:cubicBezTo>
                  <a:cubicBezTo>
                    <a:pt x="43" y="159"/>
                    <a:pt x="43" y="159"/>
                    <a:pt x="43"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9" name="Freeform 27"/>
            <p:cNvSpPr>
              <a:spLocks/>
            </p:cNvSpPr>
            <p:nvPr/>
          </p:nvSpPr>
          <p:spPr bwMode="auto">
            <a:xfrm>
              <a:off x="11756715" y="6513368"/>
              <a:ext cx="87816" cy="34151"/>
            </a:xfrm>
            <a:custGeom>
              <a:avLst/>
              <a:gdLst>
                <a:gd name="T0" fmla="*/ 39 w 39"/>
                <a:gd name="T1" fmla="*/ 10 h 15"/>
                <a:gd name="T2" fmla="*/ 39 w 39"/>
                <a:gd name="T3" fmla="*/ 10 h 15"/>
                <a:gd name="T4" fmla="*/ 6 w 39"/>
                <a:gd name="T5" fmla="*/ 0 h 15"/>
                <a:gd name="T6" fmla="*/ 0 w 39"/>
                <a:gd name="T7" fmla="*/ 6 h 15"/>
                <a:gd name="T8" fmla="*/ 35 w 39"/>
                <a:gd name="T9" fmla="*/ 15 h 15"/>
                <a:gd name="T10" fmla="*/ 39 w 39"/>
                <a:gd name="T11" fmla="*/ 10 h 15"/>
              </a:gdLst>
              <a:ahLst/>
              <a:cxnLst>
                <a:cxn ang="0">
                  <a:pos x="T0" y="T1"/>
                </a:cxn>
                <a:cxn ang="0">
                  <a:pos x="T2" y="T3"/>
                </a:cxn>
                <a:cxn ang="0">
                  <a:pos x="T4" y="T5"/>
                </a:cxn>
                <a:cxn ang="0">
                  <a:pos x="T6" y="T7"/>
                </a:cxn>
                <a:cxn ang="0">
                  <a:pos x="T8" y="T9"/>
                </a:cxn>
                <a:cxn ang="0">
                  <a:pos x="T10" y="T11"/>
                </a:cxn>
              </a:cxnLst>
              <a:rect l="0" t="0" r="r" b="b"/>
              <a:pathLst>
                <a:path w="39" h="15">
                  <a:moveTo>
                    <a:pt x="39" y="10"/>
                  </a:moveTo>
                  <a:cubicBezTo>
                    <a:pt x="39" y="10"/>
                    <a:pt x="39" y="10"/>
                    <a:pt x="39" y="10"/>
                  </a:cubicBezTo>
                  <a:cubicBezTo>
                    <a:pt x="28" y="6"/>
                    <a:pt x="17" y="3"/>
                    <a:pt x="6" y="0"/>
                  </a:cubicBezTo>
                  <a:cubicBezTo>
                    <a:pt x="4" y="2"/>
                    <a:pt x="2" y="4"/>
                    <a:pt x="0" y="6"/>
                  </a:cubicBezTo>
                  <a:cubicBezTo>
                    <a:pt x="11" y="9"/>
                    <a:pt x="23" y="12"/>
                    <a:pt x="35" y="15"/>
                  </a:cubicBezTo>
                  <a:cubicBezTo>
                    <a:pt x="36" y="13"/>
                    <a:pt x="38" y="12"/>
                    <a:pt x="39" y="1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0" name="Freeform 28"/>
            <p:cNvSpPr>
              <a:spLocks/>
            </p:cNvSpPr>
            <p:nvPr/>
          </p:nvSpPr>
          <p:spPr bwMode="auto">
            <a:xfrm>
              <a:off x="11582710" y="6528004"/>
              <a:ext cx="253690" cy="333375"/>
            </a:xfrm>
            <a:custGeom>
              <a:avLst/>
              <a:gdLst>
                <a:gd name="T0" fmla="*/ 43 w 111"/>
                <a:gd name="T1" fmla="*/ 147 h 147"/>
                <a:gd name="T2" fmla="*/ 43 w 111"/>
                <a:gd name="T3" fmla="*/ 147 h 147"/>
                <a:gd name="T4" fmla="*/ 111 w 111"/>
                <a:gd name="T5" fmla="*/ 9 h 147"/>
                <a:gd name="T6" fmla="*/ 76 w 111"/>
                <a:gd name="T7" fmla="*/ 0 h 147"/>
                <a:gd name="T8" fmla="*/ 0 w 111"/>
                <a:gd name="T9" fmla="*/ 147 h 147"/>
                <a:gd name="T10" fmla="*/ 43 w 111"/>
                <a:gd name="T11" fmla="*/ 147 h 147"/>
                <a:gd name="T12" fmla="*/ 43 w 111"/>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1" h="147">
                  <a:moveTo>
                    <a:pt x="43" y="147"/>
                  </a:moveTo>
                  <a:cubicBezTo>
                    <a:pt x="43" y="147"/>
                    <a:pt x="43" y="147"/>
                    <a:pt x="43" y="147"/>
                  </a:cubicBezTo>
                  <a:cubicBezTo>
                    <a:pt x="48" y="104"/>
                    <a:pt x="70" y="55"/>
                    <a:pt x="111" y="9"/>
                  </a:cubicBezTo>
                  <a:cubicBezTo>
                    <a:pt x="99" y="6"/>
                    <a:pt x="87" y="3"/>
                    <a:pt x="76" y="0"/>
                  </a:cubicBezTo>
                  <a:cubicBezTo>
                    <a:pt x="31"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1" name="Freeform 29"/>
            <p:cNvSpPr>
              <a:spLocks/>
            </p:cNvSpPr>
            <p:nvPr/>
          </p:nvSpPr>
          <p:spPr bwMode="auto">
            <a:xfrm>
              <a:off x="11037926" y="6482470"/>
              <a:ext cx="575682" cy="393545"/>
            </a:xfrm>
            <a:custGeom>
              <a:avLst/>
              <a:gdLst>
                <a:gd name="T0" fmla="*/ 40 w 253"/>
                <a:gd name="T1" fmla="*/ 38 h 173"/>
                <a:gd name="T2" fmla="*/ 40 w 253"/>
                <a:gd name="T3" fmla="*/ 38 h 173"/>
                <a:gd name="T4" fmla="*/ 9 w 253"/>
                <a:gd name="T5" fmla="*/ 140 h 173"/>
                <a:gd name="T6" fmla="*/ 70 w 253"/>
                <a:gd name="T7" fmla="*/ 173 h 173"/>
                <a:gd name="T8" fmla="*/ 146 w 253"/>
                <a:gd name="T9" fmla="*/ 138 h 173"/>
                <a:gd name="T10" fmla="*/ 232 w 253"/>
                <a:gd name="T11" fmla="*/ 31 h 173"/>
                <a:gd name="T12" fmla="*/ 253 w 253"/>
                <a:gd name="T13" fmla="*/ 8 h 173"/>
                <a:gd name="T14" fmla="*/ 213 w 253"/>
                <a:gd name="T15" fmla="*/ 3 h 173"/>
                <a:gd name="T16" fmla="*/ 184 w 253"/>
                <a:gd name="T17" fmla="*/ 34 h 173"/>
                <a:gd name="T18" fmla="*/ 79 w 253"/>
                <a:gd name="T19" fmla="*/ 140 h 173"/>
                <a:gd name="T20" fmla="*/ 87 w 253"/>
                <a:gd name="T21" fmla="*/ 36 h 173"/>
                <a:gd name="T22" fmla="*/ 123 w 253"/>
                <a:gd name="T23" fmla="*/ 0 h 173"/>
                <a:gd name="T24" fmla="*/ 76 w 253"/>
                <a:gd name="T25" fmla="*/ 3 h 173"/>
                <a:gd name="T26" fmla="*/ 40 w 253"/>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3">
                  <a:moveTo>
                    <a:pt x="40" y="38"/>
                  </a:moveTo>
                  <a:cubicBezTo>
                    <a:pt x="40" y="38"/>
                    <a:pt x="40" y="38"/>
                    <a:pt x="40" y="38"/>
                  </a:cubicBezTo>
                  <a:cubicBezTo>
                    <a:pt x="4" y="82"/>
                    <a:pt x="0" y="117"/>
                    <a:pt x="9" y="140"/>
                  </a:cubicBezTo>
                  <a:cubicBezTo>
                    <a:pt x="19" y="163"/>
                    <a:pt x="42" y="173"/>
                    <a:pt x="70" y="173"/>
                  </a:cubicBezTo>
                  <a:cubicBezTo>
                    <a:pt x="100" y="173"/>
                    <a:pt x="123" y="162"/>
                    <a:pt x="146" y="138"/>
                  </a:cubicBezTo>
                  <a:cubicBezTo>
                    <a:pt x="170" y="115"/>
                    <a:pt x="192" y="77"/>
                    <a:pt x="232" y="31"/>
                  </a:cubicBezTo>
                  <a:cubicBezTo>
                    <a:pt x="239" y="23"/>
                    <a:pt x="246" y="15"/>
                    <a:pt x="253" y="8"/>
                  </a:cubicBezTo>
                  <a:cubicBezTo>
                    <a:pt x="240" y="6"/>
                    <a:pt x="226" y="5"/>
                    <a:pt x="213" y="3"/>
                  </a:cubicBezTo>
                  <a:cubicBezTo>
                    <a:pt x="204" y="12"/>
                    <a:pt x="194" y="23"/>
                    <a:pt x="184" y="34"/>
                  </a:cubicBezTo>
                  <a:cubicBezTo>
                    <a:pt x="127" y="105"/>
                    <a:pt x="113" y="140"/>
                    <a:pt x="79" y="140"/>
                  </a:cubicBezTo>
                  <a:cubicBezTo>
                    <a:pt x="49" y="140"/>
                    <a:pt x="32" y="105"/>
                    <a:pt x="87" y="36"/>
                  </a:cubicBezTo>
                  <a:cubicBezTo>
                    <a:pt x="98" y="22"/>
                    <a:pt x="110" y="11"/>
                    <a:pt x="123" y="0"/>
                  </a:cubicBezTo>
                  <a:cubicBezTo>
                    <a:pt x="107" y="1"/>
                    <a:pt x="91" y="1"/>
                    <a:pt x="76" y="3"/>
                  </a:cubicBezTo>
                  <a:cubicBezTo>
                    <a:pt x="63" y="13"/>
                    <a:pt x="51" y="25"/>
                    <a:pt x="40"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2" name="Freeform 30"/>
            <p:cNvSpPr>
              <a:spLocks/>
            </p:cNvSpPr>
            <p:nvPr/>
          </p:nvSpPr>
          <p:spPr bwMode="auto">
            <a:xfrm>
              <a:off x="11825016" y="6573538"/>
              <a:ext cx="400050" cy="302477"/>
            </a:xfrm>
            <a:custGeom>
              <a:avLst/>
              <a:gdLst>
                <a:gd name="T0" fmla="*/ 9 w 176"/>
                <a:gd name="T1" fmla="*/ 100 h 133"/>
                <a:gd name="T2" fmla="*/ 9 w 176"/>
                <a:gd name="T3" fmla="*/ 100 h 133"/>
                <a:gd name="T4" fmla="*/ 70 w 176"/>
                <a:gd name="T5" fmla="*/ 133 h 133"/>
                <a:gd name="T6" fmla="*/ 146 w 176"/>
                <a:gd name="T7" fmla="*/ 98 h 133"/>
                <a:gd name="T8" fmla="*/ 176 w 176"/>
                <a:gd name="T9" fmla="*/ 62 h 133"/>
                <a:gd name="T10" fmla="*/ 145 w 176"/>
                <a:gd name="T11" fmla="*/ 45 h 133"/>
                <a:gd name="T12" fmla="*/ 79 w 176"/>
                <a:gd name="T13" fmla="*/ 100 h 133"/>
                <a:gd name="T14" fmla="*/ 74 w 176"/>
                <a:gd name="T15" fmla="*/ 13 h 133"/>
                <a:gd name="T16" fmla="*/ 39 w 176"/>
                <a:gd name="T17" fmla="*/ 0 h 133"/>
                <a:gd name="T18" fmla="*/ 9 w 176"/>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33">
                  <a:moveTo>
                    <a:pt x="9" y="100"/>
                  </a:moveTo>
                  <a:cubicBezTo>
                    <a:pt x="9" y="100"/>
                    <a:pt x="9" y="100"/>
                    <a:pt x="9" y="100"/>
                  </a:cubicBezTo>
                  <a:cubicBezTo>
                    <a:pt x="19" y="123"/>
                    <a:pt x="42" y="133"/>
                    <a:pt x="70" y="133"/>
                  </a:cubicBezTo>
                  <a:cubicBezTo>
                    <a:pt x="100" y="133"/>
                    <a:pt x="123" y="122"/>
                    <a:pt x="146" y="98"/>
                  </a:cubicBezTo>
                  <a:cubicBezTo>
                    <a:pt x="156" y="88"/>
                    <a:pt x="166" y="76"/>
                    <a:pt x="176" y="62"/>
                  </a:cubicBezTo>
                  <a:cubicBezTo>
                    <a:pt x="166" y="56"/>
                    <a:pt x="156" y="50"/>
                    <a:pt x="145" y="45"/>
                  </a:cubicBezTo>
                  <a:cubicBezTo>
                    <a:pt x="119" y="82"/>
                    <a:pt x="102" y="100"/>
                    <a:pt x="79" y="100"/>
                  </a:cubicBezTo>
                  <a:cubicBezTo>
                    <a:pt x="51" y="100"/>
                    <a:pt x="35" y="71"/>
                    <a:pt x="74" y="13"/>
                  </a:cubicBezTo>
                  <a:cubicBezTo>
                    <a:pt x="62" y="8"/>
                    <a:pt x="51" y="4"/>
                    <a:pt x="39" y="0"/>
                  </a:cubicBezTo>
                  <a:cubicBezTo>
                    <a:pt x="4" y="43"/>
                    <a:pt x="0" y="78"/>
                    <a:pt x="9"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3" name="Freeform 31"/>
            <p:cNvSpPr>
              <a:spLocks/>
            </p:cNvSpPr>
            <p:nvPr/>
          </p:nvSpPr>
          <p:spPr bwMode="auto">
            <a:xfrm>
              <a:off x="12343780" y="6789826"/>
              <a:ext cx="92695" cy="86190"/>
            </a:xfrm>
            <a:custGeom>
              <a:avLst/>
              <a:gdLst>
                <a:gd name="T0" fmla="*/ 0 w 41"/>
                <a:gd name="T1" fmla="*/ 0 h 38"/>
                <a:gd name="T2" fmla="*/ 0 w 41"/>
                <a:gd name="T3" fmla="*/ 0 h 38"/>
                <a:gd name="T4" fmla="*/ 0 w 41"/>
                <a:gd name="T5" fmla="*/ 5 h 38"/>
                <a:gd name="T6" fmla="*/ 38 w 41"/>
                <a:gd name="T7" fmla="*/ 38 h 38"/>
                <a:gd name="T8" fmla="*/ 41 w 41"/>
                <a:gd name="T9" fmla="*/ 32 h 38"/>
                <a:gd name="T10" fmla="*/ 41 w 41"/>
                <a:gd name="T11" fmla="*/ 31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3" y="25"/>
                    <a:pt x="15" y="36"/>
                    <a:pt x="38" y="38"/>
                  </a:cubicBezTo>
                  <a:cubicBezTo>
                    <a:pt x="41" y="32"/>
                    <a:pt x="41" y="32"/>
                    <a:pt x="41" y="32"/>
                  </a:cubicBezTo>
                  <a:cubicBezTo>
                    <a:pt x="41" y="31"/>
                    <a:pt x="41" y="31"/>
                    <a:pt x="41" y="31"/>
                  </a:cubicBezTo>
                  <a:cubicBezTo>
                    <a:pt x="28"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6" name="Freeform 32"/>
            <p:cNvSpPr>
              <a:spLocks/>
            </p:cNvSpPr>
            <p:nvPr/>
          </p:nvSpPr>
          <p:spPr bwMode="auto">
            <a:xfrm>
              <a:off x="10681784" y="6266183"/>
              <a:ext cx="216287" cy="595197"/>
            </a:xfrm>
            <a:custGeom>
              <a:avLst/>
              <a:gdLst>
                <a:gd name="T0" fmla="*/ 95 w 95"/>
                <a:gd name="T1" fmla="*/ 0 h 262"/>
                <a:gd name="T2" fmla="*/ 95 w 95"/>
                <a:gd name="T3" fmla="*/ 0 h 262"/>
                <a:gd name="T4" fmla="*/ 95 w 95"/>
                <a:gd name="T5" fmla="*/ 262 h 262"/>
                <a:gd name="T6" fmla="*/ 54 w 95"/>
                <a:gd name="T7" fmla="*/ 262 h 262"/>
                <a:gd name="T8" fmla="*/ 54 w 95"/>
                <a:gd name="T9" fmla="*/ 51 h 262"/>
                <a:gd name="T10" fmla="*/ 30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8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4" y="262"/>
                    <a:pt x="54" y="262"/>
                    <a:pt x="54" y="262"/>
                  </a:cubicBezTo>
                  <a:cubicBezTo>
                    <a:pt x="54" y="51"/>
                    <a:pt x="54" y="51"/>
                    <a:pt x="54" y="51"/>
                  </a:cubicBezTo>
                  <a:cubicBezTo>
                    <a:pt x="46" y="56"/>
                    <a:pt x="38" y="61"/>
                    <a:pt x="30" y="65"/>
                  </a:cubicBezTo>
                  <a:cubicBezTo>
                    <a:pt x="21" y="68"/>
                    <a:pt x="11" y="72"/>
                    <a:pt x="0" y="74"/>
                  </a:cubicBezTo>
                  <a:cubicBezTo>
                    <a:pt x="0" y="39"/>
                    <a:pt x="0" y="39"/>
                    <a:pt x="0" y="39"/>
                  </a:cubicBezTo>
                  <a:cubicBezTo>
                    <a:pt x="7" y="37"/>
                    <a:pt x="14" y="34"/>
                    <a:pt x="20" y="32"/>
                  </a:cubicBezTo>
                  <a:cubicBezTo>
                    <a:pt x="26" y="30"/>
                    <a:pt x="33" y="27"/>
                    <a:pt x="39" y="24"/>
                  </a:cubicBezTo>
                  <a:cubicBezTo>
                    <a:pt x="45" y="20"/>
                    <a:pt x="52" y="17"/>
                    <a:pt x="58" y="13"/>
                  </a:cubicBezTo>
                  <a:cubicBezTo>
                    <a:pt x="64" y="9"/>
                    <a:pt x="71" y="5"/>
                    <a:pt x="78"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7" name="Freeform 33"/>
            <p:cNvSpPr>
              <a:spLocks/>
            </p:cNvSpPr>
            <p:nvPr/>
          </p:nvSpPr>
          <p:spPr bwMode="auto">
            <a:xfrm>
              <a:off x="11439602" y="6266183"/>
              <a:ext cx="216287" cy="595197"/>
            </a:xfrm>
            <a:custGeom>
              <a:avLst/>
              <a:gdLst>
                <a:gd name="T0" fmla="*/ 95 w 95"/>
                <a:gd name="T1" fmla="*/ 0 h 262"/>
                <a:gd name="T2" fmla="*/ 95 w 95"/>
                <a:gd name="T3" fmla="*/ 0 h 262"/>
                <a:gd name="T4" fmla="*/ 95 w 95"/>
                <a:gd name="T5" fmla="*/ 262 h 262"/>
                <a:gd name="T6" fmla="*/ 54 w 95"/>
                <a:gd name="T7" fmla="*/ 262 h 262"/>
                <a:gd name="T8" fmla="*/ 54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8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4" y="262"/>
                    <a:pt x="54" y="262"/>
                    <a:pt x="54" y="262"/>
                  </a:cubicBezTo>
                  <a:cubicBezTo>
                    <a:pt x="54" y="51"/>
                    <a:pt x="54" y="51"/>
                    <a:pt x="54" y="51"/>
                  </a:cubicBezTo>
                  <a:cubicBezTo>
                    <a:pt x="46" y="56"/>
                    <a:pt x="38" y="61"/>
                    <a:pt x="29" y="65"/>
                  </a:cubicBezTo>
                  <a:cubicBezTo>
                    <a:pt x="21" y="68"/>
                    <a:pt x="11" y="72"/>
                    <a:pt x="0" y="74"/>
                  </a:cubicBezTo>
                  <a:cubicBezTo>
                    <a:pt x="0" y="39"/>
                    <a:pt x="0" y="39"/>
                    <a:pt x="0" y="39"/>
                  </a:cubicBezTo>
                  <a:cubicBezTo>
                    <a:pt x="7" y="37"/>
                    <a:pt x="13" y="34"/>
                    <a:pt x="20" y="32"/>
                  </a:cubicBezTo>
                  <a:cubicBezTo>
                    <a:pt x="26" y="30"/>
                    <a:pt x="33" y="27"/>
                    <a:pt x="39" y="24"/>
                  </a:cubicBezTo>
                  <a:cubicBezTo>
                    <a:pt x="45" y="20"/>
                    <a:pt x="51" y="17"/>
                    <a:pt x="58" y="13"/>
                  </a:cubicBezTo>
                  <a:cubicBezTo>
                    <a:pt x="64" y="9"/>
                    <a:pt x="71" y="5"/>
                    <a:pt x="78"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8" name="Freeform 34"/>
            <p:cNvSpPr>
              <a:spLocks noEditPoints="1"/>
            </p:cNvSpPr>
            <p:nvPr/>
          </p:nvSpPr>
          <p:spPr bwMode="auto">
            <a:xfrm>
              <a:off x="10989140" y="6259678"/>
              <a:ext cx="409807" cy="616337"/>
            </a:xfrm>
            <a:custGeom>
              <a:avLst/>
              <a:gdLst>
                <a:gd name="T0" fmla="*/ 91 w 180"/>
                <a:gd name="T1" fmla="*/ 34 h 271"/>
                <a:gd name="T2" fmla="*/ 91 w 180"/>
                <a:gd name="T3" fmla="*/ 34 h 271"/>
                <a:gd name="T4" fmla="*/ 43 w 180"/>
                <a:gd name="T5" fmla="*/ 139 h 271"/>
                <a:gd name="T6" fmla="*/ 90 w 180"/>
                <a:gd name="T7" fmla="*/ 238 h 271"/>
                <a:gd name="T8" fmla="*/ 136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3 w 180"/>
                <a:gd name="T23" fmla="*/ 0 h 271"/>
                <a:gd name="T24" fmla="*/ 180 w 180"/>
                <a:gd name="T25" fmla="*/ 135 h 271"/>
                <a:gd name="T26" fmla="*/ 155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9"/>
                    <a:pt x="121" y="34"/>
                    <a:pt x="91" y="34"/>
                  </a:cubicBezTo>
                  <a:close/>
                  <a:moveTo>
                    <a:pt x="87" y="271"/>
                  </a:moveTo>
                  <a:cubicBezTo>
                    <a:pt x="87" y="271"/>
                    <a:pt x="87" y="271"/>
                    <a:pt x="87" y="271"/>
                  </a:cubicBezTo>
                  <a:cubicBezTo>
                    <a:pt x="59" y="271"/>
                    <a:pt x="38" y="260"/>
                    <a:pt x="23" y="238"/>
                  </a:cubicBezTo>
                  <a:cubicBezTo>
                    <a:pt x="7" y="216"/>
                    <a:pt x="0" y="183"/>
                    <a:pt x="0" y="141"/>
                  </a:cubicBezTo>
                  <a:cubicBezTo>
                    <a:pt x="0" y="95"/>
                    <a:pt x="8" y="60"/>
                    <a:pt x="24" y="36"/>
                  </a:cubicBezTo>
                  <a:cubicBezTo>
                    <a:pt x="40" y="12"/>
                    <a:pt x="63" y="0"/>
                    <a:pt x="93" y="0"/>
                  </a:cubicBezTo>
                  <a:cubicBezTo>
                    <a:pt x="151" y="0"/>
                    <a:pt x="180" y="45"/>
                    <a:pt x="180" y="135"/>
                  </a:cubicBezTo>
                  <a:cubicBezTo>
                    <a:pt x="180" y="179"/>
                    <a:pt x="171" y="213"/>
                    <a:pt x="155" y="236"/>
                  </a:cubicBezTo>
                  <a:cubicBezTo>
                    <a:pt x="139" y="260"/>
                    <a:pt x="116"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9" name="Freeform 35"/>
            <p:cNvSpPr>
              <a:spLocks noEditPoints="1"/>
            </p:cNvSpPr>
            <p:nvPr/>
          </p:nvSpPr>
          <p:spPr bwMode="auto">
            <a:xfrm>
              <a:off x="11751837" y="6259678"/>
              <a:ext cx="409807" cy="616337"/>
            </a:xfrm>
            <a:custGeom>
              <a:avLst/>
              <a:gdLst>
                <a:gd name="T0" fmla="*/ 91 w 180"/>
                <a:gd name="T1" fmla="*/ 34 h 271"/>
                <a:gd name="T2" fmla="*/ 91 w 180"/>
                <a:gd name="T3" fmla="*/ 34 h 271"/>
                <a:gd name="T4" fmla="*/ 43 w 180"/>
                <a:gd name="T5" fmla="*/ 139 h 271"/>
                <a:gd name="T6" fmla="*/ 90 w 180"/>
                <a:gd name="T7" fmla="*/ 238 h 271"/>
                <a:gd name="T8" fmla="*/ 136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3 w 180"/>
                <a:gd name="T23" fmla="*/ 0 h 271"/>
                <a:gd name="T24" fmla="*/ 180 w 180"/>
                <a:gd name="T25" fmla="*/ 135 h 271"/>
                <a:gd name="T26" fmla="*/ 155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9"/>
                    <a:pt x="121" y="34"/>
                    <a:pt x="91" y="34"/>
                  </a:cubicBezTo>
                  <a:close/>
                  <a:moveTo>
                    <a:pt x="87" y="271"/>
                  </a:moveTo>
                  <a:cubicBezTo>
                    <a:pt x="87" y="271"/>
                    <a:pt x="87" y="271"/>
                    <a:pt x="87" y="271"/>
                  </a:cubicBezTo>
                  <a:cubicBezTo>
                    <a:pt x="60" y="271"/>
                    <a:pt x="38" y="260"/>
                    <a:pt x="23" y="238"/>
                  </a:cubicBezTo>
                  <a:cubicBezTo>
                    <a:pt x="8" y="216"/>
                    <a:pt x="0" y="183"/>
                    <a:pt x="0" y="141"/>
                  </a:cubicBezTo>
                  <a:cubicBezTo>
                    <a:pt x="0" y="95"/>
                    <a:pt x="8" y="60"/>
                    <a:pt x="24" y="36"/>
                  </a:cubicBezTo>
                  <a:cubicBezTo>
                    <a:pt x="40" y="12"/>
                    <a:pt x="63" y="0"/>
                    <a:pt x="93" y="0"/>
                  </a:cubicBezTo>
                  <a:cubicBezTo>
                    <a:pt x="151" y="0"/>
                    <a:pt x="180" y="45"/>
                    <a:pt x="180" y="135"/>
                  </a:cubicBezTo>
                  <a:cubicBezTo>
                    <a:pt x="180" y="179"/>
                    <a:pt x="171" y="213"/>
                    <a:pt x="155" y="236"/>
                  </a:cubicBezTo>
                  <a:cubicBezTo>
                    <a:pt x="139" y="260"/>
                    <a:pt x="116"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0" name="Freeform 36"/>
            <p:cNvSpPr>
              <a:spLocks/>
            </p:cNvSpPr>
            <p:nvPr/>
          </p:nvSpPr>
          <p:spPr bwMode="auto">
            <a:xfrm>
              <a:off x="11010280" y="6693879"/>
              <a:ext cx="1261946" cy="297598"/>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1" name="Freeform 37"/>
            <p:cNvSpPr>
              <a:spLocks/>
            </p:cNvSpPr>
            <p:nvPr/>
          </p:nvSpPr>
          <p:spPr bwMode="auto">
            <a:xfrm>
              <a:off x="12306377" y="5856375"/>
              <a:ext cx="130098" cy="814736"/>
            </a:xfrm>
            <a:custGeom>
              <a:avLst/>
              <a:gdLst>
                <a:gd name="T0" fmla="*/ 36 w 57"/>
                <a:gd name="T1" fmla="*/ 25 h 358"/>
                <a:gd name="T2" fmla="*/ 36 w 57"/>
                <a:gd name="T3" fmla="*/ 25 h 358"/>
                <a:gd name="T4" fmla="*/ 0 w 57"/>
                <a:gd name="T5" fmla="*/ 185 h 358"/>
                <a:gd name="T6" fmla="*/ 35 w 57"/>
                <a:gd name="T7" fmla="*/ 333 h 358"/>
                <a:gd name="T8" fmla="*/ 57 w 57"/>
                <a:gd name="T9" fmla="*/ 358 h 358"/>
                <a:gd name="T10" fmla="*/ 57 w 57"/>
                <a:gd name="T11" fmla="*/ 0 h 358"/>
                <a:gd name="T12" fmla="*/ 36 w 57"/>
                <a:gd name="T13" fmla="*/ 25 h 358"/>
              </a:gdLst>
              <a:ahLst/>
              <a:cxnLst>
                <a:cxn ang="0">
                  <a:pos x="T0" y="T1"/>
                </a:cxn>
                <a:cxn ang="0">
                  <a:pos x="T2" y="T3"/>
                </a:cxn>
                <a:cxn ang="0">
                  <a:pos x="T4" y="T5"/>
                </a:cxn>
                <a:cxn ang="0">
                  <a:pos x="T6" y="T7"/>
                </a:cxn>
                <a:cxn ang="0">
                  <a:pos x="T8" y="T9"/>
                </a:cxn>
                <a:cxn ang="0">
                  <a:pos x="T10" y="T11"/>
                </a:cxn>
                <a:cxn ang="0">
                  <a:pos x="T12" y="T13"/>
                </a:cxn>
              </a:cxnLst>
              <a:rect l="0" t="0" r="r" b="b"/>
              <a:pathLst>
                <a:path w="57" h="358">
                  <a:moveTo>
                    <a:pt x="36" y="25"/>
                  </a:moveTo>
                  <a:cubicBezTo>
                    <a:pt x="36" y="25"/>
                    <a:pt x="36" y="25"/>
                    <a:pt x="36" y="25"/>
                  </a:cubicBezTo>
                  <a:cubicBezTo>
                    <a:pt x="12" y="61"/>
                    <a:pt x="0" y="114"/>
                    <a:pt x="0" y="185"/>
                  </a:cubicBezTo>
                  <a:cubicBezTo>
                    <a:pt x="0" y="250"/>
                    <a:pt x="11" y="299"/>
                    <a:pt x="35" y="333"/>
                  </a:cubicBezTo>
                  <a:cubicBezTo>
                    <a:pt x="42" y="343"/>
                    <a:pt x="49" y="351"/>
                    <a:pt x="57" y="358"/>
                  </a:cubicBezTo>
                  <a:cubicBezTo>
                    <a:pt x="57" y="0"/>
                    <a:pt x="57" y="0"/>
                    <a:pt x="57" y="0"/>
                  </a:cubicBezTo>
                  <a:cubicBezTo>
                    <a:pt x="50" y="7"/>
                    <a:pt x="43" y="15"/>
                    <a:pt x="36" y="2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2" name="Freeform 38"/>
            <p:cNvSpPr>
              <a:spLocks/>
            </p:cNvSpPr>
            <p:nvPr/>
          </p:nvSpPr>
          <p:spPr bwMode="auto">
            <a:xfrm>
              <a:off x="12257591" y="6261304"/>
              <a:ext cx="178884" cy="614711"/>
            </a:xfrm>
            <a:custGeom>
              <a:avLst/>
              <a:gdLst>
                <a:gd name="T0" fmla="*/ 43 w 79"/>
                <a:gd name="T1" fmla="*/ 138 h 270"/>
                <a:gd name="T2" fmla="*/ 43 w 79"/>
                <a:gd name="T3" fmla="*/ 138 h 270"/>
                <a:gd name="T4" fmla="*/ 79 w 79"/>
                <a:gd name="T5" fmla="*/ 35 h 270"/>
                <a:gd name="T6" fmla="*/ 79 w 79"/>
                <a:gd name="T7" fmla="*/ 0 h 270"/>
                <a:gd name="T8" fmla="*/ 24 w 79"/>
                <a:gd name="T9" fmla="*/ 35 h 270"/>
                <a:gd name="T10" fmla="*/ 0 w 79"/>
                <a:gd name="T11" fmla="*/ 140 h 270"/>
                <a:gd name="T12" fmla="*/ 23 w 79"/>
                <a:gd name="T13" fmla="*/ 237 h 270"/>
                <a:gd name="T14" fmla="*/ 79 w 79"/>
                <a:gd name="T15" fmla="*/ 270 h 270"/>
                <a:gd name="T16" fmla="*/ 79 w 79"/>
                <a:gd name="T17" fmla="*/ 235 h 270"/>
                <a:gd name="T18" fmla="*/ 43 w 79"/>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270">
                  <a:moveTo>
                    <a:pt x="43" y="138"/>
                  </a:moveTo>
                  <a:cubicBezTo>
                    <a:pt x="43" y="138"/>
                    <a:pt x="43" y="138"/>
                    <a:pt x="43" y="138"/>
                  </a:cubicBezTo>
                  <a:cubicBezTo>
                    <a:pt x="43" y="77"/>
                    <a:pt x="55" y="43"/>
                    <a:pt x="79" y="35"/>
                  </a:cubicBezTo>
                  <a:cubicBezTo>
                    <a:pt x="79" y="0"/>
                    <a:pt x="79" y="0"/>
                    <a:pt x="79" y="0"/>
                  </a:cubicBezTo>
                  <a:cubicBezTo>
                    <a:pt x="56" y="3"/>
                    <a:pt x="37" y="15"/>
                    <a:pt x="24" y="35"/>
                  </a:cubicBezTo>
                  <a:cubicBezTo>
                    <a:pt x="8" y="59"/>
                    <a:pt x="0" y="94"/>
                    <a:pt x="0" y="140"/>
                  </a:cubicBezTo>
                  <a:cubicBezTo>
                    <a:pt x="0" y="182"/>
                    <a:pt x="7" y="215"/>
                    <a:pt x="23" y="237"/>
                  </a:cubicBezTo>
                  <a:cubicBezTo>
                    <a:pt x="37" y="257"/>
                    <a:pt x="55" y="268"/>
                    <a:pt x="79" y="270"/>
                  </a:cubicBezTo>
                  <a:cubicBezTo>
                    <a:pt x="79" y="235"/>
                    <a:pt x="79" y="235"/>
                    <a:pt x="79" y="235"/>
                  </a:cubicBezTo>
                  <a:cubicBezTo>
                    <a:pt x="55" y="228"/>
                    <a:pt x="43" y="196"/>
                    <a:pt x="43"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nvGrpSpPr>
            <p:cNvPr id="299045" name="Group 299044"/>
            <p:cNvGrpSpPr/>
            <p:nvPr/>
          </p:nvGrpSpPr>
          <p:grpSpPr>
            <a:xfrm>
              <a:off x="7351286" y="6323268"/>
              <a:ext cx="915562" cy="624469"/>
              <a:chOff x="7731822" y="6235284"/>
              <a:chExt cx="915562" cy="624469"/>
            </a:xfrm>
            <a:solidFill>
              <a:schemeClr val="accent1"/>
            </a:solidFill>
          </p:grpSpPr>
          <p:sp>
            <p:nvSpPr>
              <p:cNvPr id="103" name="Freeform 39"/>
              <p:cNvSpPr>
                <a:spLocks/>
              </p:cNvSpPr>
              <p:nvPr/>
            </p:nvSpPr>
            <p:spPr bwMode="auto">
              <a:xfrm>
                <a:off x="8201799" y="6715019"/>
                <a:ext cx="52039" cy="141481"/>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9 w 23"/>
                  <a:gd name="T19" fmla="*/ 5 h 62"/>
                  <a:gd name="T20" fmla="*/ 14 w 23"/>
                  <a:gd name="T21" fmla="*/ 3 h 62"/>
                  <a:gd name="T22" fmla="*/ 18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2" y="17"/>
                      <a:pt x="0" y="17"/>
                    </a:cubicBezTo>
                    <a:cubicBezTo>
                      <a:pt x="0" y="9"/>
                      <a:pt x="0" y="9"/>
                      <a:pt x="0" y="9"/>
                    </a:cubicBezTo>
                    <a:cubicBezTo>
                      <a:pt x="2" y="8"/>
                      <a:pt x="3" y="8"/>
                      <a:pt x="5" y="7"/>
                    </a:cubicBezTo>
                    <a:cubicBezTo>
                      <a:pt x="6" y="7"/>
                      <a:pt x="8" y="6"/>
                      <a:pt x="9" y="5"/>
                    </a:cubicBezTo>
                    <a:cubicBezTo>
                      <a:pt x="11" y="4"/>
                      <a:pt x="12" y="4"/>
                      <a:pt x="14" y="3"/>
                    </a:cubicBezTo>
                    <a:cubicBezTo>
                      <a:pt x="15" y="2"/>
                      <a:pt x="17" y="1"/>
                      <a:pt x="18" y="0"/>
                    </a:cubicBezTo>
                    <a:cubicBezTo>
                      <a:pt x="23" y="0"/>
                      <a:pt x="23" y="0"/>
                      <a:pt x="23" y="0"/>
                    </a:cubicBezTo>
                    <a:cubicBezTo>
                      <a:pt x="23" y="0"/>
                      <a:pt x="23"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4" name="Freeform 40"/>
              <p:cNvSpPr>
                <a:spLocks/>
              </p:cNvSpPr>
              <p:nvPr/>
            </p:nvSpPr>
            <p:spPr bwMode="auto">
              <a:xfrm>
                <a:off x="8380683" y="6715019"/>
                <a:ext cx="50413" cy="141481"/>
              </a:xfrm>
              <a:custGeom>
                <a:avLst/>
                <a:gdLst>
                  <a:gd name="T0" fmla="*/ 22 w 22"/>
                  <a:gd name="T1" fmla="*/ 0 h 62"/>
                  <a:gd name="T2" fmla="*/ 22 w 22"/>
                  <a:gd name="T3" fmla="*/ 0 h 62"/>
                  <a:gd name="T4" fmla="*/ 22 w 22"/>
                  <a:gd name="T5" fmla="*/ 62 h 62"/>
                  <a:gd name="T6" fmla="*/ 13 w 22"/>
                  <a:gd name="T7" fmla="*/ 62 h 62"/>
                  <a:gd name="T8" fmla="*/ 13 w 22"/>
                  <a:gd name="T9" fmla="*/ 12 h 62"/>
                  <a:gd name="T10" fmla="*/ 7 w 22"/>
                  <a:gd name="T11" fmla="*/ 15 h 62"/>
                  <a:gd name="T12" fmla="*/ 0 w 22"/>
                  <a:gd name="T13" fmla="*/ 17 h 62"/>
                  <a:gd name="T14" fmla="*/ 0 w 22"/>
                  <a:gd name="T15" fmla="*/ 9 h 62"/>
                  <a:gd name="T16" fmla="*/ 4 w 22"/>
                  <a:gd name="T17" fmla="*/ 7 h 62"/>
                  <a:gd name="T18" fmla="*/ 9 w 22"/>
                  <a:gd name="T19" fmla="*/ 5 h 62"/>
                  <a:gd name="T20" fmla="*/ 14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3" y="62"/>
                      <a:pt x="13" y="62"/>
                      <a:pt x="13" y="62"/>
                    </a:cubicBezTo>
                    <a:cubicBezTo>
                      <a:pt x="13" y="12"/>
                      <a:pt x="13" y="12"/>
                      <a:pt x="13" y="12"/>
                    </a:cubicBezTo>
                    <a:cubicBezTo>
                      <a:pt x="11" y="13"/>
                      <a:pt x="9" y="14"/>
                      <a:pt x="7" y="15"/>
                    </a:cubicBezTo>
                    <a:cubicBezTo>
                      <a:pt x="5" y="16"/>
                      <a:pt x="2" y="17"/>
                      <a:pt x="0" y="17"/>
                    </a:cubicBezTo>
                    <a:cubicBezTo>
                      <a:pt x="0" y="9"/>
                      <a:pt x="0" y="9"/>
                      <a:pt x="0" y="9"/>
                    </a:cubicBezTo>
                    <a:cubicBezTo>
                      <a:pt x="2" y="8"/>
                      <a:pt x="3" y="8"/>
                      <a:pt x="4" y="7"/>
                    </a:cubicBezTo>
                    <a:cubicBezTo>
                      <a:pt x="6" y="7"/>
                      <a:pt x="8" y="6"/>
                      <a:pt x="9" y="5"/>
                    </a:cubicBezTo>
                    <a:cubicBezTo>
                      <a:pt x="11" y="4"/>
                      <a:pt x="12" y="4"/>
                      <a:pt x="14" y="3"/>
                    </a:cubicBezTo>
                    <a:cubicBezTo>
                      <a:pt x="15" y="2"/>
                      <a:pt x="17" y="1"/>
                      <a:pt x="18" y="0"/>
                    </a:cubicBezTo>
                    <a:cubicBezTo>
                      <a:pt x="22" y="0"/>
                      <a:pt x="22" y="0"/>
                      <a:pt x="22" y="0"/>
                    </a:cubicBezTo>
                    <a:cubicBezTo>
                      <a:pt x="22" y="0"/>
                      <a:pt x="22"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5" name="Freeform 41"/>
              <p:cNvSpPr>
                <a:spLocks noEditPoints="1"/>
              </p:cNvSpPr>
              <p:nvPr/>
            </p:nvSpPr>
            <p:spPr bwMode="auto">
              <a:xfrm>
                <a:off x="8273353" y="6713393"/>
                <a:ext cx="95947" cy="146360"/>
              </a:xfrm>
              <a:custGeom>
                <a:avLst/>
                <a:gdLst>
                  <a:gd name="T0" fmla="*/ 21 w 42"/>
                  <a:gd name="T1" fmla="*/ 8 h 64"/>
                  <a:gd name="T2" fmla="*/ 21 w 42"/>
                  <a:gd name="T3" fmla="*/ 8 h 64"/>
                  <a:gd name="T4" fmla="*/ 10 w 42"/>
                  <a:gd name="T5" fmla="*/ 33 h 64"/>
                  <a:gd name="T6" fmla="*/ 21 w 42"/>
                  <a:gd name="T7" fmla="*/ 56 h 64"/>
                  <a:gd name="T8" fmla="*/ 32 w 42"/>
                  <a:gd name="T9" fmla="*/ 33 h 64"/>
                  <a:gd name="T10" fmla="*/ 21 w 42"/>
                  <a:gd name="T11" fmla="*/ 8 h 64"/>
                  <a:gd name="T12" fmla="*/ 20 w 42"/>
                  <a:gd name="T13" fmla="*/ 64 h 64"/>
                  <a:gd name="T14" fmla="*/ 20 w 42"/>
                  <a:gd name="T15" fmla="*/ 64 h 64"/>
                  <a:gd name="T16" fmla="*/ 5 w 42"/>
                  <a:gd name="T17" fmla="*/ 56 h 64"/>
                  <a:gd name="T18" fmla="*/ 0 w 42"/>
                  <a:gd name="T19" fmla="*/ 33 h 64"/>
                  <a:gd name="T20" fmla="*/ 6 w 42"/>
                  <a:gd name="T21" fmla="*/ 8 h 64"/>
                  <a:gd name="T22" fmla="*/ 22 w 42"/>
                  <a:gd name="T23" fmla="*/ 0 h 64"/>
                  <a:gd name="T24" fmla="*/ 42 w 42"/>
                  <a:gd name="T25" fmla="*/ 32 h 64"/>
                  <a:gd name="T26" fmla="*/ 37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4" y="8"/>
                      <a:pt x="10" y="16"/>
                      <a:pt x="10" y="33"/>
                    </a:cubicBezTo>
                    <a:cubicBezTo>
                      <a:pt x="10" y="48"/>
                      <a:pt x="14" y="56"/>
                      <a:pt x="21" y="56"/>
                    </a:cubicBezTo>
                    <a:cubicBezTo>
                      <a:pt x="28" y="56"/>
                      <a:pt x="32" y="48"/>
                      <a:pt x="32" y="33"/>
                    </a:cubicBezTo>
                    <a:cubicBezTo>
                      <a:pt x="32" y="16"/>
                      <a:pt x="29" y="8"/>
                      <a:pt x="21" y="8"/>
                    </a:cubicBezTo>
                    <a:close/>
                    <a:moveTo>
                      <a:pt x="20" y="64"/>
                    </a:moveTo>
                    <a:cubicBezTo>
                      <a:pt x="20" y="64"/>
                      <a:pt x="20" y="64"/>
                      <a:pt x="20" y="64"/>
                    </a:cubicBezTo>
                    <a:cubicBezTo>
                      <a:pt x="14" y="64"/>
                      <a:pt x="9" y="62"/>
                      <a:pt x="5" y="56"/>
                    </a:cubicBezTo>
                    <a:cubicBezTo>
                      <a:pt x="2" y="51"/>
                      <a:pt x="0" y="43"/>
                      <a:pt x="0" y="33"/>
                    </a:cubicBezTo>
                    <a:cubicBezTo>
                      <a:pt x="0" y="22"/>
                      <a:pt x="2" y="14"/>
                      <a:pt x="6" y="8"/>
                    </a:cubicBezTo>
                    <a:cubicBezTo>
                      <a:pt x="9" y="3"/>
                      <a:pt x="15" y="0"/>
                      <a:pt x="22" y="0"/>
                    </a:cubicBezTo>
                    <a:cubicBezTo>
                      <a:pt x="36" y="0"/>
                      <a:pt x="42" y="11"/>
                      <a:pt x="42" y="32"/>
                    </a:cubicBezTo>
                    <a:cubicBezTo>
                      <a:pt x="42" y="42"/>
                      <a:pt x="40" y="50"/>
                      <a:pt x="37" y="56"/>
                    </a:cubicBezTo>
                    <a:cubicBezTo>
                      <a:pt x="33" y="62"/>
                      <a:pt x="27" y="64"/>
                      <a:pt x="2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6" name="Freeform 42"/>
              <p:cNvSpPr>
                <a:spLocks noEditPoints="1"/>
              </p:cNvSpPr>
              <p:nvPr/>
            </p:nvSpPr>
            <p:spPr bwMode="auto">
              <a:xfrm>
                <a:off x="8453863" y="6713393"/>
                <a:ext cx="97573" cy="146360"/>
              </a:xfrm>
              <a:custGeom>
                <a:avLst/>
                <a:gdLst>
                  <a:gd name="T0" fmla="*/ 22 w 43"/>
                  <a:gd name="T1" fmla="*/ 8 h 64"/>
                  <a:gd name="T2" fmla="*/ 22 w 43"/>
                  <a:gd name="T3" fmla="*/ 8 h 64"/>
                  <a:gd name="T4" fmla="*/ 11 w 43"/>
                  <a:gd name="T5" fmla="*/ 33 h 64"/>
                  <a:gd name="T6" fmla="*/ 22 w 43"/>
                  <a:gd name="T7" fmla="*/ 56 h 64"/>
                  <a:gd name="T8" fmla="*/ 33 w 43"/>
                  <a:gd name="T9" fmla="*/ 33 h 64"/>
                  <a:gd name="T10" fmla="*/ 22 w 43"/>
                  <a:gd name="T11" fmla="*/ 8 h 64"/>
                  <a:gd name="T12" fmla="*/ 21 w 43"/>
                  <a:gd name="T13" fmla="*/ 64 h 64"/>
                  <a:gd name="T14" fmla="*/ 21 w 43"/>
                  <a:gd name="T15" fmla="*/ 64 h 64"/>
                  <a:gd name="T16" fmla="*/ 6 w 43"/>
                  <a:gd name="T17" fmla="*/ 56 h 64"/>
                  <a:gd name="T18" fmla="*/ 0 w 43"/>
                  <a:gd name="T19" fmla="*/ 33 h 64"/>
                  <a:gd name="T20" fmla="*/ 6 w 43"/>
                  <a:gd name="T21" fmla="*/ 8 h 64"/>
                  <a:gd name="T22" fmla="*/ 22 w 43"/>
                  <a:gd name="T23" fmla="*/ 0 h 64"/>
                  <a:gd name="T24" fmla="*/ 43 w 43"/>
                  <a:gd name="T25" fmla="*/ 32 h 64"/>
                  <a:gd name="T26" fmla="*/ 37 w 43"/>
                  <a:gd name="T27" fmla="*/ 56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8"/>
                    </a:moveTo>
                    <a:cubicBezTo>
                      <a:pt x="22" y="8"/>
                      <a:pt x="22" y="8"/>
                      <a:pt x="22" y="8"/>
                    </a:cubicBezTo>
                    <a:cubicBezTo>
                      <a:pt x="14" y="8"/>
                      <a:pt x="11" y="16"/>
                      <a:pt x="11" y="33"/>
                    </a:cubicBezTo>
                    <a:cubicBezTo>
                      <a:pt x="11" y="48"/>
                      <a:pt x="14" y="56"/>
                      <a:pt x="22" y="56"/>
                    </a:cubicBezTo>
                    <a:cubicBezTo>
                      <a:pt x="29" y="56"/>
                      <a:pt x="33" y="48"/>
                      <a:pt x="33" y="33"/>
                    </a:cubicBezTo>
                    <a:cubicBezTo>
                      <a:pt x="33" y="16"/>
                      <a:pt x="29" y="8"/>
                      <a:pt x="22" y="8"/>
                    </a:cubicBezTo>
                    <a:close/>
                    <a:moveTo>
                      <a:pt x="21" y="64"/>
                    </a:moveTo>
                    <a:cubicBezTo>
                      <a:pt x="21" y="64"/>
                      <a:pt x="21" y="64"/>
                      <a:pt x="21" y="64"/>
                    </a:cubicBezTo>
                    <a:cubicBezTo>
                      <a:pt x="14" y="64"/>
                      <a:pt x="9" y="62"/>
                      <a:pt x="6" y="56"/>
                    </a:cubicBezTo>
                    <a:cubicBezTo>
                      <a:pt x="2" y="51"/>
                      <a:pt x="0" y="43"/>
                      <a:pt x="0" y="33"/>
                    </a:cubicBezTo>
                    <a:cubicBezTo>
                      <a:pt x="0" y="22"/>
                      <a:pt x="2" y="14"/>
                      <a:pt x="6" y="8"/>
                    </a:cubicBezTo>
                    <a:cubicBezTo>
                      <a:pt x="10" y="3"/>
                      <a:pt x="15" y="0"/>
                      <a:pt x="22" y="0"/>
                    </a:cubicBezTo>
                    <a:cubicBezTo>
                      <a:pt x="36" y="0"/>
                      <a:pt x="43" y="11"/>
                      <a:pt x="43" y="32"/>
                    </a:cubicBezTo>
                    <a:cubicBezTo>
                      <a:pt x="43" y="42"/>
                      <a:pt x="41" y="50"/>
                      <a:pt x="37" y="56"/>
                    </a:cubicBezTo>
                    <a:cubicBezTo>
                      <a:pt x="33" y="62"/>
                      <a:pt x="28" y="64"/>
                      <a:pt x="2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7" name="Freeform 43"/>
              <p:cNvSpPr>
                <a:spLocks/>
              </p:cNvSpPr>
              <p:nvPr/>
            </p:nvSpPr>
            <p:spPr bwMode="auto">
              <a:xfrm>
                <a:off x="7834274" y="6715019"/>
                <a:ext cx="50413" cy="141481"/>
              </a:xfrm>
              <a:custGeom>
                <a:avLst/>
                <a:gdLst>
                  <a:gd name="T0" fmla="*/ 22 w 22"/>
                  <a:gd name="T1" fmla="*/ 0 h 62"/>
                  <a:gd name="T2" fmla="*/ 22 w 22"/>
                  <a:gd name="T3" fmla="*/ 0 h 62"/>
                  <a:gd name="T4" fmla="*/ 22 w 22"/>
                  <a:gd name="T5" fmla="*/ 62 h 62"/>
                  <a:gd name="T6" fmla="*/ 12 w 22"/>
                  <a:gd name="T7" fmla="*/ 62 h 62"/>
                  <a:gd name="T8" fmla="*/ 12 w 22"/>
                  <a:gd name="T9" fmla="*/ 12 h 62"/>
                  <a:gd name="T10" fmla="*/ 7 w 22"/>
                  <a:gd name="T11" fmla="*/ 15 h 62"/>
                  <a:gd name="T12" fmla="*/ 0 w 22"/>
                  <a:gd name="T13" fmla="*/ 17 h 62"/>
                  <a:gd name="T14" fmla="*/ 0 w 22"/>
                  <a:gd name="T15" fmla="*/ 9 h 62"/>
                  <a:gd name="T16" fmla="*/ 4 w 22"/>
                  <a:gd name="T17" fmla="*/ 7 h 62"/>
                  <a:gd name="T18" fmla="*/ 9 w 22"/>
                  <a:gd name="T19" fmla="*/ 5 h 62"/>
                  <a:gd name="T20" fmla="*/ 13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2" y="62"/>
                      <a:pt x="12" y="62"/>
                      <a:pt x="12" y="62"/>
                    </a:cubicBezTo>
                    <a:cubicBezTo>
                      <a:pt x="12" y="12"/>
                      <a:pt x="12" y="12"/>
                      <a:pt x="12" y="12"/>
                    </a:cubicBezTo>
                    <a:cubicBezTo>
                      <a:pt x="11" y="13"/>
                      <a:pt x="9" y="14"/>
                      <a:pt x="7" y="15"/>
                    </a:cubicBezTo>
                    <a:cubicBezTo>
                      <a:pt x="4" y="16"/>
                      <a:pt x="2" y="17"/>
                      <a:pt x="0" y="17"/>
                    </a:cubicBezTo>
                    <a:cubicBezTo>
                      <a:pt x="0" y="9"/>
                      <a:pt x="0" y="9"/>
                      <a:pt x="0" y="9"/>
                    </a:cubicBezTo>
                    <a:cubicBezTo>
                      <a:pt x="1" y="8"/>
                      <a:pt x="3" y="8"/>
                      <a:pt x="4" y="7"/>
                    </a:cubicBezTo>
                    <a:cubicBezTo>
                      <a:pt x="6" y="7"/>
                      <a:pt x="7" y="6"/>
                      <a:pt x="9" y="5"/>
                    </a:cubicBezTo>
                    <a:cubicBezTo>
                      <a:pt x="10" y="4"/>
                      <a:pt x="12" y="4"/>
                      <a:pt x="13" y="3"/>
                    </a:cubicBezTo>
                    <a:cubicBezTo>
                      <a:pt x="15" y="2"/>
                      <a:pt x="16" y="1"/>
                      <a:pt x="18" y="0"/>
                    </a:cubicBezTo>
                    <a:cubicBezTo>
                      <a:pt x="22" y="0"/>
                      <a:pt x="22" y="0"/>
                      <a:pt x="22" y="0"/>
                    </a:cubicBezTo>
                    <a:cubicBezTo>
                      <a:pt x="22" y="0"/>
                      <a:pt x="22"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9" name="Freeform 44"/>
              <p:cNvSpPr>
                <a:spLocks/>
              </p:cNvSpPr>
              <p:nvPr/>
            </p:nvSpPr>
            <p:spPr bwMode="auto">
              <a:xfrm>
                <a:off x="7913958" y="6555649"/>
                <a:ext cx="53665" cy="141481"/>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9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3" y="17"/>
                      <a:pt x="0" y="17"/>
                    </a:cubicBezTo>
                    <a:cubicBezTo>
                      <a:pt x="0" y="9"/>
                      <a:pt x="0" y="9"/>
                      <a:pt x="0" y="9"/>
                    </a:cubicBezTo>
                    <a:cubicBezTo>
                      <a:pt x="2" y="8"/>
                      <a:pt x="3" y="8"/>
                      <a:pt x="5" y="7"/>
                    </a:cubicBezTo>
                    <a:cubicBezTo>
                      <a:pt x="6" y="7"/>
                      <a:pt x="8" y="6"/>
                      <a:pt x="9" y="5"/>
                    </a:cubicBezTo>
                    <a:cubicBezTo>
                      <a:pt x="11" y="5"/>
                      <a:pt x="12" y="4"/>
                      <a:pt x="14" y="3"/>
                    </a:cubicBezTo>
                    <a:cubicBezTo>
                      <a:pt x="16" y="2"/>
                      <a:pt x="17" y="1"/>
                      <a:pt x="19" y="0"/>
                    </a:cubicBezTo>
                    <a:cubicBezTo>
                      <a:pt x="23" y="0"/>
                      <a:pt x="23" y="0"/>
                      <a:pt x="23" y="0"/>
                    </a:cubicBezTo>
                    <a:cubicBezTo>
                      <a:pt x="23" y="0"/>
                      <a:pt x="23"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10" name="Freeform 45"/>
              <p:cNvSpPr>
                <a:spLocks/>
              </p:cNvSpPr>
              <p:nvPr/>
            </p:nvSpPr>
            <p:spPr bwMode="auto">
              <a:xfrm>
                <a:off x="7987138" y="6555649"/>
                <a:ext cx="52039" cy="141481"/>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9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3" y="17"/>
                      <a:pt x="0" y="17"/>
                    </a:cubicBezTo>
                    <a:cubicBezTo>
                      <a:pt x="0" y="9"/>
                      <a:pt x="0" y="9"/>
                      <a:pt x="0" y="9"/>
                    </a:cubicBezTo>
                    <a:cubicBezTo>
                      <a:pt x="2" y="8"/>
                      <a:pt x="3" y="8"/>
                      <a:pt x="5" y="7"/>
                    </a:cubicBezTo>
                    <a:cubicBezTo>
                      <a:pt x="6" y="7"/>
                      <a:pt x="8" y="6"/>
                      <a:pt x="9" y="5"/>
                    </a:cubicBezTo>
                    <a:cubicBezTo>
                      <a:pt x="11" y="5"/>
                      <a:pt x="12" y="4"/>
                      <a:pt x="14" y="3"/>
                    </a:cubicBezTo>
                    <a:cubicBezTo>
                      <a:pt x="15" y="2"/>
                      <a:pt x="17" y="1"/>
                      <a:pt x="19" y="0"/>
                    </a:cubicBezTo>
                    <a:cubicBezTo>
                      <a:pt x="23" y="0"/>
                      <a:pt x="23" y="0"/>
                      <a:pt x="23" y="0"/>
                    </a:cubicBezTo>
                    <a:cubicBezTo>
                      <a:pt x="23" y="0"/>
                      <a:pt x="23"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11" name="Freeform 46"/>
              <p:cNvSpPr>
                <a:spLocks/>
              </p:cNvSpPr>
              <p:nvPr/>
            </p:nvSpPr>
            <p:spPr bwMode="auto">
              <a:xfrm>
                <a:off x="8061944" y="6555649"/>
                <a:ext cx="50413" cy="141481"/>
              </a:xfrm>
              <a:custGeom>
                <a:avLst/>
                <a:gdLst>
                  <a:gd name="T0" fmla="*/ 22 w 22"/>
                  <a:gd name="T1" fmla="*/ 0 h 62"/>
                  <a:gd name="T2" fmla="*/ 22 w 22"/>
                  <a:gd name="T3" fmla="*/ 0 h 62"/>
                  <a:gd name="T4" fmla="*/ 22 w 22"/>
                  <a:gd name="T5" fmla="*/ 62 h 62"/>
                  <a:gd name="T6" fmla="*/ 12 w 22"/>
                  <a:gd name="T7" fmla="*/ 62 h 62"/>
                  <a:gd name="T8" fmla="*/ 12 w 22"/>
                  <a:gd name="T9" fmla="*/ 12 h 62"/>
                  <a:gd name="T10" fmla="*/ 7 w 22"/>
                  <a:gd name="T11" fmla="*/ 15 h 62"/>
                  <a:gd name="T12" fmla="*/ 0 w 22"/>
                  <a:gd name="T13" fmla="*/ 17 h 62"/>
                  <a:gd name="T14" fmla="*/ 0 w 22"/>
                  <a:gd name="T15" fmla="*/ 9 h 62"/>
                  <a:gd name="T16" fmla="*/ 4 w 22"/>
                  <a:gd name="T17" fmla="*/ 7 h 62"/>
                  <a:gd name="T18" fmla="*/ 9 w 22"/>
                  <a:gd name="T19" fmla="*/ 5 h 62"/>
                  <a:gd name="T20" fmla="*/ 13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2" y="62"/>
                      <a:pt x="12" y="62"/>
                      <a:pt x="12" y="62"/>
                    </a:cubicBezTo>
                    <a:cubicBezTo>
                      <a:pt x="12" y="12"/>
                      <a:pt x="12" y="12"/>
                      <a:pt x="12" y="12"/>
                    </a:cubicBezTo>
                    <a:cubicBezTo>
                      <a:pt x="11" y="13"/>
                      <a:pt x="9" y="14"/>
                      <a:pt x="7" y="15"/>
                    </a:cubicBezTo>
                    <a:cubicBezTo>
                      <a:pt x="5" y="16"/>
                      <a:pt x="2" y="17"/>
                      <a:pt x="0" y="17"/>
                    </a:cubicBezTo>
                    <a:cubicBezTo>
                      <a:pt x="0" y="9"/>
                      <a:pt x="0" y="9"/>
                      <a:pt x="0" y="9"/>
                    </a:cubicBezTo>
                    <a:cubicBezTo>
                      <a:pt x="1" y="8"/>
                      <a:pt x="3" y="8"/>
                      <a:pt x="4" y="7"/>
                    </a:cubicBezTo>
                    <a:cubicBezTo>
                      <a:pt x="6" y="7"/>
                      <a:pt x="7" y="6"/>
                      <a:pt x="9" y="5"/>
                    </a:cubicBezTo>
                    <a:cubicBezTo>
                      <a:pt x="10" y="5"/>
                      <a:pt x="12" y="4"/>
                      <a:pt x="13" y="3"/>
                    </a:cubicBezTo>
                    <a:cubicBezTo>
                      <a:pt x="15" y="2"/>
                      <a:pt x="16" y="1"/>
                      <a:pt x="18" y="0"/>
                    </a:cubicBezTo>
                    <a:cubicBezTo>
                      <a:pt x="22" y="0"/>
                      <a:pt x="22" y="0"/>
                      <a:pt x="22" y="0"/>
                    </a:cubicBezTo>
                    <a:cubicBezTo>
                      <a:pt x="22" y="0"/>
                      <a:pt x="22"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12" name="Freeform 47"/>
              <p:cNvSpPr>
                <a:spLocks/>
              </p:cNvSpPr>
              <p:nvPr/>
            </p:nvSpPr>
            <p:spPr bwMode="auto">
              <a:xfrm>
                <a:off x="8476630" y="6555649"/>
                <a:ext cx="52039" cy="141481"/>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10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3" y="17"/>
                      <a:pt x="0" y="17"/>
                    </a:cubicBezTo>
                    <a:cubicBezTo>
                      <a:pt x="0" y="9"/>
                      <a:pt x="0" y="9"/>
                      <a:pt x="0" y="9"/>
                    </a:cubicBezTo>
                    <a:cubicBezTo>
                      <a:pt x="2" y="8"/>
                      <a:pt x="4" y="8"/>
                      <a:pt x="5" y="7"/>
                    </a:cubicBezTo>
                    <a:cubicBezTo>
                      <a:pt x="7" y="7"/>
                      <a:pt x="8" y="6"/>
                      <a:pt x="10" y="5"/>
                    </a:cubicBezTo>
                    <a:cubicBezTo>
                      <a:pt x="11" y="5"/>
                      <a:pt x="13" y="4"/>
                      <a:pt x="14" y="3"/>
                    </a:cubicBezTo>
                    <a:cubicBezTo>
                      <a:pt x="16" y="2"/>
                      <a:pt x="17" y="1"/>
                      <a:pt x="19" y="0"/>
                    </a:cubicBezTo>
                    <a:cubicBezTo>
                      <a:pt x="23" y="0"/>
                      <a:pt x="23" y="0"/>
                      <a:pt x="23" y="0"/>
                    </a:cubicBezTo>
                    <a:cubicBezTo>
                      <a:pt x="23" y="0"/>
                      <a:pt x="23"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13" name="Freeform 48"/>
              <p:cNvSpPr>
                <a:spLocks/>
              </p:cNvSpPr>
              <p:nvPr/>
            </p:nvSpPr>
            <p:spPr bwMode="auto">
              <a:xfrm>
                <a:off x="7731822" y="6555649"/>
                <a:ext cx="53665" cy="141481"/>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9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3" y="17"/>
                      <a:pt x="0" y="17"/>
                    </a:cubicBezTo>
                    <a:cubicBezTo>
                      <a:pt x="0" y="9"/>
                      <a:pt x="0" y="9"/>
                      <a:pt x="0" y="9"/>
                    </a:cubicBezTo>
                    <a:cubicBezTo>
                      <a:pt x="2" y="8"/>
                      <a:pt x="4" y="8"/>
                      <a:pt x="5" y="7"/>
                    </a:cubicBezTo>
                    <a:cubicBezTo>
                      <a:pt x="7" y="7"/>
                      <a:pt x="8" y="6"/>
                      <a:pt x="9" y="5"/>
                    </a:cubicBezTo>
                    <a:cubicBezTo>
                      <a:pt x="11" y="5"/>
                      <a:pt x="13" y="4"/>
                      <a:pt x="14" y="3"/>
                    </a:cubicBezTo>
                    <a:cubicBezTo>
                      <a:pt x="16" y="2"/>
                      <a:pt x="17" y="1"/>
                      <a:pt x="19" y="0"/>
                    </a:cubicBezTo>
                    <a:cubicBezTo>
                      <a:pt x="23" y="0"/>
                      <a:pt x="23" y="0"/>
                      <a:pt x="23" y="0"/>
                    </a:cubicBezTo>
                    <a:cubicBezTo>
                      <a:pt x="23" y="0"/>
                      <a:pt x="23"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14" name="Freeform 49"/>
              <p:cNvSpPr>
                <a:spLocks/>
              </p:cNvSpPr>
              <p:nvPr/>
            </p:nvSpPr>
            <p:spPr bwMode="auto">
              <a:xfrm>
                <a:off x="8013158" y="6715019"/>
                <a:ext cx="52039" cy="141481"/>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7 h 62"/>
                  <a:gd name="T18" fmla="*/ 10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10" y="14"/>
                      <a:pt x="7" y="15"/>
                    </a:cubicBezTo>
                    <a:cubicBezTo>
                      <a:pt x="5" y="16"/>
                      <a:pt x="3" y="17"/>
                      <a:pt x="0" y="17"/>
                    </a:cubicBezTo>
                    <a:cubicBezTo>
                      <a:pt x="0" y="9"/>
                      <a:pt x="0" y="9"/>
                      <a:pt x="0" y="9"/>
                    </a:cubicBezTo>
                    <a:cubicBezTo>
                      <a:pt x="2" y="8"/>
                      <a:pt x="4" y="8"/>
                      <a:pt x="5" y="7"/>
                    </a:cubicBezTo>
                    <a:cubicBezTo>
                      <a:pt x="7" y="7"/>
                      <a:pt x="8" y="6"/>
                      <a:pt x="10" y="5"/>
                    </a:cubicBezTo>
                    <a:cubicBezTo>
                      <a:pt x="11" y="4"/>
                      <a:pt x="13" y="4"/>
                      <a:pt x="14" y="3"/>
                    </a:cubicBezTo>
                    <a:cubicBezTo>
                      <a:pt x="16" y="2"/>
                      <a:pt x="17" y="1"/>
                      <a:pt x="19" y="0"/>
                    </a:cubicBezTo>
                    <a:cubicBezTo>
                      <a:pt x="23" y="0"/>
                      <a:pt x="23" y="0"/>
                      <a:pt x="23" y="0"/>
                    </a:cubicBezTo>
                    <a:cubicBezTo>
                      <a:pt x="23" y="0"/>
                      <a:pt x="23"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15" name="Freeform 50"/>
              <p:cNvSpPr>
                <a:spLocks noEditPoints="1"/>
              </p:cNvSpPr>
              <p:nvPr/>
            </p:nvSpPr>
            <p:spPr bwMode="auto">
              <a:xfrm>
                <a:off x="7907454" y="6713393"/>
                <a:ext cx="95947" cy="146360"/>
              </a:xfrm>
              <a:custGeom>
                <a:avLst/>
                <a:gdLst>
                  <a:gd name="T0" fmla="*/ 21 w 42"/>
                  <a:gd name="T1" fmla="*/ 8 h 64"/>
                  <a:gd name="T2" fmla="*/ 21 w 42"/>
                  <a:gd name="T3" fmla="*/ 8 h 64"/>
                  <a:gd name="T4" fmla="*/ 10 w 42"/>
                  <a:gd name="T5" fmla="*/ 33 h 64"/>
                  <a:gd name="T6" fmla="*/ 21 w 42"/>
                  <a:gd name="T7" fmla="*/ 56 h 64"/>
                  <a:gd name="T8" fmla="*/ 32 w 42"/>
                  <a:gd name="T9" fmla="*/ 33 h 64"/>
                  <a:gd name="T10" fmla="*/ 21 w 42"/>
                  <a:gd name="T11" fmla="*/ 8 h 64"/>
                  <a:gd name="T12" fmla="*/ 20 w 42"/>
                  <a:gd name="T13" fmla="*/ 64 h 64"/>
                  <a:gd name="T14" fmla="*/ 20 w 42"/>
                  <a:gd name="T15" fmla="*/ 64 h 64"/>
                  <a:gd name="T16" fmla="*/ 5 w 42"/>
                  <a:gd name="T17" fmla="*/ 56 h 64"/>
                  <a:gd name="T18" fmla="*/ 0 w 42"/>
                  <a:gd name="T19" fmla="*/ 33 h 64"/>
                  <a:gd name="T20" fmla="*/ 5 w 42"/>
                  <a:gd name="T21" fmla="*/ 8 h 64"/>
                  <a:gd name="T22" fmla="*/ 22 w 42"/>
                  <a:gd name="T23" fmla="*/ 0 h 64"/>
                  <a:gd name="T24" fmla="*/ 42 w 42"/>
                  <a:gd name="T25" fmla="*/ 32 h 64"/>
                  <a:gd name="T26" fmla="*/ 36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3" y="8"/>
                      <a:pt x="10" y="16"/>
                      <a:pt x="10" y="33"/>
                    </a:cubicBezTo>
                    <a:cubicBezTo>
                      <a:pt x="10" y="48"/>
                      <a:pt x="13" y="56"/>
                      <a:pt x="21" y="56"/>
                    </a:cubicBezTo>
                    <a:cubicBezTo>
                      <a:pt x="28" y="56"/>
                      <a:pt x="32" y="48"/>
                      <a:pt x="32" y="33"/>
                    </a:cubicBezTo>
                    <a:cubicBezTo>
                      <a:pt x="32" y="16"/>
                      <a:pt x="28" y="8"/>
                      <a:pt x="21" y="8"/>
                    </a:cubicBezTo>
                    <a:close/>
                    <a:moveTo>
                      <a:pt x="20" y="64"/>
                    </a:moveTo>
                    <a:cubicBezTo>
                      <a:pt x="20" y="64"/>
                      <a:pt x="20" y="64"/>
                      <a:pt x="20" y="64"/>
                    </a:cubicBezTo>
                    <a:cubicBezTo>
                      <a:pt x="14" y="64"/>
                      <a:pt x="9" y="62"/>
                      <a:pt x="5" y="56"/>
                    </a:cubicBezTo>
                    <a:cubicBezTo>
                      <a:pt x="1" y="51"/>
                      <a:pt x="0" y="43"/>
                      <a:pt x="0" y="33"/>
                    </a:cubicBezTo>
                    <a:cubicBezTo>
                      <a:pt x="0" y="22"/>
                      <a:pt x="1" y="14"/>
                      <a:pt x="5" y="8"/>
                    </a:cubicBezTo>
                    <a:cubicBezTo>
                      <a:pt x="9" y="3"/>
                      <a:pt x="14" y="0"/>
                      <a:pt x="22" y="0"/>
                    </a:cubicBezTo>
                    <a:cubicBezTo>
                      <a:pt x="35" y="0"/>
                      <a:pt x="42" y="11"/>
                      <a:pt x="42" y="32"/>
                    </a:cubicBezTo>
                    <a:cubicBezTo>
                      <a:pt x="42" y="42"/>
                      <a:pt x="40" y="50"/>
                      <a:pt x="36" y="56"/>
                    </a:cubicBezTo>
                    <a:cubicBezTo>
                      <a:pt x="32" y="62"/>
                      <a:pt x="27" y="64"/>
                      <a:pt x="2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16" name="Freeform 51"/>
              <p:cNvSpPr>
                <a:spLocks noEditPoints="1"/>
              </p:cNvSpPr>
              <p:nvPr/>
            </p:nvSpPr>
            <p:spPr bwMode="auto">
              <a:xfrm>
                <a:off x="7803376" y="6554023"/>
                <a:ext cx="95947" cy="146360"/>
              </a:xfrm>
              <a:custGeom>
                <a:avLst/>
                <a:gdLst>
                  <a:gd name="T0" fmla="*/ 21 w 42"/>
                  <a:gd name="T1" fmla="*/ 8 h 64"/>
                  <a:gd name="T2" fmla="*/ 21 w 42"/>
                  <a:gd name="T3" fmla="*/ 8 h 64"/>
                  <a:gd name="T4" fmla="*/ 10 w 42"/>
                  <a:gd name="T5" fmla="*/ 33 h 64"/>
                  <a:gd name="T6" fmla="*/ 21 w 42"/>
                  <a:gd name="T7" fmla="*/ 56 h 64"/>
                  <a:gd name="T8" fmla="*/ 32 w 42"/>
                  <a:gd name="T9" fmla="*/ 32 h 64"/>
                  <a:gd name="T10" fmla="*/ 21 w 42"/>
                  <a:gd name="T11" fmla="*/ 8 h 64"/>
                  <a:gd name="T12" fmla="*/ 20 w 42"/>
                  <a:gd name="T13" fmla="*/ 64 h 64"/>
                  <a:gd name="T14" fmla="*/ 20 w 42"/>
                  <a:gd name="T15" fmla="*/ 64 h 64"/>
                  <a:gd name="T16" fmla="*/ 5 w 42"/>
                  <a:gd name="T17" fmla="*/ 56 h 64"/>
                  <a:gd name="T18" fmla="*/ 0 w 42"/>
                  <a:gd name="T19" fmla="*/ 33 h 64"/>
                  <a:gd name="T20" fmla="*/ 5 w 42"/>
                  <a:gd name="T21" fmla="*/ 8 h 64"/>
                  <a:gd name="T22" fmla="*/ 22 w 42"/>
                  <a:gd name="T23" fmla="*/ 0 h 64"/>
                  <a:gd name="T24" fmla="*/ 42 w 42"/>
                  <a:gd name="T25" fmla="*/ 32 h 64"/>
                  <a:gd name="T26" fmla="*/ 36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4" y="8"/>
                      <a:pt x="10" y="16"/>
                      <a:pt x="10" y="33"/>
                    </a:cubicBezTo>
                    <a:cubicBezTo>
                      <a:pt x="10" y="48"/>
                      <a:pt x="14" y="56"/>
                      <a:pt x="21" y="56"/>
                    </a:cubicBezTo>
                    <a:cubicBezTo>
                      <a:pt x="28" y="56"/>
                      <a:pt x="32" y="48"/>
                      <a:pt x="32" y="32"/>
                    </a:cubicBezTo>
                    <a:cubicBezTo>
                      <a:pt x="32" y="16"/>
                      <a:pt x="28" y="8"/>
                      <a:pt x="21" y="8"/>
                    </a:cubicBezTo>
                    <a:close/>
                    <a:moveTo>
                      <a:pt x="20" y="64"/>
                    </a:moveTo>
                    <a:cubicBezTo>
                      <a:pt x="20" y="64"/>
                      <a:pt x="20" y="64"/>
                      <a:pt x="20" y="64"/>
                    </a:cubicBezTo>
                    <a:cubicBezTo>
                      <a:pt x="14" y="64"/>
                      <a:pt x="9" y="61"/>
                      <a:pt x="5" y="56"/>
                    </a:cubicBezTo>
                    <a:cubicBezTo>
                      <a:pt x="2" y="51"/>
                      <a:pt x="0" y="43"/>
                      <a:pt x="0" y="33"/>
                    </a:cubicBezTo>
                    <a:cubicBezTo>
                      <a:pt x="0" y="22"/>
                      <a:pt x="2" y="14"/>
                      <a:pt x="5" y="8"/>
                    </a:cubicBezTo>
                    <a:cubicBezTo>
                      <a:pt x="9" y="2"/>
                      <a:pt x="15" y="0"/>
                      <a:pt x="22" y="0"/>
                    </a:cubicBezTo>
                    <a:cubicBezTo>
                      <a:pt x="35" y="0"/>
                      <a:pt x="42" y="10"/>
                      <a:pt x="42" y="32"/>
                    </a:cubicBezTo>
                    <a:cubicBezTo>
                      <a:pt x="42" y="42"/>
                      <a:pt x="40" y="50"/>
                      <a:pt x="36" y="56"/>
                    </a:cubicBezTo>
                    <a:cubicBezTo>
                      <a:pt x="33" y="61"/>
                      <a:pt x="27" y="64"/>
                      <a:pt x="2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17" name="Freeform 52"/>
              <p:cNvSpPr>
                <a:spLocks noEditPoints="1"/>
              </p:cNvSpPr>
              <p:nvPr/>
            </p:nvSpPr>
            <p:spPr bwMode="auto">
              <a:xfrm>
                <a:off x="8135124" y="6554023"/>
                <a:ext cx="97573" cy="146360"/>
              </a:xfrm>
              <a:custGeom>
                <a:avLst/>
                <a:gdLst>
                  <a:gd name="T0" fmla="*/ 22 w 43"/>
                  <a:gd name="T1" fmla="*/ 8 h 64"/>
                  <a:gd name="T2" fmla="*/ 22 w 43"/>
                  <a:gd name="T3" fmla="*/ 8 h 64"/>
                  <a:gd name="T4" fmla="*/ 11 w 43"/>
                  <a:gd name="T5" fmla="*/ 33 h 64"/>
                  <a:gd name="T6" fmla="*/ 22 w 43"/>
                  <a:gd name="T7" fmla="*/ 56 h 64"/>
                  <a:gd name="T8" fmla="*/ 33 w 43"/>
                  <a:gd name="T9" fmla="*/ 32 h 64"/>
                  <a:gd name="T10" fmla="*/ 22 w 43"/>
                  <a:gd name="T11" fmla="*/ 8 h 64"/>
                  <a:gd name="T12" fmla="*/ 21 w 43"/>
                  <a:gd name="T13" fmla="*/ 64 h 64"/>
                  <a:gd name="T14" fmla="*/ 21 w 43"/>
                  <a:gd name="T15" fmla="*/ 64 h 64"/>
                  <a:gd name="T16" fmla="*/ 6 w 43"/>
                  <a:gd name="T17" fmla="*/ 56 h 64"/>
                  <a:gd name="T18" fmla="*/ 0 w 43"/>
                  <a:gd name="T19" fmla="*/ 33 h 64"/>
                  <a:gd name="T20" fmla="*/ 6 w 43"/>
                  <a:gd name="T21" fmla="*/ 8 h 64"/>
                  <a:gd name="T22" fmla="*/ 22 w 43"/>
                  <a:gd name="T23" fmla="*/ 0 h 64"/>
                  <a:gd name="T24" fmla="*/ 43 w 43"/>
                  <a:gd name="T25" fmla="*/ 32 h 64"/>
                  <a:gd name="T26" fmla="*/ 37 w 43"/>
                  <a:gd name="T27" fmla="*/ 56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8"/>
                    </a:moveTo>
                    <a:cubicBezTo>
                      <a:pt x="22" y="8"/>
                      <a:pt x="22" y="8"/>
                      <a:pt x="22" y="8"/>
                    </a:cubicBezTo>
                    <a:cubicBezTo>
                      <a:pt x="14" y="8"/>
                      <a:pt x="11" y="16"/>
                      <a:pt x="11" y="33"/>
                    </a:cubicBezTo>
                    <a:cubicBezTo>
                      <a:pt x="11" y="48"/>
                      <a:pt x="14" y="56"/>
                      <a:pt x="22" y="56"/>
                    </a:cubicBezTo>
                    <a:cubicBezTo>
                      <a:pt x="29" y="56"/>
                      <a:pt x="33" y="48"/>
                      <a:pt x="33" y="32"/>
                    </a:cubicBezTo>
                    <a:cubicBezTo>
                      <a:pt x="33" y="16"/>
                      <a:pt x="29" y="8"/>
                      <a:pt x="22" y="8"/>
                    </a:cubicBezTo>
                    <a:close/>
                    <a:moveTo>
                      <a:pt x="21" y="64"/>
                    </a:moveTo>
                    <a:cubicBezTo>
                      <a:pt x="21" y="64"/>
                      <a:pt x="21" y="64"/>
                      <a:pt x="21" y="64"/>
                    </a:cubicBezTo>
                    <a:cubicBezTo>
                      <a:pt x="14" y="64"/>
                      <a:pt x="9" y="61"/>
                      <a:pt x="6" y="56"/>
                    </a:cubicBezTo>
                    <a:cubicBezTo>
                      <a:pt x="2" y="51"/>
                      <a:pt x="0" y="43"/>
                      <a:pt x="0" y="33"/>
                    </a:cubicBezTo>
                    <a:cubicBezTo>
                      <a:pt x="0" y="22"/>
                      <a:pt x="2" y="14"/>
                      <a:pt x="6" y="8"/>
                    </a:cubicBezTo>
                    <a:cubicBezTo>
                      <a:pt x="10" y="2"/>
                      <a:pt x="15" y="0"/>
                      <a:pt x="22" y="0"/>
                    </a:cubicBezTo>
                    <a:cubicBezTo>
                      <a:pt x="36" y="0"/>
                      <a:pt x="43" y="10"/>
                      <a:pt x="43" y="32"/>
                    </a:cubicBezTo>
                    <a:cubicBezTo>
                      <a:pt x="43" y="42"/>
                      <a:pt x="41" y="50"/>
                      <a:pt x="37" y="56"/>
                    </a:cubicBezTo>
                    <a:cubicBezTo>
                      <a:pt x="33" y="61"/>
                      <a:pt x="28" y="64"/>
                      <a:pt x="2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18" name="Freeform 53"/>
              <p:cNvSpPr>
                <a:spLocks noEditPoints="1"/>
              </p:cNvSpPr>
              <p:nvPr/>
            </p:nvSpPr>
            <p:spPr bwMode="auto">
              <a:xfrm>
                <a:off x="8253838" y="6554023"/>
                <a:ext cx="95947" cy="146360"/>
              </a:xfrm>
              <a:custGeom>
                <a:avLst/>
                <a:gdLst>
                  <a:gd name="T0" fmla="*/ 21 w 42"/>
                  <a:gd name="T1" fmla="*/ 8 h 64"/>
                  <a:gd name="T2" fmla="*/ 21 w 42"/>
                  <a:gd name="T3" fmla="*/ 8 h 64"/>
                  <a:gd name="T4" fmla="*/ 10 w 42"/>
                  <a:gd name="T5" fmla="*/ 33 h 64"/>
                  <a:gd name="T6" fmla="*/ 21 w 42"/>
                  <a:gd name="T7" fmla="*/ 56 h 64"/>
                  <a:gd name="T8" fmla="*/ 32 w 42"/>
                  <a:gd name="T9" fmla="*/ 32 h 64"/>
                  <a:gd name="T10" fmla="*/ 21 w 42"/>
                  <a:gd name="T11" fmla="*/ 8 h 64"/>
                  <a:gd name="T12" fmla="*/ 20 w 42"/>
                  <a:gd name="T13" fmla="*/ 64 h 64"/>
                  <a:gd name="T14" fmla="*/ 20 w 42"/>
                  <a:gd name="T15" fmla="*/ 64 h 64"/>
                  <a:gd name="T16" fmla="*/ 5 w 42"/>
                  <a:gd name="T17" fmla="*/ 56 h 64"/>
                  <a:gd name="T18" fmla="*/ 0 w 42"/>
                  <a:gd name="T19" fmla="*/ 33 h 64"/>
                  <a:gd name="T20" fmla="*/ 5 w 42"/>
                  <a:gd name="T21" fmla="*/ 8 h 64"/>
                  <a:gd name="T22" fmla="*/ 22 w 42"/>
                  <a:gd name="T23" fmla="*/ 0 h 64"/>
                  <a:gd name="T24" fmla="*/ 42 w 42"/>
                  <a:gd name="T25" fmla="*/ 32 h 64"/>
                  <a:gd name="T26" fmla="*/ 36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4" y="8"/>
                      <a:pt x="10" y="16"/>
                      <a:pt x="10" y="33"/>
                    </a:cubicBezTo>
                    <a:cubicBezTo>
                      <a:pt x="10" y="48"/>
                      <a:pt x="14" y="56"/>
                      <a:pt x="21" y="56"/>
                    </a:cubicBezTo>
                    <a:cubicBezTo>
                      <a:pt x="28" y="56"/>
                      <a:pt x="32" y="48"/>
                      <a:pt x="32" y="32"/>
                    </a:cubicBezTo>
                    <a:cubicBezTo>
                      <a:pt x="32" y="16"/>
                      <a:pt x="28" y="8"/>
                      <a:pt x="21" y="8"/>
                    </a:cubicBezTo>
                    <a:close/>
                    <a:moveTo>
                      <a:pt x="20" y="64"/>
                    </a:moveTo>
                    <a:cubicBezTo>
                      <a:pt x="20" y="64"/>
                      <a:pt x="20" y="64"/>
                      <a:pt x="20" y="64"/>
                    </a:cubicBezTo>
                    <a:cubicBezTo>
                      <a:pt x="14" y="64"/>
                      <a:pt x="9" y="61"/>
                      <a:pt x="5" y="56"/>
                    </a:cubicBezTo>
                    <a:cubicBezTo>
                      <a:pt x="1" y="51"/>
                      <a:pt x="0" y="43"/>
                      <a:pt x="0" y="33"/>
                    </a:cubicBezTo>
                    <a:cubicBezTo>
                      <a:pt x="0" y="22"/>
                      <a:pt x="1" y="14"/>
                      <a:pt x="5" y="8"/>
                    </a:cubicBezTo>
                    <a:cubicBezTo>
                      <a:pt x="9" y="2"/>
                      <a:pt x="14" y="0"/>
                      <a:pt x="22" y="0"/>
                    </a:cubicBezTo>
                    <a:cubicBezTo>
                      <a:pt x="35" y="0"/>
                      <a:pt x="42" y="10"/>
                      <a:pt x="42" y="32"/>
                    </a:cubicBezTo>
                    <a:cubicBezTo>
                      <a:pt x="42" y="42"/>
                      <a:pt x="40" y="50"/>
                      <a:pt x="36" y="56"/>
                    </a:cubicBezTo>
                    <a:cubicBezTo>
                      <a:pt x="32" y="61"/>
                      <a:pt x="27" y="64"/>
                      <a:pt x="2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19" name="Freeform 54"/>
              <p:cNvSpPr>
                <a:spLocks/>
              </p:cNvSpPr>
              <p:nvPr/>
            </p:nvSpPr>
            <p:spPr bwMode="auto">
              <a:xfrm>
                <a:off x="8130246" y="6238536"/>
                <a:ext cx="50413" cy="139855"/>
              </a:xfrm>
              <a:custGeom>
                <a:avLst/>
                <a:gdLst>
                  <a:gd name="T0" fmla="*/ 22 w 22"/>
                  <a:gd name="T1" fmla="*/ 0 h 62"/>
                  <a:gd name="T2" fmla="*/ 22 w 22"/>
                  <a:gd name="T3" fmla="*/ 0 h 62"/>
                  <a:gd name="T4" fmla="*/ 22 w 22"/>
                  <a:gd name="T5" fmla="*/ 62 h 62"/>
                  <a:gd name="T6" fmla="*/ 12 w 22"/>
                  <a:gd name="T7" fmla="*/ 62 h 62"/>
                  <a:gd name="T8" fmla="*/ 12 w 22"/>
                  <a:gd name="T9" fmla="*/ 11 h 62"/>
                  <a:gd name="T10" fmla="*/ 7 w 22"/>
                  <a:gd name="T11" fmla="*/ 15 h 62"/>
                  <a:gd name="T12" fmla="*/ 0 w 22"/>
                  <a:gd name="T13" fmla="*/ 17 h 62"/>
                  <a:gd name="T14" fmla="*/ 0 w 22"/>
                  <a:gd name="T15" fmla="*/ 9 h 62"/>
                  <a:gd name="T16" fmla="*/ 4 w 22"/>
                  <a:gd name="T17" fmla="*/ 7 h 62"/>
                  <a:gd name="T18" fmla="*/ 9 w 22"/>
                  <a:gd name="T19" fmla="*/ 5 h 62"/>
                  <a:gd name="T20" fmla="*/ 13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2" y="62"/>
                      <a:pt x="12" y="62"/>
                      <a:pt x="12" y="62"/>
                    </a:cubicBezTo>
                    <a:cubicBezTo>
                      <a:pt x="12" y="11"/>
                      <a:pt x="12" y="11"/>
                      <a:pt x="12" y="11"/>
                    </a:cubicBezTo>
                    <a:cubicBezTo>
                      <a:pt x="11" y="13"/>
                      <a:pt x="9" y="14"/>
                      <a:pt x="7" y="15"/>
                    </a:cubicBezTo>
                    <a:cubicBezTo>
                      <a:pt x="5" y="16"/>
                      <a:pt x="2" y="16"/>
                      <a:pt x="0" y="17"/>
                    </a:cubicBezTo>
                    <a:cubicBezTo>
                      <a:pt x="0" y="9"/>
                      <a:pt x="0" y="9"/>
                      <a:pt x="0" y="9"/>
                    </a:cubicBezTo>
                    <a:cubicBezTo>
                      <a:pt x="1" y="8"/>
                      <a:pt x="3" y="8"/>
                      <a:pt x="4" y="7"/>
                    </a:cubicBezTo>
                    <a:cubicBezTo>
                      <a:pt x="6" y="6"/>
                      <a:pt x="7" y="6"/>
                      <a:pt x="9" y="5"/>
                    </a:cubicBezTo>
                    <a:cubicBezTo>
                      <a:pt x="10" y="4"/>
                      <a:pt x="12" y="3"/>
                      <a:pt x="13" y="3"/>
                    </a:cubicBezTo>
                    <a:cubicBezTo>
                      <a:pt x="15" y="2"/>
                      <a:pt x="16" y="1"/>
                      <a:pt x="18" y="0"/>
                    </a:cubicBezTo>
                    <a:cubicBezTo>
                      <a:pt x="22" y="0"/>
                      <a:pt x="22" y="0"/>
                      <a:pt x="22" y="0"/>
                    </a:cubicBezTo>
                    <a:cubicBezTo>
                      <a:pt x="22" y="0"/>
                      <a:pt x="22"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0" name="Freeform 55"/>
              <p:cNvSpPr>
                <a:spLocks noEditPoints="1"/>
              </p:cNvSpPr>
              <p:nvPr/>
            </p:nvSpPr>
            <p:spPr bwMode="auto">
              <a:xfrm>
                <a:off x="8203426" y="6235284"/>
                <a:ext cx="97573" cy="146360"/>
              </a:xfrm>
              <a:custGeom>
                <a:avLst/>
                <a:gdLst>
                  <a:gd name="T0" fmla="*/ 22 w 43"/>
                  <a:gd name="T1" fmla="*/ 7 h 64"/>
                  <a:gd name="T2" fmla="*/ 22 w 43"/>
                  <a:gd name="T3" fmla="*/ 7 h 64"/>
                  <a:gd name="T4" fmla="*/ 11 w 43"/>
                  <a:gd name="T5" fmla="*/ 32 h 64"/>
                  <a:gd name="T6" fmla="*/ 22 w 43"/>
                  <a:gd name="T7" fmla="*/ 56 h 64"/>
                  <a:gd name="T8" fmla="*/ 33 w 43"/>
                  <a:gd name="T9" fmla="*/ 32 h 64"/>
                  <a:gd name="T10" fmla="*/ 22 w 43"/>
                  <a:gd name="T11" fmla="*/ 7 h 64"/>
                  <a:gd name="T12" fmla="*/ 21 w 43"/>
                  <a:gd name="T13" fmla="*/ 64 h 64"/>
                  <a:gd name="T14" fmla="*/ 21 w 43"/>
                  <a:gd name="T15" fmla="*/ 64 h 64"/>
                  <a:gd name="T16" fmla="*/ 6 w 43"/>
                  <a:gd name="T17" fmla="*/ 56 h 64"/>
                  <a:gd name="T18" fmla="*/ 0 w 43"/>
                  <a:gd name="T19" fmla="*/ 33 h 64"/>
                  <a:gd name="T20" fmla="*/ 6 w 43"/>
                  <a:gd name="T21" fmla="*/ 8 h 64"/>
                  <a:gd name="T22" fmla="*/ 22 w 43"/>
                  <a:gd name="T23" fmla="*/ 0 h 64"/>
                  <a:gd name="T24" fmla="*/ 43 w 43"/>
                  <a:gd name="T25" fmla="*/ 31 h 64"/>
                  <a:gd name="T26" fmla="*/ 37 w 43"/>
                  <a:gd name="T27" fmla="*/ 55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7"/>
                    </a:moveTo>
                    <a:cubicBezTo>
                      <a:pt x="22" y="7"/>
                      <a:pt x="22" y="7"/>
                      <a:pt x="22" y="7"/>
                    </a:cubicBezTo>
                    <a:cubicBezTo>
                      <a:pt x="14" y="7"/>
                      <a:pt x="11" y="16"/>
                      <a:pt x="11" y="32"/>
                    </a:cubicBezTo>
                    <a:cubicBezTo>
                      <a:pt x="11" y="48"/>
                      <a:pt x="14" y="56"/>
                      <a:pt x="22" y="56"/>
                    </a:cubicBezTo>
                    <a:cubicBezTo>
                      <a:pt x="29" y="56"/>
                      <a:pt x="33" y="48"/>
                      <a:pt x="33" y="32"/>
                    </a:cubicBezTo>
                    <a:cubicBezTo>
                      <a:pt x="33" y="16"/>
                      <a:pt x="29" y="7"/>
                      <a:pt x="22" y="7"/>
                    </a:cubicBezTo>
                    <a:close/>
                    <a:moveTo>
                      <a:pt x="21" y="64"/>
                    </a:moveTo>
                    <a:cubicBezTo>
                      <a:pt x="21" y="64"/>
                      <a:pt x="21" y="64"/>
                      <a:pt x="21" y="64"/>
                    </a:cubicBezTo>
                    <a:cubicBezTo>
                      <a:pt x="14" y="64"/>
                      <a:pt x="9" y="61"/>
                      <a:pt x="6" y="56"/>
                    </a:cubicBezTo>
                    <a:cubicBezTo>
                      <a:pt x="2" y="50"/>
                      <a:pt x="0" y="43"/>
                      <a:pt x="0" y="33"/>
                    </a:cubicBezTo>
                    <a:cubicBezTo>
                      <a:pt x="0" y="22"/>
                      <a:pt x="2" y="13"/>
                      <a:pt x="6" y="8"/>
                    </a:cubicBezTo>
                    <a:cubicBezTo>
                      <a:pt x="10" y="2"/>
                      <a:pt x="15" y="0"/>
                      <a:pt x="22" y="0"/>
                    </a:cubicBezTo>
                    <a:cubicBezTo>
                      <a:pt x="36" y="0"/>
                      <a:pt x="43" y="10"/>
                      <a:pt x="43" y="31"/>
                    </a:cubicBezTo>
                    <a:cubicBezTo>
                      <a:pt x="43" y="42"/>
                      <a:pt x="41" y="50"/>
                      <a:pt x="37" y="55"/>
                    </a:cubicBezTo>
                    <a:cubicBezTo>
                      <a:pt x="33" y="61"/>
                      <a:pt x="28" y="64"/>
                      <a:pt x="2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1" name="Freeform 56"/>
              <p:cNvSpPr>
                <a:spLocks noEditPoints="1"/>
              </p:cNvSpPr>
              <p:nvPr/>
            </p:nvSpPr>
            <p:spPr bwMode="auto">
              <a:xfrm>
                <a:off x="8318887" y="6235284"/>
                <a:ext cx="99199" cy="146360"/>
              </a:xfrm>
              <a:custGeom>
                <a:avLst/>
                <a:gdLst>
                  <a:gd name="T0" fmla="*/ 22 w 43"/>
                  <a:gd name="T1" fmla="*/ 7 h 64"/>
                  <a:gd name="T2" fmla="*/ 22 w 43"/>
                  <a:gd name="T3" fmla="*/ 7 h 64"/>
                  <a:gd name="T4" fmla="*/ 11 w 43"/>
                  <a:gd name="T5" fmla="*/ 32 h 64"/>
                  <a:gd name="T6" fmla="*/ 22 w 43"/>
                  <a:gd name="T7" fmla="*/ 56 h 64"/>
                  <a:gd name="T8" fmla="*/ 33 w 43"/>
                  <a:gd name="T9" fmla="*/ 32 h 64"/>
                  <a:gd name="T10" fmla="*/ 22 w 43"/>
                  <a:gd name="T11" fmla="*/ 7 h 64"/>
                  <a:gd name="T12" fmla="*/ 21 w 43"/>
                  <a:gd name="T13" fmla="*/ 64 h 64"/>
                  <a:gd name="T14" fmla="*/ 21 w 43"/>
                  <a:gd name="T15" fmla="*/ 64 h 64"/>
                  <a:gd name="T16" fmla="*/ 6 w 43"/>
                  <a:gd name="T17" fmla="*/ 56 h 64"/>
                  <a:gd name="T18" fmla="*/ 0 w 43"/>
                  <a:gd name="T19" fmla="*/ 33 h 64"/>
                  <a:gd name="T20" fmla="*/ 6 w 43"/>
                  <a:gd name="T21" fmla="*/ 8 h 64"/>
                  <a:gd name="T22" fmla="*/ 23 w 43"/>
                  <a:gd name="T23" fmla="*/ 0 h 64"/>
                  <a:gd name="T24" fmla="*/ 43 w 43"/>
                  <a:gd name="T25" fmla="*/ 31 h 64"/>
                  <a:gd name="T26" fmla="*/ 37 w 43"/>
                  <a:gd name="T27" fmla="*/ 55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7"/>
                    </a:moveTo>
                    <a:cubicBezTo>
                      <a:pt x="22" y="7"/>
                      <a:pt x="22" y="7"/>
                      <a:pt x="22" y="7"/>
                    </a:cubicBezTo>
                    <a:cubicBezTo>
                      <a:pt x="15" y="7"/>
                      <a:pt x="11" y="16"/>
                      <a:pt x="11" y="32"/>
                    </a:cubicBezTo>
                    <a:cubicBezTo>
                      <a:pt x="11" y="48"/>
                      <a:pt x="14" y="56"/>
                      <a:pt x="22" y="56"/>
                    </a:cubicBezTo>
                    <a:cubicBezTo>
                      <a:pt x="29" y="56"/>
                      <a:pt x="33" y="48"/>
                      <a:pt x="33" y="32"/>
                    </a:cubicBezTo>
                    <a:cubicBezTo>
                      <a:pt x="33" y="16"/>
                      <a:pt x="29" y="7"/>
                      <a:pt x="22" y="7"/>
                    </a:cubicBezTo>
                    <a:close/>
                    <a:moveTo>
                      <a:pt x="21" y="64"/>
                    </a:moveTo>
                    <a:cubicBezTo>
                      <a:pt x="21" y="64"/>
                      <a:pt x="21" y="64"/>
                      <a:pt x="21" y="64"/>
                    </a:cubicBezTo>
                    <a:cubicBezTo>
                      <a:pt x="15" y="64"/>
                      <a:pt x="9" y="61"/>
                      <a:pt x="6" y="56"/>
                    </a:cubicBezTo>
                    <a:cubicBezTo>
                      <a:pt x="2" y="50"/>
                      <a:pt x="0" y="43"/>
                      <a:pt x="0" y="33"/>
                    </a:cubicBezTo>
                    <a:cubicBezTo>
                      <a:pt x="0" y="22"/>
                      <a:pt x="2" y="13"/>
                      <a:pt x="6" y="8"/>
                    </a:cubicBezTo>
                    <a:cubicBezTo>
                      <a:pt x="10" y="2"/>
                      <a:pt x="15" y="0"/>
                      <a:pt x="23" y="0"/>
                    </a:cubicBezTo>
                    <a:cubicBezTo>
                      <a:pt x="36" y="0"/>
                      <a:pt x="43" y="10"/>
                      <a:pt x="43" y="31"/>
                    </a:cubicBezTo>
                    <a:cubicBezTo>
                      <a:pt x="43" y="42"/>
                      <a:pt x="41" y="50"/>
                      <a:pt x="37" y="55"/>
                    </a:cubicBezTo>
                    <a:cubicBezTo>
                      <a:pt x="33" y="61"/>
                      <a:pt x="28" y="64"/>
                      <a:pt x="2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2" name="Freeform 57"/>
              <p:cNvSpPr>
                <a:spLocks noEditPoints="1"/>
              </p:cNvSpPr>
              <p:nvPr/>
            </p:nvSpPr>
            <p:spPr bwMode="auto">
              <a:xfrm>
                <a:off x="8369300" y="6554023"/>
                <a:ext cx="97573" cy="146360"/>
              </a:xfrm>
              <a:custGeom>
                <a:avLst/>
                <a:gdLst>
                  <a:gd name="T0" fmla="*/ 22 w 43"/>
                  <a:gd name="T1" fmla="*/ 8 h 64"/>
                  <a:gd name="T2" fmla="*/ 22 w 43"/>
                  <a:gd name="T3" fmla="*/ 8 h 64"/>
                  <a:gd name="T4" fmla="*/ 11 w 43"/>
                  <a:gd name="T5" fmla="*/ 33 h 64"/>
                  <a:gd name="T6" fmla="*/ 22 w 43"/>
                  <a:gd name="T7" fmla="*/ 56 h 64"/>
                  <a:gd name="T8" fmla="*/ 33 w 43"/>
                  <a:gd name="T9" fmla="*/ 32 h 64"/>
                  <a:gd name="T10" fmla="*/ 22 w 43"/>
                  <a:gd name="T11" fmla="*/ 8 h 64"/>
                  <a:gd name="T12" fmla="*/ 21 w 43"/>
                  <a:gd name="T13" fmla="*/ 64 h 64"/>
                  <a:gd name="T14" fmla="*/ 21 w 43"/>
                  <a:gd name="T15" fmla="*/ 64 h 64"/>
                  <a:gd name="T16" fmla="*/ 6 w 43"/>
                  <a:gd name="T17" fmla="*/ 56 h 64"/>
                  <a:gd name="T18" fmla="*/ 0 w 43"/>
                  <a:gd name="T19" fmla="*/ 33 h 64"/>
                  <a:gd name="T20" fmla="*/ 6 w 43"/>
                  <a:gd name="T21" fmla="*/ 8 h 64"/>
                  <a:gd name="T22" fmla="*/ 23 w 43"/>
                  <a:gd name="T23" fmla="*/ 0 h 64"/>
                  <a:gd name="T24" fmla="*/ 43 w 43"/>
                  <a:gd name="T25" fmla="*/ 32 h 64"/>
                  <a:gd name="T26" fmla="*/ 37 w 43"/>
                  <a:gd name="T27" fmla="*/ 56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8"/>
                    </a:moveTo>
                    <a:cubicBezTo>
                      <a:pt x="22" y="8"/>
                      <a:pt x="22" y="8"/>
                      <a:pt x="22" y="8"/>
                    </a:cubicBezTo>
                    <a:cubicBezTo>
                      <a:pt x="15" y="8"/>
                      <a:pt x="11" y="16"/>
                      <a:pt x="11" y="33"/>
                    </a:cubicBezTo>
                    <a:cubicBezTo>
                      <a:pt x="11" y="48"/>
                      <a:pt x="14" y="56"/>
                      <a:pt x="22" y="56"/>
                    </a:cubicBezTo>
                    <a:cubicBezTo>
                      <a:pt x="29" y="56"/>
                      <a:pt x="33" y="48"/>
                      <a:pt x="33" y="32"/>
                    </a:cubicBezTo>
                    <a:cubicBezTo>
                      <a:pt x="33" y="16"/>
                      <a:pt x="29" y="8"/>
                      <a:pt x="22" y="8"/>
                    </a:cubicBezTo>
                    <a:close/>
                    <a:moveTo>
                      <a:pt x="21" y="64"/>
                    </a:moveTo>
                    <a:cubicBezTo>
                      <a:pt x="21" y="64"/>
                      <a:pt x="21" y="64"/>
                      <a:pt x="21" y="64"/>
                    </a:cubicBezTo>
                    <a:cubicBezTo>
                      <a:pt x="15" y="64"/>
                      <a:pt x="9" y="61"/>
                      <a:pt x="6" y="56"/>
                    </a:cubicBezTo>
                    <a:cubicBezTo>
                      <a:pt x="2" y="51"/>
                      <a:pt x="0" y="43"/>
                      <a:pt x="0" y="33"/>
                    </a:cubicBezTo>
                    <a:cubicBezTo>
                      <a:pt x="0" y="22"/>
                      <a:pt x="2" y="14"/>
                      <a:pt x="6" y="8"/>
                    </a:cubicBezTo>
                    <a:cubicBezTo>
                      <a:pt x="10" y="2"/>
                      <a:pt x="15" y="0"/>
                      <a:pt x="23" y="0"/>
                    </a:cubicBezTo>
                    <a:cubicBezTo>
                      <a:pt x="36" y="0"/>
                      <a:pt x="43" y="10"/>
                      <a:pt x="43" y="32"/>
                    </a:cubicBezTo>
                    <a:cubicBezTo>
                      <a:pt x="43" y="42"/>
                      <a:pt x="41" y="50"/>
                      <a:pt x="37" y="56"/>
                    </a:cubicBezTo>
                    <a:cubicBezTo>
                      <a:pt x="33" y="61"/>
                      <a:pt x="28" y="64"/>
                      <a:pt x="2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3" name="Freeform 58"/>
              <p:cNvSpPr>
                <a:spLocks noEditPoints="1"/>
              </p:cNvSpPr>
              <p:nvPr/>
            </p:nvSpPr>
            <p:spPr bwMode="auto">
              <a:xfrm>
                <a:off x="8551437" y="6554023"/>
                <a:ext cx="95947" cy="146360"/>
              </a:xfrm>
              <a:custGeom>
                <a:avLst/>
                <a:gdLst>
                  <a:gd name="T0" fmla="*/ 21 w 42"/>
                  <a:gd name="T1" fmla="*/ 8 h 64"/>
                  <a:gd name="T2" fmla="*/ 21 w 42"/>
                  <a:gd name="T3" fmla="*/ 8 h 64"/>
                  <a:gd name="T4" fmla="*/ 10 w 42"/>
                  <a:gd name="T5" fmla="*/ 33 h 64"/>
                  <a:gd name="T6" fmla="*/ 21 w 42"/>
                  <a:gd name="T7" fmla="*/ 56 h 64"/>
                  <a:gd name="T8" fmla="*/ 32 w 42"/>
                  <a:gd name="T9" fmla="*/ 32 h 64"/>
                  <a:gd name="T10" fmla="*/ 21 w 42"/>
                  <a:gd name="T11" fmla="*/ 8 h 64"/>
                  <a:gd name="T12" fmla="*/ 20 w 42"/>
                  <a:gd name="T13" fmla="*/ 64 h 64"/>
                  <a:gd name="T14" fmla="*/ 20 w 42"/>
                  <a:gd name="T15" fmla="*/ 64 h 64"/>
                  <a:gd name="T16" fmla="*/ 5 w 42"/>
                  <a:gd name="T17" fmla="*/ 56 h 64"/>
                  <a:gd name="T18" fmla="*/ 0 w 42"/>
                  <a:gd name="T19" fmla="*/ 33 h 64"/>
                  <a:gd name="T20" fmla="*/ 6 w 42"/>
                  <a:gd name="T21" fmla="*/ 8 h 64"/>
                  <a:gd name="T22" fmla="*/ 22 w 42"/>
                  <a:gd name="T23" fmla="*/ 0 h 64"/>
                  <a:gd name="T24" fmla="*/ 42 w 42"/>
                  <a:gd name="T25" fmla="*/ 32 h 64"/>
                  <a:gd name="T26" fmla="*/ 37 w 42"/>
                  <a:gd name="T27" fmla="*/ 56 h 64"/>
                  <a:gd name="T28" fmla="*/ 20 w 42"/>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4">
                    <a:moveTo>
                      <a:pt x="21" y="8"/>
                    </a:moveTo>
                    <a:cubicBezTo>
                      <a:pt x="21" y="8"/>
                      <a:pt x="21" y="8"/>
                      <a:pt x="21" y="8"/>
                    </a:cubicBezTo>
                    <a:cubicBezTo>
                      <a:pt x="14" y="8"/>
                      <a:pt x="10" y="16"/>
                      <a:pt x="10" y="33"/>
                    </a:cubicBezTo>
                    <a:cubicBezTo>
                      <a:pt x="10" y="48"/>
                      <a:pt x="14" y="56"/>
                      <a:pt x="21" y="56"/>
                    </a:cubicBezTo>
                    <a:cubicBezTo>
                      <a:pt x="29" y="56"/>
                      <a:pt x="32" y="48"/>
                      <a:pt x="32" y="32"/>
                    </a:cubicBezTo>
                    <a:cubicBezTo>
                      <a:pt x="32" y="16"/>
                      <a:pt x="29" y="8"/>
                      <a:pt x="21" y="8"/>
                    </a:cubicBezTo>
                    <a:close/>
                    <a:moveTo>
                      <a:pt x="20" y="64"/>
                    </a:moveTo>
                    <a:cubicBezTo>
                      <a:pt x="20" y="64"/>
                      <a:pt x="20" y="64"/>
                      <a:pt x="20" y="64"/>
                    </a:cubicBezTo>
                    <a:cubicBezTo>
                      <a:pt x="14" y="64"/>
                      <a:pt x="9" y="61"/>
                      <a:pt x="5" y="56"/>
                    </a:cubicBezTo>
                    <a:cubicBezTo>
                      <a:pt x="2" y="51"/>
                      <a:pt x="0" y="43"/>
                      <a:pt x="0" y="33"/>
                    </a:cubicBezTo>
                    <a:cubicBezTo>
                      <a:pt x="0" y="22"/>
                      <a:pt x="2" y="14"/>
                      <a:pt x="6" y="8"/>
                    </a:cubicBezTo>
                    <a:cubicBezTo>
                      <a:pt x="9" y="2"/>
                      <a:pt x="15" y="0"/>
                      <a:pt x="22" y="0"/>
                    </a:cubicBezTo>
                    <a:cubicBezTo>
                      <a:pt x="36" y="0"/>
                      <a:pt x="42" y="10"/>
                      <a:pt x="42" y="32"/>
                    </a:cubicBezTo>
                    <a:cubicBezTo>
                      <a:pt x="42" y="42"/>
                      <a:pt x="41" y="50"/>
                      <a:pt x="37" y="56"/>
                    </a:cubicBezTo>
                    <a:cubicBezTo>
                      <a:pt x="33" y="61"/>
                      <a:pt x="27" y="64"/>
                      <a:pt x="2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4" name="Freeform 59"/>
              <p:cNvSpPr>
                <a:spLocks noEditPoints="1"/>
              </p:cNvSpPr>
              <p:nvPr/>
            </p:nvSpPr>
            <p:spPr bwMode="auto">
              <a:xfrm>
                <a:off x="8087964" y="6713393"/>
                <a:ext cx="97573" cy="146360"/>
              </a:xfrm>
              <a:custGeom>
                <a:avLst/>
                <a:gdLst>
                  <a:gd name="T0" fmla="*/ 22 w 43"/>
                  <a:gd name="T1" fmla="*/ 8 h 64"/>
                  <a:gd name="T2" fmla="*/ 22 w 43"/>
                  <a:gd name="T3" fmla="*/ 8 h 64"/>
                  <a:gd name="T4" fmla="*/ 10 w 43"/>
                  <a:gd name="T5" fmla="*/ 33 h 64"/>
                  <a:gd name="T6" fmla="*/ 21 w 43"/>
                  <a:gd name="T7" fmla="*/ 56 h 64"/>
                  <a:gd name="T8" fmla="*/ 32 w 43"/>
                  <a:gd name="T9" fmla="*/ 33 h 64"/>
                  <a:gd name="T10" fmla="*/ 22 w 43"/>
                  <a:gd name="T11" fmla="*/ 8 h 64"/>
                  <a:gd name="T12" fmla="*/ 21 w 43"/>
                  <a:gd name="T13" fmla="*/ 64 h 64"/>
                  <a:gd name="T14" fmla="*/ 21 w 43"/>
                  <a:gd name="T15" fmla="*/ 64 h 64"/>
                  <a:gd name="T16" fmla="*/ 5 w 43"/>
                  <a:gd name="T17" fmla="*/ 56 h 64"/>
                  <a:gd name="T18" fmla="*/ 0 w 43"/>
                  <a:gd name="T19" fmla="*/ 33 h 64"/>
                  <a:gd name="T20" fmla="*/ 6 w 43"/>
                  <a:gd name="T21" fmla="*/ 8 h 64"/>
                  <a:gd name="T22" fmla="*/ 22 w 43"/>
                  <a:gd name="T23" fmla="*/ 0 h 64"/>
                  <a:gd name="T24" fmla="*/ 43 w 43"/>
                  <a:gd name="T25" fmla="*/ 32 h 64"/>
                  <a:gd name="T26" fmla="*/ 37 w 43"/>
                  <a:gd name="T27" fmla="*/ 56 h 64"/>
                  <a:gd name="T28" fmla="*/ 21 w 43"/>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4">
                    <a:moveTo>
                      <a:pt x="22" y="8"/>
                    </a:moveTo>
                    <a:cubicBezTo>
                      <a:pt x="22" y="8"/>
                      <a:pt x="22" y="8"/>
                      <a:pt x="22" y="8"/>
                    </a:cubicBezTo>
                    <a:cubicBezTo>
                      <a:pt x="14" y="8"/>
                      <a:pt x="10" y="16"/>
                      <a:pt x="10" y="33"/>
                    </a:cubicBezTo>
                    <a:cubicBezTo>
                      <a:pt x="10" y="48"/>
                      <a:pt x="14" y="56"/>
                      <a:pt x="21" y="56"/>
                    </a:cubicBezTo>
                    <a:cubicBezTo>
                      <a:pt x="29" y="56"/>
                      <a:pt x="32" y="48"/>
                      <a:pt x="32" y="33"/>
                    </a:cubicBezTo>
                    <a:cubicBezTo>
                      <a:pt x="32" y="16"/>
                      <a:pt x="29" y="8"/>
                      <a:pt x="22" y="8"/>
                    </a:cubicBezTo>
                    <a:close/>
                    <a:moveTo>
                      <a:pt x="21" y="64"/>
                    </a:moveTo>
                    <a:cubicBezTo>
                      <a:pt x="21" y="64"/>
                      <a:pt x="21" y="64"/>
                      <a:pt x="21" y="64"/>
                    </a:cubicBezTo>
                    <a:cubicBezTo>
                      <a:pt x="14" y="64"/>
                      <a:pt x="9" y="62"/>
                      <a:pt x="5" y="56"/>
                    </a:cubicBezTo>
                    <a:cubicBezTo>
                      <a:pt x="2" y="51"/>
                      <a:pt x="0" y="43"/>
                      <a:pt x="0" y="33"/>
                    </a:cubicBezTo>
                    <a:cubicBezTo>
                      <a:pt x="0" y="22"/>
                      <a:pt x="2" y="14"/>
                      <a:pt x="6" y="8"/>
                    </a:cubicBezTo>
                    <a:cubicBezTo>
                      <a:pt x="9" y="3"/>
                      <a:pt x="15" y="0"/>
                      <a:pt x="22" y="0"/>
                    </a:cubicBezTo>
                    <a:cubicBezTo>
                      <a:pt x="36" y="0"/>
                      <a:pt x="43" y="11"/>
                      <a:pt x="43" y="32"/>
                    </a:cubicBezTo>
                    <a:cubicBezTo>
                      <a:pt x="43" y="42"/>
                      <a:pt x="41" y="50"/>
                      <a:pt x="37" y="56"/>
                    </a:cubicBezTo>
                    <a:cubicBezTo>
                      <a:pt x="33" y="62"/>
                      <a:pt x="28" y="64"/>
                      <a:pt x="2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5" name="Freeform 60"/>
              <p:cNvSpPr>
                <a:spLocks/>
              </p:cNvSpPr>
              <p:nvPr/>
            </p:nvSpPr>
            <p:spPr bwMode="auto">
              <a:xfrm>
                <a:off x="8201799" y="6394654"/>
                <a:ext cx="52039" cy="141481"/>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8 h 62"/>
                  <a:gd name="T18" fmla="*/ 9 w 23"/>
                  <a:gd name="T19" fmla="*/ 5 h 62"/>
                  <a:gd name="T20" fmla="*/ 14 w 23"/>
                  <a:gd name="T21" fmla="*/ 3 h 62"/>
                  <a:gd name="T22" fmla="*/ 18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9" y="14"/>
                      <a:pt x="7" y="15"/>
                    </a:cubicBezTo>
                    <a:cubicBezTo>
                      <a:pt x="5" y="16"/>
                      <a:pt x="2" y="17"/>
                      <a:pt x="0" y="17"/>
                    </a:cubicBezTo>
                    <a:cubicBezTo>
                      <a:pt x="0" y="9"/>
                      <a:pt x="0" y="9"/>
                      <a:pt x="0" y="9"/>
                    </a:cubicBezTo>
                    <a:cubicBezTo>
                      <a:pt x="2" y="9"/>
                      <a:pt x="3" y="8"/>
                      <a:pt x="5" y="8"/>
                    </a:cubicBezTo>
                    <a:cubicBezTo>
                      <a:pt x="6" y="7"/>
                      <a:pt x="8" y="6"/>
                      <a:pt x="9" y="5"/>
                    </a:cubicBezTo>
                    <a:cubicBezTo>
                      <a:pt x="11" y="5"/>
                      <a:pt x="12" y="4"/>
                      <a:pt x="14" y="3"/>
                    </a:cubicBezTo>
                    <a:cubicBezTo>
                      <a:pt x="15" y="2"/>
                      <a:pt x="17" y="1"/>
                      <a:pt x="18" y="0"/>
                    </a:cubicBezTo>
                    <a:cubicBezTo>
                      <a:pt x="23" y="0"/>
                      <a:pt x="23" y="0"/>
                      <a:pt x="23" y="0"/>
                    </a:cubicBezTo>
                    <a:cubicBezTo>
                      <a:pt x="23" y="0"/>
                      <a:pt x="23"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6" name="Freeform 61"/>
              <p:cNvSpPr>
                <a:spLocks noEditPoints="1"/>
              </p:cNvSpPr>
              <p:nvPr/>
            </p:nvSpPr>
            <p:spPr bwMode="auto">
              <a:xfrm>
                <a:off x="8273353" y="6393027"/>
                <a:ext cx="95947" cy="147986"/>
              </a:xfrm>
              <a:custGeom>
                <a:avLst/>
                <a:gdLst>
                  <a:gd name="T0" fmla="*/ 21 w 42"/>
                  <a:gd name="T1" fmla="*/ 8 h 65"/>
                  <a:gd name="T2" fmla="*/ 21 w 42"/>
                  <a:gd name="T3" fmla="*/ 8 h 65"/>
                  <a:gd name="T4" fmla="*/ 10 w 42"/>
                  <a:gd name="T5" fmla="*/ 33 h 65"/>
                  <a:gd name="T6" fmla="*/ 21 w 42"/>
                  <a:gd name="T7" fmla="*/ 57 h 65"/>
                  <a:gd name="T8" fmla="*/ 32 w 42"/>
                  <a:gd name="T9" fmla="*/ 33 h 65"/>
                  <a:gd name="T10" fmla="*/ 21 w 42"/>
                  <a:gd name="T11" fmla="*/ 8 h 65"/>
                  <a:gd name="T12" fmla="*/ 20 w 42"/>
                  <a:gd name="T13" fmla="*/ 65 h 65"/>
                  <a:gd name="T14" fmla="*/ 20 w 42"/>
                  <a:gd name="T15" fmla="*/ 65 h 65"/>
                  <a:gd name="T16" fmla="*/ 5 w 42"/>
                  <a:gd name="T17" fmla="*/ 57 h 65"/>
                  <a:gd name="T18" fmla="*/ 0 w 42"/>
                  <a:gd name="T19" fmla="*/ 34 h 65"/>
                  <a:gd name="T20" fmla="*/ 6 w 42"/>
                  <a:gd name="T21" fmla="*/ 9 h 65"/>
                  <a:gd name="T22" fmla="*/ 22 w 42"/>
                  <a:gd name="T23" fmla="*/ 0 h 65"/>
                  <a:gd name="T24" fmla="*/ 42 w 42"/>
                  <a:gd name="T25" fmla="*/ 32 h 65"/>
                  <a:gd name="T26" fmla="*/ 37 w 42"/>
                  <a:gd name="T27" fmla="*/ 56 h 65"/>
                  <a:gd name="T28" fmla="*/ 20 w 42"/>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5">
                    <a:moveTo>
                      <a:pt x="21" y="8"/>
                    </a:moveTo>
                    <a:cubicBezTo>
                      <a:pt x="21" y="8"/>
                      <a:pt x="21" y="8"/>
                      <a:pt x="21" y="8"/>
                    </a:cubicBezTo>
                    <a:cubicBezTo>
                      <a:pt x="14" y="8"/>
                      <a:pt x="10" y="17"/>
                      <a:pt x="10" y="33"/>
                    </a:cubicBezTo>
                    <a:cubicBezTo>
                      <a:pt x="10" y="49"/>
                      <a:pt x="14" y="57"/>
                      <a:pt x="21" y="57"/>
                    </a:cubicBezTo>
                    <a:cubicBezTo>
                      <a:pt x="28" y="57"/>
                      <a:pt x="32" y="49"/>
                      <a:pt x="32" y="33"/>
                    </a:cubicBezTo>
                    <a:cubicBezTo>
                      <a:pt x="32" y="16"/>
                      <a:pt x="29" y="8"/>
                      <a:pt x="21" y="8"/>
                    </a:cubicBezTo>
                    <a:close/>
                    <a:moveTo>
                      <a:pt x="20" y="65"/>
                    </a:moveTo>
                    <a:cubicBezTo>
                      <a:pt x="20" y="65"/>
                      <a:pt x="20" y="65"/>
                      <a:pt x="20" y="65"/>
                    </a:cubicBezTo>
                    <a:cubicBezTo>
                      <a:pt x="14" y="65"/>
                      <a:pt x="9" y="62"/>
                      <a:pt x="5" y="57"/>
                    </a:cubicBezTo>
                    <a:cubicBezTo>
                      <a:pt x="2" y="51"/>
                      <a:pt x="0" y="44"/>
                      <a:pt x="0" y="34"/>
                    </a:cubicBezTo>
                    <a:cubicBezTo>
                      <a:pt x="0" y="23"/>
                      <a:pt x="2" y="14"/>
                      <a:pt x="6" y="9"/>
                    </a:cubicBezTo>
                    <a:cubicBezTo>
                      <a:pt x="9" y="3"/>
                      <a:pt x="15" y="0"/>
                      <a:pt x="22" y="0"/>
                    </a:cubicBezTo>
                    <a:cubicBezTo>
                      <a:pt x="36" y="0"/>
                      <a:pt x="42" y="11"/>
                      <a:pt x="42" y="32"/>
                    </a:cubicBezTo>
                    <a:cubicBezTo>
                      <a:pt x="42" y="43"/>
                      <a:pt x="40" y="51"/>
                      <a:pt x="37" y="56"/>
                    </a:cubicBezTo>
                    <a:cubicBezTo>
                      <a:pt x="33" y="62"/>
                      <a:pt x="27" y="65"/>
                      <a:pt x="20"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7" name="Freeform 62"/>
              <p:cNvSpPr>
                <a:spLocks/>
              </p:cNvSpPr>
              <p:nvPr/>
            </p:nvSpPr>
            <p:spPr bwMode="auto">
              <a:xfrm>
                <a:off x="8383936" y="6394654"/>
                <a:ext cx="48787" cy="141481"/>
              </a:xfrm>
              <a:custGeom>
                <a:avLst/>
                <a:gdLst>
                  <a:gd name="T0" fmla="*/ 22 w 22"/>
                  <a:gd name="T1" fmla="*/ 0 h 62"/>
                  <a:gd name="T2" fmla="*/ 22 w 22"/>
                  <a:gd name="T3" fmla="*/ 0 h 62"/>
                  <a:gd name="T4" fmla="*/ 22 w 22"/>
                  <a:gd name="T5" fmla="*/ 62 h 62"/>
                  <a:gd name="T6" fmla="*/ 13 w 22"/>
                  <a:gd name="T7" fmla="*/ 62 h 62"/>
                  <a:gd name="T8" fmla="*/ 13 w 22"/>
                  <a:gd name="T9" fmla="*/ 12 h 62"/>
                  <a:gd name="T10" fmla="*/ 7 w 22"/>
                  <a:gd name="T11" fmla="*/ 15 h 62"/>
                  <a:gd name="T12" fmla="*/ 0 w 22"/>
                  <a:gd name="T13" fmla="*/ 17 h 62"/>
                  <a:gd name="T14" fmla="*/ 0 w 22"/>
                  <a:gd name="T15" fmla="*/ 9 h 62"/>
                  <a:gd name="T16" fmla="*/ 5 w 22"/>
                  <a:gd name="T17" fmla="*/ 8 h 62"/>
                  <a:gd name="T18" fmla="*/ 9 w 22"/>
                  <a:gd name="T19" fmla="*/ 5 h 62"/>
                  <a:gd name="T20" fmla="*/ 14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3" y="62"/>
                      <a:pt x="13" y="62"/>
                      <a:pt x="13" y="62"/>
                    </a:cubicBezTo>
                    <a:cubicBezTo>
                      <a:pt x="13" y="12"/>
                      <a:pt x="13" y="12"/>
                      <a:pt x="13" y="12"/>
                    </a:cubicBezTo>
                    <a:cubicBezTo>
                      <a:pt x="11" y="13"/>
                      <a:pt x="9" y="14"/>
                      <a:pt x="7" y="15"/>
                    </a:cubicBezTo>
                    <a:cubicBezTo>
                      <a:pt x="5" y="16"/>
                      <a:pt x="2" y="17"/>
                      <a:pt x="0" y="17"/>
                    </a:cubicBezTo>
                    <a:cubicBezTo>
                      <a:pt x="0" y="9"/>
                      <a:pt x="0" y="9"/>
                      <a:pt x="0" y="9"/>
                    </a:cubicBezTo>
                    <a:cubicBezTo>
                      <a:pt x="1" y="9"/>
                      <a:pt x="3" y="8"/>
                      <a:pt x="5" y="8"/>
                    </a:cubicBezTo>
                    <a:cubicBezTo>
                      <a:pt x="6" y="7"/>
                      <a:pt x="8" y="6"/>
                      <a:pt x="9" y="5"/>
                    </a:cubicBezTo>
                    <a:cubicBezTo>
                      <a:pt x="10" y="5"/>
                      <a:pt x="12" y="4"/>
                      <a:pt x="14" y="3"/>
                    </a:cubicBezTo>
                    <a:cubicBezTo>
                      <a:pt x="15" y="2"/>
                      <a:pt x="17" y="1"/>
                      <a:pt x="18" y="0"/>
                    </a:cubicBezTo>
                    <a:cubicBezTo>
                      <a:pt x="22" y="0"/>
                      <a:pt x="22" y="0"/>
                      <a:pt x="22" y="0"/>
                    </a:cubicBezTo>
                    <a:cubicBezTo>
                      <a:pt x="22" y="0"/>
                      <a:pt x="22"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08" name="Freeform 63"/>
              <p:cNvSpPr>
                <a:spLocks noEditPoints="1"/>
              </p:cNvSpPr>
              <p:nvPr/>
            </p:nvSpPr>
            <p:spPr bwMode="auto">
              <a:xfrm>
                <a:off x="8455490" y="6393027"/>
                <a:ext cx="95947" cy="147986"/>
              </a:xfrm>
              <a:custGeom>
                <a:avLst/>
                <a:gdLst>
                  <a:gd name="T0" fmla="*/ 21 w 42"/>
                  <a:gd name="T1" fmla="*/ 8 h 65"/>
                  <a:gd name="T2" fmla="*/ 21 w 42"/>
                  <a:gd name="T3" fmla="*/ 8 h 65"/>
                  <a:gd name="T4" fmla="*/ 10 w 42"/>
                  <a:gd name="T5" fmla="*/ 33 h 65"/>
                  <a:gd name="T6" fmla="*/ 21 w 42"/>
                  <a:gd name="T7" fmla="*/ 57 h 65"/>
                  <a:gd name="T8" fmla="*/ 32 w 42"/>
                  <a:gd name="T9" fmla="*/ 33 h 65"/>
                  <a:gd name="T10" fmla="*/ 21 w 42"/>
                  <a:gd name="T11" fmla="*/ 8 h 65"/>
                  <a:gd name="T12" fmla="*/ 20 w 42"/>
                  <a:gd name="T13" fmla="*/ 65 h 65"/>
                  <a:gd name="T14" fmla="*/ 20 w 42"/>
                  <a:gd name="T15" fmla="*/ 65 h 65"/>
                  <a:gd name="T16" fmla="*/ 5 w 42"/>
                  <a:gd name="T17" fmla="*/ 57 h 65"/>
                  <a:gd name="T18" fmla="*/ 0 w 42"/>
                  <a:gd name="T19" fmla="*/ 34 h 65"/>
                  <a:gd name="T20" fmla="*/ 5 w 42"/>
                  <a:gd name="T21" fmla="*/ 9 h 65"/>
                  <a:gd name="T22" fmla="*/ 22 w 42"/>
                  <a:gd name="T23" fmla="*/ 0 h 65"/>
                  <a:gd name="T24" fmla="*/ 42 w 42"/>
                  <a:gd name="T25" fmla="*/ 32 h 65"/>
                  <a:gd name="T26" fmla="*/ 37 w 42"/>
                  <a:gd name="T27" fmla="*/ 56 h 65"/>
                  <a:gd name="T28" fmla="*/ 20 w 42"/>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5">
                    <a:moveTo>
                      <a:pt x="21" y="8"/>
                    </a:moveTo>
                    <a:cubicBezTo>
                      <a:pt x="21" y="8"/>
                      <a:pt x="21" y="8"/>
                      <a:pt x="21" y="8"/>
                    </a:cubicBezTo>
                    <a:cubicBezTo>
                      <a:pt x="14" y="8"/>
                      <a:pt x="10" y="17"/>
                      <a:pt x="10" y="33"/>
                    </a:cubicBezTo>
                    <a:cubicBezTo>
                      <a:pt x="10" y="49"/>
                      <a:pt x="14" y="57"/>
                      <a:pt x="21" y="57"/>
                    </a:cubicBezTo>
                    <a:cubicBezTo>
                      <a:pt x="28" y="57"/>
                      <a:pt x="32" y="49"/>
                      <a:pt x="32" y="33"/>
                    </a:cubicBezTo>
                    <a:cubicBezTo>
                      <a:pt x="32" y="16"/>
                      <a:pt x="28" y="8"/>
                      <a:pt x="21" y="8"/>
                    </a:cubicBezTo>
                    <a:close/>
                    <a:moveTo>
                      <a:pt x="20" y="65"/>
                    </a:moveTo>
                    <a:cubicBezTo>
                      <a:pt x="20" y="65"/>
                      <a:pt x="20" y="65"/>
                      <a:pt x="20" y="65"/>
                    </a:cubicBezTo>
                    <a:cubicBezTo>
                      <a:pt x="14" y="65"/>
                      <a:pt x="9" y="62"/>
                      <a:pt x="5" y="57"/>
                    </a:cubicBezTo>
                    <a:cubicBezTo>
                      <a:pt x="2" y="51"/>
                      <a:pt x="0" y="44"/>
                      <a:pt x="0" y="34"/>
                    </a:cubicBezTo>
                    <a:cubicBezTo>
                      <a:pt x="0" y="23"/>
                      <a:pt x="2" y="14"/>
                      <a:pt x="5" y="9"/>
                    </a:cubicBezTo>
                    <a:cubicBezTo>
                      <a:pt x="9" y="3"/>
                      <a:pt x="15" y="0"/>
                      <a:pt x="22" y="0"/>
                    </a:cubicBezTo>
                    <a:cubicBezTo>
                      <a:pt x="36" y="0"/>
                      <a:pt x="42" y="11"/>
                      <a:pt x="42" y="32"/>
                    </a:cubicBezTo>
                    <a:cubicBezTo>
                      <a:pt x="42" y="43"/>
                      <a:pt x="40" y="51"/>
                      <a:pt x="37" y="56"/>
                    </a:cubicBezTo>
                    <a:cubicBezTo>
                      <a:pt x="33" y="62"/>
                      <a:pt x="27" y="65"/>
                      <a:pt x="20"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09" name="Freeform 64"/>
              <p:cNvSpPr>
                <a:spLocks/>
              </p:cNvSpPr>
              <p:nvPr/>
            </p:nvSpPr>
            <p:spPr bwMode="auto">
              <a:xfrm>
                <a:off x="7834274" y="6394654"/>
                <a:ext cx="50413" cy="141481"/>
              </a:xfrm>
              <a:custGeom>
                <a:avLst/>
                <a:gdLst>
                  <a:gd name="T0" fmla="*/ 22 w 22"/>
                  <a:gd name="T1" fmla="*/ 0 h 62"/>
                  <a:gd name="T2" fmla="*/ 22 w 22"/>
                  <a:gd name="T3" fmla="*/ 0 h 62"/>
                  <a:gd name="T4" fmla="*/ 22 w 22"/>
                  <a:gd name="T5" fmla="*/ 62 h 62"/>
                  <a:gd name="T6" fmla="*/ 12 w 22"/>
                  <a:gd name="T7" fmla="*/ 62 h 62"/>
                  <a:gd name="T8" fmla="*/ 12 w 22"/>
                  <a:gd name="T9" fmla="*/ 12 h 62"/>
                  <a:gd name="T10" fmla="*/ 7 w 22"/>
                  <a:gd name="T11" fmla="*/ 15 h 62"/>
                  <a:gd name="T12" fmla="*/ 0 w 22"/>
                  <a:gd name="T13" fmla="*/ 17 h 62"/>
                  <a:gd name="T14" fmla="*/ 0 w 22"/>
                  <a:gd name="T15" fmla="*/ 9 h 62"/>
                  <a:gd name="T16" fmla="*/ 4 w 22"/>
                  <a:gd name="T17" fmla="*/ 8 h 62"/>
                  <a:gd name="T18" fmla="*/ 9 w 22"/>
                  <a:gd name="T19" fmla="*/ 5 h 62"/>
                  <a:gd name="T20" fmla="*/ 13 w 22"/>
                  <a:gd name="T21" fmla="*/ 3 h 62"/>
                  <a:gd name="T22" fmla="*/ 18 w 22"/>
                  <a:gd name="T23" fmla="*/ 0 h 62"/>
                  <a:gd name="T24" fmla="*/ 22 w 22"/>
                  <a:gd name="T25" fmla="*/ 0 h 62"/>
                  <a:gd name="T26" fmla="*/ 22 w 22"/>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62">
                    <a:moveTo>
                      <a:pt x="22" y="0"/>
                    </a:moveTo>
                    <a:cubicBezTo>
                      <a:pt x="22" y="0"/>
                      <a:pt x="22" y="0"/>
                      <a:pt x="22" y="0"/>
                    </a:cubicBezTo>
                    <a:cubicBezTo>
                      <a:pt x="22" y="62"/>
                      <a:pt x="22" y="62"/>
                      <a:pt x="22" y="62"/>
                    </a:cubicBezTo>
                    <a:cubicBezTo>
                      <a:pt x="12" y="62"/>
                      <a:pt x="12" y="62"/>
                      <a:pt x="12" y="62"/>
                    </a:cubicBezTo>
                    <a:cubicBezTo>
                      <a:pt x="12" y="12"/>
                      <a:pt x="12" y="12"/>
                      <a:pt x="12" y="12"/>
                    </a:cubicBezTo>
                    <a:cubicBezTo>
                      <a:pt x="11" y="13"/>
                      <a:pt x="9" y="14"/>
                      <a:pt x="7" y="15"/>
                    </a:cubicBezTo>
                    <a:cubicBezTo>
                      <a:pt x="4" y="16"/>
                      <a:pt x="2" y="17"/>
                      <a:pt x="0" y="17"/>
                    </a:cubicBezTo>
                    <a:cubicBezTo>
                      <a:pt x="0" y="9"/>
                      <a:pt x="0" y="9"/>
                      <a:pt x="0" y="9"/>
                    </a:cubicBezTo>
                    <a:cubicBezTo>
                      <a:pt x="1" y="9"/>
                      <a:pt x="3" y="8"/>
                      <a:pt x="4" y="8"/>
                    </a:cubicBezTo>
                    <a:cubicBezTo>
                      <a:pt x="6" y="7"/>
                      <a:pt x="7" y="6"/>
                      <a:pt x="9" y="5"/>
                    </a:cubicBezTo>
                    <a:cubicBezTo>
                      <a:pt x="10" y="5"/>
                      <a:pt x="12" y="4"/>
                      <a:pt x="13" y="3"/>
                    </a:cubicBezTo>
                    <a:cubicBezTo>
                      <a:pt x="15" y="2"/>
                      <a:pt x="16" y="1"/>
                      <a:pt x="18" y="0"/>
                    </a:cubicBezTo>
                    <a:cubicBezTo>
                      <a:pt x="22" y="0"/>
                      <a:pt x="22" y="0"/>
                      <a:pt x="22" y="0"/>
                    </a:cubicBezTo>
                    <a:cubicBezTo>
                      <a:pt x="22" y="0"/>
                      <a:pt x="22"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10" name="Freeform 65"/>
              <p:cNvSpPr>
                <a:spLocks/>
              </p:cNvSpPr>
              <p:nvPr/>
            </p:nvSpPr>
            <p:spPr bwMode="auto">
              <a:xfrm>
                <a:off x="8013158" y="6394654"/>
                <a:ext cx="52039" cy="141481"/>
              </a:xfrm>
              <a:custGeom>
                <a:avLst/>
                <a:gdLst>
                  <a:gd name="T0" fmla="*/ 23 w 23"/>
                  <a:gd name="T1" fmla="*/ 0 h 62"/>
                  <a:gd name="T2" fmla="*/ 23 w 23"/>
                  <a:gd name="T3" fmla="*/ 0 h 62"/>
                  <a:gd name="T4" fmla="*/ 23 w 23"/>
                  <a:gd name="T5" fmla="*/ 62 h 62"/>
                  <a:gd name="T6" fmla="*/ 13 w 23"/>
                  <a:gd name="T7" fmla="*/ 62 h 62"/>
                  <a:gd name="T8" fmla="*/ 13 w 23"/>
                  <a:gd name="T9" fmla="*/ 12 h 62"/>
                  <a:gd name="T10" fmla="*/ 7 w 23"/>
                  <a:gd name="T11" fmla="*/ 15 h 62"/>
                  <a:gd name="T12" fmla="*/ 0 w 23"/>
                  <a:gd name="T13" fmla="*/ 17 h 62"/>
                  <a:gd name="T14" fmla="*/ 0 w 23"/>
                  <a:gd name="T15" fmla="*/ 9 h 62"/>
                  <a:gd name="T16" fmla="*/ 5 w 23"/>
                  <a:gd name="T17" fmla="*/ 8 h 62"/>
                  <a:gd name="T18" fmla="*/ 10 w 23"/>
                  <a:gd name="T19" fmla="*/ 5 h 62"/>
                  <a:gd name="T20" fmla="*/ 14 w 23"/>
                  <a:gd name="T21" fmla="*/ 3 h 62"/>
                  <a:gd name="T22" fmla="*/ 19 w 23"/>
                  <a:gd name="T23" fmla="*/ 0 h 62"/>
                  <a:gd name="T24" fmla="*/ 23 w 23"/>
                  <a:gd name="T25" fmla="*/ 0 h 62"/>
                  <a:gd name="T26" fmla="*/ 23 w 23"/>
                  <a:gd name="T2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62">
                    <a:moveTo>
                      <a:pt x="23" y="0"/>
                    </a:moveTo>
                    <a:cubicBezTo>
                      <a:pt x="23" y="0"/>
                      <a:pt x="23" y="0"/>
                      <a:pt x="23" y="0"/>
                    </a:cubicBezTo>
                    <a:cubicBezTo>
                      <a:pt x="23" y="62"/>
                      <a:pt x="23" y="62"/>
                      <a:pt x="23" y="62"/>
                    </a:cubicBezTo>
                    <a:cubicBezTo>
                      <a:pt x="13" y="62"/>
                      <a:pt x="13" y="62"/>
                      <a:pt x="13" y="62"/>
                    </a:cubicBezTo>
                    <a:cubicBezTo>
                      <a:pt x="13" y="12"/>
                      <a:pt x="13" y="12"/>
                      <a:pt x="13" y="12"/>
                    </a:cubicBezTo>
                    <a:cubicBezTo>
                      <a:pt x="11" y="13"/>
                      <a:pt x="10" y="14"/>
                      <a:pt x="7" y="15"/>
                    </a:cubicBezTo>
                    <a:cubicBezTo>
                      <a:pt x="5" y="16"/>
                      <a:pt x="3" y="17"/>
                      <a:pt x="0" y="17"/>
                    </a:cubicBezTo>
                    <a:cubicBezTo>
                      <a:pt x="0" y="9"/>
                      <a:pt x="0" y="9"/>
                      <a:pt x="0" y="9"/>
                    </a:cubicBezTo>
                    <a:cubicBezTo>
                      <a:pt x="2" y="9"/>
                      <a:pt x="4" y="8"/>
                      <a:pt x="5" y="8"/>
                    </a:cubicBezTo>
                    <a:cubicBezTo>
                      <a:pt x="7" y="7"/>
                      <a:pt x="8" y="6"/>
                      <a:pt x="10" y="5"/>
                    </a:cubicBezTo>
                    <a:cubicBezTo>
                      <a:pt x="11" y="5"/>
                      <a:pt x="13" y="4"/>
                      <a:pt x="14" y="3"/>
                    </a:cubicBezTo>
                    <a:cubicBezTo>
                      <a:pt x="16" y="2"/>
                      <a:pt x="17" y="1"/>
                      <a:pt x="19" y="0"/>
                    </a:cubicBezTo>
                    <a:cubicBezTo>
                      <a:pt x="23" y="0"/>
                      <a:pt x="23" y="0"/>
                      <a:pt x="23" y="0"/>
                    </a:cubicBezTo>
                    <a:cubicBezTo>
                      <a:pt x="23" y="0"/>
                      <a:pt x="23"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11" name="Freeform 66"/>
              <p:cNvSpPr>
                <a:spLocks noEditPoints="1"/>
              </p:cNvSpPr>
              <p:nvPr/>
            </p:nvSpPr>
            <p:spPr bwMode="auto">
              <a:xfrm>
                <a:off x="7907454" y="6393027"/>
                <a:ext cx="95947" cy="147986"/>
              </a:xfrm>
              <a:custGeom>
                <a:avLst/>
                <a:gdLst>
                  <a:gd name="T0" fmla="*/ 21 w 42"/>
                  <a:gd name="T1" fmla="*/ 8 h 65"/>
                  <a:gd name="T2" fmla="*/ 21 w 42"/>
                  <a:gd name="T3" fmla="*/ 8 h 65"/>
                  <a:gd name="T4" fmla="*/ 10 w 42"/>
                  <a:gd name="T5" fmla="*/ 33 h 65"/>
                  <a:gd name="T6" fmla="*/ 21 w 42"/>
                  <a:gd name="T7" fmla="*/ 57 h 65"/>
                  <a:gd name="T8" fmla="*/ 32 w 42"/>
                  <a:gd name="T9" fmla="*/ 33 h 65"/>
                  <a:gd name="T10" fmla="*/ 21 w 42"/>
                  <a:gd name="T11" fmla="*/ 8 h 65"/>
                  <a:gd name="T12" fmla="*/ 20 w 42"/>
                  <a:gd name="T13" fmla="*/ 65 h 65"/>
                  <a:gd name="T14" fmla="*/ 20 w 42"/>
                  <a:gd name="T15" fmla="*/ 65 h 65"/>
                  <a:gd name="T16" fmla="*/ 5 w 42"/>
                  <a:gd name="T17" fmla="*/ 57 h 65"/>
                  <a:gd name="T18" fmla="*/ 0 w 42"/>
                  <a:gd name="T19" fmla="*/ 34 h 65"/>
                  <a:gd name="T20" fmla="*/ 5 w 42"/>
                  <a:gd name="T21" fmla="*/ 9 h 65"/>
                  <a:gd name="T22" fmla="*/ 22 w 42"/>
                  <a:gd name="T23" fmla="*/ 0 h 65"/>
                  <a:gd name="T24" fmla="*/ 42 w 42"/>
                  <a:gd name="T25" fmla="*/ 32 h 65"/>
                  <a:gd name="T26" fmla="*/ 36 w 42"/>
                  <a:gd name="T27" fmla="*/ 56 h 65"/>
                  <a:gd name="T28" fmla="*/ 20 w 42"/>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5">
                    <a:moveTo>
                      <a:pt x="21" y="8"/>
                    </a:moveTo>
                    <a:cubicBezTo>
                      <a:pt x="21" y="8"/>
                      <a:pt x="21" y="8"/>
                      <a:pt x="21" y="8"/>
                    </a:cubicBezTo>
                    <a:cubicBezTo>
                      <a:pt x="13" y="8"/>
                      <a:pt x="10" y="17"/>
                      <a:pt x="10" y="33"/>
                    </a:cubicBezTo>
                    <a:cubicBezTo>
                      <a:pt x="10" y="49"/>
                      <a:pt x="13" y="57"/>
                      <a:pt x="21" y="57"/>
                    </a:cubicBezTo>
                    <a:cubicBezTo>
                      <a:pt x="28" y="57"/>
                      <a:pt x="32" y="49"/>
                      <a:pt x="32" y="33"/>
                    </a:cubicBezTo>
                    <a:cubicBezTo>
                      <a:pt x="32" y="16"/>
                      <a:pt x="28" y="8"/>
                      <a:pt x="21" y="8"/>
                    </a:cubicBezTo>
                    <a:close/>
                    <a:moveTo>
                      <a:pt x="20" y="65"/>
                    </a:moveTo>
                    <a:cubicBezTo>
                      <a:pt x="20" y="65"/>
                      <a:pt x="20" y="65"/>
                      <a:pt x="20" y="65"/>
                    </a:cubicBezTo>
                    <a:cubicBezTo>
                      <a:pt x="14" y="65"/>
                      <a:pt x="9" y="62"/>
                      <a:pt x="5" y="57"/>
                    </a:cubicBezTo>
                    <a:cubicBezTo>
                      <a:pt x="1" y="51"/>
                      <a:pt x="0" y="44"/>
                      <a:pt x="0" y="34"/>
                    </a:cubicBezTo>
                    <a:cubicBezTo>
                      <a:pt x="0" y="23"/>
                      <a:pt x="1" y="14"/>
                      <a:pt x="5" y="9"/>
                    </a:cubicBezTo>
                    <a:cubicBezTo>
                      <a:pt x="9" y="3"/>
                      <a:pt x="14" y="0"/>
                      <a:pt x="22" y="0"/>
                    </a:cubicBezTo>
                    <a:cubicBezTo>
                      <a:pt x="35" y="0"/>
                      <a:pt x="42" y="11"/>
                      <a:pt x="42" y="32"/>
                    </a:cubicBezTo>
                    <a:cubicBezTo>
                      <a:pt x="42" y="43"/>
                      <a:pt x="40" y="51"/>
                      <a:pt x="36" y="56"/>
                    </a:cubicBezTo>
                    <a:cubicBezTo>
                      <a:pt x="32" y="62"/>
                      <a:pt x="27" y="65"/>
                      <a:pt x="20"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13" name="Freeform 67"/>
              <p:cNvSpPr>
                <a:spLocks noEditPoints="1"/>
              </p:cNvSpPr>
              <p:nvPr/>
            </p:nvSpPr>
            <p:spPr bwMode="auto">
              <a:xfrm>
                <a:off x="8087964" y="6393027"/>
                <a:ext cx="97573" cy="147986"/>
              </a:xfrm>
              <a:custGeom>
                <a:avLst/>
                <a:gdLst>
                  <a:gd name="T0" fmla="*/ 22 w 43"/>
                  <a:gd name="T1" fmla="*/ 8 h 65"/>
                  <a:gd name="T2" fmla="*/ 22 w 43"/>
                  <a:gd name="T3" fmla="*/ 8 h 65"/>
                  <a:gd name="T4" fmla="*/ 10 w 43"/>
                  <a:gd name="T5" fmla="*/ 33 h 65"/>
                  <a:gd name="T6" fmla="*/ 21 w 43"/>
                  <a:gd name="T7" fmla="*/ 57 h 65"/>
                  <a:gd name="T8" fmla="*/ 32 w 43"/>
                  <a:gd name="T9" fmla="*/ 33 h 65"/>
                  <a:gd name="T10" fmla="*/ 22 w 43"/>
                  <a:gd name="T11" fmla="*/ 8 h 65"/>
                  <a:gd name="T12" fmla="*/ 21 w 43"/>
                  <a:gd name="T13" fmla="*/ 65 h 65"/>
                  <a:gd name="T14" fmla="*/ 21 w 43"/>
                  <a:gd name="T15" fmla="*/ 65 h 65"/>
                  <a:gd name="T16" fmla="*/ 5 w 43"/>
                  <a:gd name="T17" fmla="*/ 57 h 65"/>
                  <a:gd name="T18" fmla="*/ 0 w 43"/>
                  <a:gd name="T19" fmla="*/ 34 h 65"/>
                  <a:gd name="T20" fmla="*/ 6 w 43"/>
                  <a:gd name="T21" fmla="*/ 9 h 65"/>
                  <a:gd name="T22" fmla="*/ 22 w 43"/>
                  <a:gd name="T23" fmla="*/ 0 h 65"/>
                  <a:gd name="T24" fmla="*/ 43 w 43"/>
                  <a:gd name="T25" fmla="*/ 32 h 65"/>
                  <a:gd name="T26" fmla="*/ 37 w 43"/>
                  <a:gd name="T27" fmla="*/ 56 h 65"/>
                  <a:gd name="T28" fmla="*/ 21 w 43"/>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65">
                    <a:moveTo>
                      <a:pt x="22" y="8"/>
                    </a:moveTo>
                    <a:cubicBezTo>
                      <a:pt x="22" y="8"/>
                      <a:pt x="22" y="8"/>
                      <a:pt x="22" y="8"/>
                    </a:cubicBezTo>
                    <a:cubicBezTo>
                      <a:pt x="14" y="8"/>
                      <a:pt x="10" y="17"/>
                      <a:pt x="10" y="33"/>
                    </a:cubicBezTo>
                    <a:cubicBezTo>
                      <a:pt x="10" y="49"/>
                      <a:pt x="14" y="57"/>
                      <a:pt x="21" y="57"/>
                    </a:cubicBezTo>
                    <a:cubicBezTo>
                      <a:pt x="29" y="57"/>
                      <a:pt x="32" y="49"/>
                      <a:pt x="32" y="33"/>
                    </a:cubicBezTo>
                    <a:cubicBezTo>
                      <a:pt x="32" y="16"/>
                      <a:pt x="29" y="8"/>
                      <a:pt x="22" y="8"/>
                    </a:cubicBezTo>
                    <a:close/>
                    <a:moveTo>
                      <a:pt x="21" y="65"/>
                    </a:moveTo>
                    <a:cubicBezTo>
                      <a:pt x="21" y="65"/>
                      <a:pt x="21" y="65"/>
                      <a:pt x="21" y="65"/>
                    </a:cubicBezTo>
                    <a:cubicBezTo>
                      <a:pt x="14" y="65"/>
                      <a:pt x="9" y="62"/>
                      <a:pt x="5" y="57"/>
                    </a:cubicBezTo>
                    <a:cubicBezTo>
                      <a:pt x="2" y="51"/>
                      <a:pt x="0" y="44"/>
                      <a:pt x="0" y="34"/>
                    </a:cubicBezTo>
                    <a:cubicBezTo>
                      <a:pt x="0" y="23"/>
                      <a:pt x="2" y="14"/>
                      <a:pt x="6" y="9"/>
                    </a:cubicBezTo>
                    <a:cubicBezTo>
                      <a:pt x="9" y="3"/>
                      <a:pt x="15" y="0"/>
                      <a:pt x="22" y="0"/>
                    </a:cubicBezTo>
                    <a:cubicBezTo>
                      <a:pt x="36" y="0"/>
                      <a:pt x="43" y="11"/>
                      <a:pt x="43" y="32"/>
                    </a:cubicBezTo>
                    <a:cubicBezTo>
                      <a:pt x="43" y="43"/>
                      <a:pt x="41" y="51"/>
                      <a:pt x="37" y="56"/>
                    </a:cubicBezTo>
                    <a:cubicBezTo>
                      <a:pt x="33" y="62"/>
                      <a:pt x="28" y="65"/>
                      <a:pt x="21"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nvGrpSpPr>
            <p:cNvPr id="299044" name="Group 299043"/>
            <p:cNvGrpSpPr/>
            <p:nvPr/>
          </p:nvGrpSpPr>
          <p:grpSpPr>
            <a:xfrm>
              <a:off x="8852287" y="6615327"/>
              <a:ext cx="494371" cy="336628"/>
              <a:chOff x="8852287" y="6422299"/>
              <a:chExt cx="494371" cy="336628"/>
            </a:xfrm>
            <a:solidFill>
              <a:schemeClr val="accent2"/>
            </a:solidFill>
          </p:grpSpPr>
          <p:sp>
            <p:nvSpPr>
              <p:cNvPr id="299014" name="Freeform 68"/>
              <p:cNvSpPr>
                <a:spLocks/>
              </p:cNvSpPr>
              <p:nvPr/>
            </p:nvSpPr>
            <p:spPr bwMode="auto">
              <a:xfrm>
                <a:off x="9104351" y="6680868"/>
                <a:ext cx="27646" cy="76432"/>
              </a:xfrm>
              <a:custGeom>
                <a:avLst/>
                <a:gdLst>
                  <a:gd name="T0" fmla="*/ 12 w 12"/>
                  <a:gd name="T1" fmla="*/ 0 h 33"/>
                  <a:gd name="T2" fmla="*/ 12 w 12"/>
                  <a:gd name="T3" fmla="*/ 0 h 33"/>
                  <a:gd name="T4" fmla="*/ 12 w 12"/>
                  <a:gd name="T5" fmla="*/ 33 h 33"/>
                  <a:gd name="T6" fmla="*/ 7 w 12"/>
                  <a:gd name="T7" fmla="*/ 33 h 33"/>
                  <a:gd name="T8" fmla="*/ 7 w 12"/>
                  <a:gd name="T9" fmla="*/ 6 h 33"/>
                  <a:gd name="T10" fmla="*/ 4 w 12"/>
                  <a:gd name="T11" fmla="*/ 8 h 33"/>
                  <a:gd name="T12" fmla="*/ 0 w 12"/>
                  <a:gd name="T13" fmla="*/ 9 h 33"/>
                  <a:gd name="T14" fmla="*/ 0 w 12"/>
                  <a:gd name="T15" fmla="*/ 4 h 33"/>
                  <a:gd name="T16" fmla="*/ 2 w 12"/>
                  <a:gd name="T17" fmla="*/ 4 h 33"/>
                  <a:gd name="T18" fmla="*/ 5 w 12"/>
                  <a:gd name="T19" fmla="*/ 3 h 33"/>
                  <a:gd name="T20" fmla="*/ 7 w 12"/>
                  <a:gd name="T21" fmla="*/ 1 h 33"/>
                  <a:gd name="T22" fmla="*/ 10 w 12"/>
                  <a:gd name="T23" fmla="*/ 0 h 33"/>
                  <a:gd name="T24" fmla="*/ 12 w 12"/>
                  <a:gd name="T25" fmla="*/ 0 h 33"/>
                  <a:gd name="T26" fmla="*/ 12 w 12"/>
                  <a:gd name="T2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33">
                    <a:moveTo>
                      <a:pt x="12" y="0"/>
                    </a:moveTo>
                    <a:cubicBezTo>
                      <a:pt x="12" y="0"/>
                      <a:pt x="12" y="0"/>
                      <a:pt x="12" y="0"/>
                    </a:cubicBezTo>
                    <a:cubicBezTo>
                      <a:pt x="12" y="33"/>
                      <a:pt x="12" y="33"/>
                      <a:pt x="12" y="33"/>
                    </a:cubicBezTo>
                    <a:cubicBezTo>
                      <a:pt x="7" y="33"/>
                      <a:pt x="7" y="33"/>
                      <a:pt x="7" y="33"/>
                    </a:cubicBezTo>
                    <a:cubicBezTo>
                      <a:pt x="7" y="6"/>
                      <a:pt x="7" y="6"/>
                      <a:pt x="7" y="6"/>
                    </a:cubicBezTo>
                    <a:cubicBezTo>
                      <a:pt x="6" y="7"/>
                      <a:pt x="5" y="7"/>
                      <a:pt x="4" y="8"/>
                    </a:cubicBezTo>
                    <a:cubicBezTo>
                      <a:pt x="2" y="8"/>
                      <a:pt x="1" y="9"/>
                      <a:pt x="0" y="9"/>
                    </a:cubicBezTo>
                    <a:cubicBezTo>
                      <a:pt x="0" y="4"/>
                      <a:pt x="0" y="4"/>
                      <a:pt x="0" y="4"/>
                    </a:cubicBezTo>
                    <a:cubicBezTo>
                      <a:pt x="1" y="4"/>
                      <a:pt x="2" y="4"/>
                      <a:pt x="2" y="4"/>
                    </a:cubicBezTo>
                    <a:cubicBezTo>
                      <a:pt x="3" y="3"/>
                      <a:pt x="4" y="3"/>
                      <a:pt x="5" y="3"/>
                    </a:cubicBezTo>
                    <a:cubicBezTo>
                      <a:pt x="6" y="2"/>
                      <a:pt x="6" y="2"/>
                      <a:pt x="7" y="1"/>
                    </a:cubicBezTo>
                    <a:cubicBezTo>
                      <a:pt x="8" y="1"/>
                      <a:pt x="9" y="0"/>
                      <a:pt x="10" y="0"/>
                    </a:cubicBezTo>
                    <a:cubicBezTo>
                      <a:pt x="12" y="0"/>
                      <a:pt x="12" y="0"/>
                      <a:pt x="12" y="0"/>
                    </a:cubicBezTo>
                    <a:cubicBezTo>
                      <a:pt x="12" y="0"/>
                      <a:pt x="12"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15" name="Freeform 69"/>
              <p:cNvSpPr>
                <a:spLocks/>
              </p:cNvSpPr>
              <p:nvPr/>
            </p:nvSpPr>
            <p:spPr bwMode="auto">
              <a:xfrm>
                <a:off x="9200298" y="6680868"/>
                <a:ext cx="27646" cy="76432"/>
              </a:xfrm>
              <a:custGeom>
                <a:avLst/>
                <a:gdLst>
                  <a:gd name="T0" fmla="*/ 12 w 12"/>
                  <a:gd name="T1" fmla="*/ 0 h 33"/>
                  <a:gd name="T2" fmla="*/ 12 w 12"/>
                  <a:gd name="T3" fmla="*/ 0 h 33"/>
                  <a:gd name="T4" fmla="*/ 12 w 12"/>
                  <a:gd name="T5" fmla="*/ 33 h 33"/>
                  <a:gd name="T6" fmla="*/ 7 w 12"/>
                  <a:gd name="T7" fmla="*/ 33 h 33"/>
                  <a:gd name="T8" fmla="*/ 7 w 12"/>
                  <a:gd name="T9" fmla="*/ 6 h 33"/>
                  <a:gd name="T10" fmla="*/ 4 w 12"/>
                  <a:gd name="T11" fmla="*/ 8 h 33"/>
                  <a:gd name="T12" fmla="*/ 0 w 12"/>
                  <a:gd name="T13" fmla="*/ 9 h 33"/>
                  <a:gd name="T14" fmla="*/ 0 w 12"/>
                  <a:gd name="T15" fmla="*/ 4 h 33"/>
                  <a:gd name="T16" fmla="*/ 3 w 12"/>
                  <a:gd name="T17" fmla="*/ 4 h 33"/>
                  <a:gd name="T18" fmla="*/ 5 w 12"/>
                  <a:gd name="T19" fmla="*/ 3 h 33"/>
                  <a:gd name="T20" fmla="*/ 8 w 12"/>
                  <a:gd name="T21" fmla="*/ 1 h 33"/>
                  <a:gd name="T22" fmla="*/ 10 w 12"/>
                  <a:gd name="T23" fmla="*/ 0 h 33"/>
                  <a:gd name="T24" fmla="*/ 12 w 12"/>
                  <a:gd name="T25" fmla="*/ 0 h 33"/>
                  <a:gd name="T26" fmla="*/ 12 w 12"/>
                  <a:gd name="T2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33">
                    <a:moveTo>
                      <a:pt x="12" y="0"/>
                    </a:moveTo>
                    <a:cubicBezTo>
                      <a:pt x="12" y="0"/>
                      <a:pt x="12" y="0"/>
                      <a:pt x="12" y="0"/>
                    </a:cubicBezTo>
                    <a:cubicBezTo>
                      <a:pt x="12" y="33"/>
                      <a:pt x="12" y="33"/>
                      <a:pt x="12" y="33"/>
                    </a:cubicBezTo>
                    <a:cubicBezTo>
                      <a:pt x="7" y="33"/>
                      <a:pt x="7" y="33"/>
                      <a:pt x="7" y="33"/>
                    </a:cubicBezTo>
                    <a:cubicBezTo>
                      <a:pt x="7" y="6"/>
                      <a:pt x="7" y="6"/>
                      <a:pt x="7" y="6"/>
                    </a:cubicBezTo>
                    <a:cubicBezTo>
                      <a:pt x="6" y="7"/>
                      <a:pt x="5" y="7"/>
                      <a:pt x="4" y="8"/>
                    </a:cubicBezTo>
                    <a:cubicBezTo>
                      <a:pt x="3" y="8"/>
                      <a:pt x="2" y="9"/>
                      <a:pt x="0" y="9"/>
                    </a:cubicBezTo>
                    <a:cubicBezTo>
                      <a:pt x="0" y="4"/>
                      <a:pt x="0" y="4"/>
                      <a:pt x="0" y="4"/>
                    </a:cubicBezTo>
                    <a:cubicBezTo>
                      <a:pt x="1" y="4"/>
                      <a:pt x="2" y="4"/>
                      <a:pt x="3" y="4"/>
                    </a:cubicBezTo>
                    <a:cubicBezTo>
                      <a:pt x="4" y="3"/>
                      <a:pt x="4" y="3"/>
                      <a:pt x="5" y="3"/>
                    </a:cubicBezTo>
                    <a:cubicBezTo>
                      <a:pt x="6" y="2"/>
                      <a:pt x="7" y="2"/>
                      <a:pt x="8" y="1"/>
                    </a:cubicBezTo>
                    <a:cubicBezTo>
                      <a:pt x="8" y="1"/>
                      <a:pt x="9" y="0"/>
                      <a:pt x="10" y="0"/>
                    </a:cubicBezTo>
                    <a:cubicBezTo>
                      <a:pt x="12" y="0"/>
                      <a:pt x="12" y="0"/>
                      <a:pt x="12" y="0"/>
                    </a:cubicBezTo>
                    <a:cubicBezTo>
                      <a:pt x="12" y="0"/>
                      <a:pt x="12"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16" name="Freeform 70"/>
              <p:cNvSpPr>
                <a:spLocks noEditPoints="1"/>
              </p:cNvSpPr>
              <p:nvPr/>
            </p:nvSpPr>
            <p:spPr bwMode="auto">
              <a:xfrm>
                <a:off x="9143380" y="6679242"/>
                <a:ext cx="52039" cy="79685"/>
              </a:xfrm>
              <a:custGeom>
                <a:avLst/>
                <a:gdLst>
                  <a:gd name="T0" fmla="*/ 12 w 23"/>
                  <a:gd name="T1" fmla="*/ 4 h 35"/>
                  <a:gd name="T2" fmla="*/ 12 w 23"/>
                  <a:gd name="T3" fmla="*/ 4 h 35"/>
                  <a:gd name="T4" fmla="*/ 6 w 23"/>
                  <a:gd name="T5" fmla="*/ 18 h 35"/>
                  <a:gd name="T6" fmla="*/ 11 w 23"/>
                  <a:gd name="T7" fmla="*/ 30 h 35"/>
                  <a:gd name="T8" fmla="*/ 17 w 23"/>
                  <a:gd name="T9" fmla="*/ 18 h 35"/>
                  <a:gd name="T10" fmla="*/ 12 w 23"/>
                  <a:gd name="T11" fmla="*/ 4 h 35"/>
                  <a:gd name="T12" fmla="*/ 11 w 23"/>
                  <a:gd name="T13" fmla="*/ 35 h 35"/>
                  <a:gd name="T14" fmla="*/ 11 w 23"/>
                  <a:gd name="T15" fmla="*/ 35 h 35"/>
                  <a:gd name="T16" fmla="*/ 3 w 23"/>
                  <a:gd name="T17" fmla="*/ 30 h 35"/>
                  <a:gd name="T18" fmla="*/ 0 w 23"/>
                  <a:gd name="T19" fmla="*/ 18 h 35"/>
                  <a:gd name="T20" fmla="*/ 3 w 23"/>
                  <a:gd name="T21" fmla="*/ 5 h 35"/>
                  <a:gd name="T22" fmla="*/ 12 w 23"/>
                  <a:gd name="T23" fmla="*/ 0 h 35"/>
                  <a:gd name="T24" fmla="*/ 23 w 23"/>
                  <a:gd name="T25" fmla="*/ 17 h 35"/>
                  <a:gd name="T26" fmla="*/ 20 w 23"/>
                  <a:gd name="T27" fmla="*/ 30 h 35"/>
                  <a:gd name="T28" fmla="*/ 11 w 23"/>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5">
                    <a:moveTo>
                      <a:pt x="12" y="4"/>
                    </a:moveTo>
                    <a:cubicBezTo>
                      <a:pt x="12" y="4"/>
                      <a:pt x="12" y="4"/>
                      <a:pt x="12" y="4"/>
                    </a:cubicBezTo>
                    <a:cubicBezTo>
                      <a:pt x="7" y="4"/>
                      <a:pt x="6" y="9"/>
                      <a:pt x="6" y="18"/>
                    </a:cubicBezTo>
                    <a:cubicBezTo>
                      <a:pt x="6" y="26"/>
                      <a:pt x="7" y="30"/>
                      <a:pt x="11" y="30"/>
                    </a:cubicBezTo>
                    <a:cubicBezTo>
                      <a:pt x="16" y="30"/>
                      <a:pt x="17" y="26"/>
                      <a:pt x="17" y="18"/>
                    </a:cubicBezTo>
                    <a:cubicBezTo>
                      <a:pt x="17" y="9"/>
                      <a:pt x="16" y="4"/>
                      <a:pt x="12" y="4"/>
                    </a:cubicBezTo>
                    <a:close/>
                    <a:moveTo>
                      <a:pt x="11" y="35"/>
                    </a:moveTo>
                    <a:cubicBezTo>
                      <a:pt x="11" y="35"/>
                      <a:pt x="11" y="35"/>
                      <a:pt x="11" y="35"/>
                    </a:cubicBezTo>
                    <a:cubicBezTo>
                      <a:pt x="8" y="35"/>
                      <a:pt x="5" y="33"/>
                      <a:pt x="3" y="30"/>
                    </a:cubicBezTo>
                    <a:cubicBezTo>
                      <a:pt x="1" y="28"/>
                      <a:pt x="0" y="23"/>
                      <a:pt x="0" y="18"/>
                    </a:cubicBezTo>
                    <a:cubicBezTo>
                      <a:pt x="0" y="12"/>
                      <a:pt x="1" y="8"/>
                      <a:pt x="3" y="5"/>
                    </a:cubicBezTo>
                    <a:cubicBezTo>
                      <a:pt x="5" y="2"/>
                      <a:pt x="8" y="0"/>
                      <a:pt x="12" y="0"/>
                    </a:cubicBezTo>
                    <a:cubicBezTo>
                      <a:pt x="19" y="0"/>
                      <a:pt x="23" y="6"/>
                      <a:pt x="23" y="17"/>
                    </a:cubicBezTo>
                    <a:cubicBezTo>
                      <a:pt x="23" y="23"/>
                      <a:pt x="22" y="27"/>
                      <a:pt x="20" y="30"/>
                    </a:cubicBezTo>
                    <a:cubicBezTo>
                      <a:pt x="18" y="33"/>
                      <a:pt x="15" y="35"/>
                      <a:pt x="11"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17" name="Freeform 71"/>
              <p:cNvSpPr>
                <a:spLocks noEditPoints="1"/>
              </p:cNvSpPr>
              <p:nvPr/>
            </p:nvSpPr>
            <p:spPr bwMode="auto">
              <a:xfrm>
                <a:off x="9240954" y="6679242"/>
                <a:ext cx="52039" cy="79685"/>
              </a:xfrm>
              <a:custGeom>
                <a:avLst/>
                <a:gdLst>
                  <a:gd name="T0" fmla="*/ 11 w 23"/>
                  <a:gd name="T1" fmla="*/ 4 h 35"/>
                  <a:gd name="T2" fmla="*/ 11 w 23"/>
                  <a:gd name="T3" fmla="*/ 4 h 35"/>
                  <a:gd name="T4" fmla="*/ 5 w 23"/>
                  <a:gd name="T5" fmla="*/ 18 h 35"/>
                  <a:gd name="T6" fmla="*/ 11 w 23"/>
                  <a:gd name="T7" fmla="*/ 30 h 35"/>
                  <a:gd name="T8" fmla="*/ 17 w 23"/>
                  <a:gd name="T9" fmla="*/ 18 h 35"/>
                  <a:gd name="T10" fmla="*/ 11 w 23"/>
                  <a:gd name="T11" fmla="*/ 4 h 35"/>
                  <a:gd name="T12" fmla="*/ 11 w 23"/>
                  <a:gd name="T13" fmla="*/ 35 h 35"/>
                  <a:gd name="T14" fmla="*/ 11 w 23"/>
                  <a:gd name="T15" fmla="*/ 35 h 35"/>
                  <a:gd name="T16" fmla="*/ 3 w 23"/>
                  <a:gd name="T17" fmla="*/ 30 h 35"/>
                  <a:gd name="T18" fmla="*/ 0 w 23"/>
                  <a:gd name="T19" fmla="*/ 18 h 35"/>
                  <a:gd name="T20" fmla="*/ 3 w 23"/>
                  <a:gd name="T21" fmla="*/ 5 h 35"/>
                  <a:gd name="T22" fmla="*/ 12 w 23"/>
                  <a:gd name="T23" fmla="*/ 0 h 35"/>
                  <a:gd name="T24" fmla="*/ 23 w 23"/>
                  <a:gd name="T25" fmla="*/ 17 h 35"/>
                  <a:gd name="T26" fmla="*/ 19 w 23"/>
                  <a:gd name="T27" fmla="*/ 30 h 35"/>
                  <a:gd name="T28" fmla="*/ 11 w 23"/>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5">
                    <a:moveTo>
                      <a:pt x="11" y="4"/>
                    </a:moveTo>
                    <a:cubicBezTo>
                      <a:pt x="11" y="4"/>
                      <a:pt x="11" y="4"/>
                      <a:pt x="11" y="4"/>
                    </a:cubicBezTo>
                    <a:cubicBezTo>
                      <a:pt x="7" y="4"/>
                      <a:pt x="5" y="9"/>
                      <a:pt x="5" y="18"/>
                    </a:cubicBezTo>
                    <a:cubicBezTo>
                      <a:pt x="5" y="26"/>
                      <a:pt x="7" y="30"/>
                      <a:pt x="11" y="30"/>
                    </a:cubicBezTo>
                    <a:cubicBezTo>
                      <a:pt x="15" y="30"/>
                      <a:pt x="17" y="26"/>
                      <a:pt x="17" y="18"/>
                    </a:cubicBezTo>
                    <a:cubicBezTo>
                      <a:pt x="17" y="9"/>
                      <a:pt x="15" y="4"/>
                      <a:pt x="11" y="4"/>
                    </a:cubicBezTo>
                    <a:close/>
                    <a:moveTo>
                      <a:pt x="11" y="35"/>
                    </a:moveTo>
                    <a:cubicBezTo>
                      <a:pt x="11" y="35"/>
                      <a:pt x="11" y="35"/>
                      <a:pt x="11" y="35"/>
                    </a:cubicBezTo>
                    <a:cubicBezTo>
                      <a:pt x="7" y="35"/>
                      <a:pt x="5" y="33"/>
                      <a:pt x="3" y="30"/>
                    </a:cubicBezTo>
                    <a:cubicBezTo>
                      <a:pt x="1" y="28"/>
                      <a:pt x="0" y="23"/>
                      <a:pt x="0" y="18"/>
                    </a:cubicBezTo>
                    <a:cubicBezTo>
                      <a:pt x="0" y="12"/>
                      <a:pt x="1" y="8"/>
                      <a:pt x="3" y="5"/>
                    </a:cubicBezTo>
                    <a:cubicBezTo>
                      <a:pt x="5" y="2"/>
                      <a:pt x="8" y="0"/>
                      <a:pt x="12" y="0"/>
                    </a:cubicBezTo>
                    <a:cubicBezTo>
                      <a:pt x="19" y="0"/>
                      <a:pt x="23" y="6"/>
                      <a:pt x="23" y="17"/>
                    </a:cubicBezTo>
                    <a:cubicBezTo>
                      <a:pt x="23" y="23"/>
                      <a:pt x="22" y="27"/>
                      <a:pt x="19" y="30"/>
                    </a:cubicBezTo>
                    <a:cubicBezTo>
                      <a:pt x="18" y="33"/>
                      <a:pt x="15" y="35"/>
                      <a:pt x="11"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18" name="Freeform 72"/>
              <p:cNvSpPr>
                <a:spLocks/>
              </p:cNvSpPr>
              <p:nvPr/>
            </p:nvSpPr>
            <p:spPr bwMode="auto">
              <a:xfrm>
                <a:off x="8907579" y="6680868"/>
                <a:ext cx="26020" cy="76432"/>
              </a:xfrm>
              <a:custGeom>
                <a:avLst/>
                <a:gdLst>
                  <a:gd name="T0" fmla="*/ 12 w 12"/>
                  <a:gd name="T1" fmla="*/ 0 h 33"/>
                  <a:gd name="T2" fmla="*/ 12 w 12"/>
                  <a:gd name="T3" fmla="*/ 0 h 33"/>
                  <a:gd name="T4" fmla="*/ 12 w 12"/>
                  <a:gd name="T5" fmla="*/ 33 h 33"/>
                  <a:gd name="T6" fmla="*/ 7 w 12"/>
                  <a:gd name="T7" fmla="*/ 33 h 33"/>
                  <a:gd name="T8" fmla="*/ 7 w 12"/>
                  <a:gd name="T9" fmla="*/ 6 h 33"/>
                  <a:gd name="T10" fmla="*/ 4 w 12"/>
                  <a:gd name="T11" fmla="*/ 8 h 33"/>
                  <a:gd name="T12" fmla="*/ 0 w 12"/>
                  <a:gd name="T13" fmla="*/ 9 h 33"/>
                  <a:gd name="T14" fmla="*/ 0 w 12"/>
                  <a:gd name="T15" fmla="*/ 4 h 33"/>
                  <a:gd name="T16" fmla="*/ 3 w 12"/>
                  <a:gd name="T17" fmla="*/ 4 h 33"/>
                  <a:gd name="T18" fmla="*/ 5 w 12"/>
                  <a:gd name="T19" fmla="*/ 3 h 33"/>
                  <a:gd name="T20" fmla="*/ 7 w 12"/>
                  <a:gd name="T21" fmla="*/ 1 h 33"/>
                  <a:gd name="T22" fmla="*/ 10 w 12"/>
                  <a:gd name="T23" fmla="*/ 0 h 33"/>
                  <a:gd name="T24" fmla="*/ 12 w 12"/>
                  <a:gd name="T25" fmla="*/ 0 h 33"/>
                  <a:gd name="T26" fmla="*/ 12 w 12"/>
                  <a:gd name="T2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33">
                    <a:moveTo>
                      <a:pt x="12" y="0"/>
                    </a:moveTo>
                    <a:cubicBezTo>
                      <a:pt x="12" y="0"/>
                      <a:pt x="12" y="0"/>
                      <a:pt x="12" y="0"/>
                    </a:cubicBezTo>
                    <a:cubicBezTo>
                      <a:pt x="12" y="33"/>
                      <a:pt x="12" y="33"/>
                      <a:pt x="12" y="33"/>
                    </a:cubicBezTo>
                    <a:cubicBezTo>
                      <a:pt x="7" y="33"/>
                      <a:pt x="7" y="33"/>
                      <a:pt x="7" y="33"/>
                    </a:cubicBezTo>
                    <a:cubicBezTo>
                      <a:pt x="7" y="6"/>
                      <a:pt x="7" y="6"/>
                      <a:pt x="7" y="6"/>
                    </a:cubicBezTo>
                    <a:cubicBezTo>
                      <a:pt x="6" y="7"/>
                      <a:pt x="5" y="7"/>
                      <a:pt x="4" y="8"/>
                    </a:cubicBezTo>
                    <a:cubicBezTo>
                      <a:pt x="3" y="8"/>
                      <a:pt x="1" y="9"/>
                      <a:pt x="0" y="9"/>
                    </a:cubicBezTo>
                    <a:cubicBezTo>
                      <a:pt x="0" y="4"/>
                      <a:pt x="0" y="4"/>
                      <a:pt x="0" y="4"/>
                    </a:cubicBezTo>
                    <a:cubicBezTo>
                      <a:pt x="1" y="4"/>
                      <a:pt x="2" y="4"/>
                      <a:pt x="3" y="4"/>
                    </a:cubicBezTo>
                    <a:cubicBezTo>
                      <a:pt x="3" y="3"/>
                      <a:pt x="4" y="3"/>
                      <a:pt x="5" y="3"/>
                    </a:cubicBezTo>
                    <a:cubicBezTo>
                      <a:pt x="6" y="2"/>
                      <a:pt x="7" y="2"/>
                      <a:pt x="7" y="1"/>
                    </a:cubicBezTo>
                    <a:cubicBezTo>
                      <a:pt x="8" y="1"/>
                      <a:pt x="9" y="0"/>
                      <a:pt x="10" y="0"/>
                    </a:cubicBezTo>
                    <a:cubicBezTo>
                      <a:pt x="12" y="0"/>
                      <a:pt x="12" y="0"/>
                      <a:pt x="12" y="0"/>
                    </a:cubicBezTo>
                    <a:cubicBezTo>
                      <a:pt x="12" y="0"/>
                      <a:pt x="12"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19" name="Freeform 73"/>
              <p:cNvSpPr>
                <a:spLocks/>
              </p:cNvSpPr>
              <p:nvPr/>
            </p:nvSpPr>
            <p:spPr bwMode="auto">
              <a:xfrm>
                <a:off x="8949860" y="6594679"/>
                <a:ext cx="27646" cy="74806"/>
              </a:xfrm>
              <a:custGeom>
                <a:avLst/>
                <a:gdLst>
                  <a:gd name="T0" fmla="*/ 12 w 12"/>
                  <a:gd name="T1" fmla="*/ 0 h 33"/>
                  <a:gd name="T2" fmla="*/ 12 w 12"/>
                  <a:gd name="T3" fmla="*/ 0 h 33"/>
                  <a:gd name="T4" fmla="*/ 12 w 12"/>
                  <a:gd name="T5" fmla="*/ 33 h 33"/>
                  <a:gd name="T6" fmla="*/ 7 w 12"/>
                  <a:gd name="T7" fmla="*/ 33 h 33"/>
                  <a:gd name="T8" fmla="*/ 7 w 12"/>
                  <a:gd name="T9" fmla="*/ 6 h 33"/>
                  <a:gd name="T10" fmla="*/ 4 w 12"/>
                  <a:gd name="T11" fmla="*/ 8 h 33"/>
                  <a:gd name="T12" fmla="*/ 0 w 12"/>
                  <a:gd name="T13" fmla="*/ 9 h 33"/>
                  <a:gd name="T14" fmla="*/ 0 w 12"/>
                  <a:gd name="T15" fmla="*/ 5 h 33"/>
                  <a:gd name="T16" fmla="*/ 3 w 12"/>
                  <a:gd name="T17" fmla="*/ 4 h 33"/>
                  <a:gd name="T18" fmla="*/ 5 w 12"/>
                  <a:gd name="T19" fmla="*/ 3 h 33"/>
                  <a:gd name="T20" fmla="*/ 8 w 12"/>
                  <a:gd name="T21" fmla="*/ 2 h 33"/>
                  <a:gd name="T22" fmla="*/ 10 w 12"/>
                  <a:gd name="T23" fmla="*/ 0 h 33"/>
                  <a:gd name="T24" fmla="*/ 12 w 12"/>
                  <a:gd name="T25" fmla="*/ 0 h 33"/>
                  <a:gd name="T26" fmla="*/ 12 w 12"/>
                  <a:gd name="T2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33">
                    <a:moveTo>
                      <a:pt x="12" y="0"/>
                    </a:moveTo>
                    <a:cubicBezTo>
                      <a:pt x="12" y="0"/>
                      <a:pt x="12" y="0"/>
                      <a:pt x="12" y="0"/>
                    </a:cubicBezTo>
                    <a:cubicBezTo>
                      <a:pt x="12" y="33"/>
                      <a:pt x="12" y="33"/>
                      <a:pt x="12" y="33"/>
                    </a:cubicBezTo>
                    <a:cubicBezTo>
                      <a:pt x="7" y="33"/>
                      <a:pt x="7" y="33"/>
                      <a:pt x="7" y="33"/>
                    </a:cubicBezTo>
                    <a:cubicBezTo>
                      <a:pt x="7" y="6"/>
                      <a:pt x="7" y="6"/>
                      <a:pt x="7" y="6"/>
                    </a:cubicBezTo>
                    <a:cubicBezTo>
                      <a:pt x="6" y="7"/>
                      <a:pt x="5" y="8"/>
                      <a:pt x="4" y="8"/>
                    </a:cubicBezTo>
                    <a:cubicBezTo>
                      <a:pt x="3" y="9"/>
                      <a:pt x="2" y="9"/>
                      <a:pt x="0" y="9"/>
                    </a:cubicBezTo>
                    <a:cubicBezTo>
                      <a:pt x="0" y="5"/>
                      <a:pt x="0" y="5"/>
                      <a:pt x="0" y="5"/>
                    </a:cubicBezTo>
                    <a:cubicBezTo>
                      <a:pt x="1" y="5"/>
                      <a:pt x="2" y="4"/>
                      <a:pt x="3" y="4"/>
                    </a:cubicBezTo>
                    <a:cubicBezTo>
                      <a:pt x="4" y="4"/>
                      <a:pt x="4" y="3"/>
                      <a:pt x="5" y="3"/>
                    </a:cubicBezTo>
                    <a:cubicBezTo>
                      <a:pt x="6" y="3"/>
                      <a:pt x="7" y="2"/>
                      <a:pt x="8" y="2"/>
                    </a:cubicBezTo>
                    <a:cubicBezTo>
                      <a:pt x="8" y="1"/>
                      <a:pt x="9" y="1"/>
                      <a:pt x="10" y="0"/>
                    </a:cubicBezTo>
                    <a:cubicBezTo>
                      <a:pt x="12" y="0"/>
                      <a:pt x="12" y="0"/>
                      <a:pt x="12" y="0"/>
                    </a:cubicBezTo>
                    <a:cubicBezTo>
                      <a:pt x="12" y="0"/>
                      <a:pt x="12"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20" name="Freeform 74"/>
              <p:cNvSpPr>
                <a:spLocks/>
              </p:cNvSpPr>
              <p:nvPr/>
            </p:nvSpPr>
            <p:spPr bwMode="auto">
              <a:xfrm>
                <a:off x="8988890" y="6594679"/>
                <a:ext cx="27646" cy="74806"/>
              </a:xfrm>
              <a:custGeom>
                <a:avLst/>
                <a:gdLst>
                  <a:gd name="T0" fmla="*/ 12 w 12"/>
                  <a:gd name="T1" fmla="*/ 0 h 33"/>
                  <a:gd name="T2" fmla="*/ 12 w 12"/>
                  <a:gd name="T3" fmla="*/ 0 h 33"/>
                  <a:gd name="T4" fmla="*/ 12 w 12"/>
                  <a:gd name="T5" fmla="*/ 33 h 33"/>
                  <a:gd name="T6" fmla="*/ 7 w 12"/>
                  <a:gd name="T7" fmla="*/ 33 h 33"/>
                  <a:gd name="T8" fmla="*/ 7 w 12"/>
                  <a:gd name="T9" fmla="*/ 6 h 33"/>
                  <a:gd name="T10" fmla="*/ 4 w 12"/>
                  <a:gd name="T11" fmla="*/ 8 h 33"/>
                  <a:gd name="T12" fmla="*/ 0 w 12"/>
                  <a:gd name="T13" fmla="*/ 9 h 33"/>
                  <a:gd name="T14" fmla="*/ 0 w 12"/>
                  <a:gd name="T15" fmla="*/ 5 h 33"/>
                  <a:gd name="T16" fmla="*/ 3 w 12"/>
                  <a:gd name="T17" fmla="*/ 4 h 33"/>
                  <a:gd name="T18" fmla="*/ 5 w 12"/>
                  <a:gd name="T19" fmla="*/ 3 h 33"/>
                  <a:gd name="T20" fmla="*/ 8 w 12"/>
                  <a:gd name="T21" fmla="*/ 2 h 33"/>
                  <a:gd name="T22" fmla="*/ 10 w 12"/>
                  <a:gd name="T23" fmla="*/ 0 h 33"/>
                  <a:gd name="T24" fmla="*/ 12 w 12"/>
                  <a:gd name="T25" fmla="*/ 0 h 33"/>
                  <a:gd name="T26" fmla="*/ 12 w 12"/>
                  <a:gd name="T2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33">
                    <a:moveTo>
                      <a:pt x="12" y="0"/>
                    </a:moveTo>
                    <a:cubicBezTo>
                      <a:pt x="12" y="0"/>
                      <a:pt x="12" y="0"/>
                      <a:pt x="12" y="0"/>
                    </a:cubicBezTo>
                    <a:cubicBezTo>
                      <a:pt x="12" y="33"/>
                      <a:pt x="12" y="33"/>
                      <a:pt x="12" y="33"/>
                    </a:cubicBezTo>
                    <a:cubicBezTo>
                      <a:pt x="7" y="33"/>
                      <a:pt x="7" y="33"/>
                      <a:pt x="7" y="33"/>
                    </a:cubicBezTo>
                    <a:cubicBezTo>
                      <a:pt x="7" y="6"/>
                      <a:pt x="7" y="6"/>
                      <a:pt x="7" y="6"/>
                    </a:cubicBezTo>
                    <a:cubicBezTo>
                      <a:pt x="6" y="7"/>
                      <a:pt x="5" y="8"/>
                      <a:pt x="4" y="8"/>
                    </a:cubicBezTo>
                    <a:cubicBezTo>
                      <a:pt x="3" y="9"/>
                      <a:pt x="2" y="9"/>
                      <a:pt x="0" y="9"/>
                    </a:cubicBezTo>
                    <a:cubicBezTo>
                      <a:pt x="0" y="5"/>
                      <a:pt x="0" y="5"/>
                      <a:pt x="0" y="5"/>
                    </a:cubicBezTo>
                    <a:cubicBezTo>
                      <a:pt x="1" y="5"/>
                      <a:pt x="2" y="4"/>
                      <a:pt x="3" y="4"/>
                    </a:cubicBezTo>
                    <a:cubicBezTo>
                      <a:pt x="4" y="4"/>
                      <a:pt x="5" y="3"/>
                      <a:pt x="5" y="3"/>
                    </a:cubicBezTo>
                    <a:cubicBezTo>
                      <a:pt x="6" y="3"/>
                      <a:pt x="7" y="2"/>
                      <a:pt x="8" y="2"/>
                    </a:cubicBezTo>
                    <a:cubicBezTo>
                      <a:pt x="9" y="1"/>
                      <a:pt x="9" y="1"/>
                      <a:pt x="10" y="0"/>
                    </a:cubicBezTo>
                    <a:cubicBezTo>
                      <a:pt x="12" y="0"/>
                      <a:pt x="12" y="0"/>
                      <a:pt x="12" y="0"/>
                    </a:cubicBezTo>
                    <a:cubicBezTo>
                      <a:pt x="12" y="0"/>
                      <a:pt x="12"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21" name="Freeform 75"/>
              <p:cNvSpPr>
                <a:spLocks/>
              </p:cNvSpPr>
              <p:nvPr/>
            </p:nvSpPr>
            <p:spPr bwMode="auto">
              <a:xfrm>
                <a:off x="9029545" y="6594679"/>
                <a:ext cx="27646" cy="74806"/>
              </a:xfrm>
              <a:custGeom>
                <a:avLst/>
                <a:gdLst>
                  <a:gd name="T0" fmla="*/ 12 w 12"/>
                  <a:gd name="T1" fmla="*/ 0 h 33"/>
                  <a:gd name="T2" fmla="*/ 12 w 12"/>
                  <a:gd name="T3" fmla="*/ 0 h 33"/>
                  <a:gd name="T4" fmla="*/ 12 w 12"/>
                  <a:gd name="T5" fmla="*/ 33 h 33"/>
                  <a:gd name="T6" fmla="*/ 7 w 12"/>
                  <a:gd name="T7" fmla="*/ 33 h 33"/>
                  <a:gd name="T8" fmla="*/ 7 w 12"/>
                  <a:gd name="T9" fmla="*/ 6 h 33"/>
                  <a:gd name="T10" fmla="*/ 4 w 12"/>
                  <a:gd name="T11" fmla="*/ 8 h 33"/>
                  <a:gd name="T12" fmla="*/ 0 w 12"/>
                  <a:gd name="T13" fmla="*/ 9 h 33"/>
                  <a:gd name="T14" fmla="*/ 0 w 12"/>
                  <a:gd name="T15" fmla="*/ 5 h 33"/>
                  <a:gd name="T16" fmla="*/ 2 w 12"/>
                  <a:gd name="T17" fmla="*/ 4 h 33"/>
                  <a:gd name="T18" fmla="*/ 5 w 12"/>
                  <a:gd name="T19" fmla="*/ 3 h 33"/>
                  <a:gd name="T20" fmla="*/ 7 w 12"/>
                  <a:gd name="T21" fmla="*/ 2 h 33"/>
                  <a:gd name="T22" fmla="*/ 10 w 12"/>
                  <a:gd name="T23" fmla="*/ 0 h 33"/>
                  <a:gd name="T24" fmla="*/ 12 w 12"/>
                  <a:gd name="T25" fmla="*/ 0 h 33"/>
                  <a:gd name="T26" fmla="*/ 12 w 12"/>
                  <a:gd name="T2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33">
                    <a:moveTo>
                      <a:pt x="12" y="0"/>
                    </a:moveTo>
                    <a:cubicBezTo>
                      <a:pt x="12" y="0"/>
                      <a:pt x="12" y="0"/>
                      <a:pt x="12" y="0"/>
                    </a:cubicBezTo>
                    <a:cubicBezTo>
                      <a:pt x="12" y="33"/>
                      <a:pt x="12" y="33"/>
                      <a:pt x="12" y="33"/>
                    </a:cubicBezTo>
                    <a:cubicBezTo>
                      <a:pt x="7" y="33"/>
                      <a:pt x="7" y="33"/>
                      <a:pt x="7" y="33"/>
                    </a:cubicBezTo>
                    <a:cubicBezTo>
                      <a:pt x="7" y="6"/>
                      <a:pt x="7" y="6"/>
                      <a:pt x="7" y="6"/>
                    </a:cubicBezTo>
                    <a:cubicBezTo>
                      <a:pt x="6" y="7"/>
                      <a:pt x="5" y="8"/>
                      <a:pt x="4" y="8"/>
                    </a:cubicBezTo>
                    <a:cubicBezTo>
                      <a:pt x="2" y="9"/>
                      <a:pt x="1" y="9"/>
                      <a:pt x="0" y="9"/>
                    </a:cubicBezTo>
                    <a:cubicBezTo>
                      <a:pt x="0" y="5"/>
                      <a:pt x="0" y="5"/>
                      <a:pt x="0" y="5"/>
                    </a:cubicBezTo>
                    <a:cubicBezTo>
                      <a:pt x="1" y="5"/>
                      <a:pt x="2" y="4"/>
                      <a:pt x="2" y="4"/>
                    </a:cubicBezTo>
                    <a:cubicBezTo>
                      <a:pt x="3" y="4"/>
                      <a:pt x="4" y="3"/>
                      <a:pt x="5" y="3"/>
                    </a:cubicBezTo>
                    <a:cubicBezTo>
                      <a:pt x="6" y="3"/>
                      <a:pt x="7" y="2"/>
                      <a:pt x="7" y="2"/>
                    </a:cubicBezTo>
                    <a:cubicBezTo>
                      <a:pt x="8" y="1"/>
                      <a:pt x="9" y="1"/>
                      <a:pt x="10" y="0"/>
                    </a:cubicBezTo>
                    <a:cubicBezTo>
                      <a:pt x="12" y="0"/>
                      <a:pt x="12" y="0"/>
                      <a:pt x="12" y="0"/>
                    </a:cubicBezTo>
                    <a:cubicBezTo>
                      <a:pt x="12" y="0"/>
                      <a:pt x="12"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22" name="Freeform 76"/>
              <p:cNvSpPr>
                <a:spLocks/>
              </p:cNvSpPr>
              <p:nvPr/>
            </p:nvSpPr>
            <p:spPr bwMode="auto">
              <a:xfrm>
                <a:off x="9252337" y="6594679"/>
                <a:ext cx="27646" cy="74806"/>
              </a:xfrm>
              <a:custGeom>
                <a:avLst/>
                <a:gdLst>
                  <a:gd name="T0" fmla="*/ 12 w 12"/>
                  <a:gd name="T1" fmla="*/ 0 h 33"/>
                  <a:gd name="T2" fmla="*/ 12 w 12"/>
                  <a:gd name="T3" fmla="*/ 0 h 33"/>
                  <a:gd name="T4" fmla="*/ 12 w 12"/>
                  <a:gd name="T5" fmla="*/ 33 h 33"/>
                  <a:gd name="T6" fmla="*/ 7 w 12"/>
                  <a:gd name="T7" fmla="*/ 33 h 33"/>
                  <a:gd name="T8" fmla="*/ 7 w 12"/>
                  <a:gd name="T9" fmla="*/ 6 h 33"/>
                  <a:gd name="T10" fmla="*/ 4 w 12"/>
                  <a:gd name="T11" fmla="*/ 8 h 33"/>
                  <a:gd name="T12" fmla="*/ 0 w 12"/>
                  <a:gd name="T13" fmla="*/ 9 h 33"/>
                  <a:gd name="T14" fmla="*/ 0 w 12"/>
                  <a:gd name="T15" fmla="*/ 5 h 33"/>
                  <a:gd name="T16" fmla="*/ 3 w 12"/>
                  <a:gd name="T17" fmla="*/ 4 h 33"/>
                  <a:gd name="T18" fmla="*/ 5 w 12"/>
                  <a:gd name="T19" fmla="*/ 3 h 33"/>
                  <a:gd name="T20" fmla="*/ 7 w 12"/>
                  <a:gd name="T21" fmla="*/ 2 h 33"/>
                  <a:gd name="T22" fmla="*/ 10 w 12"/>
                  <a:gd name="T23" fmla="*/ 0 h 33"/>
                  <a:gd name="T24" fmla="*/ 12 w 12"/>
                  <a:gd name="T25" fmla="*/ 0 h 33"/>
                  <a:gd name="T26" fmla="*/ 12 w 12"/>
                  <a:gd name="T2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33">
                    <a:moveTo>
                      <a:pt x="12" y="0"/>
                    </a:moveTo>
                    <a:cubicBezTo>
                      <a:pt x="12" y="0"/>
                      <a:pt x="12" y="0"/>
                      <a:pt x="12" y="0"/>
                    </a:cubicBezTo>
                    <a:cubicBezTo>
                      <a:pt x="12" y="33"/>
                      <a:pt x="12" y="33"/>
                      <a:pt x="12" y="33"/>
                    </a:cubicBezTo>
                    <a:cubicBezTo>
                      <a:pt x="7" y="33"/>
                      <a:pt x="7" y="33"/>
                      <a:pt x="7" y="33"/>
                    </a:cubicBezTo>
                    <a:cubicBezTo>
                      <a:pt x="7" y="6"/>
                      <a:pt x="7" y="6"/>
                      <a:pt x="7" y="6"/>
                    </a:cubicBezTo>
                    <a:cubicBezTo>
                      <a:pt x="6" y="7"/>
                      <a:pt x="5" y="8"/>
                      <a:pt x="4" y="8"/>
                    </a:cubicBezTo>
                    <a:cubicBezTo>
                      <a:pt x="3" y="9"/>
                      <a:pt x="2" y="9"/>
                      <a:pt x="0" y="9"/>
                    </a:cubicBezTo>
                    <a:cubicBezTo>
                      <a:pt x="0" y="5"/>
                      <a:pt x="0" y="5"/>
                      <a:pt x="0" y="5"/>
                    </a:cubicBezTo>
                    <a:cubicBezTo>
                      <a:pt x="1" y="5"/>
                      <a:pt x="2" y="4"/>
                      <a:pt x="3" y="4"/>
                    </a:cubicBezTo>
                    <a:cubicBezTo>
                      <a:pt x="3" y="4"/>
                      <a:pt x="4" y="3"/>
                      <a:pt x="5" y="3"/>
                    </a:cubicBezTo>
                    <a:cubicBezTo>
                      <a:pt x="6" y="3"/>
                      <a:pt x="7" y="2"/>
                      <a:pt x="7" y="2"/>
                    </a:cubicBezTo>
                    <a:cubicBezTo>
                      <a:pt x="8" y="1"/>
                      <a:pt x="9" y="1"/>
                      <a:pt x="10" y="0"/>
                    </a:cubicBezTo>
                    <a:cubicBezTo>
                      <a:pt x="12" y="0"/>
                      <a:pt x="12" y="0"/>
                      <a:pt x="12" y="0"/>
                    </a:cubicBezTo>
                    <a:cubicBezTo>
                      <a:pt x="12" y="0"/>
                      <a:pt x="12"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23" name="Freeform 77"/>
              <p:cNvSpPr>
                <a:spLocks/>
              </p:cNvSpPr>
              <p:nvPr/>
            </p:nvSpPr>
            <p:spPr bwMode="auto">
              <a:xfrm>
                <a:off x="8852287" y="6594679"/>
                <a:ext cx="27646" cy="74806"/>
              </a:xfrm>
              <a:custGeom>
                <a:avLst/>
                <a:gdLst>
                  <a:gd name="T0" fmla="*/ 12 w 12"/>
                  <a:gd name="T1" fmla="*/ 0 h 33"/>
                  <a:gd name="T2" fmla="*/ 12 w 12"/>
                  <a:gd name="T3" fmla="*/ 0 h 33"/>
                  <a:gd name="T4" fmla="*/ 12 w 12"/>
                  <a:gd name="T5" fmla="*/ 33 h 33"/>
                  <a:gd name="T6" fmla="*/ 7 w 12"/>
                  <a:gd name="T7" fmla="*/ 33 h 33"/>
                  <a:gd name="T8" fmla="*/ 7 w 12"/>
                  <a:gd name="T9" fmla="*/ 6 h 33"/>
                  <a:gd name="T10" fmla="*/ 4 w 12"/>
                  <a:gd name="T11" fmla="*/ 8 h 33"/>
                  <a:gd name="T12" fmla="*/ 0 w 12"/>
                  <a:gd name="T13" fmla="*/ 9 h 33"/>
                  <a:gd name="T14" fmla="*/ 0 w 12"/>
                  <a:gd name="T15" fmla="*/ 5 h 33"/>
                  <a:gd name="T16" fmla="*/ 3 w 12"/>
                  <a:gd name="T17" fmla="*/ 4 h 33"/>
                  <a:gd name="T18" fmla="*/ 5 w 12"/>
                  <a:gd name="T19" fmla="*/ 3 h 33"/>
                  <a:gd name="T20" fmla="*/ 8 w 12"/>
                  <a:gd name="T21" fmla="*/ 2 h 33"/>
                  <a:gd name="T22" fmla="*/ 10 w 12"/>
                  <a:gd name="T23" fmla="*/ 0 h 33"/>
                  <a:gd name="T24" fmla="*/ 12 w 12"/>
                  <a:gd name="T25" fmla="*/ 0 h 33"/>
                  <a:gd name="T26" fmla="*/ 12 w 12"/>
                  <a:gd name="T2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33">
                    <a:moveTo>
                      <a:pt x="12" y="0"/>
                    </a:moveTo>
                    <a:cubicBezTo>
                      <a:pt x="12" y="0"/>
                      <a:pt x="12" y="0"/>
                      <a:pt x="12" y="0"/>
                    </a:cubicBezTo>
                    <a:cubicBezTo>
                      <a:pt x="12" y="33"/>
                      <a:pt x="12" y="33"/>
                      <a:pt x="12" y="33"/>
                    </a:cubicBezTo>
                    <a:cubicBezTo>
                      <a:pt x="7" y="33"/>
                      <a:pt x="7" y="33"/>
                      <a:pt x="7" y="33"/>
                    </a:cubicBezTo>
                    <a:cubicBezTo>
                      <a:pt x="7" y="6"/>
                      <a:pt x="7" y="6"/>
                      <a:pt x="7" y="6"/>
                    </a:cubicBezTo>
                    <a:cubicBezTo>
                      <a:pt x="6" y="7"/>
                      <a:pt x="5" y="8"/>
                      <a:pt x="4" y="8"/>
                    </a:cubicBezTo>
                    <a:cubicBezTo>
                      <a:pt x="3" y="9"/>
                      <a:pt x="2" y="9"/>
                      <a:pt x="0" y="9"/>
                    </a:cubicBezTo>
                    <a:cubicBezTo>
                      <a:pt x="0" y="5"/>
                      <a:pt x="0" y="5"/>
                      <a:pt x="0" y="5"/>
                    </a:cubicBezTo>
                    <a:cubicBezTo>
                      <a:pt x="1" y="5"/>
                      <a:pt x="2" y="4"/>
                      <a:pt x="3" y="4"/>
                    </a:cubicBezTo>
                    <a:cubicBezTo>
                      <a:pt x="3" y="4"/>
                      <a:pt x="4" y="3"/>
                      <a:pt x="5" y="3"/>
                    </a:cubicBezTo>
                    <a:cubicBezTo>
                      <a:pt x="6" y="3"/>
                      <a:pt x="7" y="2"/>
                      <a:pt x="8" y="2"/>
                    </a:cubicBezTo>
                    <a:cubicBezTo>
                      <a:pt x="8" y="1"/>
                      <a:pt x="9" y="1"/>
                      <a:pt x="10" y="0"/>
                    </a:cubicBezTo>
                    <a:cubicBezTo>
                      <a:pt x="12" y="0"/>
                      <a:pt x="12" y="0"/>
                      <a:pt x="12" y="0"/>
                    </a:cubicBezTo>
                    <a:cubicBezTo>
                      <a:pt x="12" y="0"/>
                      <a:pt x="12"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24" name="Freeform 78"/>
              <p:cNvSpPr>
                <a:spLocks/>
              </p:cNvSpPr>
              <p:nvPr/>
            </p:nvSpPr>
            <p:spPr bwMode="auto">
              <a:xfrm>
                <a:off x="9005152" y="6680868"/>
                <a:ext cx="26020" cy="76432"/>
              </a:xfrm>
              <a:custGeom>
                <a:avLst/>
                <a:gdLst>
                  <a:gd name="T0" fmla="*/ 12 w 12"/>
                  <a:gd name="T1" fmla="*/ 0 h 33"/>
                  <a:gd name="T2" fmla="*/ 12 w 12"/>
                  <a:gd name="T3" fmla="*/ 0 h 33"/>
                  <a:gd name="T4" fmla="*/ 12 w 12"/>
                  <a:gd name="T5" fmla="*/ 33 h 33"/>
                  <a:gd name="T6" fmla="*/ 6 w 12"/>
                  <a:gd name="T7" fmla="*/ 33 h 33"/>
                  <a:gd name="T8" fmla="*/ 6 w 12"/>
                  <a:gd name="T9" fmla="*/ 6 h 33"/>
                  <a:gd name="T10" fmla="*/ 3 w 12"/>
                  <a:gd name="T11" fmla="*/ 8 h 33"/>
                  <a:gd name="T12" fmla="*/ 0 w 12"/>
                  <a:gd name="T13" fmla="*/ 9 h 33"/>
                  <a:gd name="T14" fmla="*/ 0 w 12"/>
                  <a:gd name="T15" fmla="*/ 4 h 33"/>
                  <a:gd name="T16" fmla="*/ 2 w 12"/>
                  <a:gd name="T17" fmla="*/ 4 h 33"/>
                  <a:gd name="T18" fmla="*/ 4 w 12"/>
                  <a:gd name="T19" fmla="*/ 3 h 33"/>
                  <a:gd name="T20" fmla="*/ 7 w 12"/>
                  <a:gd name="T21" fmla="*/ 1 h 33"/>
                  <a:gd name="T22" fmla="*/ 9 w 12"/>
                  <a:gd name="T23" fmla="*/ 0 h 33"/>
                  <a:gd name="T24" fmla="*/ 12 w 12"/>
                  <a:gd name="T25" fmla="*/ 0 h 33"/>
                  <a:gd name="T26" fmla="*/ 12 w 12"/>
                  <a:gd name="T2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33">
                    <a:moveTo>
                      <a:pt x="12" y="0"/>
                    </a:moveTo>
                    <a:cubicBezTo>
                      <a:pt x="12" y="0"/>
                      <a:pt x="12" y="0"/>
                      <a:pt x="12" y="0"/>
                    </a:cubicBezTo>
                    <a:cubicBezTo>
                      <a:pt x="12" y="33"/>
                      <a:pt x="12" y="33"/>
                      <a:pt x="12" y="33"/>
                    </a:cubicBezTo>
                    <a:cubicBezTo>
                      <a:pt x="6" y="33"/>
                      <a:pt x="6" y="33"/>
                      <a:pt x="6" y="33"/>
                    </a:cubicBezTo>
                    <a:cubicBezTo>
                      <a:pt x="6" y="6"/>
                      <a:pt x="6" y="6"/>
                      <a:pt x="6" y="6"/>
                    </a:cubicBezTo>
                    <a:cubicBezTo>
                      <a:pt x="5" y="7"/>
                      <a:pt x="4" y="7"/>
                      <a:pt x="3" y="8"/>
                    </a:cubicBezTo>
                    <a:cubicBezTo>
                      <a:pt x="2" y="8"/>
                      <a:pt x="1" y="9"/>
                      <a:pt x="0" y="9"/>
                    </a:cubicBezTo>
                    <a:cubicBezTo>
                      <a:pt x="0" y="4"/>
                      <a:pt x="0" y="4"/>
                      <a:pt x="0" y="4"/>
                    </a:cubicBezTo>
                    <a:cubicBezTo>
                      <a:pt x="0" y="4"/>
                      <a:pt x="1" y="4"/>
                      <a:pt x="2" y="4"/>
                    </a:cubicBezTo>
                    <a:cubicBezTo>
                      <a:pt x="3" y="3"/>
                      <a:pt x="4" y="3"/>
                      <a:pt x="4" y="3"/>
                    </a:cubicBezTo>
                    <a:cubicBezTo>
                      <a:pt x="5" y="2"/>
                      <a:pt x="6" y="2"/>
                      <a:pt x="7" y="1"/>
                    </a:cubicBezTo>
                    <a:cubicBezTo>
                      <a:pt x="8" y="1"/>
                      <a:pt x="8" y="0"/>
                      <a:pt x="9" y="0"/>
                    </a:cubicBezTo>
                    <a:cubicBezTo>
                      <a:pt x="12" y="0"/>
                      <a:pt x="12" y="0"/>
                      <a:pt x="12" y="0"/>
                    </a:cubicBezTo>
                    <a:cubicBezTo>
                      <a:pt x="12" y="0"/>
                      <a:pt x="12"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25" name="Freeform 79"/>
              <p:cNvSpPr>
                <a:spLocks noEditPoints="1"/>
              </p:cNvSpPr>
              <p:nvPr/>
            </p:nvSpPr>
            <p:spPr bwMode="auto">
              <a:xfrm>
                <a:off x="8944982" y="6679242"/>
                <a:ext cx="52039" cy="79685"/>
              </a:xfrm>
              <a:custGeom>
                <a:avLst/>
                <a:gdLst>
                  <a:gd name="T0" fmla="*/ 12 w 23"/>
                  <a:gd name="T1" fmla="*/ 4 h 35"/>
                  <a:gd name="T2" fmla="*/ 12 w 23"/>
                  <a:gd name="T3" fmla="*/ 4 h 35"/>
                  <a:gd name="T4" fmla="*/ 6 w 23"/>
                  <a:gd name="T5" fmla="*/ 18 h 35"/>
                  <a:gd name="T6" fmla="*/ 12 w 23"/>
                  <a:gd name="T7" fmla="*/ 30 h 35"/>
                  <a:gd name="T8" fmla="*/ 17 w 23"/>
                  <a:gd name="T9" fmla="*/ 18 h 35"/>
                  <a:gd name="T10" fmla="*/ 12 w 23"/>
                  <a:gd name="T11" fmla="*/ 4 h 35"/>
                  <a:gd name="T12" fmla="*/ 11 w 23"/>
                  <a:gd name="T13" fmla="*/ 35 h 35"/>
                  <a:gd name="T14" fmla="*/ 11 w 23"/>
                  <a:gd name="T15" fmla="*/ 35 h 35"/>
                  <a:gd name="T16" fmla="*/ 3 w 23"/>
                  <a:gd name="T17" fmla="*/ 30 h 35"/>
                  <a:gd name="T18" fmla="*/ 0 w 23"/>
                  <a:gd name="T19" fmla="*/ 18 h 35"/>
                  <a:gd name="T20" fmla="*/ 3 w 23"/>
                  <a:gd name="T21" fmla="*/ 5 h 35"/>
                  <a:gd name="T22" fmla="*/ 12 w 23"/>
                  <a:gd name="T23" fmla="*/ 0 h 35"/>
                  <a:gd name="T24" fmla="*/ 23 w 23"/>
                  <a:gd name="T25" fmla="*/ 17 h 35"/>
                  <a:gd name="T26" fmla="*/ 20 w 23"/>
                  <a:gd name="T27" fmla="*/ 30 h 35"/>
                  <a:gd name="T28" fmla="*/ 11 w 23"/>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5">
                    <a:moveTo>
                      <a:pt x="12" y="4"/>
                    </a:moveTo>
                    <a:cubicBezTo>
                      <a:pt x="12" y="4"/>
                      <a:pt x="12" y="4"/>
                      <a:pt x="12" y="4"/>
                    </a:cubicBezTo>
                    <a:cubicBezTo>
                      <a:pt x="8" y="4"/>
                      <a:pt x="6" y="9"/>
                      <a:pt x="6" y="18"/>
                    </a:cubicBezTo>
                    <a:cubicBezTo>
                      <a:pt x="6" y="26"/>
                      <a:pt x="8" y="30"/>
                      <a:pt x="12" y="30"/>
                    </a:cubicBezTo>
                    <a:cubicBezTo>
                      <a:pt x="16" y="30"/>
                      <a:pt x="17" y="26"/>
                      <a:pt x="17" y="18"/>
                    </a:cubicBezTo>
                    <a:cubicBezTo>
                      <a:pt x="17" y="9"/>
                      <a:pt x="16" y="4"/>
                      <a:pt x="12" y="4"/>
                    </a:cubicBezTo>
                    <a:close/>
                    <a:moveTo>
                      <a:pt x="11" y="35"/>
                    </a:moveTo>
                    <a:cubicBezTo>
                      <a:pt x="11" y="35"/>
                      <a:pt x="11" y="35"/>
                      <a:pt x="11" y="35"/>
                    </a:cubicBezTo>
                    <a:cubicBezTo>
                      <a:pt x="8" y="35"/>
                      <a:pt x="5" y="33"/>
                      <a:pt x="3" y="30"/>
                    </a:cubicBezTo>
                    <a:cubicBezTo>
                      <a:pt x="1" y="28"/>
                      <a:pt x="0" y="23"/>
                      <a:pt x="0" y="18"/>
                    </a:cubicBezTo>
                    <a:cubicBezTo>
                      <a:pt x="0" y="12"/>
                      <a:pt x="1" y="8"/>
                      <a:pt x="3" y="5"/>
                    </a:cubicBezTo>
                    <a:cubicBezTo>
                      <a:pt x="5" y="2"/>
                      <a:pt x="8" y="0"/>
                      <a:pt x="12" y="0"/>
                    </a:cubicBezTo>
                    <a:cubicBezTo>
                      <a:pt x="19" y="0"/>
                      <a:pt x="23" y="6"/>
                      <a:pt x="23" y="17"/>
                    </a:cubicBezTo>
                    <a:cubicBezTo>
                      <a:pt x="23" y="23"/>
                      <a:pt x="22" y="27"/>
                      <a:pt x="20" y="30"/>
                    </a:cubicBezTo>
                    <a:cubicBezTo>
                      <a:pt x="18" y="33"/>
                      <a:pt x="15" y="35"/>
                      <a:pt x="11"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26" name="Freeform 80"/>
              <p:cNvSpPr>
                <a:spLocks noEditPoints="1"/>
              </p:cNvSpPr>
              <p:nvPr/>
            </p:nvSpPr>
            <p:spPr bwMode="auto">
              <a:xfrm>
                <a:off x="8891316" y="6593052"/>
                <a:ext cx="48787" cy="79685"/>
              </a:xfrm>
              <a:custGeom>
                <a:avLst/>
                <a:gdLst>
                  <a:gd name="T0" fmla="*/ 11 w 22"/>
                  <a:gd name="T1" fmla="*/ 5 h 35"/>
                  <a:gd name="T2" fmla="*/ 11 w 22"/>
                  <a:gd name="T3" fmla="*/ 5 h 35"/>
                  <a:gd name="T4" fmla="*/ 5 w 22"/>
                  <a:gd name="T5" fmla="*/ 18 h 35"/>
                  <a:gd name="T6" fmla="*/ 11 w 22"/>
                  <a:gd name="T7" fmla="*/ 31 h 35"/>
                  <a:gd name="T8" fmla="*/ 17 w 22"/>
                  <a:gd name="T9" fmla="*/ 18 h 35"/>
                  <a:gd name="T10" fmla="*/ 11 w 22"/>
                  <a:gd name="T11" fmla="*/ 5 h 35"/>
                  <a:gd name="T12" fmla="*/ 11 w 22"/>
                  <a:gd name="T13" fmla="*/ 35 h 35"/>
                  <a:gd name="T14" fmla="*/ 11 w 22"/>
                  <a:gd name="T15" fmla="*/ 35 h 35"/>
                  <a:gd name="T16" fmla="*/ 2 w 22"/>
                  <a:gd name="T17" fmla="*/ 31 h 35"/>
                  <a:gd name="T18" fmla="*/ 0 w 22"/>
                  <a:gd name="T19" fmla="*/ 18 h 35"/>
                  <a:gd name="T20" fmla="*/ 3 w 22"/>
                  <a:gd name="T21" fmla="*/ 5 h 35"/>
                  <a:gd name="T22" fmla="*/ 11 w 22"/>
                  <a:gd name="T23" fmla="*/ 0 h 35"/>
                  <a:gd name="T24" fmla="*/ 22 w 22"/>
                  <a:gd name="T25" fmla="*/ 18 h 35"/>
                  <a:gd name="T26" fmla="*/ 19 w 22"/>
                  <a:gd name="T27" fmla="*/ 31 h 35"/>
                  <a:gd name="T28" fmla="*/ 11 w 22"/>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35">
                    <a:moveTo>
                      <a:pt x="11" y="5"/>
                    </a:moveTo>
                    <a:cubicBezTo>
                      <a:pt x="11" y="5"/>
                      <a:pt x="11" y="5"/>
                      <a:pt x="11" y="5"/>
                    </a:cubicBezTo>
                    <a:cubicBezTo>
                      <a:pt x="7" y="5"/>
                      <a:pt x="5" y="9"/>
                      <a:pt x="5" y="18"/>
                    </a:cubicBezTo>
                    <a:cubicBezTo>
                      <a:pt x="5" y="27"/>
                      <a:pt x="7" y="31"/>
                      <a:pt x="11" y="31"/>
                    </a:cubicBezTo>
                    <a:cubicBezTo>
                      <a:pt x="15" y="31"/>
                      <a:pt x="17" y="26"/>
                      <a:pt x="17" y="18"/>
                    </a:cubicBezTo>
                    <a:cubicBezTo>
                      <a:pt x="17" y="9"/>
                      <a:pt x="15" y="5"/>
                      <a:pt x="11" y="5"/>
                    </a:cubicBezTo>
                    <a:close/>
                    <a:moveTo>
                      <a:pt x="11" y="35"/>
                    </a:moveTo>
                    <a:cubicBezTo>
                      <a:pt x="11" y="35"/>
                      <a:pt x="11" y="35"/>
                      <a:pt x="11" y="35"/>
                    </a:cubicBezTo>
                    <a:cubicBezTo>
                      <a:pt x="7" y="35"/>
                      <a:pt x="4" y="33"/>
                      <a:pt x="2" y="31"/>
                    </a:cubicBezTo>
                    <a:cubicBezTo>
                      <a:pt x="0" y="28"/>
                      <a:pt x="0" y="24"/>
                      <a:pt x="0" y="18"/>
                    </a:cubicBezTo>
                    <a:cubicBezTo>
                      <a:pt x="0" y="12"/>
                      <a:pt x="1" y="8"/>
                      <a:pt x="3" y="5"/>
                    </a:cubicBezTo>
                    <a:cubicBezTo>
                      <a:pt x="5" y="2"/>
                      <a:pt x="8" y="0"/>
                      <a:pt x="11" y="0"/>
                    </a:cubicBezTo>
                    <a:cubicBezTo>
                      <a:pt x="19" y="0"/>
                      <a:pt x="22" y="6"/>
                      <a:pt x="22" y="18"/>
                    </a:cubicBezTo>
                    <a:cubicBezTo>
                      <a:pt x="22" y="23"/>
                      <a:pt x="21" y="28"/>
                      <a:pt x="19" y="31"/>
                    </a:cubicBezTo>
                    <a:cubicBezTo>
                      <a:pt x="17" y="33"/>
                      <a:pt x="14" y="35"/>
                      <a:pt x="11"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27" name="Freeform 81"/>
              <p:cNvSpPr>
                <a:spLocks noEditPoints="1"/>
              </p:cNvSpPr>
              <p:nvPr/>
            </p:nvSpPr>
            <p:spPr bwMode="auto">
              <a:xfrm>
                <a:off x="9068574" y="6593052"/>
                <a:ext cx="52039" cy="79685"/>
              </a:xfrm>
              <a:custGeom>
                <a:avLst/>
                <a:gdLst>
                  <a:gd name="T0" fmla="*/ 12 w 23"/>
                  <a:gd name="T1" fmla="*/ 5 h 35"/>
                  <a:gd name="T2" fmla="*/ 12 w 23"/>
                  <a:gd name="T3" fmla="*/ 5 h 35"/>
                  <a:gd name="T4" fmla="*/ 6 w 23"/>
                  <a:gd name="T5" fmla="*/ 18 h 35"/>
                  <a:gd name="T6" fmla="*/ 12 w 23"/>
                  <a:gd name="T7" fmla="*/ 31 h 35"/>
                  <a:gd name="T8" fmla="*/ 18 w 23"/>
                  <a:gd name="T9" fmla="*/ 18 h 35"/>
                  <a:gd name="T10" fmla="*/ 12 w 23"/>
                  <a:gd name="T11" fmla="*/ 5 h 35"/>
                  <a:gd name="T12" fmla="*/ 12 w 23"/>
                  <a:gd name="T13" fmla="*/ 35 h 35"/>
                  <a:gd name="T14" fmla="*/ 12 w 23"/>
                  <a:gd name="T15" fmla="*/ 35 h 35"/>
                  <a:gd name="T16" fmla="*/ 3 w 23"/>
                  <a:gd name="T17" fmla="*/ 31 h 35"/>
                  <a:gd name="T18" fmla="*/ 0 w 23"/>
                  <a:gd name="T19" fmla="*/ 18 h 35"/>
                  <a:gd name="T20" fmla="*/ 3 w 23"/>
                  <a:gd name="T21" fmla="*/ 5 h 35"/>
                  <a:gd name="T22" fmla="*/ 12 w 23"/>
                  <a:gd name="T23" fmla="*/ 0 h 35"/>
                  <a:gd name="T24" fmla="*/ 23 w 23"/>
                  <a:gd name="T25" fmla="*/ 18 h 35"/>
                  <a:gd name="T26" fmla="*/ 20 w 23"/>
                  <a:gd name="T27" fmla="*/ 31 h 35"/>
                  <a:gd name="T28" fmla="*/ 12 w 23"/>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5">
                    <a:moveTo>
                      <a:pt x="12" y="5"/>
                    </a:moveTo>
                    <a:cubicBezTo>
                      <a:pt x="12" y="5"/>
                      <a:pt x="12" y="5"/>
                      <a:pt x="12" y="5"/>
                    </a:cubicBezTo>
                    <a:cubicBezTo>
                      <a:pt x="8" y="5"/>
                      <a:pt x="6" y="9"/>
                      <a:pt x="6" y="18"/>
                    </a:cubicBezTo>
                    <a:cubicBezTo>
                      <a:pt x="6" y="27"/>
                      <a:pt x="8" y="31"/>
                      <a:pt x="12" y="31"/>
                    </a:cubicBezTo>
                    <a:cubicBezTo>
                      <a:pt x="16" y="31"/>
                      <a:pt x="18" y="26"/>
                      <a:pt x="18" y="18"/>
                    </a:cubicBezTo>
                    <a:cubicBezTo>
                      <a:pt x="18" y="9"/>
                      <a:pt x="16" y="5"/>
                      <a:pt x="12" y="5"/>
                    </a:cubicBezTo>
                    <a:close/>
                    <a:moveTo>
                      <a:pt x="12" y="35"/>
                    </a:moveTo>
                    <a:cubicBezTo>
                      <a:pt x="12" y="35"/>
                      <a:pt x="12" y="35"/>
                      <a:pt x="12" y="35"/>
                    </a:cubicBezTo>
                    <a:cubicBezTo>
                      <a:pt x="8" y="35"/>
                      <a:pt x="5" y="33"/>
                      <a:pt x="3" y="31"/>
                    </a:cubicBezTo>
                    <a:cubicBezTo>
                      <a:pt x="1" y="28"/>
                      <a:pt x="0" y="24"/>
                      <a:pt x="0" y="18"/>
                    </a:cubicBezTo>
                    <a:cubicBezTo>
                      <a:pt x="0" y="12"/>
                      <a:pt x="1" y="8"/>
                      <a:pt x="3" y="5"/>
                    </a:cubicBezTo>
                    <a:cubicBezTo>
                      <a:pt x="6" y="2"/>
                      <a:pt x="8" y="0"/>
                      <a:pt x="12" y="0"/>
                    </a:cubicBezTo>
                    <a:cubicBezTo>
                      <a:pt x="20" y="0"/>
                      <a:pt x="23" y="6"/>
                      <a:pt x="23" y="18"/>
                    </a:cubicBezTo>
                    <a:cubicBezTo>
                      <a:pt x="23" y="23"/>
                      <a:pt x="22" y="28"/>
                      <a:pt x="20" y="31"/>
                    </a:cubicBezTo>
                    <a:cubicBezTo>
                      <a:pt x="18" y="33"/>
                      <a:pt x="15" y="35"/>
                      <a:pt x="1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28" name="Freeform 82"/>
              <p:cNvSpPr>
                <a:spLocks noEditPoints="1"/>
              </p:cNvSpPr>
              <p:nvPr/>
            </p:nvSpPr>
            <p:spPr bwMode="auto">
              <a:xfrm>
                <a:off x="9131997" y="6593052"/>
                <a:ext cx="52039" cy="79685"/>
              </a:xfrm>
              <a:custGeom>
                <a:avLst/>
                <a:gdLst>
                  <a:gd name="T0" fmla="*/ 12 w 23"/>
                  <a:gd name="T1" fmla="*/ 5 h 35"/>
                  <a:gd name="T2" fmla="*/ 12 w 23"/>
                  <a:gd name="T3" fmla="*/ 5 h 35"/>
                  <a:gd name="T4" fmla="*/ 6 w 23"/>
                  <a:gd name="T5" fmla="*/ 18 h 35"/>
                  <a:gd name="T6" fmla="*/ 11 w 23"/>
                  <a:gd name="T7" fmla="*/ 31 h 35"/>
                  <a:gd name="T8" fmla="*/ 17 w 23"/>
                  <a:gd name="T9" fmla="*/ 18 h 35"/>
                  <a:gd name="T10" fmla="*/ 12 w 23"/>
                  <a:gd name="T11" fmla="*/ 5 h 35"/>
                  <a:gd name="T12" fmla="*/ 11 w 23"/>
                  <a:gd name="T13" fmla="*/ 35 h 35"/>
                  <a:gd name="T14" fmla="*/ 11 w 23"/>
                  <a:gd name="T15" fmla="*/ 35 h 35"/>
                  <a:gd name="T16" fmla="*/ 3 w 23"/>
                  <a:gd name="T17" fmla="*/ 31 h 35"/>
                  <a:gd name="T18" fmla="*/ 0 w 23"/>
                  <a:gd name="T19" fmla="*/ 18 h 35"/>
                  <a:gd name="T20" fmla="*/ 3 w 23"/>
                  <a:gd name="T21" fmla="*/ 5 h 35"/>
                  <a:gd name="T22" fmla="*/ 12 w 23"/>
                  <a:gd name="T23" fmla="*/ 0 h 35"/>
                  <a:gd name="T24" fmla="*/ 23 w 23"/>
                  <a:gd name="T25" fmla="*/ 18 h 35"/>
                  <a:gd name="T26" fmla="*/ 20 w 23"/>
                  <a:gd name="T27" fmla="*/ 31 h 35"/>
                  <a:gd name="T28" fmla="*/ 11 w 23"/>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5">
                    <a:moveTo>
                      <a:pt x="12" y="5"/>
                    </a:moveTo>
                    <a:cubicBezTo>
                      <a:pt x="12" y="5"/>
                      <a:pt x="12" y="5"/>
                      <a:pt x="12" y="5"/>
                    </a:cubicBezTo>
                    <a:cubicBezTo>
                      <a:pt x="8" y="5"/>
                      <a:pt x="6" y="9"/>
                      <a:pt x="6" y="18"/>
                    </a:cubicBezTo>
                    <a:cubicBezTo>
                      <a:pt x="6" y="27"/>
                      <a:pt x="7" y="31"/>
                      <a:pt x="11" y="31"/>
                    </a:cubicBezTo>
                    <a:cubicBezTo>
                      <a:pt x="15" y="31"/>
                      <a:pt x="17" y="26"/>
                      <a:pt x="17" y="18"/>
                    </a:cubicBezTo>
                    <a:cubicBezTo>
                      <a:pt x="17" y="9"/>
                      <a:pt x="15" y="5"/>
                      <a:pt x="12" y="5"/>
                    </a:cubicBezTo>
                    <a:close/>
                    <a:moveTo>
                      <a:pt x="11" y="35"/>
                    </a:moveTo>
                    <a:cubicBezTo>
                      <a:pt x="11" y="35"/>
                      <a:pt x="11" y="35"/>
                      <a:pt x="11" y="35"/>
                    </a:cubicBezTo>
                    <a:cubicBezTo>
                      <a:pt x="8" y="35"/>
                      <a:pt x="5" y="33"/>
                      <a:pt x="3" y="31"/>
                    </a:cubicBezTo>
                    <a:cubicBezTo>
                      <a:pt x="1" y="28"/>
                      <a:pt x="0" y="24"/>
                      <a:pt x="0" y="18"/>
                    </a:cubicBezTo>
                    <a:cubicBezTo>
                      <a:pt x="0" y="12"/>
                      <a:pt x="1" y="8"/>
                      <a:pt x="3" y="5"/>
                    </a:cubicBezTo>
                    <a:cubicBezTo>
                      <a:pt x="5" y="2"/>
                      <a:pt x="8" y="0"/>
                      <a:pt x="12" y="0"/>
                    </a:cubicBezTo>
                    <a:cubicBezTo>
                      <a:pt x="19" y="0"/>
                      <a:pt x="23" y="6"/>
                      <a:pt x="23" y="18"/>
                    </a:cubicBezTo>
                    <a:cubicBezTo>
                      <a:pt x="23" y="23"/>
                      <a:pt x="22" y="28"/>
                      <a:pt x="20" y="31"/>
                    </a:cubicBezTo>
                    <a:cubicBezTo>
                      <a:pt x="18" y="33"/>
                      <a:pt x="15" y="35"/>
                      <a:pt x="11"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29" name="Freeform 83"/>
              <p:cNvSpPr>
                <a:spLocks/>
              </p:cNvSpPr>
              <p:nvPr/>
            </p:nvSpPr>
            <p:spPr bwMode="auto">
              <a:xfrm>
                <a:off x="9065322" y="6422299"/>
                <a:ext cx="27646" cy="76432"/>
              </a:xfrm>
              <a:custGeom>
                <a:avLst/>
                <a:gdLst>
                  <a:gd name="T0" fmla="*/ 12 w 12"/>
                  <a:gd name="T1" fmla="*/ 0 h 34"/>
                  <a:gd name="T2" fmla="*/ 12 w 12"/>
                  <a:gd name="T3" fmla="*/ 0 h 34"/>
                  <a:gd name="T4" fmla="*/ 12 w 12"/>
                  <a:gd name="T5" fmla="*/ 34 h 34"/>
                  <a:gd name="T6" fmla="*/ 7 w 12"/>
                  <a:gd name="T7" fmla="*/ 34 h 34"/>
                  <a:gd name="T8" fmla="*/ 7 w 12"/>
                  <a:gd name="T9" fmla="*/ 7 h 34"/>
                  <a:gd name="T10" fmla="*/ 4 w 12"/>
                  <a:gd name="T11" fmla="*/ 9 h 34"/>
                  <a:gd name="T12" fmla="*/ 0 w 12"/>
                  <a:gd name="T13" fmla="*/ 10 h 34"/>
                  <a:gd name="T14" fmla="*/ 0 w 12"/>
                  <a:gd name="T15" fmla="*/ 5 h 34"/>
                  <a:gd name="T16" fmla="*/ 3 w 12"/>
                  <a:gd name="T17" fmla="*/ 4 h 34"/>
                  <a:gd name="T18" fmla="*/ 5 w 12"/>
                  <a:gd name="T19" fmla="*/ 3 h 34"/>
                  <a:gd name="T20" fmla="*/ 7 w 12"/>
                  <a:gd name="T21" fmla="*/ 2 h 34"/>
                  <a:gd name="T22" fmla="*/ 10 w 12"/>
                  <a:gd name="T23" fmla="*/ 0 h 34"/>
                  <a:gd name="T24" fmla="*/ 12 w 12"/>
                  <a:gd name="T25" fmla="*/ 0 h 34"/>
                  <a:gd name="T26" fmla="*/ 12 w 12"/>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34">
                    <a:moveTo>
                      <a:pt x="12" y="0"/>
                    </a:moveTo>
                    <a:cubicBezTo>
                      <a:pt x="12" y="0"/>
                      <a:pt x="12" y="0"/>
                      <a:pt x="12" y="0"/>
                    </a:cubicBezTo>
                    <a:cubicBezTo>
                      <a:pt x="12" y="34"/>
                      <a:pt x="12" y="34"/>
                      <a:pt x="12" y="34"/>
                    </a:cubicBezTo>
                    <a:cubicBezTo>
                      <a:pt x="7" y="34"/>
                      <a:pt x="7" y="34"/>
                      <a:pt x="7" y="34"/>
                    </a:cubicBezTo>
                    <a:cubicBezTo>
                      <a:pt x="7" y="7"/>
                      <a:pt x="7" y="7"/>
                      <a:pt x="7" y="7"/>
                    </a:cubicBezTo>
                    <a:cubicBezTo>
                      <a:pt x="6" y="8"/>
                      <a:pt x="5" y="8"/>
                      <a:pt x="4" y="9"/>
                    </a:cubicBezTo>
                    <a:cubicBezTo>
                      <a:pt x="3" y="9"/>
                      <a:pt x="1" y="10"/>
                      <a:pt x="0" y="10"/>
                    </a:cubicBezTo>
                    <a:cubicBezTo>
                      <a:pt x="0" y="5"/>
                      <a:pt x="0" y="5"/>
                      <a:pt x="0" y="5"/>
                    </a:cubicBezTo>
                    <a:cubicBezTo>
                      <a:pt x="1" y="5"/>
                      <a:pt x="2" y="5"/>
                      <a:pt x="3" y="4"/>
                    </a:cubicBezTo>
                    <a:cubicBezTo>
                      <a:pt x="3" y="4"/>
                      <a:pt x="4" y="4"/>
                      <a:pt x="5" y="3"/>
                    </a:cubicBezTo>
                    <a:cubicBezTo>
                      <a:pt x="6" y="3"/>
                      <a:pt x="7" y="3"/>
                      <a:pt x="7" y="2"/>
                    </a:cubicBezTo>
                    <a:cubicBezTo>
                      <a:pt x="8" y="2"/>
                      <a:pt x="9" y="1"/>
                      <a:pt x="10" y="0"/>
                    </a:cubicBezTo>
                    <a:cubicBezTo>
                      <a:pt x="12" y="0"/>
                      <a:pt x="12" y="0"/>
                      <a:pt x="12" y="0"/>
                    </a:cubicBezTo>
                    <a:cubicBezTo>
                      <a:pt x="12" y="0"/>
                      <a:pt x="12"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30" name="Freeform 84"/>
              <p:cNvSpPr>
                <a:spLocks noEditPoints="1"/>
              </p:cNvSpPr>
              <p:nvPr/>
            </p:nvSpPr>
            <p:spPr bwMode="auto">
              <a:xfrm>
                <a:off x="9107604" y="6422299"/>
                <a:ext cx="48787" cy="76432"/>
              </a:xfrm>
              <a:custGeom>
                <a:avLst/>
                <a:gdLst>
                  <a:gd name="T0" fmla="*/ 11 w 22"/>
                  <a:gd name="T1" fmla="*/ 4 h 34"/>
                  <a:gd name="T2" fmla="*/ 11 w 22"/>
                  <a:gd name="T3" fmla="*/ 4 h 34"/>
                  <a:gd name="T4" fmla="*/ 5 w 22"/>
                  <a:gd name="T5" fmla="*/ 18 h 34"/>
                  <a:gd name="T6" fmla="*/ 11 w 22"/>
                  <a:gd name="T7" fmla="*/ 30 h 34"/>
                  <a:gd name="T8" fmla="*/ 17 w 22"/>
                  <a:gd name="T9" fmla="*/ 17 h 34"/>
                  <a:gd name="T10" fmla="*/ 11 w 22"/>
                  <a:gd name="T11" fmla="*/ 4 h 34"/>
                  <a:gd name="T12" fmla="*/ 11 w 22"/>
                  <a:gd name="T13" fmla="*/ 34 h 34"/>
                  <a:gd name="T14" fmla="*/ 11 w 22"/>
                  <a:gd name="T15" fmla="*/ 34 h 34"/>
                  <a:gd name="T16" fmla="*/ 2 w 22"/>
                  <a:gd name="T17" fmla="*/ 30 h 34"/>
                  <a:gd name="T18" fmla="*/ 0 w 22"/>
                  <a:gd name="T19" fmla="*/ 18 h 34"/>
                  <a:gd name="T20" fmla="*/ 3 w 22"/>
                  <a:gd name="T21" fmla="*/ 4 h 34"/>
                  <a:gd name="T22" fmla="*/ 11 w 22"/>
                  <a:gd name="T23" fmla="*/ 0 h 34"/>
                  <a:gd name="T24" fmla="*/ 22 w 22"/>
                  <a:gd name="T25" fmla="*/ 17 h 34"/>
                  <a:gd name="T26" fmla="*/ 19 w 22"/>
                  <a:gd name="T27" fmla="*/ 30 h 34"/>
                  <a:gd name="T28" fmla="*/ 11 w 22"/>
                  <a:gd name="T2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34">
                    <a:moveTo>
                      <a:pt x="11" y="4"/>
                    </a:moveTo>
                    <a:cubicBezTo>
                      <a:pt x="11" y="4"/>
                      <a:pt x="11" y="4"/>
                      <a:pt x="11" y="4"/>
                    </a:cubicBezTo>
                    <a:cubicBezTo>
                      <a:pt x="7" y="4"/>
                      <a:pt x="5" y="9"/>
                      <a:pt x="5" y="18"/>
                    </a:cubicBezTo>
                    <a:cubicBezTo>
                      <a:pt x="5" y="26"/>
                      <a:pt x="7" y="30"/>
                      <a:pt x="11" y="30"/>
                    </a:cubicBezTo>
                    <a:cubicBezTo>
                      <a:pt x="15" y="30"/>
                      <a:pt x="17" y="26"/>
                      <a:pt x="17" y="17"/>
                    </a:cubicBezTo>
                    <a:cubicBezTo>
                      <a:pt x="17" y="8"/>
                      <a:pt x="15" y="4"/>
                      <a:pt x="11" y="4"/>
                    </a:cubicBezTo>
                    <a:close/>
                    <a:moveTo>
                      <a:pt x="11" y="34"/>
                    </a:moveTo>
                    <a:cubicBezTo>
                      <a:pt x="11" y="34"/>
                      <a:pt x="11" y="34"/>
                      <a:pt x="11" y="34"/>
                    </a:cubicBezTo>
                    <a:cubicBezTo>
                      <a:pt x="7" y="34"/>
                      <a:pt x="4" y="33"/>
                      <a:pt x="2" y="30"/>
                    </a:cubicBezTo>
                    <a:cubicBezTo>
                      <a:pt x="0" y="27"/>
                      <a:pt x="0" y="23"/>
                      <a:pt x="0" y="18"/>
                    </a:cubicBezTo>
                    <a:cubicBezTo>
                      <a:pt x="0" y="12"/>
                      <a:pt x="1" y="7"/>
                      <a:pt x="3" y="4"/>
                    </a:cubicBezTo>
                    <a:cubicBezTo>
                      <a:pt x="5" y="1"/>
                      <a:pt x="8" y="0"/>
                      <a:pt x="11" y="0"/>
                    </a:cubicBezTo>
                    <a:cubicBezTo>
                      <a:pt x="19" y="0"/>
                      <a:pt x="22" y="5"/>
                      <a:pt x="22" y="17"/>
                    </a:cubicBezTo>
                    <a:cubicBezTo>
                      <a:pt x="22" y="23"/>
                      <a:pt x="21" y="27"/>
                      <a:pt x="19" y="30"/>
                    </a:cubicBezTo>
                    <a:cubicBezTo>
                      <a:pt x="17" y="33"/>
                      <a:pt x="14" y="34"/>
                      <a:pt x="1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31" name="Freeform 85"/>
              <p:cNvSpPr>
                <a:spLocks noEditPoints="1"/>
              </p:cNvSpPr>
              <p:nvPr/>
            </p:nvSpPr>
            <p:spPr bwMode="auto">
              <a:xfrm>
                <a:off x="9167774" y="6422299"/>
                <a:ext cx="53665" cy="76432"/>
              </a:xfrm>
              <a:custGeom>
                <a:avLst/>
                <a:gdLst>
                  <a:gd name="T0" fmla="*/ 12 w 23"/>
                  <a:gd name="T1" fmla="*/ 4 h 34"/>
                  <a:gd name="T2" fmla="*/ 12 w 23"/>
                  <a:gd name="T3" fmla="*/ 4 h 34"/>
                  <a:gd name="T4" fmla="*/ 6 w 23"/>
                  <a:gd name="T5" fmla="*/ 18 h 34"/>
                  <a:gd name="T6" fmla="*/ 12 w 23"/>
                  <a:gd name="T7" fmla="*/ 30 h 34"/>
                  <a:gd name="T8" fmla="*/ 17 w 23"/>
                  <a:gd name="T9" fmla="*/ 17 h 34"/>
                  <a:gd name="T10" fmla="*/ 12 w 23"/>
                  <a:gd name="T11" fmla="*/ 4 h 34"/>
                  <a:gd name="T12" fmla="*/ 11 w 23"/>
                  <a:gd name="T13" fmla="*/ 34 h 34"/>
                  <a:gd name="T14" fmla="*/ 11 w 23"/>
                  <a:gd name="T15" fmla="*/ 34 h 34"/>
                  <a:gd name="T16" fmla="*/ 3 w 23"/>
                  <a:gd name="T17" fmla="*/ 30 h 34"/>
                  <a:gd name="T18" fmla="*/ 0 w 23"/>
                  <a:gd name="T19" fmla="*/ 18 h 34"/>
                  <a:gd name="T20" fmla="*/ 3 w 23"/>
                  <a:gd name="T21" fmla="*/ 4 h 34"/>
                  <a:gd name="T22" fmla="*/ 12 w 23"/>
                  <a:gd name="T23" fmla="*/ 0 h 34"/>
                  <a:gd name="T24" fmla="*/ 23 w 23"/>
                  <a:gd name="T25" fmla="*/ 17 h 34"/>
                  <a:gd name="T26" fmla="*/ 20 w 23"/>
                  <a:gd name="T27" fmla="*/ 30 h 34"/>
                  <a:gd name="T28" fmla="*/ 11 w 23"/>
                  <a:gd name="T2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4">
                    <a:moveTo>
                      <a:pt x="12" y="4"/>
                    </a:moveTo>
                    <a:cubicBezTo>
                      <a:pt x="12" y="4"/>
                      <a:pt x="12" y="4"/>
                      <a:pt x="12" y="4"/>
                    </a:cubicBezTo>
                    <a:cubicBezTo>
                      <a:pt x="8" y="4"/>
                      <a:pt x="6" y="9"/>
                      <a:pt x="6" y="18"/>
                    </a:cubicBezTo>
                    <a:cubicBezTo>
                      <a:pt x="6" y="26"/>
                      <a:pt x="8" y="30"/>
                      <a:pt x="12" y="30"/>
                    </a:cubicBezTo>
                    <a:cubicBezTo>
                      <a:pt x="16" y="30"/>
                      <a:pt x="17" y="26"/>
                      <a:pt x="17" y="17"/>
                    </a:cubicBezTo>
                    <a:cubicBezTo>
                      <a:pt x="17" y="8"/>
                      <a:pt x="16" y="4"/>
                      <a:pt x="12" y="4"/>
                    </a:cubicBezTo>
                    <a:close/>
                    <a:moveTo>
                      <a:pt x="11" y="34"/>
                    </a:moveTo>
                    <a:cubicBezTo>
                      <a:pt x="11" y="34"/>
                      <a:pt x="11" y="34"/>
                      <a:pt x="11" y="34"/>
                    </a:cubicBezTo>
                    <a:cubicBezTo>
                      <a:pt x="8" y="34"/>
                      <a:pt x="5" y="33"/>
                      <a:pt x="3" y="30"/>
                    </a:cubicBezTo>
                    <a:cubicBezTo>
                      <a:pt x="1" y="27"/>
                      <a:pt x="0" y="23"/>
                      <a:pt x="0" y="18"/>
                    </a:cubicBezTo>
                    <a:cubicBezTo>
                      <a:pt x="0" y="12"/>
                      <a:pt x="1" y="7"/>
                      <a:pt x="3" y="4"/>
                    </a:cubicBezTo>
                    <a:cubicBezTo>
                      <a:pt x="5" y="1"/>
                      <a:pt x="8" y="0"/>
                      <a:pt x="12" y="0"/>
                    </a:cubicBezTo>
                    <a:cubicBezTo>
                      <a:pt x="19" y="0"/>
                      <a:pt x="23" y="5"/>
                      <a:pt x="23" y="17"/>
                    </a:cubicBezTo>
                    <a:cubicBezTo>
                      <a:pt x="23" y="23"/>
                      <a:pt x="22" y="27"/>
                      <a:pt x="20" y="30"/>
                    </a:cubicBezTo>
                    <a:cubicBezTo>
                      <a:pt x="18" y="33"/>
                      <a:pt x="15" y="34"/>
                      <a:pt x="1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32" name="Freeform 86"/>
              <p:cNvSpPr>
                <a:spLocks noEditPoints="1"/>
              </p:cNvSpPr>
              <p:nvPr/>
            </p:nvSpPr>
            <p:spPr bwMode="auto">
              <a:xfrm>
                <a:off x="9195419" y="6593052"/>
                <a:ext cx="52039" cy="79685"/>
              </a:xfrm>
              <a:custGeom>
                <a:avLst/>
                <a:gdLst>
                  <a:gd name="T0" fmla="*/ 12 w 23"/>
                  <a:gd name="T1" fmla="*/ 5 h 35"/>
                  <a:gd name="T2" fmla="*/ 12 w 23"/>
                  <a:gd name="T3" fmla="*/ 5 h 35"/>
                  <a:gd name="T4" fmla="*/ 5 w 23"/>
                  <a:gd name="T5" fmla="*/ 18 h 35"/>
                  <a:gd name="T6" fmla="*/ 11 w 23"/>
                  <a:gd name="T7" fmla="*/ 31 h 35"/>
                  <a:gd name="T8" fmla="*/ 17 w 23"/>
                  <a:gd name="T9" fmla="*/ 18 h 35"/>
                  <a:gd name="T10" fmla="*/ 12 w 23"/>
                  <a:gd name="T11" fmla="*/ 5 h 35"/>
                  <a:gd name="T12" fmla="*/ 11 w 23"/>
                  <a:gd name="T13" fmla="*/ 35 h 35"/>
                  <a:gd name="T14" fmla="*/ 11 w 23"/>
                  <a:gd name="T15" fmla="*/ 35 h 35"/>
                  <a:gd name="T16" fmla="*/ 3 w 23"/>
                  <a:gd name="T17" fmla="*/ 31 h 35"/>
                  <a:gd name="T18" fmla="*/ 0 w 23"/>
                  <a:gd name="T19" fmla="*/ 18 h 35"/>
                  <a:gd name="T20" fmla="*/ 3 w 23"/>
                  <a:gd name="T21" fmla="*/ 5 h 35"/>
                  <a:gd name="T22" fmla="*/ 12 w 23"/>
                  <a:gd name="T23" fmla="*/ 0 h 35"/>
                  <a:gd name="T24" fmla="*/ 23 w 23"/>
                  <a:gd name="T25" fmla="*/ 18 h 35"/>
                  <a:gd name="T26" fmla="*/ 20 w 23"/>
                  <a:gd name="T27" fmla="*/ 31 h 35"/>
                  <a:gd name="T28" fmla="*/ 11 w 23"/>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5">
                    <a:moveTo>
                      <a:pt x="12" y="5"/>
                    </a:moveTo>
                    <a:cubicBezTo>
                      <a:pt x="12" y="5"/>
                      <a:pt x="12" y="5"/>
                      <a:pt x="12" y="5"/>
                    </a:cubicBezTo>
                    <a:cubicBezTo>
                      <a:pt x="8" y="5"/>
                      <a:pt x="5" y="9"/>
                      <a:pt x="5" y="18"/>
                    </a:cubicBezTo>
                    <a:cubicBezTo>
                      <a:pt x="5" y="27"/>
                      <a:pt x="8" y="31"/>
                      <a:pt x="11" y="31"/>
                    </a:cubicBezTo>
                    <a:cubicBezTo>
                      <a:pt x="15" y="31"/>
                      <a:pt x="17" y="26"/>
                      <a:pt x="17" y="18"/>
                    </a:cubicBezTo>
                    <a:cubicBezTo>
                      <a:pt x="17" y="9"/>
                      <a:pt x="15" y="5"/>
                      <a:pt x="12" y="5"/>
                    </a:cubicBezTo>
                    <a:close/>
                    <a:moveTo>
                      <a:pt x="11" y="35"/>
                    </a:moveTo>
                    <a:cubicBezTo>
                      <a:pt x="11" y="35"/>
                      <a:pt x="11" y="35"/>
                      <a:pt x="11" y="35"/>
                    </a:cubicBezTo>
                    <a:cubicBezTo>
                      <a:pt x="8" y="35"/>
                      <a:pt x="5" y="33"/>
                      <a:pt x="3" y="31"/>
                    </a:cubicBezTo>
                    <a:cubicBezTo>
                      <a:pt x="1" y="28"/>
                      <a:pt x="0" y="24"/>
                      <a:pt x="0" y="18"/>
                    </a:cubicBezTo>
                    <a:cubicBezTo>
                      <a:pt x="0" y="12"/>
                      <a:pt x="1" y="8"/>
                      <a:pt x="3" y="5"/>
                    </a:cubicBezTo>
                    <a:cubicBezTo>
                      <a:pt x="5" y="2"/>
                      <a:pt x="8" y="0"/>
                      <a:pt x="12" y="0"/>
                    </a:cubicBezTo>
                    <a:cubicBezTo>
                      <a:pt x="19" y="0"/>
                      <a:pt x="23" y="6"/>
                      <a:pt x="23" y="18"/>
                    </a:cubicBezTo>
                    <a:cubicBezTo>
                      <a:pt x="23" y="23"/>
                      <a:pt x="22" y="28"/>
                      <a:pt x="20" y="31"/>
                    </a:cubicBezTo>
                    <a:cubicBezTo>
                      <a:pt x="18" y="33"/>
                      <a:pt x="15" y="35"/>
                      <a:pt x="11"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33" name="Freeform 87"/>
              <p:cNvSpPr>
                <a:spLocks noEditPoints="1"/>
              </p:cNvSpPr>
              <p:nvPr/>
            </p:nvSpPr>
            <p:spPr bwMode="auto">
              <a:xfrm>
                <a:off x="9292993" y="6593052"/>
                <a:ext cx="53665" cy="79685"/>
              </a:xfrm>
              <a:custGeom>
                <a:avLst/>
                <a:gdLst>
                  <a:gd name="T0" fmla="*/ 11 w 23"/>
                  <a:gd name="T1" fmla="*/ 5 h 35"/>
                  <a:gd name="T2" fmla="*/ 11 w 23"/>
                  <a:gd name="T3" fmla="*/ 5 h 35"/>
                  <a:gd name="T4" fmla="*/ 5 w 23"/>
                  <a:gd name="T5" fmla="*/ 18 h 35"/>
                  <a:gd name="T6" fmla="*/ 11 w 23"/>
                  <a:gd name="T7" fmla="*/ 31 h 35"/>
                  <a:gd name="T8" fmla="*/ 17 w 23"/>
                  <a:gd name="T9" fmla="*/ 18 h 35"/>
                  <a:gd name="T10" fmla="*/ 11 w 23"/>
                  <a:gd name="T11" fmla="*/ 5 h 35"/>
                  <a:gd name="T12" fmla="*/ 11 w 23"/>
                  <a:gd name="T13" fmla="*/ 35 h 35"/>
                  <a:gd name="T14" fmla="*/ 11 w 23"/>
                  <a:gd name="T15" fmla="*/ 35 h 35"/>
                  <a:gd name="T16" fmla="*/ 3 w 23"/>
                  <a:gd name="T17" fmla="*/ 31 h 35"/>
                  <a:gd name="T18" fmla="*/ 0 w 23"/>
                  <a:gd name="T19" fmla="*/ 18 h 35"/>
                  <a:gd name="T20" fmla="*/ 3 w 23"/>
                  <a:gd name="T21" fmla="*/ 5 h 35"/>
                  <a:gd name="T22" fmla="*/ 11 w 23"/>
                  <a:gd name="T23" fmla="*/ 0 h 35"/>
                  <a:gd name="T24" fmla="*/ 23 w 23"/>
                  <a:gd name="T25" fmla="*/ 18 h 35"/>
                  <a:gd name="T26" fmla="*/ 20 w 23"/>
                  <a:gd name="T27" fmla="*/ 31 h 35"/>
                  <a:gd name="T28" fmla="*/ 11 w 23"/>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5">
                    <a:moveTo>
                      <a:pt x="11" y="5"/>
                    </a:moveTo>
                    <a:cubicBezTo>
                      <a:pt x="11" y="5"/>
                      <a:pt x="11" y="5"/>
                      <a:pt x="11" y="5"/>
                    </a:cubicBezTo>
                    <a:cubicBezTo>
                      <a:pt x="7" y="5"/>
                      <a:pt x="5" y="9"/>
                      <a:pt x="5" y="18"/>
                    </a:cubicBezTo>
                    <a:cubicBezTo>
                      <a:pt x="5" y="27"/>
                      <a:pt x="7" y="31"/>
                      <a:pt x="11" y="31"/>
                    </a:cubicBezTo>
                    <a:cubicBezTo>
                      <a:pt x="15" y="31"/>
                      <a:pt x="17" y="26"/>
                      <a:pt x="17" y="18"/>
                    </a:cubicBezTo>
                    <a:cubicBezTo>
                      <a:pt x="17" y="9"/>
                      <a:pt x="15" y="5"/>
                      <a:pt x="11" y="5"/>
                    </a:cubicBezTo>
                    <a:close/>
                    <a:moveTo>
                      <a:pt x="11" y="35"/>
                    </a:moveTo>
                    <a:cubicBezTo>
                      <a:pt x="11" y="35"/>
                      <a:pt x="11" y="35"/>
                      <a:pt x="11" y="35"/>
                    </a:cubicBezTo>
                    <a:cubicBezTo>
                      <a:pt x="7" y="35"/>
                      <a:pt x="5" y="33"/>
                      <a:pt x="3" y="31"/>
                    </a:cubicBezTo>
                    <a:cubicBezTo>
                      <a:pt x="1" y="28"/>
                      <a:pt x="0" y="24"/>
                      <a:pt x="0" y="18"/>
                    </a:cubicBezTo>
                    <a:cubicBezTo>
                      <a:pt x="0" y="12"/>
                      <a:pt x="1" y="8"/>
                      <a:pt x="3" y="5"/>
                    </a:cubicBezTo>
                    <a:cubicBezTo>
                      <a:pt x="5" y="2"/>
                      <a:pt x="8" y="0"/>
                      <a:pt x="11" y="0"/>
                    </a:cubicBezTo>
                    <a:cubicBezTo>
                      <a:pt x="19" y="0"/>
                      <a:pt x="23" y="6"/>
                      <a:pt x="23" y="18"/>
                    </a:cubicBezTo>
                    <a:cubicBezTo>
                      <a:pt x="23" y="23"/>
                      <a:pt x="22" y="28"/>
                      <a:pt x="20" y="31"/>
                    </a:cubicBezTo>
                    <a:cubicBezTo>
                      <a:pt x="17" y="33"/>
                      <a:pt x="14" y="35"/>
                      <a:pt x="11"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34" name="Freeform 88"/>
              <p:cNvSpPr>
                <a:spLocks noEditPoints="1"/>
              </p:cNvSpPr>
              <p:nvPr/>
            </p:nvSpPr>
            <p:spPr bwMode="auto">
              <a:xfrm>
                <a:off x="9042555" y="6679242"/>
                <a:ext cx="53665" cy="79685"/>
              </a:xfrm>
              <a:custGeom>
                <a:avLst/>
                <a:gdLst>
                  <a:gd name="T0" fmla="*/ 12 w 23"/>
                  <a:gd name="T1" fmla="*/ 4 h 35"/>
                  <a:gd name="T2" fmla="*/ 12 w 23"/>
                  <a:gd name="T3" fmla="*/ 4 h 35"/>
                  <a:gd name="T4" fmla="*/ 5 w 23"/>
                  <a:gd name="T5" fmla="*/ 18 h 35"/>
                  <a:gd name="T6" fmla="*/ 12 w 23"/>
                  <a:gd name="T7" fmla="*/ 30 h 35"/>
                  <a:gd name="T8" fmla="*/ 17 w 23"/>
                  <a:gd name="T9" fmla="*/ 18 h 35"/>
                  <a:gd name="T10" fmla="*/ 12 w 23"/>
                  <a:gd name="T11" fmla="*/ 4 h 35"/>
                  <a:gd name="T12" fmla="*/ 11 w 23"/>
                  <a:gd name="T13" fmla="*/ 35 h 35"/>
                  <a:gd name="T14" fmla="*/ 11 w 23"/>
                  <a:gd name="T15" fmla="*/ 35 h 35"/>
                  <a:gd name="T16" fmla="*/ 3 w 23"/>
                  <a:gd name="T17" fmla="*/ 30 h 35"/>
                  <a:gd name="T18" fmla="*/ 0 w 23"/>
                  <a:gd name="T19" fmla="*/ 18 h 35"/>
                  <a:gd name="T20" fmla="*/ 3 w 23"/>
                  <a:gd name="T21" fmla="*/ 5 h 35"/>
                  <a:gd name="T22" fmla="*/ 12 w 23"/>
                  <a:gd name="T23" fmla="*/ 0 h 35"/>
                  <a:gd name="T24" fmla="*/ 23 w 23"/>
                  <a:gd name="T25" fmla="*/ 17 h 35"/>
                  <a:gd name="T26" fmla="*/ 20 w 23"/>
                  <a:gd name="T27" fmla="*/ 30 h 35"/>
                  <a:gd name="T28" fmla="*/ 11 w 23"/>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5">
                    <a:moveTo>
                      <a:pt x="12" y="4"/>
                    </a:moveTo>
                    <a:cubicBezTo>
                      <a:pt x="12" y="4"/>
                      <a:pt x="12" y="4"/>
                      <a:pt x="12" y="4"/>
                    </a:cubicBezTo>
                    <a:cubicBezTo>
                      <a:pt x="7" y="4"/>
                      <a:pt x="5" y="9"/>
                      <a:pt x="5" y="18"/>
                    </a:cubicBezTo>
                    <a:cubicBezTo>
                      <a:pt x="5" y="26"/>
                      <a:pt x="7" y="30"/>
                      <a:pt x="12" y="30"/>
                    </a:cubicBezTo>
                    <a:cubicBezTo>
                      <a:pt x="15" y="30"/>
                      <a:pt x="17" y="26"/>
                      <a:pt x="17" y="18"/>
                    </a:cubicBezTo>
                    <a:cubicBezTo>
                      <a:pt x="17" y="9"/>
                      <a:pt x="15" y="4"/>
                      <a:pt x="12" y="4"/>
                    </a:cubicBezTo>
                    <a:close/>
                    <a:moveTo>
                      <a:pt x="11" y="35"/>
                    </a:moveTo>
                    <a:cubicBezTo>
                      <a:pt x="11" y="35"/>
                      <a:pt x="11" y="35"/>
                      <a:pt x="11" y="35"/>
                    </a:cubicBezTo>
                    <a:cubicBezTo>
                      <a:pt x="7" y="35"/>
                      <a:pt x="5" y="33"/>
                      <a:pt x="3" y="30"/>
                    </a:cubicBezTo>
                    <a:cubicBezTo>
                      <a:pt x="1" y="28"/>
                      <a:pt x="0" y="23"/>
                      <a:pt x="0" y="18"/>
                    </a:cubicBezTo>
                    <a:cubicBezTo>
                      <a:pt x="0" y="12"/>
                      <a:pt x="1" y="8"/>
                      <a:pt x="3" y="5"/>
                    </a:cubicBezTo>
                    <a:cubicBezTo>
                      <a:pt x="5" y="2"/>
                      <a:pt x="8" y="0"/>
                      <a:pt x="12" y="0"/>
                    </a:cubicBezTo>
                    <a:cubicBezTo>
                      <a:pt x="19" y="0"/>
                      <a:pt x="23" y="6"/>
                      <a:pt x="23" y="17"/>
                    </a:cubicBezTo>
                    <a:cubicBezTo>
                      <a:pt x="23" y="23"/>
                      <a:pt x="22" y="27"/>
                      <a:pt x="20" y="30"/>
                    </a:cubicBezTo>
                    <a:cubicBezTo>
                      <a:pt x="18" y="33"/>
                      <a:pt x="15" y="35"/>
                      <a:pt x="11"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35" name="Freeform 89"/>
              <p:cNvSpPr>
                <a:spLocks/>
              </p:cNvSpPr>
              <p:nvPr/>
            </p:nvSpPr>
            <p:spPr bwMode="auto">
              <a:xfrm>
                <a:off x="9104351" y="6508489"/>
                <a:ext cx="27646" cy="74806"/>
              </a:xfrm>
              <a:custGeom>
                <a:avLst/>
                <a:gdLst>
                  <a:gd name="T0" fmla="*/ 12 w 12"/>
                  <a:gd name="T1" fmla="*/ 0 h 33"/>
                  <a:gd name="T2" fmla="*/ 12 w 12"/>
                  <a:gd name="T3" fmla="*/ 0 h 33"/>
                  <a:gd name="T4" fmla="*/ 12 w 12"/>
                  <a:gd name="T5" fmla="*/ 33 h 33"/>
                  <a:gd name="T6" fmla="*/ 7 w 12"/>
                  <a:gd name="T7" fmla="*/ 33 h 33"/>
                  <a:gd name="T8" fmla="*/ 7 w 12"/>
                  <a:gd name="T9" fmla="*/ 6 h 33"/>
                  <a:gd name="T10" fmla="*/ 4 w 12"/>
                  <a:gd name="T11" fmla="*/ 8 h 33"/>
                  <a:gd name="T12" fmla="*/ 0 w 12"/>
                  <a:gd name="T13" fmla="*/ 9 h 33"/>
                  <a:gd name="T14" fmla="*/ 0 w 12"/>
                  <a:gd name="T15" fmla="*/ 5 h 33"/>
                  <a:gd name="T16" fmla="*/ 2 w 12"/>
                  <a:gd name="T17" fmla="*/ 4 h 33"/>
                  <a:gd name="T18" fmla="*/ 5 w 12"/>
                  <a:gd name="T19" fmla="*/ 3 h 33"/>
                  <a:gd name="T20" fmla="*/ 7 w 12"/>
                  <a:gd name="T21" fmla="*/ 2 h 33"/>
                  <a:gd name="T22" fmla="*/ 10 w 12"/>
                  <a:gd name="T23" fmla="*/ 0 h 33"/>
                  <a:gd name="T24" fmla="*/ 12 w 12"/>
                  <a:gd name="T25" fmla="*/ 0 h 33"/>
                  <a:gd name="T26" fmla="*/ 12 w 12"/>
                  <a:gd name="T2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33">
                    <a:moveTo>
                      <a:pt x="12" y="0"/>
                    </a:moveTo>
                    <a:cubicBezTo>
                      <a:pt x="12" y="0"/>
                      <a:pt x="12" y="0"/>
                      <a:pt x="12" y="0"/>
                    </a:cubicBezTo>
                    <a:cubicBezTo>
                      <a:pt x="12" y="33"/>
                      <a:pt x="12" y="33"/>
                      <a:pt x="12" y="33"/>
                    </a:cubicBezTo>
                    <a:cubicBezTo>
                      <a:pt x="7" y="33"/>
                      <a:pt x="7" y="33"/>
                      <a:pt x="7" y="33"/>
                    </a:cubicBezTo>
                    <a:cubicBezTo>
                      <a:pt x="7" y="6"/>
                      <a:pt x="7" y="6"/>
                      <a:pt x="7" y="6"/>
                    </a:cubicBezTo>
                    <a:cubicBezTo>
                      <a:pt x="6" y="7"/>
                      <a:pt x="5" y="8"/>
                      <a:pt x="4" y="8"/>
                    </a:cubicBezTo>
                    <a:cubicBezTo>
                      <a:pt x="2" y="9"/>
                      <a:pt x="1" y="9"/>
                      <a:pt x="0" y="9"/>
                    </a:cubicBezTo>
                    <a:cubicBezTo>
                      <a:pt x="0" y="5"/>
                      <a:pt x="0" y="5"/>
                      <a:pt x="0" y="5"/>
                    </a:cubicBezTo>
                    <a:cubicBezTo>
                      <a:pt x="1" y="5"/>
                      <a:pt x="2" y="4"/>
                      <a:pt x="2" y="4"/>
                    </a:cubicBezTo>
                    <a:cubicBezTo>
                      <a:pt x="3" y="4"/>
                      <a:pt x="4" y="3"/>
                      <a:pt x="5" y="3"/>
                    </a:cubicBezTo>
                    <a:cubicBezTo>
                      <a:pt x="6" y="2"/>
                      <a:pt x="6" y="2"/>
                      <a:pt x="7" y="2"/>
                    </a:cubicBezTo>
                    <a:cubicBezTo>
                      <a:pt x="8" y="1"/>
                      <a:pt x="9" y="0"/>
                      <a:pt x="10" y="0"/>
                    </a:cubicBezTo>
                    <a:cubicBezTo>
                      <a:pt x="12" y="0"/>
                      <a:pt x="12" y="0"/>
                      <a:pt x="12" y="0"/>
                    </a:cubicBezTo>
                    <a:cubicBezTo>
                      <a:pt x="12" y="0"/>
                      <a:pt x="12"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36" name="Freeform 90"/>
              <p:cNvSpPr>
                <a:spLocks noEditPoints="1"/>
              </p:cNvSpPr>
              <p:nvPr/>
            </p:nvSpPr>
            <p:spPr bwMode="auto">
              <a:xfrm>
                <a:off x="9143380" y="6506863"/>
                <a:ext cx="52039" cy="79685"/>
              </a:xfrm>
              <a:custGeom>
                <a:avLst/>
                <a:gdLst>
                  <a:gd name="T0" fmla="*/ 12 w 23"/>
                  <a:gd name="T1" fmla="*/ 5 h 35"/>
                  <a:gd name="T2" fmla="*/ 12 w 23"/>
                  <a:gd name="T3" fmla="*/ 5 h 35"/>
                  <a:gd name="T4" fmla="*/ 6 w 23"/>
                  <a:gd name="T5" fmla="*/ 18 h 35"/>
                  <a:gd name="T6" fmla="*/ 11 w 23"/>
                  <a:gd name="T7" fmla="*/ 31 h 35"/>
                  <a:gd name="T8" fmla="*/ 17 w 23"/>
                  <a:gd name="T9" fmla="*/ 18 h 35"/>
                  <a:gd name="T10" fmla="*/ 12 w 23"/>
                  <a:gd name="T11" fmla="*/ 5 h 35"/>
                  <a:gd name="T12" fmla="*/ 11 w 23"/>
                  <a:gd name="T13" fmla="*/ 35 h 35"/>
                  <a:gd name="T14" fmla="*/ 11 w 23"/>
                  <a:gd name="T15" fmla="*/ 35 h 35"/>
                  <a:gd name="T16" fmla="*/ 3 w 23"/>
                  <a:gd name="T17" fmla="*/ 31 h 35"/>
                  <a:gd name="T18" fmla="*/ 0 w 23"/>
                  <a:gd name="T19" fmla="*/ 18 h 35"/>
                  <a:gd name="T20" fmla="*/ 3 w 23"/>
                  <a:gd name="T21" fmla="*/ 5 h 35"/>
                  <a:gd name="T22" fmla="*/ 12 w 23"/>
                  <a:gd name="T23" fmla="*/ 0 h 35"/>
                  <a:gd name="T24" fmla="*/ 23 w 23"/>
                  <a:gd name="T25" fmla="*/ 18 h 35"/>
                  <a:gd name="T26" fmla="*/ 20 w 23"/>
                  <a:gd name="T27" fmla="*/ 31 h 35"/>
                  <a:gd name="T28" fmla="*/ 11 w 23"/>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5">
                    <a:moveTo>
                      <a:pt x="12" y="5"/>
                    </a:moveTo>
                    <a:cubicBezTo>
                      <a:pt x="12" y="5"/>
                      <a:pt x="12" y="5"/>
                      <a:pt x="12" y="5"/>
                    </a:cubicBezTo>
                    <a:cubicBezTo>
                      <a:pt x="7" y="5"/>
                      <a:pt x="6" y="9"/>
                      <a:pt x="6" y="18"/>
                    </a:cubicBezTo>
                    <a:cubicBezTo>
                      <a:pt x="6" y="27"/>
                      <a:pt x="7" y="31"/>
                      <a:pt x="11" y="31"/>
                    </a:cubicBezTo>
                    <a:cubicBezTo>
                      <a:pt x="16" y="31"/>
                      <a:pt x="17" y="26"/>
                      <a:pt x="17" y="18"/>
                    </a:cubicBezTo>
                    <a:cubicBezTo>
                      <a:pt x="17" y="9"/>
                      <a:pt x="16" y="5"/>
                      <a:pt x="12" y="5"/>
                    </a:cubicBezTo>
                    <a:close/>
                    <a:moveTo>
                      <a:pt x="11" y="35"/>
                    </a:moveTo>
                    <a:cubicBezTo>
                      <a:pt x="11" y="35"/>
                      <a:pt x="11" y="35"/>
                      <a:pt x="11" y="35"/>
                    </a:cubicBezTo>
                    <a:cubicBezTo>
                      <a:pt x="8" y="35"/>
                      <a:pt x="5" y="34"/>
                      <a:pt x="3" y="31"/>
                    </a:cubicBezTo>
                    <a:cubicBezTo>
                      <a:pt x="1" y="28"/>
                      <a:pt x="0" y="24"/>
                      <a:pt x="0" y="18"/>
                    </a:cubicBezTo>
                    <a:cubicBezTo>
                      <a:pt x="0" y="12"/>
                      <a:pt x="1" y="8"/>
                      <a:pt x="3" y="5"/>
                    </a:cubicBezTo>
                    <a:cubicBezTo>
                      <a:pt x="5" y="2"/>
                      <a:pt x="8" y="0"/>
                      <a:pt x="12" y="0"/>
                    </a:cubicBezTo>
                    <a:cubicBezTo>
                      <a:pt x="19" y="0"/>
                      <a:pt x="23" y="6"/>
                      <a:pt x="23" y="18"/>
                    </a:cubicBezTo>
                    <a:cubicBezTo>
                      <a:pt x="23" y="23"/>
                      <a:pt x="22" y="28"/>
                      <a:pt x="20" y="31"/>
                    </a:cubicBezTo>
                    <a:cubicBezTo>
                      <a:pt x="18" y="34"/>
                      <a:pt x="15" y="35"/>
                      <a:pt x="11"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37" name="Freeform 91"/>
              <p:cNvSpPr>
                <a:spLocks/>
              </p:cNvSpPr>
              <p:nvPr/>
            </p:nvSpPr>
            <p:spPr bwMode="auto">
              <a:xfrm>
                <a:off x="9201924" y="6508489"/>
                <a:ext cx="27646" cy="74806"/>
              </a:xfrm>
              <a:custGeom>
                <a:avLst/>
                <a:gdLst>
                  <a:gd name="T0" fmla="*/ 12 w 12"/>
                  <a:gd name="T1" fmla="*/ 0 h 33"/>
                  <a:gd name="T2" fmla="*/ 12 w 12"/>
                  <a:gd name="T3" fmla="*/ 0 h 33"/>
                  <a:gd name="T4" fmla="*/ 12 w 12"/>
                  <a:gd name="T5" fmla="*/ 33 h 33"/>
                  <a:gd name="T6" fmla="*/ 7 w 12"/>
                  <a:gd name="T7" fmla="*/ 33 h 33"/>
                  <a:gd name="T8" fmla="*/ 7 w 12"/>
                  <a:gd name="T9" fmla="*/ 6 h 33"/>
                  <a:gd name="T10" fmla="*/ 4 w 12"/>
                  <a:gd name="T11" fmla="*/ 8 h 33"/>
                  <a:gd name="T12" fmla="*/ 0 w 12"/>
                  <a:gd name="T13" fmla="*/ 9 h 33"/>
                  <a:gd name="T14" fmla="*/ 0 w 12"/>
                  <a:gd name="T15" fmla="*/ 5 h 33"/>
                  <a:gd name="T16" fmla="*/ 2 w 12"/>
                  <a:gd name="T17" fmla="*/ 4 h 33"/>
                  <a:gd name="T18" fmla="*/ 5 w 12"/>
                  <a:gd name="T19" fmla="*/ 3 h 33"/>
                  <a:gd name="T20" fmla="*/ 7 w 12"/>
                  <a:gd name="T21" fmla="*/ 2 h 33"/>
                  <a:gd name="T22" fmla="*/ 10 w 12"/>
                  <a:gd name="T23" fmla="*/ 0 h 33"/>
                  <a:gd name="T24" fmla="*/ 12 w 12"/>
                  <a:gd name="T25" fmla="*/ 0 h 33"/>
                  <a:gd name="T26" fmla="*/ 12 w 12"/>
                  <a:gd name="T2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33">
                    <a:moveTo>
                      <a:pt x="12" y="0"/>
                    </a:moveTo>
                    <a:cubicBezTo>
                      <a:pt x="12" y="0"/>
                      <a:pt x="12" y="0"/>
                      <a:pt x="12" y="0"/>
                    </a:cubicBezTo>
                    <a:cubicBezTo>
                      <a:pt x="12" y="33"/>
                      <a:pt x="12" y="33"/>
                      <a:pt x="12" y="33"/>
                    </a:cubicBezTo>
                    <a:cubicBezTo>
                      <a:pt x="7" y="33"/>
                      <a:pt x="7" y="33"/>
                      <a:pt x="7" y="33"/>
                    </a:cubicBezTo>
                    <a:cubicBezTo>
                      <a:pt x="7" y="6"/>
                      <a:pt x="7" y="6"/>
                      <a:pt x="7" y="6"/>
                    </a:cubicBezTo>
                    <a:cubicBezTo>
                      <a:pt x="6" y="7"/>
                      <a:pt x="5" y="8"/>
                      <a:pt x="4" y="8"/>
                    </a:cubicBezTo>
                    <a:cubicBezTo>
                      <a:pt x="2" y="9"/>
                      <a:pt x="1" y="9"/>
                      <a:pt x="0" y="9"/>
                    </a:cubicBezTo>
                    <a:cubicBezTo>
                      <a:pt x="0" y="5"/>
                      <a:pt x="0" y="5"/>
                      <a:pt x="0" y="5"/>
                    </a:cubicBezTo>
                    <a:cubicBezTo>
                      <a:pt x="1" y="5"/>
                      <a:pt x="2" y="4"/>
                      <a:pt x="2" y="4"/>
                    </a:cubicBezTo>
                    <a:cubicBezTo>
                      <a:pt x="3" y="4"/>
                      <a:pt x="4" y="3"/>
                      <a:pt x="5" y="3"/>
                    </a:cubicBezTo>
                    <a:cubicBezTo>
                      <a:pt x="6" y="2"/>
                      <a:pt x="6" y="2"/>
                      <a:pt x="7" y="2"/>
                    </a:cubicBezTo>
                    <a:cubicBezTo>
                      <a:pt x="8" y="1"/>
                      <a:pt x="9" y="0"/>
                      <a:pt x="10" y="0"/>
                    </a:cubicBezTo>
                    <a:cubicBezTo>
                      <a:pt x="12" y="0"/>
                      <a:pt x="12" y="0"/>
                      <a:pt x="12" y="0"/>
                    </a:cubicBezTo>
                    <a:cubicBezTo>
                      <a:pt x="12" y="0"/>
                      <a:pt x="12"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38" name="Freeform 92"/>
              <p:cNvSpPr>
                <a:spLocks noEditPoints="1"/>
              </p:cNvSpPr>
              <p:nvPr/>
            </p:nvSpPr>
            <p:spPr bwMode="auto">
              <a:xfrm>
                <a:off x="9240954" y="6506863"/>
                <a:ext cx="52039" cy="79685"/>
              </a:xfrm>
              <a:custGeom>
                <a:avLst/>
                <a:gdLst>
                  <a:gd name="T0" fmla="*/ 12 w 23"/>
                  <a:gd name="T1" fmla="*/ 5 h 35"/>
                  <a:gd name="T2" fmla="*/ 12 w 23"/>
                  <a:gd name="T3" fmla="*/ 5 h 35"/>
                  <a:gd name="T4" fmla="*/ 6 w 23"/>
                  <a:gd name="T5" fmla="*/ 18 h 35"/>
                  <a:gd name="T6" fmla="*/ 11 w 23"/>
                  <a:gd name="T7" fmla="*/ 31 h 35"/>
                  <a:gd name="T8" fmla="*/ 17 w 23"/>
                  <a:gd name="T9" fmla="*/ 18 h 35"/>
                  <a:gd name="T10" fmla="*/ 12 w 23"/>
                  <a:gd name="T11" fmla="*/ 5 h 35"/>
                  <a:gd name="T12" fmla="*/ 11 w 23"/>
                  <a:gd name="T13" fmla="*/ 35 h 35"/>
                  <a:gd name="T14" fmla="*/ 11 w 23"/>
                  <a:gd name="T15" fmla="*/ 35 h 35"/>
                  <a:gd name="T16" fmla="*/ 3 w 23"/>
                  <a:gd name="T17" fmla="*/ 31 h 35"/>
                  <a:gd name="T18" fmla="*/ 0 w 23"/>
                  <a:gd name="T19" fmla="*/ 18 h 35"/>
                  <a:gd name="T20" fmla="*/ 3 w 23"/>
                  <a:gd name="T21" fmla="*/ 5 h 35"/>
                  <a:gd name="T22" fmla="*/ 12 w 23"/>
                  <a:gd name="T23" fmla="*/ 0 h 35"/>
                  <a:gd name="T24" fmla="*/ 23 w 23"/>
                  <a:gd name="T25" fmla="*/ 18 h 35"/>
                  <a:gd name="T26" fmla="*/ 20 w 23"/>
                  <a:gd name="T27" fmla="*/ 31 h 35"/>
                  <a:gd name="T28" fmla="*/ 11 w 23"/>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5">
                    <a:moveTo>
                      <a:pt x="12" y="5"/>
                    </a:moveTo>
                    <a:cubicBezTo>
                      <a:pt x="12" y="5"/>
                      <a:pt x="12" y="5"/>
                      <a:pt x="12" y="5"/>
                    </a:cubicBezTo>
                    <a:cubicBezTo>
                      <a:pt x="8" y="5"/>
                      <a:pt x="6" y="9"/>
                      <a:pt x="6" y="18"/>
                    </a:cubicBezTo>
                    <a:cubicBezTo>
                      <a:pt x="6" y="27"/>
                      <a:pt x="7" y="31"/>
                      <a:pt x="11" y="31"/>
                    </a:cubicBezTo>
                    <a:cubicBezTo>
                      <a:pt x="15" y="31"/>
                      <a:pt x="17" y="26"/>
                      <a:pt x="17" y="18"/>
                    </a:cubicBezTo>
                    <a:cubicBezTo>
                      <a:pt x="17" y="9"/>
                      <a:pt x="15" y="5"/>
                      <a:pt x="12" y="5"/>
                    </a:cubicBezTo>
                    <a:close/>
                    <a:moveTo>
                      <a:pt x="11" y="35"/>
                    </a:moveTo>
                    <a:cubicBezTo>
                      <a:pt x="11" y="35"/>
                      <a:pt x="11" y="35"/>
                      <a:pt x="11" y="35"/>
                    </a:cubicBezTo>
                    <a:cubicBezTo>
                      <a:pt x="8" y="35"/>
                      <a:pt x="5" y="34"/>
                      <a:pt x="3" y="31"/>
                    </a:cubicBezTo>
                    <a:cubicBezTo>
                      <a:pt x="1" y="28"/>
                      <a:pt x="0" y="24"/>
                      <a:pt x="0" y="18"/>
                    </a:cubicBezTo>
                    <a:cubicBezTo>
                      <a:pt x="0" y="12"/>
                      <a:pt x="1" y="8"/>
                      <a:pt x="3" y="5"/>
                    </a:cubicBezTo>
                    <a:cubicBezTo>
                      <a:pt x="5" y="2"/>
                      <a:pt x="8" y="0"/>
                      <a:pt x="12" y="0"/>
                    </a:cubicBezTo>
                    <a:cubicBezTo>
                      <a:pt x="19" y="0"/>
                      <a:pt x="23" y="6"/>
                      <a:pt x="23" y="18"/>
                    </a:cubicBezTo>
                    <a:cubicBezTo>
                      <a:pt x="23" y="23"/>
                      <a:pt x="22" y="28"/>
                      <a:pt x="20" y="31"/>
                    </a:cubicBezTo>
                    <a:cubicBezTo>
                      <a:pt x="18" y="34"/>
                      <a:pt x="15" y="35"/>
                      <a:pt x="11"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39" name="Freeform 93"/>
              <p:cNvSpPr>
                <a:spLocks/>
              </p:cNvSpPr>
              <p:nvPr/>
            </p:nvSpPr>
            <p:spPr bwMode="auto">
              <a:xfrm>
                <a:off x="8907579" y="6508489"/>
                <a:ext cx="26020" cy="74806"/>
              </a:xfrm>
              <a:custGeom>
                <a:avLst/>
                <a:gdLst>
                  <a:gd name="T0" fmla="*/ 12 w 12"/>
                  <a:gd name="T1" fmla="*/ 0 h 33"/>
                  <a:gd name="T2" fmla="*/ 12 w 12"/>
                  <a:gd name="T3" fmla="*/ 0 h 33"/>
                  <a:gd name="T4" fmla="*/ 12 w 12"/>
                  <a:gd name="T5" fmla="*/ 33 h 33"/>
                  <a:gd name="T6" fmla="*/ 7 w 12"/>
                  <a:gd name="T7" fmla="*/ 33 h 33"/>
                  <a:gd name="T8" fmla="*/ 7 w 12"/>
                  <a:gd name="T9" fmla="*/ 6 h 33"/>
                  <a:gd name="T10" fmla="*/ 4 w 12"/>
                  <a:gd name="T11" fmla="*/ 8 h 33"/>
                  <a:gd name="T12" fmla="*/ 0 w 12"/>
                  <a:gd name="T13" fmla="*/ 9 h 33"/>
                  <a:gd name="T14" fmla="*/ 0 w 12"/>
                  <a:gd name="T15" fmla="*/ 5 h 33"/>
                  <a:gd name="T16" fmla="*/ 3 w 12"/>
                  <a:gd name="T17" fmla="*/ 4 h 33"/>
                  <a:gd name="T18" fmla="*/ 5 w 12"/>
                  <a:gd name="T19" fmla="*/ 3 h 33"/>
                  <a:gd name="T20" fmla="*/ 7 w 12"/>
                  <a:gd name="T21" fmla="*/ 2 h 33"/>
                  <a:gd name="T22" fmla="*/ 10 w 12"/>
                  <a:gd name="T23" fmla="*/ 0 h 33"/>
                  <a:gd name="T24" fmla="*/ 12 w 12"/>
                  <a:gd name="T25" fmla="*/ 0 h 33"/>
                  <a:gd name="T26" fmla="*/ 12 w 12"/>
                  <a:gd name="T2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33">
                    <a:moveTo>
                      <a:pt x="12" y="0"/>
                    </a:moveTo>
                    <a:cubicBezTo>
                      <a:pt x="12" y="0"/>
                      <a:pt x="12" y="0"/>
                      <a:pt x="12" y="0"/>
                    </a:cubicBezTo>
                    <a:cubicBezTo>
                      <a:pt x="12" y="33"/>
                      <a:pt x="12" y="33"/>
                      <a:pt x="12" y="33"/>
                    </a:cubicBezTo>
                    <a:cubicBezTo>
                      <a:pt x="7" y="33"/>
                      <a:pt x="7" y="33"/>
                      <a:pt x="7" y="33"/>
                    </a:cubicBezTo>
                    <a:cubicBezTo>
                      <a:pt x="7" y="6"/>
                      <a:pt x="7" y="6"/>
                      <a:pt x="7" y="6"/>
                    </a:cubicBezTo>
                    <a:cubicBezTo>
                      <a:pt x="6" y="7"/>
                      <a:pt x="5" y="8"/>
                      <a:pt x="4" y="8"/>
                    </a:cubicBezTo>
                    <a:cubicBezTo>
                      <a:pt x="3" y="9"/>
                      <a:pt x="1" y="9"/>
                      <a:pt x="0" y="9"/>
                    </a:cubicBezTo>
                    <a:cubicBezTo>
                      <a:pt x="0" y="5"/>
                      <a:pt x="0" y="5"/>
                      <a:pt x="0" y="5"/>
                    </a:cubicBezTo>
                    <a:cubicBezTo>
                      <a:pt x="1" y="5"/>
                      <a:pt x="2" y="4"/>
                      <a:pt x="3" y="4"/>
                    </a:cubicBezTo>
                    <a:cubicBezTo>
                      <a:pt x="3" y="4"/>
                      <a:pt x="4" y="3"/>
                      <a:pt x="5" y="3"/>
                    </a:cubicBezTo>
                    <a:cubicBezTo>
                      <a:pt x="6" y="2"/>
                      <a:pt x="7" y="2"/>
                      <a:pt x="7" y="2"/>
                    </a:cubicBezTo>
                    <a:cubicBezTo>
                      <a:pt x="8" y="1"/>
                      <a:pt x="9" y="0"/>
                      <a:pt x="10" y="0"/>
                    </a:cubicBezTo>
                    <a:cubicBezTo>
                      <a:pt x="12" y="0"/>
                      <a:pt x="12" y="0"/>
                      <a:pt x="12" y="0"/>
                    </a:cubicBezTo>
                    <a:cubicBezTo>
                      <a:pt x="12" y="0"/>
                      <a:pt x="12"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40" name="Freeform 94"/>
              <p:cNvSpPr>
                <a:spLocks/>
              </p:cNvSpPr>
              <p:nvPr/>
            </p:nvSpPr>
            <p:spPr bwMode="auto">
              <a:xfrm>
                <a:off x="9005152" y="6508489"/>
                <a:ext cx="26020" cy="74806"/>
              </a:xfrm>
              <a:custGeom>
                <a:avLst/>
                <a:gdLst>
                  <a:gd name="T0" fmla="*/ 12 w 12"/>
                  <a:gd name="T1" fmla="*/ 0 h 33"/>
                  <a:gd name="T2" fmla="*/ 12 w 12"/>
                  <a:gd name="T3" fmla="*/ 0 h 33"/>
                  <a:gd name="T4" fmla="*/ 12 w 12"/>
                  <a:gd name="T5" fmla="*/ 33 h 33"/>
                  <a:gd name="T6" fmla="*/ 6 w 12"/>
                  <a:gd name="T7" fmla="*/ 33 h 33"/>
                  <a:gd name="T8" fmla="*/ 6 w 12"/>
                  <a:gd name="T9" fmla="*/ 6 h 33"/>
                  <a:gd name="T10" fmla="*/ 3 w 12"/>
                  <a:gd name="T11" fmla="*/ 8 h 33"/>
                  <a:gd name="T12" fmla="*/ 0 w 12"/>
                  <a:gd name="T13" fmla="*/ 9 h 33"/>
                  <a:gd name="T14" fmla="*/ 0 w 12"/>
                  <a:gd name="T15" fmla="*/ 5 h 33"/>
                  <a:gd name="T16" fmla="*/ 2 w 12"/>
                  <a:gd name="T17" fmla="*/ 4 h 33"/>
                  <a:gd name="T18" fmla="*/ 4 w 12"/>
                  <a:gd name="T19" fmla="*/ 3 h 33"/>
                  <a:gd name="T20" fmla="*/ 7 w 12"/>
                  <a:gd name="T21" fmla="*/ 2 h 33"/>
                  <a:gd name="T22" fmla="*/ 9 w 12"/>
                  <a:gd name="T23" fmla="*/ 0 h 33"/>
                  <a:gd name="T24" fmla="*/ 12 w 12"/>
                  <a:gd name="T25" fmla="*/ 0 h 33"/>
                  <a:gd name="T26" fmla="*/ 12 w 12"/>
                  <a:gd name="T2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33">
                    <a:moveTo>
                      <a:pt x="12" y="0"/>
                    </a:moveTo>
                    <a:cubicBezTo>
                      <a:pt x="12" y="0"/>
                      <a:pt x="12" y="0"/>
                      <a:pt x="12" y="0"/>
                    </a:cubicBezTo>
                    <a:cubicBezTo>
                      <a:pt x="12" y="33"/>
                      <a:pt x="12" y="33"/>
                      <a:pt x="12" y="33"/>
                    </a:cubicBezTo>
                    <a:cubicBezTo>
                      <a:pt x="6" y="33"/>
                      <a:pt x="6" y="33"/>
                      <a:pt x="6" y="33"/>
                    </a:cubicBezTo>
                    <a:cubicBezTo>
                      <a:pt x="6" y="6"/>
                      <a:pt x="6" y="6"/>
                      <a:pt x="6" y="6"/>
                    </a:cubicBezTo>
                    <a:cubicBezTo>
                      <a:pt x="5" y="7"/>
                      <a:pt x="4" y="8"/>
                      <a:pt x="3" y="8"/>
                    </a:cubicBezTo>
                    <a:cubicBezTo>
                      <a:pt x="2" y="9"/>
                      <a:pt x="1" y="9"/>
                      <a:pt x="0" y="9"/>
                    </a:cubicBezTo>
                    <a:cubicBezTo>
                      <a:pt x="0" y="5"/>
                      <a:pt x="0" y="5"/>
                      <a:pt x="0" y="5"/>
                    </a:cubicBezTo>
                    <a:cubicBezTo>
                      <a:pt x="0" y="5"/>
                      <a:pt x="1" y="4"/>
                      <a:pt x="2" y="4"/>
                    </a:cubicBezTo>
                    <a:cubicBezTo>
                      <a:pt x="3" y="4"/>
                      <a:pt x="4" y="3"/>
                      <a:pt x="4" y="3"/>
                    </a:cubicBezTo>
                    <a:cubicBezTo>
                      <a:pt x="5" y="2"/>
                      <a:pt x="6" y="2"/>
                      <a:pt x="7" y="2"/>
                    </a:cubicBezTo>
                    <a:cubicBezTo>
                      <a:pt x="8" y="1"/>
                      <a:pt x="8" y="0"/>
                      <a:pt x="9" y="0"/>
                    </a:cubicBezTo>
                    <a:cubicBezTo>
                      <a:pt x="12" y="0"/>
                      <a:pt x="12" y="0"/>
                      <a:pt x="12" y="0"/>
                    </a:cubicBezTo>
                    <a:cubicBezTo>
                      <a:pt x="12" y="0"/>
                      <a:pt x="12"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41" name="Freeform 95"/>
              <p:cNvSpPr>
                <a:spLocks noEditPoints="1"/>
              </p:cNvSpPr>
              <p:nvPr/>
            </p:nvSpPr>
            <p:spPr bwMode="auto">
              <a:xfrm>
                <a:off x="8944982" y="6506863"/>
                <a:ext cx="52039" cy="79685"/>
              </a:xfrm>
              <a:custGeom>
                <a:avLst/>
                <a:gdLst>
                  <a:gd name="T0" fmla="*/ 12 w 23"/>
                  <a:gd name="T1" fmla="*/ 5 h 35"/>
                  <a:gd name="T2" fmla="*/ 12 w 23"/>
                  <a:gd name="T3" fmla="*/ 5 h 35"/>
                  <a:gd name="T4" fmla="*/ 6 w 23"/>
                  <a:gd name="T5" fmla="*/ 18 h 35"/>
                  <a:gd name="T6" fmla="*/ 12 w 23"/>
                  <a:gd name="T7" fmla="*/ 31 h 35"/>
                  <a:gd name="T8" fmla="*/ 17 w 23"/>
                  <a:gd name="T9" fmla="*/ 18 h 35"/>
                  <a:gd name="T10" fmla="*/ 12 w 23"/>
                  <a:gd name="T11" fmla="*/ 5 h 35"/>
                  <a:gd name="T12" fmla="*/ 11 w 23"/>
                  <a:gd name="T13" fmla="*/ 35 h 35"/>
                  <a:gd name="T14" fmla="*/ 11 w 23"/>
                  <a:gd name="T15" fmla="*/ 35 h 35"/>
                  <a:gd name="T16" fmla="*/ 3 w 23"/>
                  <a:gd name="T17" fmla="*/ 31 h 35"/>
                  <a:gd name="T18" fmla="*/ 0 w 23"/>
                  <a:gd name="T19" fmla="*/ 18 h 35"/>
                  <a:gd name="T20" fmla="*/ 3 w 23"/>
                  <a:gd name="T21" fmla="*/ 5 h 35"/>
                  <a:gd name="T22" fmla="*/ 12 w 23"/>
                  <a:gd name="T23" fmla="*/ 0 h 35"/>
                  <a:gd name="T24" fmla="*/ 23 w 23"/>
                  <a:gd name="T25" fmla="*/ 18 h 35"/>
                  <a:gd name="T26" fmla="*/ 20 w 23"/>
                  <a:gd name="T27" fmla="*/ 31 h 35"/>
                  <a:gd name="T28" fmla="*/ 11 w 23"/>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5">
                    <a:moveTo>
                      <a:pt x="12" y="5"/>
                    </a:moveTo>
                    <a:cubicBezTo>
                      <a:pt x="12" y="5"/>
                      <a:pt x="12" y="5"/>
                      <a:pt x="12" y="5"/>
                    </a:cubicBezTo>
                    <a:cubicBezTo>
                      <a:pt x="8" y="5"/>
                      <a:pt x="6" y="9"/>
                      <a:pt x="6" y="18"/>
                    </a:cubicBezTo>
                    <a:cubicBezTo>
                      <a:pt x="6" y="27"/>
                      <a:pt x="8" y="31"/>
                      <a:pt x="12" y="31"/>
                    </a:cubicBezTo>
                    <a:cubicBezTo>
                      <a:pt x="16" y="31"/>
                      <a:pt x="17" y="26"/>
                      <a:pt x="17" y="18"/>
                    </a:cubicBezTo>
                    <a:cubicBezTo>
                      <a:pt x="17" y="9"/>
                      <a:pt x="16" y="5"/>
                      <a:pt x="12" y="5"/>
                    </a:cubicBezTo>
                    <a:close/>
                    <a:moveTo>
                      <a:pt x="11" y="35"/>
                    </a:moveTo>
                    <a:cubicBezTo>
                      <a:pt x="11" y="35"/>
                      <a:pt x="11" y="35"/>
                      <a:pt x="11" y="35"/>
                    </a:cubicBezTo>
                    <a:cubicBezTo>
                      <a:pt x="8" y="35"/>
                      <a:pt x="5" y="34"/>
                      <a:pt x="3" y="31"/>
                    </a:cubicBezTo>
                    <a:cubicBezTo>
                      <a:pt x="1" y="28"/>
                      <a:pt x="0" y="24"/>
                      <a:pt x="0" y="18"/>
                    </a:cubicBezTo>
                    <a:cubicBezTo>
                      <a:pt x="0" y="12"/>
                      <a:pt x="1" y="8"/>
                      <a:pt x="3" y="5"/>
                    </a:cubicBezTo>
                    <a:cubicBezTo>
                      <a:pt x="5" y="2"/>
                      <a:pt x="8" y="0"/>
                      <a:pt x="12" y="0"/>
                    </a:cubicBezTo>
                    <a:cubicBezTo>
                      <a:pt x="19" y="0"/>
                      <a:pt x="23" y="6"/>
                      <a:pt x="23" y="18"/>
                    </a:cubicBezTo>
                    <a:cubicBezTo>
                      <a:pt x="23" y="23"/>
                      <a:pt x="22" y="28"/>
                      <a:pt x="20" y="31"/>
                    </a:cubicBezTo>
                    <a:cubicBezTo>
                      <a:pt x="18" y="34"/>
                      <a:pt x="15" y="35"/>
                      <a:pt x="11"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99042" name="Freeform 96"/>
              <p:cNvSpPr>
                <a:spLocks noEditPoints="1"/>
              </p:cNvSpPr>
              <p:nvPr/>
            </p:nvSpPr>
            <p:spPr bwMode="auto">
              <a:xfrm>
                <a:off x="9042555" y="6506863"/>
                <a:ext cx="53665" cy="79685"/>
              </a:xfrm>
              <a:custGeom>
                <a:avLst/>
                <a:gdLst>
                  <a:gd name="T0" fmla="*/ 12 w 23"/>
                  <a:gd name="T1" fmla="*/ 5 h 35"/>
                  <a:gd name="T2" fmla="*/ 12 w 23"/>
                  <a:gd name="T3" fmla="*/ 5 h 35"/>
                  <a:gd name="T4" fmla="*/ 5 w 23"/>
                  <a:gd name="T5" fmla="*/ 18 h 35"/>
                  <a:gd name="T6" fmla="*/ 12 w 23"/>
                  <a:gd name="T7" fmla="*/ 31 h 35"/>
                  <a:gd name="T8" fmla="*/ 17 w 23"/>
                  <a:gd name="T9" fmla="*/ 18 h 35"/>
                  <a:gd name="T10" fmla="*/ 12 w 23"/>
                  <a:gd name="T11" fmla="*/ 5 h 35"/>
                  <a:gd name="T12" fmla="*/ 11 w 23"/>
                  <a:gd name="T13" fmla="*/ 35 h 35"/>
                  <a:gd name="T14" fmla="*/ 11 w 23"/>
                  <a:gd name="T15" fmla="*/ 35 h 35"/>
                  <a:gd name="T16" fmla="*/ 3 w 23"/>
                  <a:gd name="T17" fmla="*/ 31 h 35"/>
                  <a:gd name="T18" fmla="*/ 0 w 23"/>
                  <a:gd name="T19" fmla="*/ 18 h 35"/>
                  <a:gd name="T20" fmla="*/ 3 w 23"/>
                  <a:gd name="T21" fmla="*/ 5 h 35"/>
                  <a:gd name="T22" fmla="*/ 12 w 23"/>
                  <a:gd name="T23" fmla="*/ 0 h 35"/>
                  <a:gd name="T24" fmla="*/ 23 w 23"/>
                  <a:gd name="T25" fmla="*/ 18 h 35"/>
                  <a:gd name="T26" fmla="*/ 20 w 23"/>
                  <a:gd name="T27" fmla="*/ 31 h 35"/>
                  <a:gd name="T28" fmla="*/ 11 w 23"/>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5">
                    <a:moveTo>
                      <a:pt x="12" y="5"/>
                    </a:moveTo>
                    <a:cubicBezTo>
                      <a:pt x="12" y="5"/>
                      <a:pt x="12" y="5"/>
                      <a:pt x="12" y="5"/>
                    </a:cubicBezTo>
                    <a:cubicBezTo>
                      <a:pt x="7" y="5"/>
                      <a:pt x="5" y="9"/>
                      <a:pt x="5" y="18"/>
                    </a:cubicBezTo>
                    <a:cubicBezTo>
                      <a:pt x="5" y="27"/>
                      <a:pt x="7" y="31"/>
                      <a:pt x="12" y="31"/>
                    </a:cubicBezTo>
                    <a:cubicBezTo>
                      <a:pt x="15" y="31"/>
                      <a:pt x="17" y="26"/>
                      <a:pt x="17" y="18"/>
                    </a:cubicBezTo>
                    <a:cubicBezTo>
                      <a:pt x="17" y="9"/>
                      <a:pt x="15" y="5"/>
                      <a:pt x="12" y="5"/>
                    </a:cubicBezTo>
                    <a:close/>
                    <a:moveTo>
                      <a:pt x="11" y="35"/>
                    </a:moveTo>
                    <a:cubicBezTo>
                      <a:pt x="11" y="35"/>
                      <a:pt x="11" y="35"/>
                      <a:pt x="11" y="35"/>
                    </a:cubicBezTo>
                    <a:cubicBezTo>
                      <a:pt x="7" y="35"/>
                      <a:pt x="5" y="34"/>
                      <a:pt x="3" y="31"/>
                    </a:cubicBezTo>
                    <a:cubicBezTo>
                      <a:pt x="1" y="28"/>
                      <a:pt x="0" y="24"/>
                      <a:pt x="0" y="18"/>
                    </a:cubicBezTo>
                    <a:cubicBezTo>
                      <a:pt x="0" y="12"/>
                      <a:pt x="1" y="8"/>
                      <a:pt x="3" y="5"/>
                    </a:cubicBezTo>
                    <a:cubicBezTo>
                      <a:pt x="5" y="2"/>
                      <a:pt x="8" y="0"/>
                      <a:pt x="12" y="0"/>
                    </a:cubicBezTo>
                    <a:cubicBezTo>
                      <a:pt x="19" y="0"/>
                      <a:pt x="23" y="6"/>
                      <a:pt x="23" y="18"/>
                    </a:cubicBezTo>
                    <a:cubicBezTo>
                      <a:pt x="23" y="23"/>
                      <a:pt x="22" y="28"/>
                      <a:pt x="20" y="31"/>
                    </a:cubicBezTo>
                    <a:cubicBezTo>
                      <a:pt x="18" y="34"/>
                      <a:pt x="15" y="35"/>
                      <a:pt x="11"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32" name="Rectangle 31"/>
            <p:cNvSpPr>
              <a:spLocks noChangeArrowheads="1"/>
            </p:cNvSpPr>
            <p:nvPr/>
          </p:nvSpPr>
          <p:spPr bwMode="auto">
            <a:xfrm>
              <a:off x="-1" y="6955122"/>
              <a:ext cx="12435840" cy="39403"/>
            </a:xfrm>
            <a:prstGeom prst="rect">
              <a:avLst/>
            </a:prstGeom>
            <a:solidFill>
              <a:schemeClr val="tx2"/>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sp>
        <p:nvSpPr>
          <p:cNvPr id="13" name="Slide Number Placeholder 12"/>
          <p:cNvSpPr>
            <a:spLocks noGrp="1"/>
          </p:cNvSpPr>
          <p:nvPr>
            <p:ph type="sldNum" sz="quarter" idx="11"/>
          </p:nvPr>
        </p:nvSpPr>
        <p:spPr/>
        <p:txBody>
          <a:bodyPr/>
          <a:lstStyle/>
          <a:p>
            <a:fld id="{27258FFF-F925-446B-8502-81C933981705}" type="slidenum">
              <a:rPr lang="en-US" smtClean="0"/>
              <a:pPr/>
              <a:t>2</a:t>
            </a:fld>
            <a:endParaRPr lang="en-US" dirty="0"/>
          </a:p>
        </p:txBody>
      </p:sp>
      <p:grpSp>
        <p:nvGrpSpPr>
          <p:cNvPr id="16" name="Group 15"/>
          <p:cNvGrpSpPr/>
          <p:nvPr/>
        </p:nvGrpSpPr>
        <p:grpSpPr>
          <a:xfrm>
            <a:off x="0" y="1873163"/>
            <a:ext cx="12436476" cy="1089643"/>
            <a:chOff x="0" y="1873163"/>
            <a:chExt cx="12436476" cy="1089643"/>
          </a:xfrm>
        </p:grpSpPr>
        <p:grpSp>
          <p:nvGrpSpPr>
            <p:cNvPr id="6" name="Group 5"/>
            <p:cNvGrpSpPr/>
            <p:nvPr/>
          </p:nvGrpSpPr>
          <p:grpSpPr>
            <a:xfrm>
              <a:off x="0" y="1873163"/>
              <a:ext cx="12436476" cy="1089643"/>
              <a:chOff x="0" y="1873163"/>
              <a:chExt cx="12436476" cy="1089643"/>
            </a:xfrm>
          </p:grpSpPr>
          <p:sp>
            <p:nvSpPr>
              <p:cNvPr id="38" name="Rectangle 37"/>
              <p:cNvSpPr/>
              <p:nvPr/>
            </p:nvSpPr>
            <p:spPr bwMode="auto">
              <a:xfrm flipH="1">
                <a:off x="4984844" y="1873163"/>
                <a:ext cx="7451632" cy="1089643"/>
              </a:xfrm>
              <a:prstGeom prst="rect">
                <a:avLst/>
              </a:prstGeom>
              <a:solidFill>
                <a:schemeClr val="accent1"/>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91440" bIns="91440" numCol="1" spcCol="0" rtlCol="0" fromWordArt="0" anchor="ctr" anchorCtr="0" forceAA="0" compatLnSpc="1">
                <a:prstTxWarp prst="textNoShape">
                  <a:avLst/>
                </a:prstTxWarp>
                <a:noAutofit/>
              </a:bodyPr>
              <a:lstStyle/>
              <a:p>
                <a:pPr lvl="0" defTabSz="932472">
                  <a:spcBef>
                    <a:spcPct val="0"/>
                  </a:spcBef>
                  <a:spcAft>
                    <a:spcPct val="0"/>
                  </a:spcAft>
                </a:pPr>
                <a:r>
                  <a:rPr lang="en-IN" sz="2800" dirty="0">
                    <a:solidFill>
                      <a:srgbClr val="FFFFFF"/>
                    </a:solidFill>
                    <a:latin typeface="+mj-lt"/>
                    <a:ea typeface="Segoe UI" pitchFamily="34" charset="0"/>
                    <a:cs typeface="Segoe UI" pitchFamily="34" charset="0"/>
                  </a:rPr>
                  <a:t>Reshape how you engage with customers</a:t>
                </a:r>
              </a:p>
            </p:txBody>
          </p:sp>
          <p:sp>
            <p:nvSpPr>
              <p:cNvPr id="9" name="Rectangle 8"/>
              <p:cNvSpPr/>
              <p:nvPr/>
            </p:nvSpPr>
            <p:spPr bwMode="auto">
              <a:xfrm flipH="1">
                <a:off x="0" y="1873163"/>
                <a:ext cx="4984844" cy="1089643"/>
              </a:xfrm>
              <a:prstGeom prst="rect">
                <a:avLst/>
              </a:prstGeom>
              <a:solidFill>
                <a:schemeClr val="bg1">
                  <a:lumMod val="95000"/>
                </a:schemeClr>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457200" bIns="91440" numCol="1" spcCol="0" rtlCol="0" fromWordArt="0" anchor="ctr" anchorCtr="0" forceAA="0" compatLnSpc="1">
                <a:prstTxWarp prst="textNoShape">
                  <a:avLst/>
                </a:prstTxWarp>
                <a:noAutofit/>
              </a:bodyPr>
              <a:lstStyle/>
              <a:p>
                <a:pPr lvl="0" defTabSz="932472">
                  <a:spcBef>
                    <a:spcPct val="0"/>
                  </a:spcBef>
                  <a:spcAft>
                    <a:spcPct val="0"/>
                  </a:spcAft>
                </a:pPr>
                <a:r>
                  <a:rPr lang="en-IN" sz="2800" dirty="0">
                    <a:solidFill>
                      <a:schemeClr val="accent1"/>
                    </a:solidFill>
                    <a:latin typeface="+mj-lt"/>
                    <a:ea typeface="Segoe UI" pitchFamily="34" charset="0"/>
                    <a:cs typeface="Segoe UI" pitchFamily="34" charset="0"/>
                  </a:rPr>
                  <a:t>Start with a trusted &amp; resilient foundation</a:t>
                </a:r>
              </a:p>
            </p:txBody>
          </p:sp>
          <p:grpSp>
            <p:nvGrpSpPr>
              <p:cNvPr id="5" name="Group 4"/>
              <p:cNvGrpSpPr/>
              <p:nvPr/>
            </p:nvGrpSpPr>
            <p:grpSpPr>
              <a:xfrm flipH="1">
                <a:off x="4033569" y="1873163"/>
                <a:ext cx="1089643" cy="1089643"/>
                <a:chOff x="3135086" y="2554514"/>
                <a:chExt cx="914400" cy="914400"/>
              </a:xfrm>
            </p:grpSpPr>
            <p:sp>
              <p:nvSpPr>
                <p:cNvPr id="2" name="Rounded Rectangle 1"/>
                <p:cNvSpPr/>
                <p:nvPr/>
              </p:nvSpPr>
              <p:spPr bwMode="auto">
                <a:xfrm>
                  <a:off x="3135086" y="2554514"/>
                  <a:ext cx="914400" cy="914400"/>
                </a:xfrm>
                <a:prstGeom prst="roundRect">
                  <a:avLst>
                    <a:gd name="adj" fmla="val 8731"/>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smtClean="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0" name="Rounded Rectangle 19"/>
                <p:cNvSpPr/>
                <p:nvPr/>
              </p:nvSpPr>
              <p:spPr bwMode="auto">
                <a:xfrm>
                  <a:off x="3251201" y="2670629"/>
                  <a:ext cx="682171" cy="682171"/>
                </a:xfrm>
                <a:prstGeom prst="roundRect">
                  <a:avLst>
                    <a:gd name="adj" fmla="val 8731"/>
                  </a:avLst>
                </a:prstGeom>
                <a:solidFill>
                  <a:srgbClr val="F7F7F7"/>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3600" dirty="0" smtClean="0">
                    <a:solidFill>
                      <a:schemeClr val="accent1"/>
                    </a:solidFill>
                    <a:latin typeface="+mj-lt"/>
                    <a:ea typeface="Segoe UI" pitchFamily="34" charset="0"/>
                    <a:cs typeface="Segoe UI Semibold" panose="020B0702040204020203" pitchFamily="34" charset="0"/>
                  </a:endParaRPr>
                </a:p>
              </p:txBody>
            </p:sp>
          </p:grpSp>
        </p:grpSp>
        <p:grpSp>
          <p:nvGrpSpPr>
            <p:cNvPr id="135" name="Group 134"/>
            <p:cNvGrpSpPr/>
            <p:nvPr/>
          </p:nvGrpSpPr>
          <p:grpSpPr>
            <a:xfrm>
              <a:off x="4398849" y="2247937"/>
              <a:ext cx="359082" cy="340093"/>
              <a:chOff x="-3227388" y="3256364"/>
              <a:chExt cx="1881884" cy="1782362"/>
            </a:xfrm>
            <a:solidFill>
              <a:schemeClr val="accent1"/>
            </a:solidFill>
            <a:effectLst>
              <a:outerShdw blurRad="50800" dist="38100" dir="8100000" algn="tr" rotWithShape="0">
                <a:prstClr val="black">
                  <a:alpha val="40000"/>
                </a:prstClr>
              </a:outerShdw>
            </a:effectLst>
          </p:grpSpPr>
          <p:sp>
            <p:nvSpPr>
              <p:cNvPr id="136" name="Freeform 8"/>
              <p:cNvSpPr>
                <a:spLocks/>
              </p:cNvSpPr>
              <p:nvPr/>
            </p:nvSpPr>
            <p:spPr bwMode="auto">
              <a:xfrm>
                <a:off x="-3227388" y="3490913"/>
                <a:ext cx="1550988" cy="1547813"/>
              </a:xfrm>
              <a:custGeom>
                <a:avLst/>
                <a:gdLst>
                  <a:gd name="T0" fmla="*/ 0 w 3907"/>
                  <a:gd name="T1" fmla="*/ 0 h 3900"/>
                  <a:gd name="T2" fmla="*/ 3706 w 3907"/>
                  <a:gd name="T3" fmla="*/ 0 h 3900"/>
                  <a:gd name="T4" fmla="*/ 3609 w 3907"/>
                  <a:gd name="T5" fmla="*/ 87 h 3900"/>
                  <a:gd name="T6" fmla="*/ 3516 w 3907"/>
                  <a:gd name="T7" fmla="*/ 171 h 3900"/>
                  <a:gd name="T8" fmla="*/ 3425 w 3907"/>
                  <a:gd name="T9" fmla="*/ 254 h 3900"/>
                  <a:gd name="T10" fmla="*/ 3336 w 3907"/>
                  <a:gd name="T11" fmla="*/ 334 h 3900"/>
                  <a:gd name="T12" fmla="*/ 3246 w 3907"/>
                  <a:gd name="T13" fmla="*/ 412 h 3900"/>
                  <a:gd name="T14" fmla="*/ 3157 w 3907"/>
                  <a:gd name="T15" fmla="*/ 489 h 3900"/>
                  <a:gd name="T16" fmla="*/ 3140 w 3907"/>
                  <a:gd name="T17" fmla="*/ 498 h 3900"/>
                  <a:gd name="T18" fmla="*/ 3121 w 3907"/>
                  <a:gd name="T19" fmla="*/ 504 h 3900"/>
                  <a:gd name="T20" fmla="*/ 3098 w 3907"/>
                  <a:gd name="T21" fmla="*/ 507 h 3900"/>
                  <a:gd name="T22" fmla="*/ 3075 w 3907"/>
                  <a:gd name="T23" fmla="*/ 508 h 3900"/>
                  <a:gd name="T24" fmla="*/ 3050 w 3907"/>
                  <a:gd name="T25" fmla="*/ 507 h 3900"/>
                  <a:gd name="T26" fmla="*/ 3026 w 3907"/>
                  <a:gd name="T27" fmla="*/ 507 h 3900"/>
                  <a:gd name="T28" fmla="*/ 3002 w 3907"/>
                  <a:gd name="T29" fmla="*/ 505 h 3900"/>
                  <a:gd name="T30" fmla="*/ 715 w 3907"/>
                  <a:gd name="T31" fmla="*/ 507 h 3900"/>
                  <a:gd name="T32" fmla="*/ 656 w 3907"/>
                  <a:gd name="T33" fmla="*/ 507 h 3900"/>
                  <a:gd name="T34" fmla="*/ 595 w 3907"/>
                  <a:gd name="T35" fmla="*/ 507 h 3900"/>
                  <a:gd name="T36" fmla="*/ 529 w 3907"/>
                  <a:gd name="T37" fmla="*/ 507 h 3900"/>
                  <a:gd name="T38" fmla="*/ 529 w 3907"/>
                  <a:gd name="T39" fmla="*/ 3382 h 3900"/>
                  <a:gd name="T40" fmla="*/ 3405 w 3907"/>
                  <a:gd name="T41" fmla="*/ 3382 h 3900"/>
                  <a:gd name="T42" fmla="*/ 3406 w 3907"/>
                  <a:gd name="T43" fmla="*/ 2980 h 3900"/>
                  <a:gd name="T44" fmla="*/ 3406 w 3907"/>
                  <a:gd name="T45" fmla="*/ 2584 h 3900"/>
                  <a:gd name="T46" fmla="*/ 3406 w 3907"/>
                  <a:gd name="T47" fmla="*/ 2191 h 3900"/>
                  <a:gd name="T48" fmla="*/ 3403 w 3907"/>
                  <a:gd name="T49" fmla="*/ 1799 h 3900"/>
                  <a:gd name="T50" fmla="*/ 3404 w 3907"/>
                  <a:gd name="T51" fmla="*/ 1751 h 3900"/>
                  <a:gd name="T52" fmla="*/ 3410 w 3907"/>
                  <a:gd name="T53" fmla="*/ 1706 h 3900"/>
                  <a:gd name="T54" fmla="*/ 3421 w 3907"/>
                  <a:gd name="T55" fmla="*/ 1665 h 3900"/>
                  <a:gd name="T56" fmla="*/ 3437 w 3907"/>
                  <a:gd name="T57" fmla="*/ 1627 h 3900"/>
                  <a:gd name="T58" fmla="*/ 3460 w 3907"/>
                  <a:gd name="T59" fmla="*/ 1591 h 3900"/>
                  <a:gd name="T60" fmla="*/ 3489 w 3907"/>
                  <a:gd name="T61" fmla="*/ 1557 h 3900"/>
                  <a:gd name="T62" fmla="*/ 3524 w 3907"/>
                  <a:gd name="T63" fmla="*/ 1524 h 3900"/>
                  <a:gd name="T64" fmla="*/ 3598 w 3907"/>
                  <a:gd name="T65" fmla="*/ 1461 h 3900"/>
                  <a:gd name="T66" fmla="*/ 3674 w 3907"/>
                  <a:gd name="T67" fmla="*/ 1394 h 3900"/>
                  <a:gd name="T68" fmla="*/ 3747 w 3907"/>
                  <a:gd name="T69" fmla="*/ 1324 h 3900"/>
                  <a:gd name="T70" fmla="*/ 3825 w 3907"/>
                  <a:gd name="T71" fmla="*/ 1250 h 3900"/>
                  <a:gd name="T72" fmla="*/ 3907 w 3907"/>
                  <a:gd name="T73" fmla="*/ 1173 h 3900"/>
                  <a:gd name="T74" fmla="*/ 3907 w 3907"/>
                  <a:gd name="T75" fmla="*/ 1724 h 3900"/>
                  <a:gd name="T76" fmla="*/ 3907 w 3907"/>
                  <a:gd name="T77" fmla="*/ 2271 h 3900"/>
                  <a:gd name="T78" fmla="*/ 3907 w 3907"/>
                  <a:gd name="T79" fmla="*/ 2815 h 3900"/>
                  <a:gd name="T80" fmla="*/ 3907 w 3907"/>
                  <a:gd name="T81" fmla="*/ 3356 h 3900"/>
                  <a:gd name="T82" fmla="*/ 3907 w 3907"/>
                  <a:gd name="T83" fmla="*/ 3900 h 3900"/>
                  <a:gd name="T84" fmla="*/ 0 w 3907"/>
                  <a:gd name="T85" fmla="*/ 3900 h 3900"/>
                  <a:gd name="T86" fmla="*/ 0 w 3907"/>
                  <a:gd name="T87"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7" h="3900">
                    <a:moveTo>
                      <a:pt x="0" y="0"/>
                    </a:moveTo>
                    <a:lnTo>
                      <a:pt x="3706" y="0"/>
                    </a:lnTo>
                    <a:lnTo>
                      <a:pt x="3609" y="87"/>
                    </a:lnTo>
                    <a:lnTo>
                      <a:pt x="3516" y="171"/>
                    </a:lnTo>
                    <a:lnTo>
                      <a:pt x="3425" y="254"/>
                    </a:lnTo>
                    <a:lnTo>
                      <a:pt x="3336" y="334"/>
                    </a:lnTo>
                    <a:lnTo>
                      <a:pt x="3246" y="412"/>
                    </a:lnTo>
                    <a:lnTo>
                      <a:pt x="3157" y="489"/>
                    </a:lnTo>
                    <a:lnTo>
                      <a:pt x="3140" y="498"/>
                    </a:lnTo>
                    <a:lnTo>
                      <a:pt x="3121" y="504"/>
                    </a:lnTo>
                    <a:lnTo>
                      <a:pt x="3098" y="507"/>
                    </a:lnTo>
                    <a:lnTo>
                      <a:pt x="3075" y="508"/>
                    </a:lnTo>
                    <a:lnTo>
                      <a:pt x="3050" y="507"/>
                    </a:lnTo>
                    <a:lnTo>
                      <a:pt x="3026" y="507"/>
                    </a:lnTo>
                    <a:lnTo>
                      <a:pt x="3002" y="505"/>
                    </a:lnTo>
                    <a:lnTo>
                      <a:pt x="715" y="507"/>
                    </a:lnTo>
                    <a:lnTo>
                      <a:pt x="656" y="507"/>
                    </a:lnTo>
                    <a:lnTo>
                      <a:pt x="595" y="507"/>
                    </a:lnTo>
                    <a:lnTo>
                      <a:pt x="529" y="507"/>
                    </a:lnTo>
                    <a:lnTo>
                      <a:pt x="529" y="3382"/>
                    </a:lnTo>
                    <a:lnTo>
                      <a:pt x="3405" y="3382"/>
                    </a:lnTo>
                    <a:lnTo>
                      <a:pt x="3406" y="2980"/>
                    </a:lnTo>
                    <a:lnTo>
                      <a:pt x="3406" y="2584"/>
                    </a:lnTo>
                    <a:lnTo>
                      <a:pt x="3406" y="2191"/>
                    </a:lnTo>
                    <a:lnTo>
                      <a:pt x="3403" y="1799"/>
                    </a:lnTo>
                    <a:lnTo>
                      <a:pt x="3404" y="1751"/>
                    </a:lnTo>
                    <a:lnTo>
                      <a:pt x="3410" y="1706"/>
                    </a:lnTo>
                    <a:lnTo>
                      <a:pt x="3421" y="1665"/>
                    </a:lnTo>
                    <a:lnTo>
                      <a:pt x="3437" y="1627"/>
                    </a:lnTo>
                    <a:lnTo>
                      <a:pt x="3460" y="1591"/>
                    </a:lnTo>
                    <a:lnTo>
                      <a:pt x="3489" y="1557"/>
                    </a:lnTo>
                    <a:lnTo>
                      <a:pt x="3524" y="1524"/>
                    </a:lnTo>
                    <a:lnTo>
                      <a:pt x="3598" y="1461"/>
                    </a:lnTo>
                    <a:lnTo>
                      <a:pt x="3674" y="1394"/>
                    </a:lnTo>
                    <a:lnTo>
                      <a:pt x="3747" y="1324"/>
                    </a:lnTo>
                    <a:lnTo>
                      <a:pt x="3825" y="1250"/>
                    </a:lnTo>
                    <a:lnTo>
                      <a:pt x="3907" y="1173"/>
                    </a:lnTo>
                    <a:lnTo>
                      <a:pt x="3907" y="1724"/>
                    </a:lnTo>
                    <a:lnTo>
                      <a:pt x="3907" y="2271"/>
                    </a:lnTo>
                    <a:lnTo>
                      <a:pt x="3907" y="2815"/>
                    </a:lnTo>
                    <a:lnTo>
                      <a:pt x="3907" y="3356"/>
                    </a:lnTo>
                    <a:lnTo>
                      <a:pt x="3907" y="3900"/>
                    </a:lnTo>
                    <a:lnTo>
                      <a:pt x="0" y="3900"/>
                    </a:lnTo>
                    <a:lnTo>
                      <a:pt x="0"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latin typeface="+mj-lt"/>
                </a:endParaRPr>
              </a:p>
            </p:txBody>
          </p:sp>
          <p:sp>
            <p:nvSpPr>
              <p:cNvPr id="137" name="Freeform 9"/>
              <p:cNvSpPr>
                <a:spLocks/>
              </p:cNvSpPr>
              <p:nvPr/>
            </p:nvSpPr>
            <p:spPr bwMode="auto">
              <a:xfrm>
                <a:off x="-2894015" y="3256364"/>
                <a:ext cx="1548511" cy="1351170"/>
              </a:xfrm>
              <a:custGeom>
                <a:avLst/>
                <a:gdLst>
                  <a:gd name="T0" fmla="*/ 3078 w 3078"/>
                  <a:gd name="T1" fmla="*/ 0 h 2682"/>
                  <a:gd name="T2" fmla="*/ 3078 w 3078"/>
                  <a:gd name="T3" fmla="*/ 157 h 2682"/>
                  <a:gd name="T4" fmla="*/ 3078 w 3078"/>
                  <a:gd name="T5" fmla="*/ 303 h 2682"/>
                  <a:gd name="T6" fmla="*/ 3078 w 3078"/>
                  <a:gd name="T7" fmla="*/ 315 h 2682"/>
                  <a:gd name="T8" fmla="*/ 3078 w 3078"/>
                  <a:gd name="T9" fmla="*/ 454 h 2682"/>
                  <a:gd name="T10" fmla="*/ 3077 w 3078"/>
                  <a:gd name="T11" fmla="*/ 597 h 2682"/>
                  <a:gd name="T12" fmla="*/ 3076 w 3078"/>
                  <a:gd name="T13" fmla="*/ 739 h 2682"/>
                  <a:gd name="T14" fmla="*/ 3072 w 3078"/>
                  <a:gd name="T15" fmla="*/ 755 h 2682"/>
                  <a:gd name="T16" fmla="*/ 3062 w 3078"/>
                  <a:gd name="T17" fmla="*/ 770 h 2682"/>
                  <a:gd name="T18" fmla="*/ 3050 w 3078"/>
                  <a:gd name="T19" fmla="*/ 787 h 2682"/>
                  <a:gd name="T20" fmla="*/ 3036 w 3078"/>
                  <a:gd name="T21" fmla="*/ 801 h 2682"/>
                  <a:gd name="T22" fmla="*/ 3023 w 3078"/>
                  <a:gd name="T23" fmla="*/ 814 h 2682"/>
                  <a:gd name="T24" fmla="*/ 1096 w 3078"/>
                  <a:gd name="T25" fmla="*/ 2666 h 2682"/>
                  <a:gd name="T26" fmla="*/ 1090 w 3078"/>
                  <a:gd name="T27" fmla="*/ 2669 h 2682"/>
                  <a:gd name="T28" fmla="*/ 1082 w 3078"/>
                  <a:gd name="T29" fmla="*/ 2673 h 2682"/>
                  <a:gd name="T30" fmla="*/ 1071 w 3078"/>
                  <a:gd name="T31" fmla="*/ 2676 h 2682"/>
                  <a:gd name="T32" fmla="*/ 1057 w 3078"/>
                  <a:gd name="T33" fmla="*/ 2682 h 2682"/>
                  <a:gd name="T34" fmla="*/ 531 w 3078"/>
                  <a:gd name="T35" fmla="*/ 2131 h 2682"/>
                  <a:gd name="T36" fmla="*/ 0 w 3078"/>
                  <a:gd name="T37" fmla="*/ 1576 h 2682"/>
                  <a:gd name="T38" fmla="*/ 83 w 3078"/>
                  <a:gd name="T39" fmla="*/ 1491 h 2682"/>
                  <a:gd name="T40" fmla="*/ 163 w 3078"/>
                  <a:gd name="T41" fmla="*/ 1408 h 2682"/>
                  <a:gd name="T42" fmla="*/ 240 w 3078"/>
                  <a:gd name="T43" fmla="*/ 1331 h 2682"/>
                  <a:gd name="T44" fmla="*/ 314 w 3078"/>
                  <a:gd name="T45" fmla="*/ 1256 h 2682"/>
                  <a:gd name="T46" fmla="*/ 383 w 3078"/>
                  <a:gd name="T47" fmla="*/ 1184 h 2682"/>
                  <a:gd name="T48" fmla="*/ 562 w 3078"/>
                  <a:gd name="T49" fmla="*/ 1347 h 2682"/>
                  <a:gd name="T50" fmla="*/ 739 w 3078"/>
                  <a:gd name="T51" fmla="*/ 1511 h 2682"/>
                  <a:gd name="T52" fmla="*/ 918 w 3078"/>
                  <a:gd name="T53" fmla="*/ 1674 h 2682"/>
                  <a:gd name="T54" fmla="*/ 1099 w 3078"/>
                  <a:gd name="T55" fmla="*/ 1840 h 2682"/>
                  <a:gd name="T56" fmla="*/ 1374 w 3078"/>
                  <a:gd name="T57" fmla="*/ 1584 h 2682"/>
                  <a:gd name="T58" fmla="*/ 1651 w 3078"/>
                  <a:gd name="T59" fmla="*/ 1326 h 2682"/>
                  <a:gd name="T60" fmla="*/ 1930 w 3078"/>
                  <a:gd name="T61" fmla="*/ 1066 h 2682"/>
                  <a:gd name="T62" fmla="*/ 2213 w 3078"/>
                  <a:gd name="T63" fmla="*/ 804 h 2682"/>
                  <a:gd name="T64" fmla="*/ 2498 w 3078"/>
                  <a:gd name="T65" fmla="*/ 539 h 2682"/>
                  <a:gd name="T66" fmla="*/ 2786 w 3078"/>
                  <a:gd name="T67" fmla="*/ 270 h 2682"/>
                  <a:gd name="T68" fmla="*/ 3078 w 3078"/>
                  <a:gd name="T69" fmla="*/ 0 h 2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8" h="2682">
                    <a:moveTo>
                      <a:pt x="3078" y="0"/>
                    </a:moveTo>
                    <a:lnTo>
                      <a:pt x="3078" y="157"/>
                    </a:lnTo>
                    <a:lnTo>
                      <a:pt x="3078" y="303"/>
                    </a:lnTo>
                    <a:lnTo>
                      <a:pt x="3078" y="315"/>
                    </a:lnTo>
                    <a:lnTo>
                      <a:pt x="3078" y="454"/>
                    </a:lnTo>
                    <a:lnTo>
                      <a:pt x="3077" y="597"/>
                    </a:lnTo>
                    <a:lnTo>
                      <a:pt x="3076" y="739"/>
                    </a:lnTo>
                    <a:lnTo>
                      <a:pt x="3072" y="755"/>
                    </a:lnTo>
                    <a:lnTo>
                      <a:pt x="3062" y="770"/>
                    </a:lnTo>
                    <a:lnTo>
                      <a:pt x="3050" y="787"/>
                    </a:lnTo>
                    <a:lnTo>
                      <a:pt x="3036" y="801"/>
                    </a:lnTo>
                    <a:lnTo>
                      <a:pt x="3023" y="814"/>
                    </a:lnTo>
                    <a:lnTo>
                      <a:pt x="1096" y="2666"/>
                    </a:lnTo>
                    <a:lnTo>
                      <a:pt x="1090" y="2669"/>
                    </a:lnTo>
                    <a:lnTo>
                      <a:pt x="1082" y="2673"/>
                    </a:lnTo>
                    <a:lnTo>
                      <a:pt x="1071" y="2676"/>
                    </a:lnTo>
                    <a:lnTo>
                      <a:pt x="1057" y="2682"/>
                    </a:lnTo>
                    <a:lnTo>
                      <a:pt x="531" y="2131"/>
                    </a:lnTo>
                    <a:lnTo>
                      <a:pt x="0" y="1576"/>
                    </a:lnTo>
                    <a:lnTo>
                      <a:pt x="83" y="1491"/>
                    </a:lnTo>
                    <a:lnTo>
                      <a:pt x="163" y="1408"/>
                    </a:lnTo>
                    <a:lnTo>
                      <a:pt x="240" y="1331"/>
                    </a:lnTo>
                    <a:lnTo>
                      <a:pt x="314" y="1256"/>
                    </a:lnTo>
                    <a:lnTo>
                      <a:pt x="383" y="1184"/>
                    </a:lnTo>
                    <a:lnTo>
                      <a:pt x="562" y="1347"/>
                    </a:lnTo>
                    <a:lnTo>
                      <a:pt x="739" y="1511"/>
                    </a:lnTo>
                    <a:lnTo>
                      <a:pt x="918" y="1674"/>
                    </a:lnTo>
                    <a:lnTo>
                      <a:pt x="1099" y="1840"/>
                    </a:lnTo>
                    <a:lnTo>
                      <a:pt x="1374" y="1584"/>
                    </a:lnTo>
                    <a:lnTo>
                      <a:pt x="1651" y="1326"/>
                    </a:lnTo>
                    <a:lnTo>
                      <a:pt x="1930" y="1066"/>
                    </a:lnTo>
                    <a:lnTo>
                      <a:pt x="2213" y="804"/>
                    </a:lnTo>
                    <a:lnTo>
                      <a:pt x="2498" y="539"/>
                    </a:lnTo>
                    <a:lnTo>
                      <a:pt x="2786" y="270"/>
                    </a:lnTo>
                    <a:lnTo>
                      <a:pt x="3078"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latin typeface="+mj-lt"/>
                </a:endParaRPr>
              </a:p>
            </p:txBody>
          </p:sp>
        </p:grpSp>
      </p:grpSp>
      <p:grpSp>
        <p:nvGrpSpPr>
          <p:cNvPr id="15" name="Group 14"/>
          <p:cNvGrpSpPr/>
          <p:nvPr/>
        </p:nvGrpSpPr>
        <p:grpSpPr>
          <a:xfrm>
            <a:off x="-1" y="3149513"/>
            <a:ext cx="12436475" cy="1089643"/>
            <a:chOff x="-1" y="3149513"/>
            <a:chExt cx="12436475" cy="1089643"/>
          </a:xfrm>
        </p:grpSpPr>
        <p:grpSp>
          <p:nvGrpSpPr>
            <p:cNvPr id="7" name="Group 6"/>
            <p:cNvGrpSpPr/>
            <p:nvPr/>
          </p:nvGrpSpPr>
          <p:grpSpPr>
            <a:xfrm>
              <a:off x="-1" y="3149513"/>
              <a:ext cx="12436475" cy="1089643"/>
              <a:chOff x="-1" y="3149513"/>
              <a:chExt cx="12436475" cy="1089643"/>
            </a:xfrm>
          </p:grpSpPr>
          <p:sp>
            <p:nvSpPr>
              <p:cNvPr id="37" name="Rectangle 36"/>
              <p:cNvSpPr/>
              <p:nvPr/>
            </p:nvSpPr>
            <p:spPr bwMode="auto">
              <a:xfrm flipH="1">
                <a:off x="6074487" y="3149513"/>
                <a:ext cx="6361987" cy="1089643"/>
              </a:xfrm>
              <a:prstGeom prst="rect">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91440" bIns="91440" numCol="1" spcCol="0" rtlCol="0" fromWordArt="0" anchor="ctr" anchorCtr="0" forceAA="0" compatLnSpc="1">
                <a:prstTxWarp prst="textNoShape">
                  <a:avLst/>
                </a:prstTxWarp>
                <a:noAutofit/>
              </a:bodyPr>
              <a:lstStyle/>
              <a:p>
                <a:pPr lvl="0" defTabSz="932472">
                  <a:spcBef>
                    <a:spcPct val="0"/>
                  </a:spcBef>
                  <a:spcAft>
                    <a:spcPct val="0"/>
                  </a:spcAft>
                </a:pPr>
                <a:r>
                  <a:rPr lang="en-IN" sz="2800" dirty="0">
                    <a:solidFill>
                      <a:srgbClr val="FFFFFF"/>
                    </a:solidFill>
                    <a:latin typeface="+mj-lt"/>
                    <a:ea typeface="Segoe UI" pitchFamily="34" charset="0"/>
                    <a:cs typeface="Segoe UI" pitchFamily="34" charset="0"/>
                  </a:rPr>
                  <a:t>Enable more productive work</a:t>
                </a:r>
              </a:p>
            </p:txBody>
          </p:sp>
          <p:sp>
            <p:nvSpPr>
              <p:cNvPr id="34" name="Rectangle 33"/>
              <p:cNvSpPr/>
              <p:nvPr/>
            </p:nvSpPr>
            <p:spPr bwMode="auto">
              <a:xfrm flipH="1">
                <a:off x="-1" y="3149513"/>
                <a:ext cx="6074488" cy="1089643"/>
              </a:xfrm>
              <a:prstGeom prst="rect">
                <a:avLst/>
              </a:prstGeom>
              <a:solidFill>
                <a:schemeClr val="bg1">
                  <a:lumMod val="95000"/>
                </a:schemeClr>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457200" bIns="91440" numCol="1" spcCol="0" rtlCol="0" fromWordArt="0" anchor="ctr" anchorCtr="0" forceAA="0" compatLnSpc="1">
                <a:prstTxWarp prst="textNoShape">
                  <a:avLst/>
                </a:prstTxWarp>
                <a:noAutofit/>
              </a:bodyPr>
              <a:lstStyle/>
              <a:p>
                <a:pPr lvl="0" defTabSz="932472">
                  <a:spcBef>
                    <a:spcPct val="0"/>
                  </a:spcBef>
                  <a:spcAft>
                    <a:spcPct val="0"/>
                  </a:spcAft>
                </a:pPr>
                <a:r>
                  <a:rPr lang="en-IN" sz="2800" dirty="0">
                    <a:solidFill>
                      <a:schemeClr val="accent2"/>
                    </a:solidFill>
                    <a:latin typeface="+mj-lt"/>
                    <a:ea typeface="Segoe UI" pitchFamily="34" charset="0"/>
                    <a:cs typeface="Segoe UI" pitchFamily="34" charset="0"/>
                  </a:rPr>
                  <a:t>Leverage economies </a:t>
                </a:r>
                <a:r>
                  <a:rPr lang="en-IN" sz="2800" dirty="0" smtClean="0">
                    <a:solidFill>
                      <a:schemeClr val="accent2"/>
                    </a:solidFill>
                    <a:latin typeface="+mj-lt"/>
                    <a:ea typeface="Segoe UI" pitchFamily="34" charset="0"/>
                    <a:cs typeface="Segoe UI" pitchFamily="34" charset="0"/>
                  </a:rPr>
                  <a:t>of</a:t>
                </a:r>
                <a:br>
                  <a:rPr lang="en-IN" sz="2800" dirty="0" smtClean="0">
                    <a:solidFill>
                      <a:schemeClr val="accent2"/>
                    </a:solidFill>
                    <a:latin typeface="+mj-lt"/>
                    <a:ea typeface="Segoe UI" pitchFamily="34" charset="0"/>
                    <a:cs typeface="Segoe UI" pitchFamily="34" charset="0"/>
                  </a:rPr>
                </a:br>
                <a:r>
                  <a:rPr lang="en-IN" sz="2800" dirty="0" smtClean="0">
                    <a:solidFill>
                      <a:schemeClr val="accent2"/>
                    </a:solidFill>
                    <a:latin typeface="+mj-lt"/>
                    <a:ea typeface="Segoe UI" pitchFamily="34" charset="0"/>
                    <a:cs typeface="Segoe UI" pitchFamily="34" charset="0"/>
                  </a:rPr>
                  <a:t>scale </a:t>
                </a:r>
                <a:r>
                  <a:rPr lang="en-IN" sz="2800" dirty="0">
                    <a:solidFill>
                      <a:schemeClr val="accent2"/>
                    </a:solidFill>
                    <a:latin typeface="+mj-lt"/>
                    <a:ea typeface="Segoe UI" pitchFamily="34" charset="0"/>
                    <a:cs typeface="Segoe UI" pitchFamily="34" charset="0"/>
                  </a:rPr>
                  <a:t>and expertise</a:t>
                </a:r>
              </a:p>
            </p:txBody>
          </p:sp>
          <p:grpSp>
            <p:nvGrpSpPr>
              <p:cNvPr id="25" name="Group 24"/>
              <p:cNvGrpSpPr/>
              <p:nvPr/>
            </p:nvGrpSpPr>
            <p:grpSpPr>
              <a:xfrm flipH="1">
                <a:off x="5123212" y="3149513"/>
                <a:ext cx="1089643" cy="1089643"/>
                <a:chOff x="3135086" y="2554514"/>
                <a:chExt cx="914400" cy="914400"/>
              </a:xfrm>
            </p:grpSpPr>
            <p:sp>
              <p:nvSpPr>
                <p:cNvPr id="26" name="Rounded Rectangle 25"/>
                <p:cNvSpPr/>
                <p:nvPr/>
              </p:nvSpPr>
              <p:spPr bwMode="auto">
                <a:xfrm>
                  <a:off x="3135086" y="2554514"/>
                  <a:ext cx="914400" cy="914400"/>
                </a:xfrm>
                <a:prstGeom prst="roundRect">
                  <a:avLst>
                    <a:gd name="adj" fmla="val 8731"/>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smtClean="0">
                    <a:solidFill>
                      <a:schemeClr val="accent2"/>
                    </a:solidFill>
                    <a:latin typeface="+mj-lt"/>
                    <a:ea typeface="Segoe UI" pitchFamily="34" charset="0"/>
                    <a:cs typeface="Segoe UI" pitchFamily="34" charset="0"/>
                  </a:endParaRPr>
                </a:p>
              </p:txBody>
            </p:sp>
            <p:sp>
              <p:nvSpPr>
                <p:cNvPr id="27" name="Rounded Rectangle 26"/>
                <p:cNvSpPr/>
                <p:nvPr/>
              </p:nvSpPr>
              <p:spPr bwMode="auto">
                <a:xfrm>
                  <a:off x="3251201" y="2670629"/>
                  <a:ext cx="682171" cy="682171"/>
                </a:xfrm>
                <a:prstGeom prst="roundRect">
                  <a:avLst>
                    <a:gd name="adj" fmla="val 8731"/>
                  </a:avLst>
                </a:prstGeom>
                <a:solidFill>
                  <a:srgbClr val="F7F7F7"/>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3600" dirty="0" smtClean="0">
                    <a:solidFill>
                      <a:schemeClr val="accent2"/>
                    </a:solidFill>
                    <a:latin typeface="+mj-lt"/>
                    <a:ea typeface="Segoe UI" pitchFamily="34" charset="0"/>
                    <a:cs typeface="Segoe UI Semibold" panose="020B0702040204020203" pitchFamily="34" charset="0"/>
                  </a:endParaRPr>
                </a:p>
              </p:txBody>
            </p:sp>
          </p:grpSp>
        </p:grpSp>
        <p:grpSp>
          <p:nvGrpSpPr>
            <p:cNvPr id="138" name="Group 137"/>
            <p:cNvGrpSpPr/>
            <p:nvPr/>
          </p:nvGrpSpPr>
          <p:grpSpPr>
            <a:xfrm>
              <a:off x="5488492" y="3519836"/>
              <a:ext cx="359082" cy="340093"/>
              <a:chOff x="-3227388" y="3256364"/>
              <a:chExt cx="1881884" cy="1782362"/>
            </a:xfrm>
            <a:solidFill>
              <a:schemeClr val="accent2"/>
            </a:solidFill>
            <a:effectLst>
              <a:outerShdw blurRad="50800" dist="38100" dir="8100000" algn="tr" rotWithShape="0">
                <a:prstClr val="black">
                  <a:alpha val="40000"/>
                </a:prstClr>
              </a:outerShdw>
            </a:effectLst>
          </p:grpSpPr>
          <p:sp>
            <p:nvSpPr>
              <p:cNvPr id="139" name="Freeform 8"/>
              <p:cNvSpPr>
                <a:spLocks/>
              </p:cNvSpPr>
              <p:nvPr/>
            </p:nvSpPr>
            <p:spPr bwMode="auto">
              <a:xfrm>
                <a:off x="-3227388" y="3490913"/>
                <a:ext cx="1550988" cy="1547813"/>
              </a:xfrm>
              <a:custGeom>
                <a:avLst/>
                <a:gdLst>
                  <a:gd name="T0" fmla="*/ 0 w 3907"/>
                  <a:gd name="T1" fmla="*/ 0 h 3900"/>
                  <a:gd name="T2" fmla="*/ 3706 w 3907"/>
                  <a:gd name="T3" fmla="*/ 0 h 3900"/>
                  <a:gd name="T4" fmla="*/ 3609 w 3907"/>
                  <a:gd name="T5" fmla="*/ 87 h 3900"/>
                  <a:gd name="T6" fmla="*/ 3516 w 3907"/>
                  <a:gd name="T7" fmla="*/ 171 h 3900"/>
                  <a:gd name="T8" fmla="*/ 3425 w 3907"/>
                  <a:gd name="T9" fmla="*/ 254 h 3900"/>
                  <a:gd name="T10" fmla="*/ 3336 w 3907"/>
                  <a:gd name="T11" fmla="*/ 334 h 3900"/>
                  <a:gd name="T12" fmla="*/ 3246 w 3907"/>
                  <a:gd name="T13" fmla="*/ 412 h 3900"/>
                  <a:gd name="T14" fmla="*/ 3157 w 3907"/>
                  <a:gd name="T15" fmla="*/ 489 h 3900"/>
                  <a:gd name="T16" fmla="*/ 3140 w 3907"/>
                  <a:gd name="T17" fmla="*/ 498 h 3900"/>
                  <a:gd name="T18" fmla="*/ 3121 w 3907"/>
                  <a:gd name="T19" fmla="*/ 504 h 3900"/>
                  <a:gd name="T20" fmla="*/ 3098 w 3907"/>
                  <a:gd name="T21" fmla="*/ 507 h 3900"/>
                  <a:gd name="T22" fmla="*/ 3075 w 3907"/>
                  <a:gd name="T23" fmla="*/ 508 h 3900"/>
                  <a:gd name="T24" fmla="*/ 3050 w 3907"/>
                  <a:gd name="T25" fmla="*/ 507 h 3900"/>
                  <a:gd name="T26" fmla="*/ 3026 w 3907"/>
                  <a:gd name="T27" fmla="*/ 507 h 3900"/>
                  <a:gd name="T28" fmla="*/ 3002 w 3907"/>
                  <a:gd name="T29" fmla="*/ 505 h 3900"/>
                  <a:gd name="T30" fmla="*/ 715 w 3907"/>
                  <a:gd name="T31" fmla="*/ 507 h 3900"/>
                  <a:gd name="T32" fmla="*/ 656 w 3907"/>
                  <a:gd name="T33" fmla="*/ 507 h 3900"/>
                  <a:gd name="T34" fmla="*/ 595 w 3907"/>
                  <a:gd name="T35" fmla="*/ 507 h 3900"/>
                  <a:gd name="T36" fmla="*/ 529 w 3907"/>
                  <a:gd name="T37" fmla="*/ 507 h 3900"/>
                  <a:gd name="T38" fmla="*/ 529 w 3907"/>
                  <a:gd name="T39" fmla="*/ 3382 h 3900"/>
                  <a:gd name="T40" fmla="*/ 3405 w 3907"/>
                  <a:gd name="T41" fmla="*/ 3382 h 3900"/>
                  <a:gd name="T42" fmla="*/ 3406 w 3907"/>
                  <a:gd name="T43" fmla="*/ 2980 h 3900"/>
                  <a:gd name="T44" fmla="*/ 3406 w 3907"/>
                  <a:gd name="T45" fmla="*/ 2584 h 3900"/>
                  <a:gd name="T46" fmla="*/ 3406 w 3907"/>
                  <a:gd name="T47" fmla="*/ 2191 h 3900"/>
                  <a:gd name="T48" fmla="*/ 3403 w 3907"/>
                  <a:gd name="T49" fmla="*/ 1799 h 3900"/>
                  <a:gd name="T50" fmla="*/ 3404 w 3907"/>
                  <a:gd name="T51" fmla="*/ 1751 h 3900"/>
                  <a:gd name="T52" fmla="*/ 3410 w 3907"/>
                  <a:gd name="T53" fmla="*/ 1706 h 3900"/>
                  <a:gd name="T54" fmla="*/ 3421 w 3907"/>
                  <a:gd name="T55" fmla="*/ 1665 h 3900"/>
                  <a:gd name="T56" fmla="*/ 3437 w 3907"/>
                  <a:gd name="T57" fmla="*/ 1627 h 3900"/>
                  <a:gd name="T58" fmla="*/ 3460 w 3907"/>
                  <a:gd name="T59" fmla="*/ 1591 h 3900"/>
                  <a:gd name="T60" fmla="*/ 3489 w 3907"/>
                  <a:gd name="T61" fmla="*/ 1557 h 3900"/>
                  <a:gd name="T62" fmla="*/ 3524 w 3907"/>
                  <a:gd name="T63" fmla="*/ 1524 h 3900"/>
                  <a:gd name="T64" fmla="*/ 3598 w 3907"/>
                  <a:gd name="T65" fmla="*/ 1461 h 3900"/>
                  <a:gd name="T66" fmla="*/ 3674 w 3907"/>
                  <a:gd name="T67" fmla="*/ 1394 h 3900"/>
                  <a:gd name="T68" fmla="*/ 3747 w 3907"/>
                  <a:gd name="T69" fmla="*/ 1324 h 3900"/>
                  <a:gd name="T70" fmla="*/ 3825 w 3907"/>
                  <a:gd name="T71" fmla="*/ 1250 h 3900"/>
                  <a:gd name="T72" fmla="*/ 3907 w 3907"/>
                  <a:gd name="T73" fmla="*/ 1173 h 3900"/>
                  <a:gd name="T74" fmla="*/ 3907 w 3907"/>
                  <a:gd name="T75" fmla="*/ 1724 h 3900"/>
                  <a:gd name="T76" fmla="*/ 3907 w 3907"/>
                  <a:gd name="T77" fmla="*/ 2271 h 3900"/>
                  <a:gd name="T78" fmla="*/ 3907 w 3907"/>
                  <a:gd name="T79" fmla="*/ 2815 h 3900"/>
                  <a:gd name="T80" fmla="*/ 3907 w 3907"/>
                  <a:gd name="T81" fmla="*/ 3356 h 3900"/>
                  <a:gd name="T82" fmla="*/ 3907 w 3907"/>
                  <a:gd name="T83" fmla="*/ 3900 h 3900"/>
                  <a:gd name="T84" fmla="*/ 0 w 3907"/>
                  <a:gd name="T85" fmla="*/ 3900 h 3900"/>
                  <a:gd name="T86" fmla="*/ 0 w 3907"/>
                  <a:gd name="T87"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7" h="3900">
                    <a:moveTo>
                      <a:pt x="0" y="0"/>
                    </a:moveTo>
                    <a:lnTo>
                      <a:pt x="3706" y="0"/>
                    </a:lnTo>
                    <a:lnTo>
                      <a:pt x="3609" y="87"/>
                    </a:lnTo>
                    <a:lnTo>
                      <a:pt x="3516" y="171"/>
                    </a:lnTo>
                    <a:lnTo>
                      <a:pt x="3425" y="254"/>
                    </a:lnTo>
                    <a:lnTo>
                      <a:pt x="3336" y="334"/>
                    </a:lnTo>
                    <a:lnTo>
                      <a:pt x="3246" y="412"/>
                    </a:lnTo>
                    <a:lnTo>
                      <a:pt x="3157" y="489"/>
                    </a:lnTo>
                    <a:lnTo>
                      <a:pt x="3140" y="498"/>
                    </a:lnTo>
                    <a:lnTo>
                      <a:pt x="3121" y="504"/>
                    </a:lnTo>
                    <a:lnTo>
                      <a:pt x="3098" y="507"/>
                    </a:lnTo>
                    <a:lnTo>
                      <a:pt x="3075" y="508"/>
                    </a:lnTo>
                    <a:lnTo>
                      <a:pt x="3050" y="507"/>
                    </a:lnTo>
                    <a:lnTo>
                      <a:pt x="3026" y="507"/>
                    </a:lnTo>
                    <a:lnTo>
                      <a:pt x="3002" y="505"/>
                    </a:lnTo>
                    <a:lnTo>
                      <a:pt x="715" y="507"/>
                    </a:lnTo>
                    <a:lnTo>
                      <a:pt x="656" y="507"/>
                    </a:lnTo>
                    <a:lnTo>
                      <a:pt x="595" y="507"/>
                    </a:lnTo>
                    <a:lnTo>
                      <a:pt x="529" y="507"/>
                    </a:lnTo>
                    <a:lnTo>
                      <a:pt x="529" y="3382"/>
                    </a:lnTo>
                    <a:lnTo>
                      <a:pt x="3405" y="3382"/>
                    </a:lnTo>
                    <a:lnTo>
                      <a:pt x="3406" y="2980"/>
                    </a:lnTo>
                    <a:lnTo>
                      <a:pt x="3406" y="2584"/>
                    </a:lnTo>
                    <a:lnTo>
                      <a:pt x="3406" y="2191"/>
                    </a:lnTo>
                    <a:lnTo>
                      <a:pt x="3403" y="1799"/>
                    </a:lnTo>
                    <a:lnTo>
                      <a:pt x="3404" y="1751"/>
                    </a:lnTo>
                    <a:lnTo>
                      <a:pt x="3410" y="1706"/>
                    </a:lnTo>
                    <a:lnTo>
                      <a:pt x="3421" y="1665"/>
                    </a:lnTo>
                    <a:lnTo>
                      <a:pt x="3437" y="1627"/>
                    </a:lnTo>
                    <a:lnTo>
                      <a:pt x="3460" y="1591"/>
                    </a:lnTo>
                    <a:lnTo>
                      <a:pt x="3489" y="1557"/>
                    </a:lnTo>
                    <a:lnTo>
                      <a:pt x="3524" y="1524"/>
                    </a:lnTo>
                    <a:lnTo>
                      <a:pt x="3598" y="1461"/>
                    </a:lnTo>
                    <a:lnTo>
                      <a:pt x="3674" y="1394"/>
                    </a:lnTo>
                    <a:lnTo>
                      <a:pt x="3747" y="1324"/>
                    </a:lnTo>
                    <a:lnTo>
                      <a:pt x="3825" y="1250"/>
                    </a:lnTo>
                    <a:lnTo>
                      <a:pt x="3907" y="1173"/>
                    </a:lnTo>
                    <a:lnTo>
                      <a:pt x="3907" y="1724"/>
                    </a:lnTo>
                    <a:lnTo>
                      <a:pt x="3907" y="2271"/>
                    </a:lnTo>
                    <a:lnTo>
                      <a:pt x="3907" y="2815"/>
                    </a:lnTo>
                    <a:lnTo>
                      <a:pt x="3907" y="3356"/>
                    </a:lnTo>
                    <a:lnTo>
                      <a:pt x="3907" y="3900"/>
                    </a:lnTo>
                    <a:lnTo>
                      <a:pt x="0" y="3900"/>
                    </a:lnTo>
                    <a:lnTo>
                      <a:pt x="0"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latin typeface="+mj-lt"/>
                </a:endParaRPr>
              </a:p>
            </p:txBody>
          </p:sp>
          <p:sp>
            <p:nvSpPr>
              <p:cNvPr id="140" name="Freeform 9"/>
              <p:cNvSpPr>
                <a:spLocks/>
              </p:cNvSpPr>
              <p:nvPr/>
            </p:nvSpPr>
            <p:spPr bwMode="auto">
              <a:xfrm>
                <a:off x="-2894015" y="3256364"/>
                <a:ext cx="1548511" cy="1351170"/>
              </a:xfrm>
              <a:custGeom>
                <a:avLst/>
                <a:gdLst>
                  <a:gd name="T0" fmla="*/ 3078 w 3078"/>
                  <a:gd name="T1" fmla="*/ 0 h 2682"/>
                  <a:gd name="T2" fmla="*/ 3078 w 3078"/>
                  <a:gd name="T3" fmla="*/ 157 h 2682"/>
                  <a:gd name="T4" fmla="*/ 3078 w 3078"/>
                  <a:gd name="T5" fmla="*/ 303 h 2682"/>
                  <a:gd name="T6" fmla="*/ 3078 w 3078"/>
                  <a:gd name="T7" fmla="*/ 315 h 2682"/>
                  <a:gd name="T8" fmla="*/ 3078 w 3078"/>
                  <a:gd name="T9" fmla="*/ 454 h 2682"/>
                  <a:gd name="T10" fmla="*/ 3077 w 3078"/>
                  <a:gd name="T11" fmla="*/ 597 h 2682"/>
                  <a:gd name="T12" fmla="*/ 3076 w 3078"/>
                  <a:gd name="T13" fmla="*/ 739 h 2682"/>
                  <a:gd name="T14" fmla="*/ 3072 w 3078"/>
                  <a:gd name="T15" fmla="*/ 755 h 2682"/>
                  <a:gd name="T16" fmla="*/ 3062 w 3078"/>
                  <a:gd name="T17" fmla="*/ 770 h 2682"/>
                  <a:gd name="T18" fmla="*/ 3050 w 3078"/>
                  <a:gd name="T19" fmla="*/ 787 h 2682"/>
                  <a:gd name="T20" fmla="*/ 3036 w 3078"/>
                  <a:gd name="T21" fmla="*/ 801 h 2682"/>
                  <a:gd name="T22" fmla="*/ 3023 w 3078"/>
                  <a:gd name="T23" fmla="*/ 814 h 2682"/>
                  <a:gd name="T24" fmla="*/ 1096 w 3078"/>
                  <a:gd name="T25" fmla="*/ 2666 h 2682"/>
                  <a:gd name="T26" fmla="*/ 1090 w 3078"/>
                  <a:gd name="T27" fmla="*/ 2669 h 2682"/>
                  <a:gd name="T28" fmla="*/ 1082 w 3078"/>
                  <a:gd name="T29" fmla="*/ 2673 h 2682"/>
                  <a:gd name="T30" fmla="*/ 1071 w 3078"/>
                  <a:gd name="T31" fmla="*/ 2676 h 2682"/>
                  <a:gd name="T32" fmla="*/ 1057 w 3078"/>
                  <a:gd name="T33" fmla="*/ 2682 h 2682"/>
                  <a:gd name="T34" fmla="*/ 531 w 3078"/>
                  <a:gd name="T35" fmla="*/ 2131 h 2682"/>
                  <a:gd name="T36" fmla="*/ 0 w 3078"/>
                  <a:gd name="T37" fmla="*/ 1576 h 2682"/>
                  <a:gd name="T38" fmla="*/ 83 w 3078"/>
                  <a:gd name="T39" fmla="*/ 1491 h 2682"/>
                  <a:gd name="T40" fmla="*/ 163 w 3078"/>
                  <a:gd name="T41" fmla="*/ 1408 h 2682"/>
                  <a:gd name="T42" fmla="*/ 240 w 3078"/>
                  <a:gd name="T43" fmla="*/ 1331 h 2682"/>
                  <a:gd name="T44" fmla="*/ 314 w 3078"/>
                  <a:gd name="T45" fmla="*/ 1256 h 2682"/>
                  <a:gd name="T46" fmla="*/ 383 w 3078"/>
                  <a:gd name="T47" fmla="*/ 1184 h 2682"/>
                  <a:gd name="T48" fmla="*/ 562 w 3078"/>
                  <a:gd name="T49" fmla="*/ 1347 h 2682"/>
                  <a:gd name="T50" fmla="*/ 739 w 3078"/>
                  <a:gd name="T51" fmla="*/ 1511 h 2682"/>
                  <a:gd name="T52" fmla="*/ 918 w 3078"/>
                  <a:gd name="T53" fmla="*/ 1674 h 2682"/>
                  <a:gd name="T54" fmla="*/ 1099 w 3078"/>
                  <a:gd name="T55" fmla="*/ 1840 h 2682"/>
                  <a:gd name="T56" fmla="*/ 1374 w 3078"/>
                  <a:gd name="T57" fmla="*/ 1584 h 2682"/>
                  <a:gd name="T58" fmla="*/ 1651 w 3078"/>
                  <a:gd name="T59" fmla="*/ 1326 h 2682"/>
                  <a:gd name="T60" fmla="*/ 1930 w 3078"/>
                  <a:gd name="T61" fmla="*/ 1066 h 2682"/>
                  <a:gd name="T62" fmla="*/ 2213 w 3078"/>
                  <a:gd name="T63" fmla="*/ 804 h 2682"/>
                  <a:gd name="T64" fmla="*/ 2498 w 3078"/>
                  <a:gd name="T65" fmla="*/ 539 h 2682"/>
                  <a:gd name="T66" fmla="*/ 2786 w 3078"/>
                  <a:gd name="T67" fmla="*/ 270 h 2682"/>
                  <a:gd name="T68" fmla="*/ 3078 w 3078"/>
                  <a:gd name="T69" fmla="*/ 0 h 2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8" h="2682">
                    <a:moveTo>
                      <a:pt x="3078" y="0"/>
                    </a:moveTo>
                    <a:lnTo>
                      <a:pt x="3078" y="157"/>
                    </a:lnTo>
                    <a:lnTo>
                      <a:pt x="3078" y="303"/>
                    </a:lnTo>
                    <a:lnTo>
                      <a:pt x="3078" y="315"/>
                    </a:lnTo>
                    <a:lnTo>
                      <a:pt x="3078" y="454"/>
                    </a:lnTo>
                    <a:lnTo>
                      <a:pt x="3077" y="597"/>
                    </a:lnTo>
                    <a:lnTo>
                      <a:pt x="3076" y="739"/>
                    </a:lnTo>
                    <a:lnTo>
                      <a:pt x="3072" y="755"/>
                    </a:lnTo>
                    <a:lnTo>
                      <a:pt x="3062" y="770"/>
                    </a:lnTo>
                    <a:lnTo>
                      <a:pt x="3050" y="787"/>
                    </a:lnTo>
                    <a:lnTo>
                      <a:pt x="3036" y="801"/>
                    </a:lnTo>
                    <a:lnTo>
                      <a:pt x="3023" y="814"/>
                    </a:lnTo>
                    <a:lnTo>
                      <a:pt x="1096" y="2666"/>
                    </a:lnTo>
                    <a:lnTo>
                      <a:pt x="1090" y="2669"/>
                    </a:lnTo>
                    <a:lnTo>
                      <a:pt x="1082" y="2673"/>
                    </a:lnTo>
                    <a:lnTo>
                      <a:pt x="1071" y="2676"/>
                    </a:lnTo>
                    <a:lnTo>
                      <a:pt x="1057" y="2682"/>
                    </a:lnTo>
                    <a:lnTo>
                      <a:pt x="531" y="2131"/>
                    </a:lnTo>
                    <a:lnTo>
                      <a:pt x="0" y="1576"/>
                    </a:lnTo>
                    <a:lnTo>
                      <a:pt x="83" y="1491"/>
                    </a:lnTo>
                    <a:lnTo>
                      <a:pt x="163" y="1408"/>
                    </a:lnTo>
                    <a:lnTo>
                      <a:pt x="240" y="1331"/>
                    </a:lnTo>
                    <a:lnTo>
                      <a:pt x="314" y="1256"/>
                    </a:lnTo>
                    <a:lnTo>
                      <a:pt x="383" y="1184"/>
                    </a:lnTo>
                    <a:lnTo>
                      <a:pt x="562" y="1347"/>
                    </a:lnTo>
                    <a:lnTo>
                      <a:pt x="739" y="1511"/>
                    </a:lnTo>
                    <a:lnTo>
                      <a:pt x="918" y="1674"/>
                    </a:lnTo>
                    <a:lnTo>
                      <a:pt x="1099" y="1840"/>
                    </a:lnTo>
                    <a:lnTo>
                      <a:pt x="1374" y="1584"/>
                    </a:lnTo>
                    <a:lnTo>
                      <a:pt x="1651" y="1326"/>
                    </a:lnTo>
                    <a:lnTo>
                      <a:pt x="1930" y="1066"/>
                    </a:lnTo>
                    <a:lnTo>
                      <a:pt x="2213" y="804"/>
                    </a:lnTo>
                    <a:lnTo>
                      <a:pt x="2498" y="539"/>
                    </a:lnTo>
                    <a:lnTo>
                      <a:pt x="2786" y="270"/>
                    </a:lnTo>
                    <a:lnTo>
                      <a:pt x="3078"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latin typeface="+mj-lt"/>
                </a:endParaRPr>
              </a:p>
            </p:txBody>
          </p:sp>
        </p:grpSp>
      </p:grpSp>
      <p:grpSp>
        <p:nvGrpSpPr>
          <p:cNvPr id="14" name="Group 13"/>
          <p:cNvGrpSpPr/>
          <p:nvPr/>
        </p:nvGrpSpPr>
        <p:grpSpPr>
          <a:xfrm>
            <a:off x="-2" y="4425863"/>
            <a:ext cx="12436478" cy="1089643"/>
            <a:chOff x="-2" y="4425863"/>
            <a:chExt cx="12436478" cy="1089643"/>
          </a:xfrm>
        </p:grpSpPr>
        <p:grpSp>
          <p:nvGrpSpPr>
            <p:cNvPr id="10" name="Group 9"/>
            <p:cNvGrpSpPr/>
            <p:nvPr/>
          </p:nvGrpSpPr>
          <p:grpSpPr>
            <a:xfrm>
              <a:off x="-2" y="4425863"/>
              <a:ext cx="12436478" cy="1089643"/>
              <a:chOff x="-2" y="4425863"/>
              <a:chExt cx="12436478" cy="1089643"/>
            </a:xfrm>
          </p:grpSpPr>
          <p:sp>
            <p:nvSpPr>
              <p:cNvPr id="36" name="Rectangle 35"/>
              <p:cNvSpPr/>
              <p:nvPr/>
            </p:nvSpPr>
            <p:spPr bwMode="auto">
              <a:xfrm flipH="1">
                <a:off x="7164130" y="4425863"/>
                <a:ext cx="5272346" cy="1089643"/>
              </a:xfrm>
              <a:prstGeom prst="rect">
                <a:avLst/>
              </a:prstGeom>
              <a:solidFill>
                <a:schemeClr val="accent3"/>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91440" bIns="91440" numCol="1" spcCol="0" rtlCol="0" fromWordArt="0" anchor="ctr" anchorCtr="0" forceAA="0" compatLnSpc="1">
                <a:prstTxWarp prst="textNoShape">
                  <a:avLst/>
                </a:prstTxWarp>
                <a:noAutofit/>
              </a:bodyPr>
              <a:lstStyle/>
              <a:p>
                <a:pPr lvl="0" defTabSz="932472">
                  <a:spcBef>
                    <a:spcPct val="0"/>
                  </a:spcBef>
                  <a:spcAft>
                    <a:spcPct val="0"/>
                  </a:spcAft>
                </a:pPr>
                <a:r>
                  <a:rPr lang="en-IN" sz="2800" dirty="0">
                    <a:solidFill>
                      <a:srgbClr val="FFFFFF"/>
                    </a:solidFill>
                    <a:latin typeface="+mj-lt"/>
                    <a:ea typeface="Segoe UI" pitchFamily="34" charset="0"/>
                    <a:cs typeface="Segoe UI" pitchFamily="34" charset="0"/>
                  </a:rPr>
                  <a:t>Drive new and more rapid sources of innovation</a:t>
                </a:r>
              </a:p>
            </p:txBody>
          </p:sp>
          <p:sp>
            <p:nvSpPr>
              <p:cNvPr id="35" name="Rectangle 34"/>
              <p:cNvSpPr/>
              <p:nvPr/>
            </p:nvSpPr>
            <p:spPr bwMode="auto">
              <a:xfrm flipH="1">
                <a:off x="-2" y="4425863"/>
                <a:ext cx="7164132" cy="1089643"/>
              </a:xfrm>
              <a:prstGeom prst="rect">
                <a:avLst/>
              </a:prstGeom>
              <a:solidFill>
                <a:schemeClr val="bg1">
                  <a:lumMod val="95000"/>
                </a:schemeClr>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457200" bIns="91440" numCol="1" spcCol="0" rtlCol="0" fromWordArt="0" anchor="ctr" anchorCtr="0" forceAA="0" compatLnSpc="1">
                <a:prstTxWarp prst="textNoShape">
                  <a:avLst/>
                </a:prstTxWarp>
                <a:noAutofit/>
              </a:bodyPr>
              <a:lstStyle/>
              <a:p>
                <a:pPr lvl="0" defTabSz="932472">
                  <a:spcBef>
                    <a:spcPct val="0"/>
                  </a:spcBef>
                  <a:spcAft>
                    <a:spcPct val="0"/>
                  </a:spcAft>
                </a:pPr>
                <a:r>
                  <a:rPr lang="en-IN" sz="2800" dirty="0">
                    <a:solidFill>
                      <a:schemeClr val="accent3"/>
                    </a:solidFill>
                    <a:latin typeface="+mj-lt"/>
                    <a:ea typeface="Segoe UI" pitchFamily="34" charset="0"/>
                    <a:cs typeface="Segoe UI" pitchFamily="34" charset="0"/>
                  </a:rPr>
                  <a:t>Use the cloud to </a:t>
                </a:r>
                <a:r>
                  <a:rPr lang="en-IN" sz="2800" dirty="0" smtClean="0">
                    <a:solidFill>
                      <a:schemeClr val="accent3"/>
                    </a:solidFill>
                    <a:latin typeface="+mj-lt"/>
                    <a:ea typeface="Segoe UI" pitchFamily="34" charset="0"/>
                    <a:cs typeface="Segoe UI" pitchFamily="34" charset="0"/>
                  </a:rPr>
                  <a:t>drive</a:t>
                </a:r>
                <a:br>
                  <a:rPr lang="en-IN" sz="2800" dirty="0" smtClean="0">
                    <a:solidFill>
                      <a:schemeClr val="accent3"/>
                    </a:solidFill>
                    <a:latin typeface="+mj-lt"/>
                    <a:ea typeface="Segoe UI" pitchFamily="34" charset="0"/>
                    <a:cs typeface="Segoe UI" pitchFamily="34" charset="0"/>
                  </a:rPr>
                </a:br>
                <a:r>
                  <a:rPr lang="en-IN" sz="2800" dirty="0" smtClean="0">
                    <a:solidFill>
                      <a:schemeClr val="accent3"/>
                    </a:solidFill>
                    <a:latin typeface="+mj-lt"/>
                    <a:ea typeface="Segoe UI" pitchFamily="34" charset="0"/>
                    <a:cs typeface="Segoe UI" pitchFamily="34" charset="0"/>
                  </a:rPr>
                  <a:t>business </a:t>
                </a:r>
                <a:r>
                  <a:rPr lang="en-IN" sz="2800" dirty="0">
                    <a:solidFill>
                      <a:schemeClr val="accent3"/>
                    </a:solidFill>
                    <a:latin typeface="+mj-lt"/>
                    <a:ea typeface="Segoe UI" pitchFamily="34" charset="0"/>
                    <a:cs typeface="Segoe UI" pitchFamily="34" charset="0"/>
                  </a:rPr>
                  <a:t>strategy</a:t>
                </a:r>
              </a:p>
            </p:txBody>
          </p:sp>
          <p:grpSp>
            <p:nvGrpSpPr>
              <p:cNvPr id="30" name="Group 29"/>
              <p:cNvGrpSpPr/>
              <p:nvPr/>
            </p:nvGrpSpPr>
            <p:grpSpPr>
              <a:xfrm flipH="1">
                <a:off x="6212855" y="4425863"/>
                <a:ext cx="1089643" cy="1089643"/>
                <a:chOff x="3135086" y="2554514"/>
                <a:chExt cx="914400" cy="914400"/>
              </a:xfrm>
            </p:grpSpPr>
            <p:sp>
              <p:nvSpPr>
                <p:cNvPr id="31" name="Rounded Rectangle 30"/>
                <p:cNvSpPr/>
                <p:nvPr/>
              </p:nvSpPr>
              <p:spPr bwMode="auto">
                <a:xfrm>
                  <a:off x="3135086" y="2554514"/>
                  <a:ext cx="914400" cy="914400"/>
                </a:xfrm>
                <a:prstGeom prst="roundRect">
                  <a:avLst>
                    <a:gd name="adj" fmla="val 8731"/>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smtClean="0">
                    <a:solidFill>
                      <a:schemeClr val="accent3"/>
                    </a:solidFill>
                    <a:latin typeface="+mj-lt"/>
                    <a:ea typeface="Segoe UI" pitchFamily="34" charset="0"/>
                    <a:cs typeface="Segoe UI" pitchFamily="34" charset="0"/>
                  </a:endParaRPr>
                </a:p>
              </p:txBody>
            </p:sp>
            <p:sp>
              <p:nvSpPr>
                <p:cNvPr id="32" name="Rounded Rectangle 31"/>
                <p:cNvSpPr/>
                <p:nvPr/>
              </p:nvSpPr>
              <p:spPr bwMode="auto">
                <a:xfrm>
                  <a:off x="3251201" y="2670629"/>
                  <a:ext cx="682171" cy="682171"/>
                </a:xfrm>
                <a:prstGeom prst="roundRect">
                  <a:avLst>
                    <a:gd name="adj" fmla="val 8731"/>
                  </a:avLst>
                </a:prstGeom>
                <a:solidFill>
                  <a:srgbClr val="F7F7F7"/>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3600" dirty="0" smtClean="0">
                    <a:solidFill>
                      <a:schemeClr val="accent3"/>
                    </a:solidFill>
                    <a:latin typeface="+mj-lt"/>
                    <a:ea typeface="Segoe UI" pitchFamily="34" charset="0"/>
                    <a:cs typeface="Segoe UI Semibold" panose="020B0702040204020203" pitchFamily="34" charset="0"/>
                  </a:endParaRPr>
                </a:p>
              </p:txBody>
            </p:sp>
          </p:grpSp>
        </p:grpSp>
        <p:grpSp>
          <p:nvGrpSpPr>
            <p:cNvPr id="141" name="Group 140"/>
            <p:cNvGrpSpPr/>
            <p:nvPr/>
          </p:nvGrpSpPr>
          <p:grpSpPr>
            <a:xfrm>
              <a:off x="6578135" y="4800637"/>
              <a:ext cx="359082" cy="340093"/>
              <a:chOff x="-3227388" y="3256364"/>
              <a:chExt cx="1881884" cy="1782362"/>
            </a:xfrm>
            <a:solidFill>
              <a:schemeClr val="accent3"/>
            </a:solidFill>
            <a:effectLst>
              <a:outerShdw blurRad="50800" dist="38100" dir="8100000" algn="tr" rotWithShape="0">
                <a:prstClr val="black">
                  <a:alpha val="40000"/>
                </a:prstClr>
              </a:outerShdw>
            </a:effectLst>
          </p:grpSpPr>
          <p:sp>
            <p:nvSpPr>
              <p:cNvPr id="142" name="Freeform 8"/>
              <p:cNvSpPr>
                <a:spLocks/>
              </p:cNvSpPr>
              <p:nvPr/>
            </p:nvSpPr>
            <p:spPr bwMode="auto">
              <a:xfrm>
                <a:off x="-3227388" y="3490913"/>
                <a:ext cx="1550988" cy="1547813"/>
              </a:xfrm>
              <a:custGeom>
                <a:avLst/>
                <a:gdLst>
                  <a:gd name="T0" fmla="*/ 0 w 3907"/>
                  <a:gd name="T1" fmla="*/ 0 h 3900"/>
                  <a:gd name="T2" fmla="*/ 3706 w 3907"/>
                  <a:gd name="T3" fmla="*/ 0 h 3900"/>
                  <a:gd name="T4" fmla="*/ 3609 w 3907"/>
                  <a:gd name="T5" fmla="*/ 87 h 3900"/>
                  <a:gd name="T6" fmla="*/ 3516 w 3907"/>
                  <a:gd name="T7" fmla="*/ 171 h 3900"/>
                  <a:gd name="T8" fmla="*/ 3425 w 3907"/>
                  <a:gd name="T9" fmla="*/ 254 h 3900"/>
                  <a:gd name="T10" fmla="*/ 3336 w 3907"/>
                  <a:gd name="T11" fmla="*/ 334 h 3900"/>
                  <a:gd name="T12" fmla="*/ 3246 w 3907"/>
                  <a:gd name="T13" fmla="*/ 412 h 3900"/>
                  <a:gd name="T14" fmla="*/ 3157 w 3907"/>
                  <a:gd name="T15" fmla="*/ 489 h 3900"/>
                  <a:gd name="T16" fmla="*/ 3140 w 3907"/>
                  <a:gd name="T17" fmla="*/ 498 h 3900"/>
                  <a:gd name="T18" fmla="*/ 3121 w 3907"/>
                  <a:gd name="T19" fmla="*/ 504 h 3900"/>
                  <a:gd name="T20" fmla="*/ 3098 w 3907"/>
                  <a:gd name="T21" fmla="*/ 507 h 3900"/>
                  <a:gd name="T22" fmla="*/ 3075 w 3907"/>
                  <a:gd name="T23" fmla="*/ 508 h 3900"/>
                  <a:gd name="T24" fmla="*/ 3050 w 3907"/>
                  <a:gd name="T25" fmla="*/ 507 h 3900"/>
                  <a:gd name="T26" fmla="*/ 3026 w 3907"/>
                  <a:gd name="T27" fmla="*/ 507 h 3900"/>
                  <a:gd name="T28" fmla="*/ 3002 w 3907"/>
                  <a:gd name="T29" fmla="*/ 505 h 3900"/>
                  <a:gd name="T30" fmla="*/ 715 w 3907"/>
                  <a:gd name="T31" fmla="*/ 507 h 3900"/>
                  <a:gd name="T32" fmla="*/ 656 w 3907"/>
                  <a:gd name="T33" fmla="*/ 507 h 3900"/>
                  <a:gd name="T34" fmla="*/ 595 w 3907"/>
                  <a:gd name="T35" fmla="*/ 507 h 3900"/>
                  <a:gd name="T36" fmla="*/ 529 w 3907"/>
                  <a:gd name="T37" fmla="*/ 507 h 3900"/>
                  <a:gd name="T38" fmla="*/ 529 w 3907"/>
                  <a:gd name="T39" fmla="*/ 3382 h 3900"/>
                  <a:gd name="T40" fmla="*/ 3405 w 3907"/>
                  <a:gd name="T41" fmla="*/ 3382 h 3900"/>
                  <a:gd name="T42" fmla="*/ 3406 w 3907"/>
                  <a:gd name="T43" fmla="*/ 2980 h 3900"/>
                  <a:gd name="T44" fmla="*/ 3406 w 3907"/>
                  <a:gd name="T45" fmla="*/ 2584 h 3900"/>
                  <a:gd name="T46" fmla="*/ 3406 w 3907"/>
                  <a:gd name="T47" fmla="*/ 2191 h 3900"/>
                  <a:gd name="T48" fmla="*/ 3403 w 3907"/>
                  <a:gd name="T49" fmla="*/ 1799 h 3900"/>
                  <a:gd name="T50" fmla="*/ 3404 w 3907"/>
                  <a:gd name="T51" fmla="*/ 1751 h 3900"/>
                  <a:gd name="T52" fmla="*/ 3410 w 3907"/>
                  <a:gd name="T53" fmla="*/ 1706 h 3900"/>
                  <a:gd name="T54" fmla="*/ 3421 w 3907"/>
                  <a:gd name="T55" fmla="*/ 1665 h 3900"/>
                  <a:gd name="T56" fmla="*/ 3437 w 3907"/>
                  <a:gd name="T57" fmla="*/ 1627 h 3900"/>
                  <a:gd name="T58" fmla="*/ 3460 w 3907"/>
                  <a:gd name="T59" fmla="*/ 1591 h 3900"/>
                  <a:gd name="T60" fmla="*/ 3489 w 3907"/>
                  <a:gd name="T61" fmla="*/ 1557 h 3900"/>
                  <a:gd name="T62" fmla="*/ 3524 w 3907"/>
                  <a:gd name="T63" fmla="*/ 1524 h 3900"/>
                  <a:gd name="T64" fmla="*/ 3598 w 3907"/>
                  <a:gd name="T65" fmla="*/ 1461 h 3900"/>
                  <a:gd name="T66" fmla="*/ 3674 w 3907"/>
                  <a:gd name="T67" fmla="*/ 1394 h 3900"/>
                  <a:gd name="T68" fmla="*/ 3747 w 3907"/>
                  <a:gd name="T69" fmla="*/ 1324 h 3900"/>
                  <a:gd name="T70" fmla="*/ 3825 w 3907"/>
                  <a:gd name="T71" fmla="*/ 1250 h 3900"/>
                  <a:gd name="T72" fmla="*/ 3907 w 3907"/>
                  <a:gd name="T73" fmla="*/ 1173 h 3900"/>
                  <a:gd name="T74" fmla="*/ 3907 w 3907"/>
                  <a:gd name="T75" fmla="*/ 1724 h 3900"/>
                  <a:gd name="T76" fmla="*/ 3907 w 3907"/>
                  <a:gd name="T77" fmla="*/ 2271 h 3900"/>
                  <a:gd name="T78" fmla="*/ 3907 w 3907"/>
                  <a:gd name="T79" fmla="*/ 2815 h 3900"/>
                  <a:gd name="T80" fmla="*/ 3907 w 3907"/>
                  <a:gd name="T81" fmla="*/ 3356 h 3900"/>
                  <a:gd name="T82" fmla="*/ 3907 w 3907"/>
                  <a:gd name="T83" fmla="*/ 3900 h 3900"/>
                  <a:gd name="T84" fmla="*/ 0 w 3907"/>
                  <a:gd name="T85" fmla="*/ 3900 h 3900"/>
                  <a:gd name="T86" fmla="*/ 0 w 3907"/>
                  <a:gd name="T87"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7" h="3900">
                    <a:moveTo>
                      <a:pt x="0" y="0"/>
                    </a:moveTo>
                    <a:lnTo>
                      <a:pt x="3706" y="0"/>
                    </a:lnTo>
                    <a:lnTo>
                      <a:pt x="3609" y="87"/>
                    </a:lnTo>
                    <a:lnTo>
                      <a:pt x="3516" y="171"/>
                    </a:lnTo>
                    <a:lnTo>
                      <a:pt x="3425" y="254"/>
                    </a:lnTo>
                    <a:lnTo>
                      <a:pt x="3336" y="334"/>
                    </a:lnTo>
                    <a:lnTo>
                      <a:pt x="3246" y="412"/>
                    </a:lnTo>
                    <a:lnTo>
                      <a:pt x="3157" y="489"/>
                    </a:lnTo>
                    <a:lnTo>
                      <a:pt x="3140" y="498"/>
                    </a:lnTo>
                    <a:lnTo>
                      <a:pt x="3121" y="504"/>
                    </a:lnTo>
                    <a:lnTo>
                      <a:pt x="3098" y="507"/>
                    </a:lnTo>
                    <a:lnTo>
                      <a:pt x="3075" y="508"/>
                    </a:lnTo>
                    <a:lnTo>
                      <a:pt x="3050" y="507"/>
                    </a:lnTo>
                    <a:lnTo>
                      <a:pt x="3026" y="507"/>
                    </a:lnTo>
                    <a:lnTo>
                      <a:pt x="3002" y="505"/>
                    </a:lnTo>
                    <a:lnTo>
                      <a:pt x="715" y="507"/>
                    </a:lnTo>
                    <a:lnTo>
                      <a:pt x="656" y="507"/>
                    </a:lnTo>
                    <a:lnTo>
                      <a:pt x="595" y="507"/>
                    </a:lnTo>
                    <a:lnTo>
                      <a:pt x="529" y="507"/>
                    </a:lnTo>
                    <a:lnTo>
                      <a:pt x="529" y="3382"/>
                    </a:lnTo>
                    <a:lnTo>
                      <a:pt x="3405" y="3382"/>
                    </a:lnTo>
                    <a:lnTo>
                      <a:pt x="3406" y="2980"/>
                    </a:lnTo>
                    <a:lnTo>
                      <a:pt x="3406" y="2584"/>
                    </a:lnTo>
                    <a:lnTo>
                      <a:pt x="3406" y="2191"/>
                    </a:lnTo>
                    <a:lnTo>
                      <a:pt x="3403" y="1799"/>
                    </a:lnTo>
                    <a:lnTo>
                      <a:pt x="3404" y="1751"/>
                    </a:lnTo>
                    <a:lnTo>
                      <a:pt x="3410" y="1706"/>
                    </a:lnTo>
                    <a:lnTo>
                      <a:pt x="3421" y="1665"/>
                    </a:lnTo>
                    <a:lnTo>
                      <a:pt x="3437" y="1627"/>
                    </a:lnTo>
                    <a:lnTo>
                      <a:pt x="3460" y="1591"/>
                    </a:lnTo>
                    <a:lnTo>
                      <a:pt x="3489" y="1557"/>
                    </a:lnTo>
                    <a:lnTo>
                      <a:pt x="3524" y="1524"/>
                    </a:lnTo>
                    <a:lnTo>
                      <a:pt x="3598" y="1461"/>
                    </a:lnTo>
                    <a:lnTo>
                      <a:pt x="3674" y="1394"/>
                    </a:lnTo>
                    <a:lnTo>
                      <a:pt x="3747" y="1324"/>
                    </a:lnTo>
                    <a:lnTo>
                      <a:pt x="3825" y="1250"/>
                    </a:lnTo>
                    <a:lnTo>
                      <a:pt x="3907" y="1173"/>
                    </a:lnTo>
                    <a:lnTo>
                      <a:pt x="3907" y="1724"/>
                    </a:lnTo>
                    <a:lnTo>
                      <a:pt x="3907" y="2271"/>
                    </a:lnTo>
                    <a:lnTo>
                      <a:pt x="3907" y="2815"/>
                    </a:lnTo>
                    <a:lnTo>
                      <a:pt x="3907" y="3356"/>
                    </a:lnTo>
                    <a:lnTo>
                      <a:pt x="3907" y="3900"/>
                    </a:lnTo>
                    <a:lnTo>
                      <a:pt x="0" y="3900"/>
                    </a:lnTo>
                    <a:lnTo>
                      <a:pt x="0"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latin typeface="+mj-lt"/>
                </a:endParaRPr>
              </a:p>
            </p:txBody>
          </p:sp>
          <p:sp>
            <p:nvSpPr>
              <p:cNvPr id="143" name="Freeform 9"/>
              <p:cNvSpPr>
                <a:spLocks/>
              </p:cNvSpPr>
              <p:nvPr/>
            </p:nvSpPr>
            <p:spPr bwMode="auto">
              <a:xfrm>
                <a:off x="-2894015" y="3256364"/>
                <a:ext cx="1548511" cy="1351170"/>
              </a:xfrm>
              <a:custGeom>
                <a:avLst/>
                <a:gdLst>
                  <a:gd name="T0" fmla="*/ 3078 w 3078"/>
                  <a:gd name="T1" fmla="*/ 0 h 2682"/>
                  <a:gd name="T2" fmla="*/ 3078 w 3078"/>
                  <a:gd name="T3" fmla="*/ 157 h 2682"/>
                  <a:gd name="T4" fmla="*/ 3078 w 3078"/>
                  <a:gd name="T5" fmla="*/ 303 h 2682"/>
                  <a:gd name="T6" fmla="*/ 3078 w 3078"/>
                  <a:gd name="T7" fmla="*/ 315 h 2682"/>
                  <a:gd name="T8" fmla="*/ 3078 w 3078"/>
                  <a:gd name="T9" fmla="*/ 454 h 2682"/>
                  <a:gd name="T10" fmla="*/ 3077 w 3078"/>
                  <a:gd name="T11" fmla="*/ 597 h 2682"/>
                  <a:gd name="T12" fmla="*/ 3076 w 3078"/>
                  <a:gd name="T13" fmla="*/ 739 h 2682"/>
                  <a:gd name="T14" fmla="*/ 3072 w 3078"/>
                  <a:gd name="T15" fmla="*/ 755 h 2682"/>
                  <a:gd name="T16" fmla="*/ 3062 w 3078"/>
                  <a:gd name="T17" fmla="*/ 770 h 2682"/>
                  <a:gd name="T18" fmla="*/ 3050 w 3078"/>
                  <a:gd name="T19" fmla="*/ 787 h 2682"/>
                  <a:gd name="T20" fmla="*/ 3036 w 3078"/>
                  <a:gd name="T21" fmla="*/ 801 h 2682"/>
                  <a:gd name="T22" fmla="*/ 3023 w 3078"/>
                  <a:gd name="T23" fmla="*/ 814 h 2682"/>
                  <a:gd name="T24" fmla="*/ 1096 w 3078"/>
                  <a:gd name="T25" fmla="*/ 2666 h 2682"/>
                  <a:gd name="T26" fmla="*/ 1090 w 3078"/>
                  <a:gd name="T27" fmla="*/ 2669 h 2682"/>
                  <a:gd name="T28" fmla="*/ 1082 w 3078"/>
                  <a:gd name="T29" fmla="*/ 2673 h 2682"/>
                  <a:gd name="T30" fmla="*/ 1071 w 3078"/>
                  <a:gd name="T31" fmla="*/ 2676 h 2682"/>
                  <a:gd name="T32" fmla="*/ 1057 w 3078"/>
                  <a:gd name="T33" fmla="*/ 2682 h 2682"/>
                  <a:gd name="T34" fmla="*/ 531 w 3078"/>
                  <a:gd name="T35" fmla="*/ 2131 h 2682"/>
                  <a:gd name="T36" fmla="*/ 0 w 3078"/>
                  <a:gd name="T37" fmla="*/ 1576 h 2682"/>
                  <a:gd name="T38" fmla="*/ 83 w 3078"/>
                  <a:gd name="T39" fmla="*/ 1491 h 2682"/>
                  <a:gd name="T40" fmla="*/ 163 w 3078"/>
                  <a:gd name="T41" fmla="*/ 1408 h 2682"/>
                  <a:gd name="T42" fmla="*/ 240 w 3078"/>
                  <a:gd name="T43" fmla="*/ 1331 h 2682"/>
                  <a:gd name="T44" fmla="*/ 314 w 3078"/>
                  <a:gd name="T45" fmla="*/ 1256 h 2682"/>
                  <a:gd name="T46" fmla="*/ 383 w 3078"/>
                  <a:gd name="T47" fmla="*/ 1184 h 2682"/>
                  <a:gd name="T48" fmla="*/ 562 w 3078"/>
                  <a:gd name="T49" fmla="*/ 1347 h 2682"/>
                  <a:gd name="T50" fmla="*/ 739 w 3078"/>
                  <a:gd name="T51" fmla="*/ 1511 h 2682"/>
                  <a:gd name="T52" fmla="*/ 918 w 3078"/>
                  <a:gd name="T53" fmla="*/ 1674 h 2682"/>
                  <a:gd name="T54" fmla="*/ 1099 w 3078"/>
                  <a:gd name="T55" fmla="*/ 1840 h 2682"/>
                  <a:gd name="T56" fmla="*/ 1374 w 3078"/>
                  <a:gd name="T57" fmla="*/ 1584 h 2682"/>
                  <a:gd name="T58" fmla="*/ 1651 w 3078"/>
                  <a:gd name="T59" fmla="*/ 1326 h 2682"/>
                  <a:gd name="T60" fmla="*/ 1930 w 3078"/>
                  <a:gd name="T61" fmla="*/ 1066 h 2682"/>
                  <a:gd name="T62" fmla="*/ 2213 w 3078"/>
                  <a:gd name="T63" fmla="*/ 804 h 2682"/>
                  <a:gd name="T64" fmla="*/ 2498 w 3078"/>
                  <a:gd name="T65" fmla="*/ 539 h 2682"/>
                  <a:gd name="T66" fmla="*/ 2786 w 3078"/>
                  <a:gd name="T67" fmla="*/ 270 h 2682"/>
                  <a:gd name="T68" fmla="*/ 3078 w 3078"/>
                  <a:gd name="T69" fmla="*/ 0 h 2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8" h="2682">
                    <a:moveTo>
                      <a:pt x="3078" y="0"/>
                    </a:moveTo>
                    <a:lnTo>
                      <a:pt x="3078" y="157"/>
                    </a:lnTo>
                    <a:lnTo>
                      <a:pt x="3078" y="303"/>
                    </a:lnTo>
                    <a:lnTo>
                      <a:pt x="3078" y="315"/>
                    </a:lnTo>
                    <a:lnTo>
                      <a:pt x="3078" y="454"/>
                    </a:lnTo>
                    <a:lnTo>
                      <a:pt x="3077" y="597"/>
                    </a:lnTo>
                    <a:lnTo>
                      <a:pt x="3076" y="739"/>
                    </a:lnTo>
                    <a:lnTo>
                      <a:pt x="3072" y="755"/>
                    </a:lnTo>
                    <a:lnTo>
                      <a:pt x="3062" y="770"/>
                    </a:lnTo>
                    <a:lnTo>
                      <a:pt x="3050" y="787"/>
                    </a:lnTo>
                    <a:lnTo>
                      <a:pt x="3036" y="801"/>
                    </a:lnTo>
                    <a:lnTo>
                      <a:pt x="3023" y="814"/>
                    </a:lnTo>
                    <a:lnTo>
                      <a:pt x="1096" y="2666"/>
                    </a:lnTo>
                    <a:lnTo>
                      <a:pt x="1090" y="2669"/>
                    </a:lnTo>
                    <a:lnTo>
                      <a:pt x="1082" y="2673"/>
                    </a:lnTo>
                    <a:lnTo>
                      <a:pt x="1071" y="2676"/>
                    </a:lnTo>
                    <a:lnTo>
                      <a:pt x="1057" y="2682"/>
                    </a:lnTo>
                    <a:lnTo>
                      <a:pt x="531" y="2131"/>
                    </a:lnTo>
                    <a:lnTo>
                      <a:pt x="0" y="1576"/>
                    </a:lnTo>
                    <a:lnTo>
                      <a:pt x="83" y="1491"/>
                    </a:lnTo>
                    <a:lnTo>
                      <a:pt x="163" y="1408"/>
                    </a:lnTo>
                    <a:lnTo>
                      <a:pt x="240" y="1331"/>
                    </a:lnTo>
                    <a:lnTo>
                      <a:pt x="314" y="1256"/>
                    </a:lnTo>
                    <a:lnTo>
                      <a:pt x="383" y="1184"/>
                    </a:lnTo>
                    <a:lnTo>
                      <a:pt x="562" y="1347"/>
                    </a:lnTo>
                    <a:lnTo>
                      <a:pt x="739" y="1511"/>
                    </a:lnTo>
                    <a:lnTo>
                      <a:pt x="918" y="1674"/>
                    </a:lnTo>
                    <a:lnTo>
                      <a:pt x="1099" y="1840"/>
                    </a:lnTo>
                    <a:lnTo>
                      <a:pt x="1374" y="1584"/>
                    </a:lnTo>
                    <a:lnTo>
                      <a:pt x="1651" y="1326"/>
                    </a:lnTo>
                    <a:lnTo>
                      <a:pt x="1930" y="1066"/>
                    </a:lnTo>
                    <a:lnTo>
                      <a:pt x="2213" y="804"/>
                    </a:lnTo>
                    <a:lnTo>
                      <a:pt x="2498" y="539"/>
                    </a:lnTo>
                    <a:lnTo>
                      <a:pt x="2786" y="270"/>
                    </a:lnTo>
                    <a:lnTo>
                      <a:pt x="3078"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latin typeface="+mj-lt"/>
                </a:endParaRPr>
              </a:p>
            </p:txBody>
          </p:sp>
        </p:grpSp>
      </p:grpSp>
    </p:spTree>
    <p:extLst>
      <p:ext uri="{BB962C8B-B14F-4D97-AF65-F5344CB8AC3E}">
        <p14:creationId xmlns:p14="http://schemas.microsoft.com/office/powerpoint/2010/main" val="1563625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750" fill="hold"/>
                                        <p:tgtEl>
                                          <p:spTgt spid="16"/>
                                        </p:tgtEl>
                                        <p:attrNameLst>
                                          <p:attrName>ppt_x</p:attrName>
                                        </p:attrNameLst>
                                      </p:cBhvr>
                                      <p:tavLst>
                                        <p:tav tm="0">
                                          <p:val>
                                            <p:strVal val="0-#ppt_w/2"/>
                                          </p:val>
                                        </p:tav>
                                        <p:tav tm="100000">
                                          <p:val>
                                            <p:strVal val="#ppt_x"/>
                                          </p:val>
                                        </p:tav>
                                      </p:tavLst>
                                    </p:anim>
                                    <p:anim calcmode="lin" valueType="num">
                                      <p:cBhvr additive="base">
                                        <p:cTn id="8" dur="750" fill="hold"/>
                                        <p:tgtEl>
                                          <p:spTgt spid="16"/>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25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750" fill="hold"/>
                                        <p:tgtEl>
                                          <p:spTgt spid="15"/>
                                        </p:tgtEl>
                                        <p:attrNameLst>
                                          <p:attrName>ppt_x</p:attrName>
                                        </p:attrNameLst>
                                      </p:cBhvr>
                                      <p:tavLst>
                                        <p:tav tm="0">
                                          <p:val>
                                            <p:strVal val="0-#ppt_w/2"/>
                                          </p:val>
                                        </p:tav>
                                        <p:tav tm="100000">
                                          <p:val>
                                            <p:strVal val="#ppt_x"/>
                                          </p:val>
                                        </p:tav>
                                      </p:tavLst>
                                    </p:anim>
                                    <p:anim calcmode="lin" valueType="num">
                                      <p:cBhvr additive="base">
                                        <p:cTn id="12" dur="750" fill="hold"/>
                                        <p:tgtEl>
                                          <p:spTgt spid="15"/>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50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750" fill="hold"/>
                                        <p:tgtEl>
                                          <p:spTgt spid="14"/>
                                        </p:tgtEl>
                                        <p:attrNameLst>
                                          <p:attrName>ppt_x</p:attrName>
                                        </p:attrNameLst>
                                      </p:cBhvr>
                                      <p:tavLst>
                                        <p:tav tm="0">
                                          <p:val>
                                            <p:strVal val="0-#ppt_w/2"/>
                                          </p:val>
                                        </p:tav>
                                        <p:tav tm="100000">
                                          <p:val>
                                            <p:strVal val="#ppt_x"/>
                                          </p:val>
                                        </p:tav>
                                      </p:tavLst>
                                    </p:anim>
                                    <p:anim calcmode="lin" valueType="num">
                                      <p:cBhvr additive="base">
                                        <p:cTn id="16" dur="750" fill="hold"/>
                                        <p:tgtEl>
                                          <p:spTgt spid="14"/>
                                        </p:tgtEl>
                                        <p:attrNameLst>
                                          <p:attrName>ppt_y</p:attrName>
                                        </p:attrNameLst>
                                      </p:cBhvr>
                                      <p:tavLst>
                                        <p:tav tm="0">
                                          <p:val>
                                            <p:strVal val="#ppt_y"/>
                                          </p:val>
                                        </p:tav>
                                        <p:tav tm="100000">
                                          <p:val>
                                            <p:strVal val="#ppt_y"/>
                                          </p:val>
                                        </p:tav>
                                      </p:tavLst>
                                    </p:anim>
                                  </p:childTnLst>
                                </p:cTn>
                              </p:par>
                            </p:childTnLst>
                          </p:cTn>
                        </p:par>
                        <p:par>
                          <p:cTn id="17" fill="hold">
                            <p:stCondLst>
                              <p:cond delay="1250"/>
                            </p:stCondLst>
                            <p:childTnLst>
                              <p:par>
                                <p:cTn id="18" presetID="2" presetClass="entr" presetSubtype="4" decel="100000" fill="hold" nodeType="afterEffect">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cBhvr additive="base">
                                        <p:cTn id="20" dur="750" fill="hold"/>
                                        <p:tgtEl>
                                          <p:spTgt spid="11"/>
                                        </p:tgtEl>
                                        <p:attrNameLst>
                                          <p:attrName>ppt_x</p:attrName>
                                        </p:attrNameLst>
                                      </p:cBhvr>
                                      <p:tavLst>
                                        <p:tav tm="0">
                                          <p:val>
                                            <p:strVal val="#ppt_x"/>
                                          </p:val>
                                        </p:tav>
                                        <p:tav tm="100000">
                                          <p:val>
                                            <p:strVal val="#ppt_x"/>
                                          </p:val>
                                        </p:tav>
                                      </p:tavLst>
                                    </p:anim>
                                    <p:anim calcmode="lin" valueType="num">
                                      <p:cBhvr additive="base">
                                        <p:cTn id="21" dur="75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705"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IN" dirty="0"/>
              <a:t>Data </a:t>
            </a:r>
            <a:r>
              <a:rPr lang="en-IN" dirty="0" smtClean="0"/>
              <a:t>protection</a:t>
            </a:r>
            <a:endParaRPr lang="en-IN" dirty="0"/>
          </a:p>
        </p:txBody>
      </p:sp>
      <p:sp>
        <p:nvSpPr>
          <p:cNvPr id="35" name="Text Placeholder 30"/>
          <p:cNvSpPr txBox="1">
            <a:spLocks/>
          </p:cNvSpPr>
          <p:nvPr/>
        </p:nvSpPr>
        <p:spPr>
          <a:xfrm>
            <a:off x="585216" y="1240172"/>
            <a:ext cx="11271822" cy="988561"/>
          </a:xfrm>
          <a:prstGeom prst="rect">
            <a:avLst/>
          </a:prstGeom>
        </p:spPr>
        <p:txBody>
          <a:bodyPr vert="horz" wrap="square" lIns="0" tIns="93260" rIns="0" bIns="9326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nSpc>
                <a:spcPct val="100000"/>
              </a:lnSpc>
              <a:spcBef>
                <a:spcPts val="0"/>
              </a:spcBef>
              <a:buNone/>
            </a:pPr>
            <a:r>
              <a:rPr lang="en-IN" sz="2600" dirty="0">
                <a:solidFill>
                  <a:schemeClr val="tx2"/>
                </a:solidFill>
              </a:rPr>
              <a:t>Azure </a:t>
            </a:r>
            <a:r>
              <a:rPr lang="en-IN" sz="2600" dirty="0" smtClean="0">
                <a:solidFill>
                  <a:schemeClr val="tx2"/>
                </a:solidFill>
              </a:rPr>
              <a:t>provides customers with strong data protections – both by default and as customer options</a:t>
            </a:r>
            <a:endParaRPr lang="en-IN" sz="2600" dirty="0">
              <a:solidFill>
                <a:schemeClr val="tx2"/>
              </a:solidFill>
            </a:endParaRPr>
          </a:p>
        </p:txBody>
      </p:sp>
      <p:grpSp>
        <p:nvGrpSpPr>
          <p:cNvPr id="58" name="Group 57"/>
          <p:cNvGrpSpPr/>
          <p:nvPr/>
        </p:nvGrpSpPr>
        <p:grpSpPr>
          <a:xfrm>
            <a:off x="7804851" y="1987138"/>
            <a:ext cx="3790250" cy="4387024"/>
            <a:chOff x="8173151" y="2536177"/>
            <a:chExt cx="3125420" cy="3617517"/>
          </a:xfrm>
        </p:grpSpPr>
        <p:sp>
          <p:nvSpPr>
            <p:cNvPr id="36" name="Freeform 35"/>
            <p:cNvSpPr/>
            <p:nvPr/>
          </p:nvSpPr>
          <p:spPr>
            <a:xfrm rot="19866366">
              <a:off x="8702330" y="4329836"/>
              <a:ext cx="337886" cy="325839"/>
            </a:xfrm>
            <a:custGeom>
              <a:avLst/>
              <a:gdLst>
                <a:gd name="connsiteX0" fmla="*/ 147901 w 547492"/>
                <a:gd name="connsiteY0" fmla="*/ 159 h 547027"/>
                <a:gd name="connsiteX1" fmla="*/ 164790 w 547492"/>
                <a:gd name="connsiteY1" fmla="*/ 17385 h 547027"/>
                <a:gd name="connsiteX2" fmla="*/ 257543 w 547492"/>
                <a:gd name="connsiteY2" fmla="*/ 261873 h 547027"/>
                <a:gd name="connsiteX3" fmla="*/ 531263 w 547492"/>
                <a:gd name="connsiteY3" fmla="*/ 383096 h 547027"/>
                <a:gd name="connsiteX4" fmla="*/ 533050 w 547492"/>
                <a:gd name="connsiteY4" fmla="*/ 419093 h 547027"/>
                <a:gd name="connsiteX5" fmla="*/ 234902 w 547492"/>
                <a:gd name="connsiteY5" fmla="*/ 291210 h 547027"/>
                <a:gd name="connsiteX6" fmla="*/ 130118 w 547492"/>
                <a:gd name="connsiteY6" fmla="*/ 16219 h 547027"/>
                <a:gd name="connsiteX7" fmla="*/ 147901 w 547492"/>
                <a:gd name="connsiteY7" fmla="*/ 159 h 547027"/>
                <a:gd name="connsiteX8" fmla="*/ 258593 w 547492"/>
                <a:gd name="connsiteY8" fmla="*/ 83 h 547027"/>
                <a:gd name="connsiteX9" fmla="*/ 276870 w 547492"/>
                <a:gd name="connsiteY9" fmla="*/ 19473 h 547027"/>
                <a:gd name="connsiteX10" fmla="*/ 342477 w 547492"/>
                <a:gd name="connsiteY10" fmla="*/ 185830 h 547027"/>
                <a:gd name="connsiteX11" fmla="*/ 529533 w 547492"/>
                <a:gd name="connsiteY11" fmla="*/ 271534 h 547027"/>
                <a:gd name="connsiteX12" fmla="*/ 529010 w 547492"/>
                <a:gd name="connsiteY12" fmla="*/ 308769 h 547027"/>
                <a:gd name="connsiteX13" fmla="*/ 319908 w 547492"/>
                <a:gd name="connsiteY13" fmla="*/ 218161 h 547027"/>
                <a:gd name="connsiteX14" fmla="*/ 241025 w 547492"/>
                <a:gd name="connsiteY14" fmla="*/ 18615 h 547027"/>
                <a:gd name="connsiteX15" fmla="*/ 258593 w 547492"/>
                <a:gd name="connsiteY15" fmla="*/ 83 h 547027"/>
                <a:gd name="connsiteX16" fmla="*/ 18843 w 547492"/>
                <a:gd name="connsiteY16" fmla="*/ 10 h 547027"/>
                <a:gd name="connsiteX17" fmla="*/ 37685 w 547492"/>
                <a:gd name="connsiteY17" fmla="*/ 16302 h 547027"/>
                <a:gd name="connsiteX18" fmla="*/ 164891 w 547492"/>
                <a:gd name="connsiteY18" fmla="*/ 345340 h 547027"/>
                <a:gd name="connsiteX19" fmla="*/ 531167 w 547492"/>
                <a:gd name="connsiteY19" fmla="*/ 510082 h 547027"/>
                <a:gd name="connsiteX20" fmla="*/ 528039 w 547492"/>
                <a:gd name="connsiteY20" fmla="*/ 547022 h 547027"/>
                <a:gd name="connsiteX21" fmla="*/ 139867 w 547492"/>
                <a:gd name="connsiteY21" fmla="*/ 375130 h 547027"/>
                <a:gd name="connsiteX22" fmla="*/ 0 w 547492"/>
                <a:gd name="connsiteY22" fmla="*/ 15557 h 547027"/>
                <a:gd name="connsiteX23" fmla="*/ 18843 w 547492"/>
                <a:gd name="connsiteY23" fmla="*/ 10 h 547027"/>
                <a:gd name="connsiteX24" fmla="*/ 361357 w 547492"/>
                <a:gd name="connsiteY24" fmla="*/ 3 h 547027"/>
                <a:gd name="connsiteX25" fmla="*/ 379427 w 547492"/>
                <a:gd name="connsiteY25" fmla="*/ 22811 h 547027"/>
                <a:gd name="connsiteX26" fmla="*/ 416799 w 547492"/>
                <a:gd name="connsiteY26" fmla="*/ 121134 h 547027"/>
                <a:gd name="connsiteX27" fmla="*/ 530986 w 547492"/>
                <a:gd name="connsiteY27" fmla="*/ 167238 h 547027"/>
                <a:gd name="connsiteX28" fmla="*/ 528863 w 547492"/>
                <a:gd name="connsiteY28" fmla="*/ 205554 h 547027"/>
                <a:gd name="connsiteX29" fmla="*/ 395749 w 547492"/>
                <a:gd name="connsiteY29" fmla="*/ 150171 h 547027"/>
                <a:gd name="connsiteX30" fmla="*/ 342870 w 547492"/>
                <a:gd name="connsiteY30" fmla="*/ 38961 h 547027"/>
                <a:gd name="connsiteX31" fmla="*/ 343296 w 547492"/>
                <a:gd name="connsiteY31" fmla="*/ 21634 h 547027"/>
                <a:gd name="connsiteX32" fmla="*/ 361357 w 547492"/>
                <a:gd name="connsiteY32" fmla="*/ 3 h 54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7492" h="547027">
                  <a:moveTo>
                    <a:pt x="147901" y="159"/>
                  </a:moveTo>
                  <a:cubicBezTo>
                    <a:pt x="156233" y="1247"/>
                    <a:pt x="164417" y="7883"/>
                    <a:pt x="164790" y="17385"/>
                  </a:cubicBezTo>
                  <a:cubicBezTo>
                    <a:pt x="163504" y="123250"/>
                    <a:pt x="210481" y="208637"/>
                    <a:pt x="257543" y="261873"/>
                  </a:cubicBezTo>
                  <a:cubicBezTo>
                    <a:pt x="329801" y="345790"/>
                    <a:pt x="450493" y="385299"/>
                    <a:pt x="531263" y="383096"/>
                  </a:cubicBezTo>
                  <a:cubicBezTo>
                    <a:pt x="554755" y="384136"/>
                    <a:pt x="550415" y="419245"/>
                    <a:pt x="533050" y="419093"/>
                  </a:cubicBezTo>
                  <a:cubicBezTo>
                    <a:pt x="450691" y="419472"/>
                    <a:pt x="338455" y="398909"/>
                    <a:pt x="234902" y="291210"/>
                  </a:cubicBezTo>
                  <a:cubicBezTo>
                    <a:pt x="193363" y="241274"/>
                    <a:pt x="128927" y="167539"/>
                    <a:pt x="130118" y="16219"/>
                  </a:cubicBezTo>
                  <a:cubicBezTo>
                    <a:pt x="131087" y="3530"/>
                    <a:pt x="139569" y="-930"/>
                    <a:pt x="147901" y="159"/>
                  </a:cubicBezTo>
                  <a:close/>
                  <a:moveTo>
                    <a:pt x="258593" y="83"/>
                  </a:moveTo>
                  <a:cubicBezTo>
                    <a:pt x="267391" y="-753"/>
                    <a:pt x="276308" y="4730"/>
                    <a:pt x="276870" y="19473"/>
                  </a:cubicBezTo>
                  <a:cubicBezTo>
                    <a:pt x="277152" y="95057"/>
                    <a:pt x="309784" y="144239"/>
                    <a:pt x="342477" y="185830"/>
                  </a:cubicBezTo>
                  <a:cubicBezTo>
                    <a:pt x="395970" y="243463"/>
                    <a:pt x="472402" y="273156"/>
                    <a:pt x="529533" y="271534"/>
                  </a:cubicBezTo>
                  <a:cubicBezTo>
                    <a:pt x="554491" y="271108"/>
                    <a:pt x="552612" y="307689"/>
                    <a:pt x="529010" y="308769"/>
                  </a:cubicBezTo>
                  <a:cubicBezTo>
                    <a:pt x="463605" y="309049"/>
                    <a:pt x="394346" y="293904"/>
                    <a:pt x="319908" y="218161"/>
                  </a:cubicBezTo>
                  <a:cubicBezTo>
                    <a:pt x="290526" y="181384"/>
                    <a:pt x="240182" y="130058"/>
                    <a:pt x="241025" y="18615"/>
                  </a:cubicBezTo>
                  <a:cubicBezTo>
                    <a:pt x="241115" y="8077"/>
                    <a:pt x="249795" y="920"/>
                    <a:pt x="258593" y="83"/>
                  </a:cubicBezTo>
                  <a:close/>
                  <a:moveTo>
                    <a:pt x="18843" y="10"/>
                  </a:moveTo>
                  <a:cubicBezTo>
                    <a:pt x="28214" y="265"/>
                    <a:pt x="37586" y="5826"/>
                    <a:pt x="37685" y="16302"/>
                  </a:cubicBezTo>
                  <a:cubicBezTo>
                    <a:pt x="35997" y="154729"/>
                    <a:pt x="103125" y="275729"/>
                    <a:pt x="164891" y="345340"/>
                  </a:cubicBezTo>
                  <a:cubicBezTo>
                    <a:pt x="259725" y="455069"/>
                    <a:pt x="425162" y="512962"/>
                    <a:pt x="531167" y="510082"/>
                  </a:cubicBezTo>
                  <a:cubicBezTo>
                    <a:pt x="555744" y="509883"/>
                    <a:pt x="550829" y="547221"/>
                    <a:pt x="528039" y="547022"/>
                  </a:cubicBezTo>
                  <a:cubicBezTo>
                    <a:pt x="419949" y="547519"/>
                    <a:pt x="273429" y="516735"/>
                    <a:pt x="139867" y="375130"/>
                  </a:cubicBezTo>
                  <a:cubicBezTo>
                    <a:pt x="85350" y="312173"/>
                    <a:pt x="0" y="200955"/>
                    <a:pt x="0" y="15557"/>
                  </a:cubicBezTo>
                  <a:cubicBezTo>
                    <a:pt x="99" y="4808"/>
                    <a:pt x="9471" y="-244"/>
                    <a:pt x="18843" y="10"/>
                  </a:cubicBezTo>
                  <a:close/>
                  <a:moveTo>
                    <a:pt x="361357" y="3"/>
                  </a:moveTo>
                  <a:cubicBezTo>
                    <a:pt x="370360" y="-117"/>
                    <a:pt x="379364" y="7170"/>
                    <a:pt x="379427" y="22811"/>
                  </a:cubicBezTo>
                  <a:cubicBezTo>
                    <a:pt x="379608" y="73981"/>
                    <a:pt x="395801" y="92977"/>
                    <a:pt x="416799" y="121134"/>
                  </a:cubicBezTo>
                  <a:cubicBezTo>
                    <a:pt x="452945" y="158363"/>
                    <a:pt x="498462" y="168336"/>
                    <a:pt x="530986" y="167238"/>
                  </a:cubicBezTo>
                  <a:cubicBezTo>
                    <a:pt x="549400" y="166950"/>
                    <a:pt x="557131" y="203036"/>
                    <a:pt x="528863" y="205554"/>
                  </a:cubicBezTo>
                  <a:cubicBezTo>
                    <a:pt x="486854" y="205743"/>
                    <a:pt x="443561" y="201449"/>
                    <a:pt x="395749" y="150171"/>
                  </a:cubicBezTo>
                  <a:cubicBezTo>
                    <a:pt x="351991" y="102452"/>
                    <a:pt x="343809" y="62263"/>
                    <a:pt x="342870" y="38961"/>
                  </a:cubicBezTo>
                  <a:cubicBezTo>
                    <a:pt x="342557" y="31194"/>
                    <a:pt x="343049" y="25303"/>
                    <a:pt x="343296" y="21634"/>
                  </a:cubicBezTo>
                  <a:cubicBezTo>
                    <a:pt x="343354" y="7649"/>
                    <a:pt x="352355" y="122"/>
                    <a:pt x="361357" y="3"/>
                  </a:cubicBezTo>
                  <a:close/>
                </a:path>
              </a:pathLst>
            </a:cu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32316"/>
              <a:endParaRPr lang="en-US" sz="1200" dirty="0">
                <a:solidFill>
                  <a:srgbClr val="FFFFFF"/>
                </a:solidFill>
              </a:endParaRPr>
            </a:p>
          </p:txBody>
        </p:sp>
        <p:sp>
          <p:nvSpPr>
            <p:cNvPr id="37" name="Freeform 36"/>
            <p:cNvSpPr/>
            <p:nvPr/>
          </p:nvSpPr>
          <p:spPr>
            <a:xfrm>
              <a:off x="8822753" y="2803066"/>
              <a:ext cx="1904980" cy="1117102"/>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26"/>
              <a:endParaRPr lang="en-US" sz="1799" dirty="0">
                <a:solidFill>
                  <a:prstClr val="white"/>
                </a:solidFill>
              </a:endParaRPr>
            </a:p>
          </p:txBody>
        </p:sp>
        <p:sp>
          <p:nvSpPr>
            <p:cNvPr id="38" name="Rectangle 79"/>
            <p:cNvSpPr/>
            <p:nvPr/>
          </p:nvSpPr>
          <p:spPr>
            <a:xfrm>
              <a:off x="8451638" y="4857534"/>
              <a:ext cx="615848" cy="1043871"/>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316"/>
              <a:endParaRPr lang="en-US" sz="1836" dirty="0">
                <a:solidFill>
                  <a:srgbClr val="FFFFFF"/>
                </a:solidFill>
              </a:endParaRPr>
            </a:p>
          </p:txBody>
        </p:sp>
        <p:sp>
          <p:nvSpPr>
            <p:cNvPr id="39" name="Rectangle 79"/>
            <p:cNvSpPr/>
            <p:nvPr/>
          </p:nvSpPr>
          <p:spPr>
            <a:xfrm>
              <a:off x="10694902" y="4854427"/>
              <a:ext cx="603669" cy="1023231"/>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7"/>
            <p:cNvSpPr>
              <a:spLocks/>
            </p:cNvSpPr>
            <p:nvPr/>
          </p:nvSpPr>
          <p:spPr bwMode="auto">
            <a:xfrm rot="17866618" flipH="1">
              <a:off x="8744968" y="5832755"/>
              <a:ext cx="318226" cy="323651"/>
            </a:xfrm>
            <a:custGeom>
              <a:avLst/>
              <a:gdLst>
                <a:gd name="T0" fmla="*/ 176 w 176"/>
                <a:gd name="T1" fmla="*/ 84 h 179"/>
                <a:gd name="T2" fmla="*/ 81 w 176"/>
                <a:gd name="T3" fmla="*/ 179 h 179"/>
                <a:gd name="T4" fmla="*/ 0 w 176"/>
                <a:gd name="T5" fmla="*/ 95 h 179"/>
                <a:gd name="T6" fmla="*/ 94 w 176"/>
                <a:gd name="T7" fmla="*/ 0 h 179"/>
                <a:gd name="T8" fmla="*/ 176 w 176"/>
                <a:gd name="T9" fmla="*/ 84 h 179"/>
              </a:gdLst>
              <a:ahLst/>
              <a:cxnLst>
                <a:cxn ang="0">
                  <a:pos x="T0" y="T1"/>
                </a:cxn>
                <a:cxn ang="0">
                  <a:pos x="T2" y="T3"/>
                </a:cxn>
                <a:cxn ang="0">
                  <a:pos x="T4" y="T5"/>
                </a:cxn>
                <a:cxn ang="0">
                  <a:pos x="T6" y="T7"/>
                </a:cxn>
                <a:cxn ang="0">
                  <a:pos x="T8" y="T9"/>
                </a:cxn>
              </a:cxnLst>
              <a:rect l="0" t="0" r="r" b="b"/>
              <a:pathLst>
                <a:path w="176" h="179">
                  <a:moveTo>
                    <a:pt x="176" y="84"/>
                  </a:moveTo>
                  <a:lnTo>
                    <a:pt x="81" y="179"/>
                  </a:lnTo>
                  <a:lnTo>
                    <a:pt x="0" y="95"/>
                  </a:lnTo>
                  <a:lnTo>
                    <a:pt x="94" y="0"/>
                  </a:lnTo>
                  <a:lnTo>
                    <a:pt x="176" y="84"/>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2" name="Freeform 8"/>
            <p:cNvSpPr>
              <a:spLocks/>
            </p:cNvSpPr>
            <p:nvPr/>
          </p:nvSpPr>
          <p:spPr bwMode="auto">
            <a:xfrm rot="17866618" flipH="1">
              <a:off x="8620290" y="5519365"/>
              <a:ext cx="423096" cy="363429"/>
            </a:xfrm>
            <a:custGeom>
              <a:avLst/>
              <a:gdLst>
                <a:gd name="T0" fmla="*/ 137 w 198"/>
                <a:gd name="T1" fmla="*/ 30 h 170"/>
                <a:gd name="T2" fmla="*/ 91 w 198"/>
                <a:gd name="T3" fmla="*/ 23 h 170"/>
                <a:gd name="T4" fmla="*/ 91 w 198"/>
                <a:gd name="T5" fmla="*/ 23 h 170"/>
                <a:gd name="T6" fmla="*/ 90 w 198"/>
                <a:gd name="T7" fmla="*/ 23 h 170"/>
                <a:gd name="T8" fmla="*/ 87 w 198"/>
                <a:gd name="T9" fmla="*/ 26 h 170"/>
                <a:gd name="T10" fmla="*/ 60 w 198"/>
                <a:gd name="T11" fmla="*/ 43 h 170"/>
                <a:gd name="T12" fmla="*/ 23 w 198"/>
                <a:gd name="T13" fmla="*/ 6 h 170"/>
                <a:gd name="T14" fmla="*/ 5 w 198"/>
                <a:gd name="T15" fmla="*/ 5 h 170"/>
                <a:gd name="T16" fmla="*/ 6 w 198"/>
                <a:gd name="T17" fmla="*/ 23 h 170"/>
                <a:gd name="T18" fmla="*/ 62 w 198"/>
                <a:gd name="T19" fmla="*/ 80 h 170"/>
                <a:gd name="T20" fmla="*/ 63 w 198"/>
                <a:gd name="T21" fmla="*/ 114 h 170"/>
                <a:gd name="T22" fmla="*/ 101 w 198"/>
                <a:gd name="T23" fmla="*/ 152 h 170"/>
                <a:gd name="T24" fmla="*/ 125 w 198"/>
                <a:gd name="T25" fmla="*/ 152 h 170"/>
                <a:gd name="T26" fmla="*/ 143 w 198"/>
                <a:gd name="T27" fmla="*/ 170 h 170"/>
                <a:gd name="T28" fmla="*/ 198 w 198"/>
                <a:gd name="T29" fmla="*/ 115 h 170"/>
                <a:gd name="T30" fmla="*/ 180 w 198"/>
                <a:gd name="T31" fmla="*/ 97 h 170"/>
                <a:gd name="T32" fmla="*/ 180 w 198"/>
                <a:gd name="T33" fmla="*/ 72 h 170"/>
                <a:gd name="T34" fmla="*/ 138 w 198"/>
                <a:gd name="T35" fmla="*/ 31 h 170"/>
                <a:gd name="T36" fmla="*/ 138 w 198"/>
                <a:gd name="T37" fmla="*/ 31 h 170"/>
                <a:gd name="T38" fmla="*/ 137 w 198"/>
                <a:gd name="T39" fmla="*/ 3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170">
                  <a:moveTo>
                    <a:pt x="137" y="30"/>
                  </a:moveTo>
                  <a:cubicBezTo>
                    <a:pt x="125" y="17"/>
                    <a:pt x="106" y="15"/>
                    <a:pt x="91" y="23"/>
                  </a:cubicBezTo>
                  <a:cubicBezTo>
                    <a:pt x="91" y="23"/>
                    <a:pt x="91" y="23"/>
                    <a:pt x="91" y="23"/>
                  </a:cubicBezTo>
                  <a:cubicBezTo>
                    <a:pt x="90" y="23"/>
                    <a:pt x="90" y="23"/>
                    <a:pt x="90" y="23"/>
                  </a:cubicBezTo>
                  <a:cubicBezTo>
                    <a:pt x="89" y="24"/>
                    <a:pt x="88" y="25"/>
                    <a:pt x="87" y="26"/>
                  </a:cubicBezTo>
                  <a:cubicBezTo>
                    <a:pt x="60" y="43"/>
                    <a:pt x="60" y="43"/>
                    <a:pt x="60" y="43"/>
                  </a:cubicBezTo>
                  <a:cubicBezTo>
                    <a:pt x="23" y="6"/>
                    <a:pt x="23" y="6"/>
                    <a:pt x="23" y="6"/>
                  </a:cubicBezTo>
                  <a:cubicBezTo>
                    <a:pt x="18" y="1"/>
                    <a:pt x="10" y="0"/>
                    <a:pt x="5" y="5"/>
                  </a:cubicBezTo>
                  <a:cubicBezTo>
                    <a:pt x="0" y="10"/>
                    <a:pt x="0" y="18"/>
                    <a:pt x="6" y="23"/>
                  </a:cubicBezTo>
                  <a:cubicBezTo>
                    <a:pt x="62" y="80"/>
                    <a:pt x="62" y="80"/>
                    <a:pt x="62" y="80"/>
                  </a:cubicBezTo>
                  <a:cubicBezTo>
                    <a:pt x="53" y="89"/>
                    <a:pt x="54" y="104"/>
                    <a:pt x="63" y="114"/>
                  </a:cubicBezTo>
                  <a:cubicBezTo>
                    <a:pt x="101" y="152"/>
                    <a:pt x="101" y="152"/>
                    <a:pt x="101" y="152"/>
                  </a:cubicBezTo>
                  <a:cubicBezTo>
                    <a:pt x="108" y="158"/>
                    <a:pt x="119" y="158"/>
                    <a:pt x="125" y="152"/>
                  </a:cubicBezTo>
                  <a:cubicBezTo>
                    <a:pt x="143" y="170"/>
                    <a:pt x="143" y="170"/>
                    <a:pt x="143" y="170"/>
                  </a:cubicBezTo>
                  <a:cubicBezTo>
                    <a:pt x="198" y="115"/>
                    <a:pt x="198" y="115"/>
                    <a:pt x="198" y="115"/>
                  </a:cubicBezTo>
                  <a:cubicBezTo>
                    <a:pt x="180" y="97"/>
                    <a:pt x="180" y="97"/>
                    <a:pt x="180" y="97"/>
                  </a:cubicBezTo>
                  <a:cubicBezTo>
                    <a:pt x="187" y="90"/>
                    <a:pt x="187" y="79"/>
                    <a:pt x="180" y="72"/>
                  </a:cubicBezTo>
                  <a:cubicBezTo>
                    <a:pt x="138" y="31"/>
                    <a:pt x="138" y="31"/>
                    <a:pt x="138" y="31"/>
                  </a:cubicBezTo>
                  <a:cubicBezTo>
                    <a:pt x="138" y="31"/>
                    <a:pt x="138" y="31"/>
                    <a:pt x="138" y="31"/>
                  </a:cubicBezTo>
                  <a:cubicBezTo>
                    <a:pt x="138" y="30"/>
                    <a:pt x="137" y="30"/>
                    <a:pt x="137" y="3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3" name="Freeform 42"/>
            <p:cNvSpPr/>
            <p:nvPr/>
          </p:nvSpPr>
          <p:spPr>
            <a:xfrm rot="18972878">
              <a:off x="9648279" y="3990721"/>
              <a:ext cx="337886" cy="325839"/>
            </a:xfrm>
            <a:custGeom>
              <a:avLst/>
              <a:gdLst>
                <a:gd name="connsiteX0" fmla="*/ 147901 w 547492"/>
                <a:gd name="connsiteY0" fmla="*/ 159 h 547027"/>
                <a:gd name="connsiteX1" fmla="*/ 164790 w 547492"/>
                <a:gd name="connsiteY1" fmla="*/ 17385 h 547027"/>
                <a:gd name="connsiteX2" fmla="*/ 257543 w 547492"/>
                <a:gd name="connsiteY2" fmla="*/ 261873 h 547027"/>
                <a:gd name="connsiteX3" fmla="*/ 531263 w 547492"/>
                <a:gd name="connsiteY3" fmla="*/ 383096 h 547027"/>
                <a:gd name="connsiteX4" fmla="*/ 533050 w 547492"/>
                <a:gd name="connsiteY4" fmla="*/ 419093 h 547027"/>
                <a:gd name="connsiteX5" fmla="*/ 234902 w 547492"/>
                <a:gd name="connsiteY5" fmla="*/ 291210 h 547027"/>
                <a:gd name="connsiteX6" fmla="*/ 130118 w 547492"/>
                <a:gd name="connsiteY6" fmla="*/ 16219 h 547027"/>
                <a:gd name="connsiteX7" fmla="*/ 147901 w 547492"/>
                <a:gd name="connsiteY7" fmla="*/ 159 h 547027"/>
                <a:gd name="connsiteX8" fmla="*/ 258593 w 547492"/>
                <a:gd name="connsiteY8" fmla="*/ 83 h 547027"/>
                <a:gd name="connsiteX9" fmla="*/ 276870 w 547492"/>
                <a:gd name="connsiteY9" fmla="*/ 19473 h 547027"/>
                <a:gd name="connsiteX10" fmla="*/ 342477 w 547492"/>
                <a:gd name="connsiteY10" fmla="*/ 185830 h 547027"/>
                <a:gd name="connsiteX11" fmla="*/ 529533 w 547492"/>
                <a:gd name="connsiteY11" fmla="*/ 271534 h 547027"/>
                <a:gd name="connsiteX12" fmla="*/ 529010 w 547492"/>
                <a:gd name="connsiteY12" fmla="*/ 308769 h 547027"/>
                <a:gd name="connsiteX13" fmla="*/ 319908 w 547492"/>
                <a:gd name="connsiteY13" fmla="*/ 218161 h 547027"/>
                <a:gd name="connsiteX14" fmla="*/ 241025 w 547492"/>
                <a:gd name="connsiteY14" fmla="*/ 18615 h 547027"/>
                <a:gd name="connsiteX15" fmla="*/ 258593 w 547492"/>
                <a:gd name="connsiteY15" fmla="*/ 83 h 547027"/>
                <a:gd name="connsiteX16" fmla="*/ 18843 w 547492"/>
                <a:gd name="connsiteY16" fmla="*/ 10 h 547027"/>
                <a:gd name="connsiteX17" fmla="*/ 37685 w 547492"/>
                <a:gd name="connsiteY17" fmla="*/ 16302 h 547027"/>
                <a:gd name="connsiteX18" fmla="*/ 164891 w 547492"/>
                <a:gd name="connsiteY18" fmla="*/ 345340 h 547027"/>
                <a:gd name="connsiteX19" fmla="*/ 531167 w 547492"/>
                <a:gd name="connsiteY19" fmla="*/ 510082 h 547027"/>
                <a:gd name="connsiteX20" fmla="*/ 528039 w 547492"/>
                <a:gd name="connsiteY20" fmla="*/ 547022 h 547027"/>
                <a:gd name="connsiteX21" fmla="*/ 139867 w 547492"/>
                <a:gd name="connsiteY21" fmla="*/ 375130 h 547027"/>
                <a:gd name="connsiteX22" fmla="*/ 0 w 547492"/>
                <a:gd name="connsiteY22" fmla="*/ 15557 h 547027"/>
                <a:gd name="connsiteX23" fmla="*/ 18843 w 547492"/>
                <a:gd name="connsiteY23" fmla="*/ 10 h 547027"/>
                <a:gd name="connsiteX24" fmla="*/ 361357 w 547492"/>
                <a:gd name="connsiteY24" fmla="*/ 3 h 547027"/>
                <a:gd name="connsiteX25" fmla="*/ 379427 w 547492"/>
                <a:gd name="connsiteY25" fmla="*/ 22811 h 547027"/>
                <a:gd name="connsiteX26" fmla="*/ 416799 w 547492"/>
                <a:gd name="connsiteY26" fmla="*/ 121134 h 547027"/>
                <a:gd name="connsiteX27" fmla="*/ 530986 w 547492"/>
                <a:gd name="connsiteY27" fmla="*/ 167238 h 547027"/>
                <a:gd name="connsiteX28" fmla="*/ 528863 w 547492"/>
                <a:gd name="connsiteY28" fmla="*/ 205554 h 547027"/>
                <a:gd name="connsiteX29" fmla="*/ 395749 w 547492"/>
                <a:gd name="connsiteY29" fmla="*/ 150171 h 547027"/>
                <a:gd name="connsiteX30" fmla="*/ 342870 w 547492"/>
                <a:gd name="connsiteY30" fmla="*/ 38961 h 547027"/>
                <a:gd name="connsiteX31" fmla="*/ 343296 w 547492"/>
                <a:gd name="connsiteY31" fmla="*/ 21634 h 547027"/>
                <a:gd name="connsiteX32" fmla="*/ 361357 w 547492"/>
                <a:gd name="connsiteY32" fmla="*/ 3 h 54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7492" h="547027">
                  <a:moveTo>
                    <a:pt x="147901" y="159"/>
                  </a:moveTo>
                  <a:cubicBezTo>
                    <a:pt x="156233" y="1247"/>
                    <a:pt x="164417" y="7883"/>
                    <a:pt x="164790" y="17385"/>
                  </a:cubicBezTo>
                  <a:cubicBezTo>
                    <a:pt x="163504" y="123250"/>
                    <a:pt x="210481" y="208637"/>
                    <a:pt x="257543" y="261873"/>
                  </a:cubicBezTo>
                  <a:cubicBezTo>
                    <a:pt x="329801" y="345790"/>
                    <a:pt x="450493" y="385299"/>
                    <a:pt x="531263" y="383096"/>
                  </a:cubicBezTo>
                  <a:cubicBezTo>
                    <a:pt x="554755" y="384136"/>
                    <a:pt x="550415" y="419245"/>
                    <a:pt x="533050" y="419093"/>
                  </a:cubicBezTo>
                  <a:cubicBezTo>
                    <a:pt x="450691" y="419472"/>
                    <a:pt x="338455" y="398909"/>
                    <a:pt x="234902" y="291210"/>
                  </a:cubicBezTo>
                  <a:cubicBezTo>
                    <a:pt x="193363" y="241274"/>
                    <a:pt x="128927" y="167539"/>
                    <a:pt x="130118" y="16219"/>
                  </a:cubicBezTo>
                  <a:cubicBezTo>
                    <a:pt x="131087" y="3530"/>
                    <a:pt x="139569" y="-930"/>
                    <a:pt x="147901" y="159"/>
                  </a:cubicBezTo>
                  <a:close/>
                  <a:moveTo>
                    <a:pt x="258593" y="83"/>
                  </a:moveTo>
                  <a:cubicBezTo>
                    <a:pt x="267391" y="-753"/>
                    <a:pt x="276308" y="4730"/>
                    <a:pt x="276870" y="19473"/>
                  </a:cubicBezTo>
                  <a:cubicBezTo>
                    <a:pt x="277152" y="95057"/>
                    <a:pt x="309784" y="144239"/>
                    <a:pt x="342477" y="185830"/>
                  </a:cubicBezTo>
                  <a:cubicBezTo>
                    <a:pt x="395970" y="243463"/>
                    <a:pt x="472402" y="273156"/>
                    <a:pt x="529533" y="271534"/>
                  </a:cubicBezTo>
                  <a:cubicBezTo>
                    <a:pt x="554491" y="271108"/>
                    <a:pt x="552612" y="307689"/>
                    <a:pt x="529010" y="308769"/>
                  </a:cubicBezTo>
                  <a:cubicBezTo>
                    <a:pt x="463605" y="309049"/>
                    <a:pt x="394346" y="293904"/>
                    <a:pt x="319908" y="218161"/>
                  </a:cubicBezTo>
                  <a:cubicBezTo>
                    <a:pt x="290526" y="181384"/>
                    <a:pt x="240182" y="130058"/>
                    <a:pt x="241025" y="18615"/>
                  </a:cubicBezTo>
                  <a:cubicBezTo>
                    <a:pt x="241115" y="8077"/>
                    <a:pt x="249795" y="920"/>
                    <a:pt x="258593" y="83"/>
                  </a:cubicBezTo>
                  <a:close/>
                  <a:moveTo>
                    <a:pt x="18843" y="10"/>
                  </a:moveTo>
                  <a:cubicBezTo>
                    <a:pt x="28214" y="265"/>
                    <a:pt x="37586" y="5826"/>
                    <a:pt x="37685" y="16302"/>
                  </a:cubicBezTo>
                  <a:cubicBezTo>
                    <a:pt x="35997" y="154729"/>
                    <a:pt x="103125" y="275729"/>
                    <a:pt x="164891" y="345340"/>
                  </a:cubicBezTo>
                  <a:cubicBezTo>
                    <a:pt x="259725" y="455069"/>
                    <a:pt x="425162" y="512962"/>
                    <a:pt x="531167" y="510082"/>
                  </a:cubicBezTo>
                  <a:cubicBezTo>
                    <a:pt x="555744" y="509883"/>
                    <a:pt x="550829" y="547221"/>
                    <a:pt x="528039" y="547022"/>
                  </a:cubicBezTo>
                  <a:cubicBezTo>
                    <a:pt x="419949" y="547519"/>
                    <a:pt x="273429" y="516735"/>
                    <a:pt x="139867" y="375130"/>
                  </a:cubicBezTo>
                  <a:cubicBezTo>
                    <a:pt x="85350" y="312173"/>
                    <a:pt x="0" y="200955"/>
                    <a:pt x="0" y="15557"/>
                  </a:cubicBezTo>
                  <a:cubicBezTo>
                    <a:pt x="99" y="4808"/>
                    <a:pt x="9471" y="-244"/>
                    <a:pt x="18843" y="10"/>
                  </a:cubicBezTo>
                  <a:close/>
                  <a:moveTo>
                    <a:pt x="361357" y="3"/>
                  </a:moveTo>
                  <a:cubicBezTo>
                    <a:pt x="370360" y="-117"/>
                    <a:pt x="379364" y="7170"/>
                    <a:pt x="379427" y="22811"/>
                  </a:cubicBezTo>
                  <a:cubicBezTo>
                    <a:pt x="379608" y="73981"/>
                    <a:pt x="395801" y="92977"/>
                    <a:pt x="416799" y="121134"/>
                  </a:cubicBezTo>
                  <a:cubicBezTo>
                    <a:pt x="452945" y="158363"/>
                    <a:pt x="498462" y="168336"/>
                    <a:pt x="530986" y="167238"/>
                  </a:cubicBezTo>
                  <a:cubicBezTo>
                    <a:pt x="549400" y="166950"/>
                    <a:pt x="557131" y="203036"/>
                    <a:pt x="528863" y="205554"/>
                  </a:cubicBezTo>
                  <a:cubicBezTo>
                    <a:pt x="486854" y="205743"/>
                    <a:pt x="443561" y="201449"/>
                    <a:pt x="395749" y="150171"/>
                  </a:cubicBezTo>
                  <a:cubicBezTo>
                    <a:pt x="351991" y="102452"/>
                    <a:pt x="343809" y="62263"/>
                    <a:pt x="342870" y="38961"/>
                  </a:cubicBezTo>
                  <a:cubicBezTo>
                    <a:pt x="342557" y="31194"/>
                    <a:pt x="343049" y="25303"/>
                    <a:pt x="343296" y="21634"/>
                  </a:cubicBezTo>
                  <a:cubicBezTo>
                    <a:pt x="343354" y="7649"/>
                    <a:pt x="352355" y="122"/>
                    <a:pt x="361357" y="3"/>
                  </a:cubicBezTo>
                  <a:close/>
                </a:path>
              </a:pathLst>
            </a:cu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32316"/>
              <a:endParaRPr lang="en-US" sz="1200" dirty="0">
                <a:solidFill>
                  <a:srgbClr val="FFFFFF"/>
                </a:solidFill>
              </a:endParaRPr>
            </a:p>
          </p:txBody>
        </p:sp>
        <p:sp>
          <p:nvSpPr>
            <p:cNvPr id="44" name="Freeform 43"/>
            <p:cNvSpPr/>
            <p:nvPr/>
          </p:nvSpPr>
          <p:spPr>
            <a:xfrm rot="17825707">
              <a:off x="10701316" y="4383380"/>
              <a:ext cx="337886" cy="325839"/>
            </a:xfrm>
            <a:custGeom>
              <a:avLst/>
              <a:gdLst>
                <a:gd name="connsiteX0" fmla="*/ 147901 w 547492"/>
                <a:gd name="connsiteY0" fmla="*/ 159 h 547027"/>
                <a:gd name="connsiteX1" fmla="*/ 164790 w 547492"/>
                <a:gd name="connsiteY1" fmla="*/ 17385 h 547027"/>
                <a:gd name="connsiteX2" fmla="*/ 257543 w 547492"/>
                <a:gd name="connsiteY2" fmla="*/ 261873 h 547027"/>
                <a:gd name="connsiteX3" fmla="*/ 531263 w 547492"/>
                <a:gd name="connsiteY3" fmla="*/ 383096 h 547027"/>
                <a:gd name="connsiteX4" fmla="*/ 533050 w 547492"/>
                <a:gd name="connsiteY4" fmla="*/ 419093 h 547027"/>
                <a:gd name="connsiteX5" fmla="*/ 234902 w 547492"/>
                <a:gd name="connsiteY5" fmla="*/ 291210 h 547027"/>
                <a:gd name="connsiteX6" fmla="*/ 130118 w 547492"/>
                <a:gd name="connsiteY6" fmla="*/ 16219 h 547027"/>
                <a:gd name="connsiteX7" fmla="*/ 147901 w 547492"/>
                <a:gd name="connsiteY7" fmla="*/ 159 h 547027"/>
                <a:gd name="connsiteX8" fmla="*/ 258593 w 547492"/>
                <a:gd name="connsiteY8" fmla="*/ 83 h 547027"/>
                <a:gd name="connsiteX9" fmla="*/ 276870 w 547492"/>
                <a:gd name="connsiteY9" fmla="*/ 19473 h 547027"/>
                <a:gd name="connsiteX10" fmla="*/ 342477 w 547492"/>
                <a:gd name="connsiteY10" fmla="*/ 185830 h 547027"/>
                <a:gd name="connsiteX11" fmla="*/ 529533 w 547492"/>
                <a:gd name="connsiteY11" fmla="*/ 271534 h 547027"/>
                <a:gd name="connsiteX12" fmla="*/ 529010 w 547492"/>
                <a:gd name="connsiteY12" fmla="*/ 308769 h 547027"/>
                <a:gd name="connsiteX13" fmla="*/ 319908 w 547492"/>
                <a:gd name="connsiteY13" fmla="*/ 218161 h 547027"/>
                <a:gd name="connsiteX14" fmla="*/ 241025 w 547492"/>
                <a:gd name="connsiteY14" fmla="*/ 18615 h 547027"/>
                <a:gd name="connsiteX15" fmla="*/ 258593 w 547492"/>
                <a:gd name="connsiteY15" fmla="*/ 83 h 547027"/>
                <a:gd name="connsiteX16" fmla="*/ 18843 w 547492"/>
                <a:gd name="connsiteY16" fmla="*/ 10 h 547027"/>
                <a:gd name="connsiteX17" fmla="*/ 37685 w 547492"/>
                <a:gd name="connsiteY17" fmla="*/ 16302 h 547027"/>
                <a:gd name="connsiteX18" fmla="*/ 164891 w 547492"/>
                <a:gd name="connsiteY18" fmla="*/ 345340 h 547027"/>
                <a:gd name="connsiteX19" fmla="*/ 531167 w 547492"/>
                <a:gd name="connsiteY19" fmla="*/ 510082 h 547027"/>
                <a:gd name="connsiteX20" fmla="*/ 528039 w 547492"/>
                <a:gd name="connsiteY20" fmla="*/ 547022 h 547027"/>
                <a:gd name="connsiteX21" fmla="*/ 139867 w 547492"/>
                <a:gd name="connsiteY21" fmla="*/ 375130 h 547027"/>
                <a:gd name="connsiteX22" fmla="*/ 0 w 547492"/>
                <a:gd name="connsiteY22" fmla="*/ 15557 h 547027"/>
                <a:gd name="connsiteX23" fmla="*/ 18843 w 547492"/>
                <a:gd name="connsiteY23" fmla="*/ 10 h 547027"/>
                <a:gd name="connsiteX24" fmla="*/ 361357 w 547492"/>
                <a:gd name="connsiteY24" fmla="*/ 3 h 547027"/>
                <a:gd name="connsiteX25" fmla="*/ 379427 w 547492"/>
                <a:gd name="connsiteY25" fmla="*/ 22811 h 547027"/>
                <a:gd name="connsiteX26" fmla="*/ 416799 w 547492"/>
                <a:gd name="connsiteY26" fmla="*/ 121134 h 547027"/>
                <a:gd name="connsiteX27" fmla="*/ 530986 w 547492"/>
                <a:gd name="connsiteY27" fmla="*/ 167238 h 547027"/>
                <a:gd name="connsiteX28" fmla="*/ 528863 w 547492"/>
                <a:gd name="connsiteY28" fmla="*/ 205554 h 547027"/>
                <a:gd name="connsiteX29" fmla="*/ 395749 w 547492"/>
                <a:gd name="connsiteY29" fmla="*/ 150171 h 547027"/>
                <a:gd name="connsiteX30" fmla="*/ 342870 w 547492"/>
                <a:gd name="connsiteY30" fmla="*/ 38961 h 547027"/>
                <a:gd name="connsiteX31" fmla="*/ 343296 w 547492"/>
                <a:gd name="connsiteY31" fmla="*/ 21634 h 547027"/>
                <a:gd name="connsiteX32" fmla="*/ 361357 w 547492"/>
                <a:gd name="connsiteY32" fmla="*/ 3 h 54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7492" h="547027">
                  <a:moveTo>
                    <a:pt x="147901" y="159"/>
                  </a:moveTo>
                  <a:cubicBezTo>
                    <a:pt x="156233" y="1247"/>
                    <a:pt x="164417" y="7883"/>
                    <a:pt x="164790" y="17385"/>
                  </a:cubicBezTo>
                  <a:cubicBezTo>
                    <a:pt x="163504" y="123250"/>
                    <a:pt x="210481" y="208637"/>
                    <a:pt x="257543" y="261873"/>
                  </a:cubicBezTo>
                  <a:cubicBezTo>
                    <a:pt x="329801" y="345790"/>
                    <a:pt x="450493" y="385299"/>
                    <a:pt x="531263" y="383096"/>
                  </a:cubicBezTo>
                  <a:cubicBezTo>
                    <a:pt x="554755" y="384136"/>
                    <a:pt x="550415" y="419245"/>
                    <a:pt x="533050" y="419093"/>
                  </a:cubicBezTo>
                  <a:cubicBezTo>
                    <a:pt x="450691" y="419472"/>
                    <a:pt x="338455" y="398909"/>
                    <a:pt x="234902" y="291210"/>
                  </a:cubicBezTo>
                  <a:cubicBezTo>
                    <a:pt x="193363" y="241274"/>
                    <a:pt x="128927" y="167539"/>
                    <a:pt x="130118" y="16219"/>
                  </a:cubicBezTo>
                  <a:cubicBezTo>
                    <a:pt x="131087" y="3530"/>
                    <a:pt x="139569" y="-930"/>
                    <a:pt x="147901" y="159"/>
                  </a:cubicBezTo>
                  <a:close/>
                  <a:moveTo>
                    <a:pt x="258593" y="83"/>
                  </a:moveTo>
                  <a:cubicBezTo>
                    <a:pt x="267391" y="-753"/>
                    <a:pt x="276308" y="4730"/>
                    <a:pt x="276870" y="19473"/>
                  </a:cubicBezTo>
                  <a:cubicBezTo>
                    <a:pt x="277152" y="95057"/>
                    <a:pt x="309784" y="144239"/>
                    <a:pt x="342477" y="185830"/>
                  </a:cubicBezTo>
                  <a:cubicBezTo>
                    <a:pt x="395970" y="243463"/>
                    <a:pt x="472402" y="273156"/>
                    <a:pt x="529533" y="271534"/>
                  </a:cubicBezTo>
                  <a:cubicBezTo>
                    <a:pt x="554491" y="271108"/>
                    <a:pt x="552612" y="307689"/>
                    <a:pt x="529010" y="308769"/>
                  </a:cubicBezTo>
                  <a:cubicBezTo>
                    <a:pt x="463605" y="309049"/>
                    <a:pt x="394346" y="293904"/>
                    <a:pt x="319908" y="218161"/>
                  </a:cubicBezTo>
                  <a:cubicBezTo>
                    <a:pt x="290526" y="181384"/>
                    <a:pt x="240182" y="130058"/>
                    <a:pt x="241025" y="18615"/>
                  </a:cubicBezTo>
                  <a:cubicBezTo>
                    <a:pt x="241115" y="8077"/>
                    <a:pt x="249795" y="920"/>
                    <a:pt x="258593" y="83"/>
                  </a:cubicBezTo>
                  <a:close/>
                  <a:moveTo>
                    <a:pt x="18843" y="10"/>
                  </a:moveTo>
                  <a:cubicBezTo>
                    <a:pt x="28214" y="265"/>
                    <a:pt x="37586" y="5826"/>
                    <a:pt x="37685" y="16302"/>
                  </a:cubicBezTo>
                  <a:cubicBezTo>
                    <a:pt x="35997" y="154729"/>
                    <a:pt x="103125" y="275729"/>
                    <a:pt x="164891" y="345340"/>
                  </a:cubicBezTo>
                  <a:cubicBezTo>
                    <a:pt x="259725" y="455069"/>
                    <a:pt x="425162" y="512962"/>
                    <a:pt x="531167" y="510082"/>
                  </a:cubicBezTo>
                  <a:cubicBezTo>
                    <a:pt x="555744" y="509883"/>
                    <a:pt x="550829" y="547221"/>
                    <a:pt x="528039" y="547022"/>
                  </a:cubicBezTo>
                  <a:cubicBezTo>
                    <a:pt x="419949" y="547519"/>
                    <a:pt x="273429" y="516735"/>
                    <a:pt x="139867" y="375130"/>
                  </a:cubicBezTo>
                  <a:cubicBezTo>
                    <a:pt x="85350" y="312173"/>
                    <a:pt x="0" y="200955"/>
                    <a:pt x="0" y="15557"/>
                  </a:cubicBezTo>
                  <a:cubicBezTo>
                    <a:pt x="99" y="4808"/>
                    <a:pt x="9471" y="-244"/>
                    <a:pt x="18843" y="10"/>
                  </a:cubicBezTo>
                  <a:close/>
                  <a:moveTo>
                    <a:pt x="361357" y="3"/>
                  </a:moveTo>
                  <a:cubicBezTo>
                    <a:pt x="370360" y="-117"/>
                    <a:pt x="379364" y="7170"/>
                    <a:pt x="379427" y="22811"/>
                  </a:cubicBezTo>
                  <a:cubicBezTo>
                    <a:pt x="379608" y="73981"/>
                    <a:pt x="395801" y="92977"/>
                    <a:pt x="416799" y="121134"/>
                  </a:cubicBezTo>
                  <a:cubicBezTo>
                    <a:pt x="452945" y="158363"/>
                    <a:pt x="498462" y="168336"/>
                    <a:pt x="530986" y="167238"/>
                  </a:cubicBezTo>
                  <a:cubicBezTo>
                    <a:pt x="549400" y="166950"/>
                    <a:pt x="557131" y="203036"/>
                    <a:pt x="528863" y="205554"/>
                  </a:cubicBezTo>
                  <a:cubicBezTo>
                    <a:pt x="486854" y="205743"/>
                    <a:pt x="443561" y="201449"/>
                    <a:pt x="395749" y="150171"/>
                  </a:cubicBezTo>
                  <a:cubicBezTo>
                    <a:pt x="351991" y="102452"/>
                    <a:pt x="343809" y="62263"/>
                    <a:pt x="342870" y="38961"/>
                  </a:cubicBezTo>
                  <a:cubicBezTo>
                    <a:pt x="342557" y="31194"/>
                    <a:pt x="343049" y="25303"/>
                    <a:pt x="343296" y="21634"/>
                  </a:cubicBezTo>
                  <a:cubicBezTo>
                    <a:pt x="343354" y="7649"/>
                    <a:pt x="352355" y="122"/>
                    <a:pt x="361357" y="3"/>
                  </a:cubicBezTo>
                  <a:close/>
                </a:path>
              </a:pathLst>
            </a:cu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32316"/>
              <a:endParaRPr lang="en-US" sz="1200" dirty="0">
                <a:solidFill>
                  <a:srgbClr val="FFFFFF"/>
                </a:solidFill>
              </a:endParaRPr>
            </a:p>
          </p:txBody>
        </p:sp>
        <p:pic>
          <p:nvPicPr>
            <p:cNvPr id="45" name="Picture 44"/>
            <p:cNvPicPr>
              <a:picLocks noChangeAspect="1"/>
            </p:cNvPicPr>
            <p:nvPr/>
          </p:nvPicPr>
          <p:blipFill>
            <a:blip r:embed="rId7"/>
            <a:stretch>
              <a:fillRect/>
            </a:stretch>
          </p:blipFill>
          <p:spPr>
            <a:xfrm>
              <a:off x="8173151" y="2536177"/>
              <a:ext cx="1418085" cy="1418086"/>
            </a:xfrm>
            <a:prstGeom prst="rect">
              <a:avLst/>
            </a:prstGeom>
          </p:spPr>
        </p:pic>
        <p:sp>
          <p:nvSpPr>
            <p:cNvPr id="46" name="Freeform 45"/>
            <p:cNvSpPr/>
            <p:nvPr/>
          </p:nvSpPr>
          <p:spPr bwMode="auto">
            <a:xfrm>
              <a:off x="9230759" y="5616225"/>
              <a:ext cx="1300871" cy="216811"/>
            </a:xfrm>
            <a:custGeom>
              <a:avLst/>
              <a:gdLst>
                <a:gd name="connsiteX0" fmla="*/ 357077 w 828676"/>
                <a:gd name="connsiteY0" fmla="*/ 60274 h 138112"/>
                <a:gd name="connsiteX1" fmla="*/ 337209 w 828676"/>
                <a:gd name="connsiteY1" fmla="*/ 105993 h 138112"/>
                <a:gd name="connsiteX2" fmla="*/ 491468 w 828676"/>
                <a:gd name="connsiteY2" fmla="*/ 105993 h 138112"/>
                <a:gd name="connsiteX3" fmla="*/ 471600 w 828676"/>
                <a:gd name="connsiteY3" fmla="*/ 60274 h 138112"/>
                <a:gd name="connsiteX4" fmla="*/ 98102 w 828676"/>
                <a:gd name="connsiteY4" fmla="*/ 0 h 138112"/>
                <a:gd name="connsiteX5" fmla="*/ 125736 w 828676"/>
                <a:gd name="connsiteY5" fmla="*/ 0 h 138112"/>
                <a:gd name="connsiteX6" fmla="*/ 127522 w 828676"/>
                <a:gd name="connsiteY6" fmla="*/ 7143 h 138112"/>
                <a:gd name="connsiteX7" fmla="*/ 701154 w 828676"/>
                <a:gd name="connsiteY7" fmla="*/ 7143 h 138112"/>
                <a:gd name="connsiteX8" fmla="*/ 702940 w 828676"/>
                <a:gd name="connsiteY8" fmla="*/ 0 h 138112"/>
                <a:gd name="connsiteX9" fmla="*/ 730574 w 828676"/>
                <a:gd name="connsiteY9" fmla="*/ 0 h 138112"/>
                <a:gd name="connsiteX10" fmla="*/ 732360 w 828676"/>
                <a:gd name="connsiteY10" fmla="*/ 7143 h 138112"/>
                <a:gd name="connsiteX11" fmla="*/ 764381 w 828676"/>
                <a:gd name="connsiteY11" fmla="*/ 7143 h 138112"/>
                <a:gd name="connsiteX12" fmla="*/ 828676 w 828676"/>
                <a:gd name="connsiteY12" fmla="*/ 92869 h 138112"/>
                <a:gd name="connsiteX13" fmla="*/ 828676 w 828676"/>
                <a:gd name="connsiteY13" fmla="*/ 100732 h 138112"/>
                <a:gd name="connsiteX14" fmla="*/ 791296 w 828676"/>
                <a:gd name="connsiteY14" fmla="*/ 138112 h 138112"/>
                <a:gd name="connsiteX15" fmla="*/ 37380 w 828676"/>
                <a:gd name="connsiteY15" fmla="*/ 138112 h 138112"/>
                <a:gd name="connsiteX16" fmla="*/ 0 w 828676"/>
                <a:gd name="connsiteY16" fmla="*/ 100732 h 138112"/>
                <a:gd name="connsiteX17" fmla="*/ 0 w 828676"/>
                <a:gd name="connsiteY17" fmla="*/ 92869 h 138112"/>
                <a:gd name="connsiteX18" fmla="*/ 64295 w 828676"/>
                <a:gd name="connsiteY18" fmla="*/ 7143 h 138112"/>
                <a:gd name="connsiteX19" fmla="*/ 96316 w 828676"/>
                <a:gd name="connsiteY19" fmla="*/ 7143 h 13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28676" h="138112">
                  <a:moveTo>
                    <a:pt x="357077" y="60274"/>
                  </a:moveTo>
                  <a:lnTo>
                    <a:pt x="337209" y="105993"/>
                  </a:lnTo>
                  <a:lnTo>
                    <a:pt x="491468" y="105993"/>
                  </a:lnTo>
                  <a:lnTo>
                    <a:pt x="471600" y="60274"/>
                  </a:lnTo>
                  <a:close/>
                  <a:moveTo>
                    <a:pt x="98102" y="0"/>
                  </a:moveTo>
                  <a:lnTo>
                    <a:pt x="125736" y="0"/>
                  </a:lnTo>
                  <a:lnTo>
                    <a:pt x="127522" y="7143"/>
                  </a:lnTo>
                  <a:lnTo>
                    <a:pt x="701154" y="7143"/>
                  </a:lnTo>
                  <a:lnTo>
                    <a:pt x="702940" y="0"/>
                  </a:lnTo>
                  <a:lnTo>
                    <a:pt x="730574" y="0"/>
                  </a:lnTo>
                  <a:lnTo>
                    <a:pt x="732360" y="7143"/>
                  </a:lnTo>
                  <a:lnTo>
                    <a:pt x="764381" y="7143"/>
                  </a:lnTo>
                  <a:lnTo>
                    <a:pt x="828676" y="92869"/>
                  </a:lnTo>
                  <a:lnTo>
                    <a:pt x="828676" y="100732"/>
                  </a:lnTo>
                  <a:cubicBezTo>
                    <a:pt x="828676" y="121376"/>
                    <a:pt x="811940" y="138112"/>
                    <a:pt x="791296" y="138112"/>
                  </a:cubicBezTo>
                  <a:lnTo>
                    <a:pt x="37380" y="138112"/>
                  </a:lnTo>
                  <a:cubicBezTo>
                    <a:pt x="16736" y="138112"/>
                    <a:pt x="0" y="121376"/>
                    <a:pt x="0" y="100732"/>
                  </a:cubicBezTo>
                  <a:lnTo>
                    <a:pt x="0" y="92869"/>
                  </a:lnTo>
                  <a:lnTo>
                    <a:pt x="64295" y="7143"/>
                  </a:lnTo>
                  <a:lnTo>
                    <a:pt x="96316" y="7143"/>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46"/>
            <p:cNvSpPr/>
            <p:nvPr/>
          </p:nvSpPr>
          <p:spPr bwMode="auto">
            <a:xfrm>
              <a:off x="9340312" y="4883372"/>
              <a:ext cx="1095273" cy="708988"/>
            </a:xfrm>
            <a:custGeom>
              <a:avLst/>
              <a:gdLst>
                <a:gd name="connsiteX0" fmla="*/ 45098 w 697707"/>
                <a:gd name="connsiteY0" fmla="*/ 24180 h 451636"/>
                <a:gd name="connsiteX1" fmla="*/ 28507 w 697707"/>
                <a:gd name="connsiteY1" fmla="*/ 40771 h 451636"/>
                <a:gd name="connsiteX2" fmla="*/ 28507 w 697707"/>
                <a:gd name="connsiteY2" fmla="*/ 410866 h 451636"/>
                <a:gd name="connsiteX3" fmla="*/ 45098 w 697707"/>
                <a:gd name="connsiteY3" fmla="*/ 427457 h 451636"/>
                <a:gd name="connsiteX4" fmla="*/ 652608 w 697707"/>
                <a:gd name="connsiteY4" fmla="*/ 427457 h 451636"/>
                <a:gd name="connsiteX5" fmla="*/ 669199 w 697707"/>
                <a:gd name="connsiteY5" fmla="*/ 410866 h 451636"/>
                <a:gd name="connsiteX6" fmla="*/ 669199 w 697707"/>
                <a:gd name="connsiteY6" fmla="*/ 40771 h 451636"/>
                <a:gd name="connsiteX7" fmla="*/ 652608 w 697707"/>
                <a:gd name="connsiteY7" fmla="*/ 24180 h 451636"/>
                <a:gd name="connsiteX8" fmla="*/ 348853 w 697707"/>
                <a:gd name="connsiteY8" fmla="*/ 2364 h 451636"/>
                <a:gd name="connsiteX9" fmla="*/ 339709 w 697707"/>
                <a:gd name="connsiteY9" fmla="*/ 11508 h 451636"/>
                <a:gd name="connsiteX10" fmla="*/ 348853 w 697707"/>
                <a:gd name="connsiteY10" fmla="*/ 20652 h 451636"/>
                <a:gd name="connsiteX11" fmla="*/ 357997 w 697707"/>
                <a:gd name="connsiteY11" fmla="*/ 11508 h 451636"/>
                <a:gd name="connsiteX12" fmla="*/ 348853 w 697707"/>
                <a:gd name="connsiteY12" fmla="*/ 2364 h 451636"/>
                <a:gd name="connsiteX13" fmla="*/ 28954 w 697707"/>
                <a:gd name="connsiteY13" fmla="*/ 0 h 451636"/>
                <a:gd name="connsiteX14" fmla="*/ 668753 w 697707"/>
                <a:gd name="connsiteY14" fmla="*/ 0 h 451636"/>
                <a:gd name="connsiteX15" fmla="*/ 697707 w 697707"/>
                <a:gd name="connsiteY15" fmla="*/ 28954 h 451636"/>
                <a:gd name="connsiteX16" fmla="*/ 697707 w 697707"/>
                <a:gd name="connsiteY16" fmla="*/ 422682 h 451636"/>
                <a:gd name="connsiteX17" fmla="*/ 668753 w 697707"/>
                <a:gd name="connsiteY17" fmla="*/ 451636 h 451636"/>
                <a:gd name="connsiteX18" fmla="*/ 28954 w 697707"/>
                <a:gd name="connsiteY18" fmla="*/ 451636 h 451636"/>
                <a:gd name="connsiteX19" fmla="*/ 0 w 697707"/>
                <a:gd name="connsiteY19" fmla="*/ 422682 h 451636"/>
                <a:gd name="connsiteX20" fmla="*/ 0 w 697707"/>
                <a:gd name="connsiteY20" fmla="*/ 28954 h 451636"/>
                <a:gd name="connsiteX21" fmla="*/ 28954 w 697707"/>
                <a:gd name="connsiteY21" fmla="*/ 0 h 45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707" h="451636">
                  <a:moveTo>
                    <a:pt x="45098" y="24180"/>
                  </a:moveTo>
                  <a:cubicBezTo>
                    <a:pt x="35935" y="24180"/>
                    <a:pt x="28507" y="31608"/>
                    <a:pt x="28507" y="40771"/>
                  </a:cubicBezTo>
                  <a:lnTo>
                    <a:pt x="28507" y="410866"/>
                  </a:lnTo>
                  <a:cubicBezTo>
                    <a:pt x="28507" y="420029"/>
                    <a:pt x="35935" y="427457"/>
                    <a:pt x="45098" y="427457"/>
                  </a:cubicBezTo>
                  <a:lnTo>
                    <a:pt x="652608" y="427457"/>
                  </a:lnTo>
                  <a:cubicBezTo>
                    <a:pt x="661771" y="427457"/>
                    <a:pt x="669199" y="420029"/>
                    <a:pt x="669199" y="410866"/>
                  </a:cubicBezTo>
                  <a:lnTo>
                    <a:pt x="669199" y="40771"/>
                  </a:lnTo>
                  <a:cubicBezTo>
                    <a:pt x="669199" y="31608"/>
                    <a:pt x="661771" y="24180"/>
                    <a:pt x="652608" y="24180"/>
                  </a:cubicBezTo>
                  <a:close/>
                  <a:moveTo>
                    <a:pt x="348853" y="2364"/>
                  </a:moveTo>
                  <a:cubicBezTo>
                    <a:pt x="343803" y="2364"/>
                    <a:pt x="339709" y="6458"/>
                    <a:pt x="339709" y="11508"/>
                  </a:cubicBezTo>
                  <a:cubicBezTo>
                    <a:pt x="339709" y="16558"/>
                    <a:pt x="343803" y="20652"/>
                    <a:pt x="348853" y="20652"/>
                  </a:cubicBezTo>
                  <a:cubicBezTo>
                    <a:pt x="353903" y="20652"/>
                    <a:pt x="357997" y="16558"/>
                    <a:pt x="357997" y="11508"/>
                  </a:cubicBezTo>
                  <a:cubicBezTo>
                    <a:pt x="357997" y="6458"/>
                    <a:pt x="353903" y="2364"/>
                    <a:pt x="348853" y="2364"/>
                  </a:cubicBezTo>
                  <a:close/>
                  <a:moveTo>
                    <a:pt x="28954" y="0"/>
                  </a:moveTo>
                  <a:lnTo>
                    <a:pt x="668753" y="0"/>
                  </a:lnTo>
                  <a:cubicBezTo>
                    <a:pt x="684744" y="0"/>
                    <a:pt x="697707" y="12963"/>
                    <a:pt x="697707" y="28954"/>
                  </a:cubicBezTo>
                  <a:lnTo>
                    <a:pt x="697707" y="422682"/>
                  </a:lnTo>
                  <a:cubicBezTo>
                    <a:pt x="697707" y="438673"/>
                    <a:pt x="684744" y="451636"/>
                    <a:pt x="668753" y="451636"/>
                  </a:cubicBezTo>
                  <a:lnTo>
                    <a:pt x="28954" y="451636"/>
                  </a:lnTo>
                  <a:cubicBezTo>
                    <a:pt x="12963" y="451636"/>
                    <a:pt x="0" y="438673"/>
                    <a:pt x="0" y="422682"/>
                  </a:cubicBezTo>
                  <a:lnTo>
                    <a:pt x="0" y="28954"/>
                  </a:lnTo>
                  <a:cubicBezTo>
                    <a:pt x="0" y="12963"/>
                    <a:pt x="12963" y="0"/>
                    <a:pt x="28954"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3" name="Oval 39"/>
            <p:cNvSpPr/>
            <p:nvPr/>
          </p:nvSpPr>
          <p:spPr>
            <a:xfrm>
              <a:off x="10830461" y="5172431"/>
              <a:ext cx="332550" cy="373613"/>
            </a:xfrm>
            <a:custGeom>
              <a:avLst/>
              <a:gdLst/>
              <a:ahLst/>
              <a:cxnLst/>
              <a:rect l="l" t="t" r="r" b="b"/>
              <a:pathLst>
                <a:path w="4781359" h="5371757">
                  <a:moveTo>
                    <a:pt x="4092637" y="3000907"/>
                  </a:moveTo>
                  <a:cubicBezTo>
                    <a:pt x="4473008" y="3000907"/>
                    <a:pt x="4781359" y="3309258"/>
                    <a:pt x="4781359" y="3689629"/>
                  </a:cubicBezTo>
                  <a:lnTo>
                    <a:pt x="4781359" y="4683035"/>
                  </a:lnTo>
                  <a:cubicBezTo>
                    <a:pt x="4781359" y="5063406"/>
                    <a:pt x="4473008" y="5371757"/>
                    <a:pt x="4092637" y="5371757"/>
                  </a:cubicBezTo>
                  <a:cubicBezTo>
                    <a:pt x="3712266" y="5371757"/>
                    <a:pt x="3403915" y="5063406"/>
                    <a:pt x="3403915" y="4683035"/>
                  </a:cubicBezTo>
                  <a:cubicBezTo>
                    <a:pt x="3404381" y="4521317"/>
                    <a:pt x="3404846" y="4359600"/>
                    <a:pt x="3405312" y="4197882"/>
                  </a:cubicBezTo>
                  <a:cubicBezTo>
                    <a:pt x="3522586" y="4408870"/>
                    <a:pt x="3706135" y="4513820"/>
                    <a:pt x="3795837" y="4534015"/>
                  </a:cubicBezTo>
                  <a:lnTo>
                    <a:pt x="3795837" y="4706411"/>
                  </a:lnTo>
                  <a:cubicBezTo>
                    <a:pt x="3795837" y="4870329"/>
                    <a:pt x="3928719" y="5003211"/>
                    <a:pt x="4092637" y="5003211"/>
                  </a:cubicBezTo>
                  <a:cubicBezTo>
                    <a:pt x="4256555" y="5003211"/>
                    <a:pt x="4389437" y="4870329"/>
                    <a:pt x="4389437" y="4706411"/>
                  </a:cubicBezTo>
                  <a:lnTo>
                    <a:pt x="4389437" y="3666253"/>
                  </a:lnTo>
                  <a:cubicBezTo>
                    <a:pt x="4389437" y="3502335"/>
                    <a:pt x="4256555" y="3369453"/>
                    <a:pt x="4092637" y="3369453"/>
                  </a:cubicBezTo>
                  <a:cubicBezTo>
                    <a:pt x="4062116" y="3369453"/>
                    <a:pt x="4032671" y="3374060"/>
                    <a:pt x="4005387" y="3383999"/>
                  </a:cubicBezTo>
                  <a:lnTo>
                    <a:pt x="4005387" y="3009702"/>
                  </a:lnTo>
                  <a:cubicBezTo>
                    <a:pt x="4033679" y="3002786"/>
                    <a:pt x="4062938" y="3000907"/>
                    <a:pt x="4092637" y="3000907"/>
                  </a:cubicBezTo>
                  <a:close/>
                  <a:moveTo>
                    <a:pt x="4092637" y="2016408"/>
                  </a:moveTo>
                  <a:cubicBezTo>
                    <a:pt x="4473008" y="2016408"/>
                    <a:pt x="4781359" y="2324759"/>
                    <a:pt x="4781359" y="2705130"/>
                  </a:cubicBezTo>
                  <a:cubicBezTo>
                    <a:pt x="4780893" y="2866848"/>
                    <a:pt x="4780428" y="3028565"/>
                    <a:pt x="4779962" y="3190283"/>
                  </a:cubicBezTo>
                  <a:cubicBezTo>
                    <a:pt x="4662688" y="2979295"/>
                    <a:pt x="4479139" y="2874345"/>
                    <a:pt x="4389437" y="2854150"/>
                  </a:cubicBezTo>
                  <a:lnTo>
                    <a:pt x="4389437" y="2681754"/>
                  </a:lnTo>
                  <a:cubicBezTo>
                    <a:pt x="4389437" y="2517836"/>
                    <a:pt x="4256555" y="2384954"/>
                    <a:pt x="4092637" y="2384954"/>
                  </a:cubicBezTo>
                  <a:cubicBezTo>
                    <a:pt x="3928719" y="2384954"/>
                    <a:pt x="3795837" y="2517836"/>
                    <a:pt x="3795837" y="2681754"/>
                  </a:cubicBezTo>
                  <a:lnTo>
                    <a:pt x="3795837" y="3721912"/>
                  </a:lnTo>
                  <a:cubicBezTo>
                    <a:pt x="3795837" y="3885830"/>
                    <a:pt x="3928719" y="4018712"/>
                    <a:pt x="4092637" y="4018712"/>
                  </a:cubicBezTo>
                  <a:cubicBezTo>
                    <a:pt x="4123158" y="4018712"/>
                    <a:pt x="4152603" y="4014105"/>
                    <a:pt x="4179887" y="4004166"/>
                  </a:cubicBezTo>
                  <a:lnTo>
                    <a:pt x="4179887" y="4378463"/>
                  </a:lnTo>
                  <a:cubicBezTo>
                    <a:pt x="4151595" y="4385379"/>
                    <a:pt x="4122336" y="4387258"/>
                    <a:pt x="4092637" y="4387258"/>
                  </a:cubicBezTo>
                  <a:cubicBezTo>
                    <a:pt x="3712266" y="4387258"/>
                    <a:pt x="3403915" y="4078907"/>
                    <a:pt x="3403915" y="3698536"/>
                  </a:cubicBezTo>
                  <a:lnTo>
                    <a:pt x="3403915" y="2705130"/>
                  </a:lnTo>
                  <a:cubicBezTo>
                    <a:pt x="3403915" y="2324759"/>
                    <a:pt x="3712266" y="2016408"/>
                    <a:pt x="4092637" y="2016408"/>
                  </a:cubicBezTo>
                  <a:close/>
                  <a:moveTo>
                    <a:pt x="138937" y="821099"/>
                  </a:moveTo>
                  <a:cubicBezTo>
                    <a:pt x="214688" y="821099"/>
                    <a:pt x="276097" y="882508"/>
                    <a:pt x="276097" y="958259"/>
                  </a:cubicBezTo>
                  <a:cubicBezTo>
                    <a:pt x="275081" y="1628184"/>
                    <a:pt x="252190" y="1939492"/>
                    <a:pt x="273050" y="2968033"/>
                  </a:cubicBezTo>
                  <a:cubicBezTo>
                    <a:pt x="293910" y="3996574"/>
                    <a:pt x="1516506" y="4371861"/>
                    <a:pt x="2638297" y="4379639"/>
                  </a:cubicBezTo>
                  <a:cubicBezTo>
                    <a:pt x="2714048" y="4379639"/>
                    <a:pt x="2775457" y="4441048"/>
                    <a:pt x="2775457" y="4516799"/>
                  </a:cubicBezTo>
                  <a:cubicBezTo>
                    <a:pt x="2775457" y="4592550"/>
                    <a:pt x="2714048" y="4653959"/>
                    <a:pt x="2638297" y="4653959"/>
                  </a:cubicBezTo>
                  <a:cubicBezTo>
                    <a:pt x="1762040" y="4700002"/>
                    <a:pt x="3926" y="4347572"/>
                    <a:pt x="0" y="2968033"/>
                  </a:cubicBezTo>
                  <a:lnTo>
                    <a:pt x="1777" y="958259"/>
                  </a:lnTo>
                  <a:cubicBezTo>
                    <a:pt x="1777" y="882508"/>
                    <a:pt x="63186" y="821099"/>
                    <a:pt x="138937" y="821099"/>
                  </a:cubicBezTo>
                  <a:close/>
                  <a:moveTo>
                    <a:pt x="2644145" y="374057"/>
                  </a:moveTo>
                  <a:cubicBezTo>
                    <a:pt x="1702165" y="374057"/>
                    <a:pt x="938540" y="635897"/>
                    <a:pt x="938540" y="958893"/>
                  </a:cubicBezTo>
                  <a:cubicBezTo>
                    <a:pt x="938540" y="1281888"/>
                    <a:pt x="1702165" y="1543728"/>
                    <a:pt x="2644145" y="1543728"/>
                  </a:cubicBezTo>
                  <a:cubicBezTo>
                    <a:pt x="3586126" y="1543728"/>
                    <a:pt x="4349751" y="1281888"/>
                    <a:pt x="4349751" y="958893"/>
                  </a:cubicBezTo>
                  <a:cubicBezTo>
                    <a:pt x="4349751" y="635897"/>
                    <a:pt x="3586126" y="374057"/>
                    <a:pt x="2644145" y="374057"/>
                  </a:cubicBezTo>
                  <a:close/>
                  <a:moveTo>
                    <a:pt x="2651760" y="42"/>
                  </a:moveTo>
                  <a:cubicBezTo>
                    <a:pt x="3369469" y="-3027"/>
                    <a:pt x="4736308" y="156780"/>
                    <a:pt x="4732021" y="1012390"/>
                  </a:cubicBezTo>
                  <a:lnTo>
                    <a:pt x="4732021" y="2004302"/>
                  </a:lnTo>
                  <a:cubicBezTo>
                    <a:pt x="4618833" y="1863965"/>
                    <a:pt x="4493898" y="1824231"/>
                    <a:pt x="4354515" y="1776920"/>
                  </a:cubicBezTo>
                  <a:cubicBezTo>
                    <a:pt x="4353985" y="1643792"/>
                    <a:pt x="4353456" y="1510664"/>
                    <a:pt x="4352926" y="1377536"/>
                  </a:cubicBezTo>
                  <a:cubicBezTo>
                    <a:pt x="3973377" y="1622477"/>
                    <a:pt x="3341175" y="1780586"/>
                    <a:pt x="2625842" y="1780586"/>
                  </a:cubicBezTo>
                  <a:cubicBezTo>
                    <a:pt x="1934928" y="1780586"/>
                    <a:pt x="1345379" y="1656898"/>
                    <a:pt x="940923" y="1356874"/>
                  </a:cubicBezTo>
                  <a:cubicBezTo>
                    <a:pt x="940923" y="1557631"/>
                    <a:pt x="940922" y="1520263"/>
                    <a:pt x="940922" y="1721020"/>
                  </a:cubicBezTo>
                  <a:cubicBezTo>
                    <a:pt x="1211291" y="2113942"/>
                    <a:pt x="2056392" y="2242735"/>
                    <a:pt x="2625842" y="2239055"/>
                  </a:cubicBezTo>
                  <a:cubicBezTo>
                    <a:pt x="2828018" y="2237749"/>
                    <a:pt x="3076818" y="2217449"/>
                    <a:pt x="3323742" y="2174033"/>
                  </a:cubicBezTo>
                  <a:cubicBezTo>
                    <a:pt x="3277313" y="2244766"/>
                    <a:pt x="3243806" y="2323995"/>
                    <a:pt x="3223533" y="2408349"/>
                  </a:cubicBezTo>
                  <a:cubicBezTo>
                    <a:pt x="3033068" y="2432278"/>
                    <a:pt x="2831268" y="2443833"/>
                    <a:pt x="2622667" y="2443833"/>
                  </a:cubicBezTo>
                  <a:cubicBezTo>
                    <a:pt x="1931753" y="2443833"/>
                    <a:pt x="1345379" y="2342370"/>
                    <a:pt x="940924" y="2042346"/>
                  </a:cubicBezTo>
                  <a:cubicBezTo>
                    <a:pt x="940924" y="2243103"/>
                    <a:pt x="934572" y="2234310"/>
                    <a:pt x="934572" y="2435067"/>
                  </a:cubicBezTo>
                  <a:cubicBezTo>
                    <a:pt x="1204941" y="2827989"/>
                    <a:pt x="2055324" y="2930556"/>
                    <a:pt x="2625843" y="2924527"/>
                  </a:cubicBezTo>
                  <a:cubicBezTo>
                    <a:pt x="2794126" y="2922749"/>
                    <a:pt x="2993042" y="2908493"/>
                    <a:pt x="3195762" y="2878063"/>
                  </a:cubicBezTo>
                  <a:lnTo>
                    <a:pt x="3195762" y="3113507"/>
                  </a:lnTo>
                  <a:cubicBezTo>
                    <a:pt x="3019016" y="3131053"/>
                    <a:pt x="2832295" y="3139158"/>
                    <a:pt x="2638542" y="3139158"/>
                  </a:cubicBezTo>
                  <a:cubicBezTo>
                    <a:pt x="1947628" y="3139158"/>
                    <a:pt x="1351728" y="3034520"/>
                    <a:pt x="940923" y="2763071"/>
                  </a:cubicBezTo>
                  <a:cubicBezTo>
                    <a:pt x="940923" y="2963828"/>
                    <a:pt x="940922" y="2869310"/>
                    <a:pt x="940922" y="3070067"/>
                  </a:cubicBezTo>
                  <a:cubicBezTo>
                    <a:pt x="1128741" y="3577289"/>
                    <a:pt x="2040506" y="3722719"/>
                    <a:pt x="2609967" y="3730977"/>
                  </a:cubicBezTo>
                  <a:cubicBezTo>
                    <a:pt x="2781546" y="3733465"/>
                    <a:pt x="2986721" y="3712558"/>
                    <a:pt x="3195762" y="3669737"/>
                  </a:cubicBezTo>
                  <a:lnTo>
                    <a:pt x="3195762" y="3967596"/>
                  </a:lnTo>
                  <a:cubicBezTo>
                    <a:pt x="3195762" y="4003251"/>
                    <a:pt x="3197898" y="4038407"/>
                    <a:pt x="3202706" y="4072864"/>
                  </a:cubicBezTo>
                  <a:cubicBezTo>
                    <a:pt x="2997467" y="4098585"/>
                    <a:pt x="2803713" y="4106163"/>
                    <a:pt x="2645569" y="4103095"/>
                  </a:cubicBezTo>
                  <a:cubicBezTo>
                    <a:pt x="1949133" y="4085414"/>
                    <a:pt x="735171" y="3943909"/>
                    <a:pt x="556260" y="3088028"/>
                  </a:cubicBezTo>
                  <a:lnTo>
                    <a:pt x="556260" y="1012390"/>
                  </a:lnTo>
                  <a:cubicBezTo>
                    <a:pt x="562610" y="139585"/>
                    <a:pt x="1934052" y="3111"/>
                    <a:pt x="2651760" y="42"/>
                  </a:cubicBezTo>
                  <a:close/>
                </a:path>
              </a:pathLst>
            </a:custGeom>
            <a:solidFill>
              <a:schemeClr val="accent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200" dirty="0"/>
            </a:p>
          </p:txBody>
        </p:sp>
        <p:sp>
          <p:nvSpPr>
            <p:cNvPr id="54" name="Rounded Rectangle 50"/>
            <p:cNvSpPr/>
            <p:nvPr/>
          </p:nvSpPr>
          <p:spPr>
            <a:xfrm>
              <a:off x="9679738" y="5036223"/>
              <a:ext cx="426628" cy="423769"/>
            </a:xfrm>
            <a:custGeom>
              <a:avLst/>
              <a:gdLst>
                <a:gd name="connsiteX0" fmla="*/ 510877 w 2441575"/>
                <a:gd name="connsiteY0" fmla="*/ 1703889 h 2425213"/>
                <a:gd name="connsiteX1" fmla="*/ 600865 w 2441575"/>
                <a:gd name="connsiteY1" fmla="*/ 1703889 h 2425213"/>
                <a:gd name="connsiteX2" fmla="*/ 600865 w 2441575"/>
                <a:gd name="connsiteY2" fmla="*/ 2051230 h 2425213"/>
                <a:gd name="connsiteX3" fmla="*/ 626263 w 2441575"/>
                <a:gd name="connsiteY3" fmla="*/ 2076628 h 2425213"/>
                <a:gd name="connsiteX4" fmla="*/ 1527175 w 2441575"/>
                <a:gd name="connsiteY4" fmla="*/ 2076628 h 2425213"/>
                <a:gd name="connsiteX5" fmla="*/ 1527175 w 2441575"/>
                <a:gd name="connsiteY5" fmla="*/ 2170632 h 2425213"/>
                <a:gd name="connsiteX6" fmla="*/ 620561 w 2441575"/>
                <a:gd name="connsiteY6" fmla="*/ 2170632 h 2425213"/>
                <a:gd name="connsiteX7" fmla="*/ 510877 w 2441575"/>
                <a:gd name="connsiteY7" fmla="*/ 2060948 h 2425213"/>
                <a:gd name="connsiteX8" fmla="*/ 510877 w 2441575"/>
                <a:gd name="connsiteY8" fmla="*/ 1703889 h 2425213"/>
                <a:gd name="connsiteX9" fmla="*/ 2003425 w 2441575"/>
                <a:gd name="connsiteY9" fmla="*/ 1257587 h 2425213"/>
                <a:gd name="connsiteX10" fmla="*/ 1725649 w 2441575"/>
                <a:gd name="connsiteY10" fmla="*/ 1724245 h 2425213"/>
                <a:gd name="connsiteX11" fmla="*/ 2287551 w 2441575"/>
                <a:gd name="connsiteY11" fmla="*/ 1724245 h 2425213"/>
                <a:gd name="connsiteX12" fmla="*/ 2003425 w 2441575"/>
                <a:gd name="connsiteY12" fmla="*/ 1257587 h 2425213"/>
                <a:gd name="connsiteX13" fmla="*/ 2003425 w 2441575"/>
                <a:gd name="connsiteY13" fmla="*/ 1185730 h 2425213"/>
                <a:gd name="connsiteX14" fmla="*/ 2355850 w 2441575"/>
                <a:gd name="connsiteY14" fmla="*/ 1724245 h 2425213"/>
                <a:gd name="connsiteX15" fmla="*/ 2351452 w 2441575"/>
                <a:gd name="connsiteY15" fmla="*/ 1724245 h 2425213"/>
                <a:gd name="connsiteX16" fmla="*/ 2441575 w 2441575"/>
                <a:gd name="connsiteY16" fmla="*/ 1814368 h 2425213"/>
                <a:gd name="connsiteX17" fmla="*/ 2441575 w 2441575"/>
                <a:gd name="connsiteY17" fmla="*/ 2335090 h 2425213"/>
                <a:gd name="connsiteX18" fmla="*/ 2351452 w 2441575"/>
                <a:gd name="connsiteY18" fmla="*/ 2425213 h 2425213"/>
                <a:gd name="connsiteX19" fmla="*/ 1661748 w 2441575"/>
                <a:gd name="connsiteY19" fmla="*/ 2425213 h 2425213"/>
                <a:gd name="connsiteX20" fmla="*/ 1571625 w 2441575"/>
                <a:gd name="connsiteY20" fmla="*/ 2335090 h 2425213"/>
                <a:gd name="connsiteX21" fmla="*/ 1571625 w 2441575"/>
                <a:gd name="connsiteY21" fmla="*/ 1814368 h 2425213"/>
                <a:gd name="connsiteX22" fmla="*/ 1661748 w 2441575"/>
                <a:gd name="connsiteY22" fmla="*/ 1724245 h 2425213"/>
                <a:gd name="connsiteX23" fmla="*/ 1657350 w 2441575"/>
                <a:gd name="connsiteY23" fmla="*/ 1724245 h 2425213"/>
                <a:gd name="connsiteX24" fmla="*/ 2003425 w 2441575"/>
                <a:gd name="connsiteY24" fmla="*/ 1185730 h 2425213"/>
                <a:gd name="connsiteX25" fmla="*/ 451231 w 2441575"/>
                <a:gd name="connsiteY25" fmla="*/ 531678 h 2425213"/>
                <a:gd name="connsiteX26" fmla="*/ 767969 w 2441575"/>
                <a:gd name="connsiteY26" fmla="*/ 531678 h 2425213"/>
                <a:gd name="connsiteX27" fmla="*/ 873125 w 2441575"/>
                <a:gd name="connsiteY27" fmla="*/ 636834 h 2425213"/>
                <a:gd name="connsiteX28" fmla="*/ 779604 w 2441575"/>
                <a:gd name="connsiteY28" fmla="*/ 739614 h 2425213"/>
                <a:gd name="connsiteX29" fmla="*/ 621507 w 2441575"/>
                <a:gd name="connsiteY29" fmla="*/ 739614 h 2425213"/>
                <a:gd name="connsiteX30" fmla="*/ 621507 w 2441575"/>
                <a:gd name="connsiteY30" fmla="*/ 757902 h 2425213"/>
                <a:gd name="connsiteX31" fmla="*/ 1324377 w 2441575"/>
                <a:gd name="connsiteY31" fmla="*/ 757902 h 2425213"/>
                <a:gd name="connsiteX32" fmla="*/ 1425575 w 2441575"/>
                <a:gd name="connsiteY32" fmla="*/ 862259 h 2425213"/>
                <a:gd name="connsiteX33" fmla="*/ 1320419 w 2441575"/>
                <a:gd name="connsiteY33" fmla="*/ 967415 h 2425213"/>
                <a:gd name="connsiteX34" fmla="*/ 873125 w 2441575"/>
                <a:gd name="connsiteY34" fmla="*/ 967415 h 2425213"/>
                <a:gd name="connsiteX35" fmla="*/ 873125 w 2441575"/>
                <a:gd name="connsiteY35" fmla="*/ 982528 h 2425213"/>
                <a:gd name="connsiteX36" fmla="*/ 1453769 w 2441575"/>
                <a:gd name="connsiteY36" fmla="*/ 982528 h 2425213"/>
                <a:gd name="connsiteX37" fmla="*/ 1558925 w 2441575"/>
                <a:gd name="connsiteY37" fmla="*/ 1087684 h 2425213"/>
                <a:gd name="connsiteX38" fmla="*/ 1453769 w 2441575"/>
                <a:gd name="connsiteY38" fmla="*/ 1192840 h 2425213"/>
                <a:gd name="connsiteX39" fmla="*/ 873125 w 2441575"/>
                <a:gd name="connsiteY39" fmla="*/ 1192840 h 2425213"/>
                <a:gd name="connsiteX40" fmla="*/ 873125 w 2441575"/>
                <a:gd name="connsiteY40" fmla="*/ 1207953 h 2425213"/>
                <a:gd name="connsiteX41" fmla="*/ 1383769 w 2441575"/>
                <a:gd name="connsiteY41" fmla="*/ 1207953 h 2425213"/>
                <a:gd name="connsiteX42" fmla="*/ 1488925 w 2441575"/>
                <a:gd name="connsiteY42" fmla="*/ 1313109 h 2425213"/>
                <a:gd name="connsiteX43" fmla="*/ 1383769 w 2441575"/>
                <a:gd name="connsiteY43" fmla="*/ 1418265 h 2425213"/>
                <a:gd name="connsiteX44" fmla="*/ 873125 w 2441575"/>
                <a:gd name="connsiteY44" fmla="*/ 1418265 h 2425213"/>
                <a:gd name="connsiteX45" fmla="*/ 873125 w 2441575"/>
                <a:gd name="connsiteY45" fmla="*/ 1433377 h 2425213"/>
                <a:gd name="connsiteX46" fmla="*/ 1191147 w 2441575"/>
                <a:gd name="connsiteY46" fmla="*/ 1433377 h 2425213"/>
                <a:gd name="connsiteX47" fmla="*/ 1296303 w 2441575"/>
                <a:gd name="connsiteY47" fmla="*/ 1538533 h 2425213"/>
                <a:gd name="connsiteX48" fmla="*/ 1191147 w 2441575"/>
                <a:gd name="connsiteY48" fmla="*/ 1643689 h 2425213"/>
                <a:gd name="connsiteX49" fmla="*/ 727601 w 2441575"/>
                <a:gd name="connsiteY49" fmla="*/ 1643689 h 2425213"/>
                <a:gd name="connsiteX50" fmla="*/ 184531 w 2441575"/>
                <a:gd name="connsiteY50" fmla="*/ 1643689 h 2425213"/>
                <a:gd name="connsiteX51" fmla="*/ 145524 w 2441575"/>
                <a:gd name="connsiteY51" fmla="*/ 1643689 h 2425213"/>
                <a:gd name="connsiteX52" fmla="*/ 0 w 2441575"/>
                <a:gd name="connsiteY52" fmla="*/ 1498165 h 2425213"/>
                <a:gd name="connsiteX53" fmla="*/ 0 w 2441575"/>
                <a:gd name="connsiteY53" fmla="*/ 874813 h 2425213"/>
                <a:gd name="connsiteX54" fmla="*/ 139174 w 2441575"/>
                <a:gd name="connsiteY54" fmla="*/ 672139 h 2425213"/>
                <a:gd name="connsiteX55" fmla="*/ 451231 w 2441575"/>
                <a:gd name="connsiteY55" fmla="*/ 531678 h 2425213"/>
                <a:gd name="connsiteX56" fmla="*/ 620561 w 2441575"/>
                <a:gd name="connsiteY56" fmla="*/ 0 h 2425213"/>
                <a:gd name="connsiteX57" fmla="*/ 1879617 w 2441575"/>
                <a:gd name="connsiteY57" fmla="*/ 0 h 2425213"/>
                <a:gd name="connsiteX58" fmla="*/ 1989301 w 2441575"/>
                <a:gd name="connsiteY58" fmla="*/ 109684 h 2425213"/>
                <a:gd name="connsiteX59" fmla="*/ 1989301 w 2441575"/>
                <a:gd name="connsiteY59" fmla="*/ 1142466 h 2425213"/>
                <a:gd name="connsiteX60" fmla="*/ 1899313 w 2441575"/>
                <a:gd name="connsiteY60" fmla="*/ 1142466 h 2425213"/>
                <a:gd name="connsiteX61" fmla="*/ 1899313 w 2441575"/>
                <a:gd name="connsiteY61" fmla="*/ 119402 h 2425213"/>
                <a:gd name="connsiteX62" fmla="*/ 1873915 w 2441575"/>
                <a:gd name="connsiteY62" fmla="*/ 94004 h 2425213"/>
                <a:gd name="connsiteX63" fmla="*/ 626263 w 2441575"/>
                <a:gd name="connsiteY63" fmla="*/ 94004 h 2425213"/>
                <a:gd name="connsiteX64" fmla="*/ 600865 w 2441575"/>
                <a:gd name="connsiteY64" fmla="*/ 119402 h 2425213"/>
                <a:gd name="connsiteX65" fmla="*/ 600865 w 2441575"/>
                <a:gd name="connsiteY65" fmla="*/ 485703 h 2425213"/>
                <a:gd name="connsiteX66" fmla="*/ 510877 w 2441575"/>
                <a:gd name="connsiteY66" fmla="*/ 485703 h 2425213"/>
                <a:gd name="connsiteX67" fmla="*/ 510877 w 2441575"/>
                <a:gd name="connsiteY67" fmla="*/ 109684 h 2425213"/>
                <a:gd name="connsiteX68" fmla="*/ 620561 w 2441575"/>
                <a:gd name="connsiteY68" fmla="*/ 0 h 2425213"/>
                <a:gd name="connsiteX0" fmla="*/ 510877 w 2441575"/>
                <a:gd name="connsiteY0" fmla="*/ 1703889 h 2425213"/>
                <a:gd name="connsiteX1" fmla="*/ 600865 w 2441575"/>
                <a:gd name="connsiteY1" fmla="*/ 1703889 h 2425213"/>
                <a:gd name="connsiteX2" fmla="*/ 600865 w 2441575"/>
                <a:gd name="connsiteY2" fmla="*/ 2051230 h 2425213"/>
                <a:gd name="connsiteX3" fmla="*/ 626263 w 2441575"/>
                <a:gd name="connsiteY3" fmla="*/ 2076628 h 2425213"/>
                <a:gd name="connsiteX4" fmla="*/ 1527175 w 2441575"/>
                <a:gd name="connsiteY4" fmla="*/ 2076628 h 2425213"/>
                <a:gd name="connsiteX5" fmla="*/ 1527175 w 2441575"/>
                <a:gd name="connsiteY5" fmla="*/ 2170632 h 2425213"/>
                <a:gd name="connsiteX6" fmla="*/ 620561 w 2441575"/>
                <a:gd name="connsiteY6" fmla="*/ 2170632 h 2425213"/>
                <a:gd name="connsiteX7" fmla="*/ 510877 w 2441575"/>
                <a:gd name="connsiteY7" fmla="*/ 2060948 h 2425213"/>
                <a:gd name="connsiteX8" fmla="*/ 510877 w 2441575"/>
                <a:gd name="connsiteY8" fmla="*/ 1703889 h 2425213"/>
                <a:gd name="connsiteX9" fmla="*/ 2003425 w 2441575"/>
                <a:gd name="connsiteY9" fmla="*/ 1257587 h 2425213"/>
                <a:gd name="connsiteX10" fmla="*/ 1725649 w 2441575"/>
                <a:gd name="connsiteY10" fmla="*/ 1724245 h 2425213"/>
                <a:gd name="connsiteX11" fmla="*/ 2287551 w 2441575"/>
                <a:gd name="connsiteY11" fmla="*/ 1724245 h 2425213"/>
                <a:gd name="connsiteX12" fmla="*/ 2003425 w 2441575"/>
                <a:gd name="connsiteY12" fmla="*/ 1257587 h 2425213"/>
                <a:gd name="connsiteX13" fmla="*/ 2003425 w 2441575"/>
                <a:gd name="connsiteY13" fmla="*/ 1185730 h 2425213"/>
                <a:gd name="connsiteX14" fmla="*/ 2355850 w 2441575"/>
                <a:gd name="connsiteY14" fmla="*/ 1724245 h 2425213"/>
                <a:gd name="connsiteX15" fmla="*/ 2351452 w 2441575"/>
                <a:gd name="connsiteY15" fmla="*/ 1724245 h 2425213"/>
                <a:gd name="connsiteX16" fmla="*/ 2441575 w 2441575"/>
                <a:gd name="connsiteY16" fmla="*/ 1814368 h 2425213"/>
                <a:gd name="connsiteX17" fmla="*/ 2441575 w 2441575"/>
                <a:gd name="connsiteY17" fmla="*/ 2335090 h 2425213"/>
                <a:gd name="connsiteX18" fmla="*/ 2351452 w 2441575"/>
                <a:gd name="connsiteY18" fmla="*/ 2425213 h 2425213"/>
                <a:gd name="connsiteX19" fmla="*/ 1661748 w 2441575"/>
                <a:gd name="connsiteY19" fmla="*/ 2425213 h 2425213"/>
                <a:gd name="connsiteX20" fmla="*/ 1571625 w 2441575"/>
                <a:gd name="connsiteY20" fmla="*/ 2335090 h 2425213"/>
                <a:gd name="connsiteX21" fmla="*/ 1571625 w 2441575"/>
                <a:gd name="connsiteY21" fmla="*/ 1814368 h 2425213"/>
                <a:gd name="connsiteX22" fmla="*/ 1661748 w 2441575"/>
                <a:gd name="connsiteY22" fmla="*/ 1724245 h 2425213"/>
                <a:gd name="connsiteX23" fmla="*/ 1657350 w 2441575"/>
                <a:gd name="connsiteY23" fmla="*/ 1724245 h 2425213"/>
                <a:gd name="connsiteX24" fmla="*/ 2003425 w 2441575"/>
                <a:gd name="connsiteY24" fmla="*/ 1185730 h 2425213"/>
                <a:gd name="connsiteX25" fmla="*/ 451231 w 2441575"/>
                <a:gd name="connsiteY25" fmla="*/ 531678 h 2425213"/>
                <a:gd name="connsiteX26" fmla="*/ 767969 w 2441575"/>
                <a:gd name="connsiteY26" fmla="*/ 531678 h 2425213"/>
                <a:gd name="connsiteX27" fmla="*/ 873125 w 2441575"/>
                <a:gd name="connsiteY27" fmla="*/ 636834 h 2425213"/>
                <a:gd name="connsiteX28" fmla="*/ 779604 w 2441575"/>
                <a:gd name="connsiteY28" fmla="*/ 739614 h 2425213"/>
                <a:gd name="connsiteX29" fmla="*/ 621507 w 2441575"/>
                <a:gd name="connsiteY29" fmla="*/ 739614 h 2425213"/>
                <a:gd name="connsiteX30" fmla="*/ 621507 w 2441575"/>
                <a:gd name="connsiteY30" fmla="*/ 757902 h 2425213"/>
                <a:gd name="connsiteX31" fmla="*/ 1324377 w 2441575"/>
                <a:gd name="connsiteY31" fmla="*/ 757902 h 2425213"/>
                <a:gd name="connsiteX32" fmla="*/ 1425575 w 2441575"/>
                <a:gd name="connsiteY32" fmla="*/ 862259 h 2425213"/>
                <a:gd name="connsiteX33" fmla="*/ 1320419 w 2441575"/>
                <a:gd name="connsiteY33" fmla="*/ 967415 h 2425213"/>
                <a:gd name="connsiteX34" fmla="*/ 873125 w 2441575"/>
                <a:gd name="connsiteY34" fmla="*/ 967415 h 2425213"/>
                <a:gd name="connsiteX35" fmla="*/ 873125 w 2441575"/>
                <a:gd name="connsiteY35" fmla="*/ 982528 h 2425213"/>
                <a:gd name="connsiteX36" fmla="*/ 1453769 w 2441575"/>
                <a:gd name="connsiteY36" fmla="*/ 982528 h 2425213"/>
                <a:gd name="connsiteX37" fmla="*/ 1558925 w 2441575"/>
                <a:gd name="connsiteY37" fmla="*/ 1087684 h 2425213"/>
                <a:gd name="connsiteX38" fmla="*/ 1453769 w 2441575"/>
                <a:gd name="connsiteY38" fmla="*/ 1192840 h 2425213"/>
                <a:gd name="connsiteX39" fmla="*/ 873125 w 2441575"/>
                <a:gd name="connsiteY39" fmla="*/ 1192840 h 2425213"/>
                <a:gd name="connsiteX40" fmla="*/ 873125 w 2441575"/>
                <a:gd name="connsiteY40" fmla="*/ 1207953 h 2425213"/>
                <a:gd name="connsiteX41" fmla="*/ 1383769 w 2441575"/>
                <a:gd name="connsiteY41" fmla="*/ 1207953 h 2425213"/>
                <a:gd name="connsiteX42" fmla="*/ 1488925 w 2441575"/>
                <a:gd name="connsiteY42" fmla="*/ 1313109 h 2425213"/>
                <a:gd name="connsiteX43" fmla="*/ 1383769 w 2441575"/>
                <a:gd name="connsiteY43" fmla="*/ 1418265 h 2425213"/>
                <a:gd name="connsiteX44" fmla="*/ 873125 w 2441575"/>
                <a:gd name="connsiteY44" fmla="*/ 1418265 h 2425213"/>
                <a:gd name="connsiteX45" fmla="*/ 873125 w 2441575"/>
                <a:gd name="connsiteY45" fmla="*/ 1433377 h 2425213"/>
                <a:gd name="connsiteX46" fmla="*/ 1191147 w 2441575"/>
                <a:gd name="connsiteY46" fmla="*/ 1433377 h 2425213"/>
                <a:gd name="connsiteX47" fmla="*/ 1296303 w 2441575"/>
                <a:gd name="connsiteY47" fmla="*/ 1538533 h 2425213"/>
                <a:gd name="connsiteX48" fmla="*/ 1191147 w 2441575"/>
                <a:gd name="connsiteY48" fmla="*/ 1643689 h 2425213"/>
                <a:gd name="connsiteX49" fmla="*/ 727601 w 2441575"/>
                <a:gd name="connsiteY49" fmla="*/ 1643689 h 2425213"/>
                <a:gd name="connsiteX50" fmla="*/ 184531 w 2441575"/>
                <a:gd name="connsiteY50" fmla="*/ 1643689 h 2425213"/>
                <a:gd name="connsiteX51" fmla="*/ 145524 w 2441575"/>
                <a:gd name="connsiteY51" fmla="*/ 1643689 h 2425213"/>
                <a:gd name="connsiteX52" fmla="*/ 0 w 2441575"/>
                <a:gd name="connsiteY52" fmla="*/ 1498165 h 2425213"/>
                <a:gd name="connsiteX53" fmla="*/ 0 w 2441575"/>
                <a:gd name="connsiteY53" fmla="*/ 874813 h 2425213"/>
                <a:gd name="connsiteX54" fmla="*/ 139174 w 2441575"/>
                <a:gd name="connsiteY54" fmla="*/ 672139 h 2425213"/>
                <a:gd name="connsiteX55" fmla="*/ 451231 w 2441575"/>
                <a:gd name="connsiteY55" fmla="*/ 531678 h 2425213"/>
                <a:gd name="connsiteX56" fmla="*/ 620561 w 2441575"/>
                <a:gd name="connsiteY56" fmla="*/ 0 h 2425213"/>
                <a:gd name="connsiteX57" fmla="*/ 1879617 w 2441575"/>
                <a:gd name="connsiteY57" fmla="*/ 0 h 2425213"/>
                <a:gd name="connsiteX58" fmla="*/ 1989301 w 2441575"/>
                <a:gd name="connsiteY58" fmla="*/ 109684 h 2425213"/>
                <a:gd name="connsiteX59" fmla="*/ 1989301 w 2441575"/>
                <a:gd name="connsiteY59" fmla="*/ 1142466 h 2425213"/>
                <a:gd name="connsiteX60" fmla="*/ 1899313 w 2441575"/>
                <a:gd name="connsiteY60" fmla="*/ 1142466 h 2425213"/>
                <a:gd name="connsiteX61" fmla="*/ 1899313 w 2441575"/>
                <a:gd name="connsiteY61" fmla="*/ 119402 h 2425213"/>
                <a:gd name="connsiteX62" fmla="*/ 1873915 w 2441575"/>
                <a:gd name="connsiteY62" fmla="*/ 94004 h 2425213"/>
                <a:gd name="connsiteX63" fmla="*/ 626263 w 2441575"/>
                <a:gd name="connsiteY63" fmla="*/ 94004 h 2425213"/>
                <a:gd name="connsiteX64" fmla="*/ 600865 w 2441575"/>
                <a:gd name="connsiteY64" fmla="*/ 119402 h 2425213"/>
                <a:gd name="connsiteX65" fmla="*/ 600865 w 2441575"/>
                <a:gd name="connsiteY65" fmla="*/ 485703 h 2425213"/>
                <a:gd name="connsiteX66" fmla="*/ 510877 w 2441575"/>
                <a:gd name="connsiteY66" fmla="*/ 485703 h 2425213"/>
                <a:gd name="connsiteX67" fmla="*/ 510877 w 2441575"/>
                <a:gd name="connsiteY67" fmla="*/ 109684 h 2425213"/>
                <a:gd name="connsiteX68" fmla="*/ 620561 w 2441575"/>
                <a:gd name="connsiteY68" fmla="*/ 0 h 2425213"/>
                <a:gd name="connsiteX0" fmla="*/ 510877 w 2441575"/>
                <a:gd name="connsiteY0" fmla="*/ 1703889 h 2425213"/>
                <a:gd name="connsiteX1" fmla="*/ 600865 w 2441575"/>
                <a:gd name="connsiteY1" fmla="*/ 1703889 h 2425213"/>
                <a:gd name="connsiteX2" fmla="*/ 600865 w 2441575"/>
                <a:gd name="connsiteY2" fmla="*/ 2051230 h 2425213"/>
                <a:gd name="connsiteX3" fmla="*/ 626263 w 2441575"/>
                <a:gd name="connsiteY3" fmla="*/ 2076628 h 2425213"/>
                <a:gd name="connsiteX4" fmla="*/ 1527175 w 2441575"/>
                <a:gd name="connsiteY4" fmla="*/ 2076628 h 2425213"/>
                <a:gd name="connsiteX5" fmla="*/ 1527175 w 2441575"/>
                <a:gd name="connsiteY5" fmla="*/ 2170632 h 2425213"/>
                <a:gd name="connsiteX6" fmla="*/ 620561 w 2441575"/>
                <a:gd name="connsiteY6" fmla="*/ 2170632 h 2425213"/>
                <a:gd name="connsiteX7" fmla="*/ 510877 w 2441575"/>
                <a:gd name="connsiteY7" fmla="*/ 2060948 h 2425213"/>
                <a:gd name="connsiteX8" fmla="*/ 510877 w 2441575"/>
                <a:gd name="connsiteY8" fmla="*/ 1703889 h 2425213"/>
                <a:gd name="connsiteX9" fmla="*/ 2003425 w 2441575"/>
                <a:gd name="connsiteY9" fmla="*/ 1257587 h 2425213"/>
                <a:gd name="connsiteX10" fmla="*/ 1725649 w 2441575"/>
                <a:gd name="connsiteY10" fmla="*/ 1724245 h 2425213"/>
                <a:gd name="connsiteX11" fmla="*/ 2287551 w 2441575"/>
                <a:gd name="connsiteY11" fmla="*/ 1724245 h 2425213"/>
                <a:gd name="connsiteX12" fmla="*/ 2003425 w 2441575"/>
                <a:gd name="connsiteY12" fmla="*/ 1257587 h 2425213"/>
                <a:gd name="connsiteX13" fmla="*/ 2003425 w 2441575"/>
                <a:gd name="connsiteY13" fmla="*/ 1185730 h 2425213"/>
                <a:gd name="connsiteX14" fmla="*/ 2355850 w 2441575"/>
                <a:gd name="connsiteY14" fmla="*/ 1724245 h 2425213"/>
                <a:gd name="connsiteX15" fmla="*/ 2351452 w 2441575"/>
                <a:gd name="connsiteY15" fmla="*/ 1724245 h 2425213"/>
                <a:gd name="connsiteX16" fmla="*/ 2441575 w 2441575"/>
                <a:gd name="connsiteY16" fmla="*/ 1814368 h 2425213"/>
                <a:gd name="connsiteX17" fmla="*/ 2441575 w 2441575"/>
                <a:gd name="connsiteY17" fmla="*/ 2335090 h 2425213"/>
                <a:gd name="connsiteX18" fmla="*/ 2351452 w 2441575"/>
                <a:gd name="connsiteY18" fmla="*/ 2425213 h 2425213"/>
                <a:gd name="connsiteX19" fmla="*/ 1661748 w 2441575"/>
                <a:gd name="connsiteY19" fmla="*/ 2425213 h 2425213"/>
                <a:gd name="connsiteX20" fmla="*/ 1571625 w 2441575"/>
                <a:gd name="connsiteY20" fmla="*/ 2335090 h 2425213"/>
                <a:gd name="connsiteX21" fmla="*/ 1571625 w 2441575"/>
                <a:gd name="connsiteY21" fmla="*/ 1814368 h 2425213"/>
                <a:gd name="connsiteX22" fmla="*/ 1661748 w 2441575"/>
                <a:gd name="connsiteY22" fmla="*/ 1724245 h 2425213"/>
                <a:gd name="connsiteX23" fmla="*/ 1657350 w 2441575"/>
                <a:gd name="connsiteY23" fmla="*/ 1724245 h 2425213"/>
                <a:gd name="connsiteX24" fmla="*/ 2003425 w 2441575"/>
                <a:gd name="connsiteY24" fmla="*/ 1185730 h 2425213"/>
                <a:gd name="connsiteX25" fmla="*/ 451231 w 2441575"/>
                <a:gd name="connsiteY25" fmla="*/ 531678 h 2425213"/>
                <a:gd name="connsiteX26" fmla="*/ 767969 w 2441575"/>
                <a:gd name="connsiteY26" fmla="*/ 531678 h 2425213"/>
                <a:gd name="connsiteX27" fmla="*/ 873125 w 2441575"/>
                <a:gd name="connsiteY27" fmla="*/ 636834 h 2425213"/>
                <a:gd name="connsiteX28" fmla="*/ 779604 w 2441575"/>
                <a:gd name="connsiteY28" fmla="*/ 739614 h 2425213"/>
                <a:gd name="connsiteX29" fmla="*/ 621507 w 2441575"/>
                <a:gd name="connsiteY29" fmla="*/ 739614 h 2425213"/>
                <a:gd name="connsiteX30" fmla="*/ 621507 w 2441575"/>
                <a:gd name="connsiteY30" fmla="*/ 757902 h 2425213"/>
                <a:gd name="connsiteX31" fmla="*/ 1324377 w 2441575"/>
                <a:gd name="connsiteY31" fmla="*/ 757902 h 2425213"/>
                <a:gd name="connsiteX32" fmla="*/ 1425575 w 2441575"/>
                <a:gd name="connsiteY32" fmla="*/ 862259 h 2425213"/>
                <a:gd name="connsiteX33" fmla="*/ 1320419 w 2441575"/>
                <a:gd name="connsiteY33" fmla="*/ 967415 h 2425213"/>
                <a:gd name="connsiteX34" fmla="*/ 873125 w 2441575"/>
                <a:gd name="connsiteY34" fmla="*/ 967415 h 2425213"/>
                <a:gd name="connsiteX35" fmla="*/ 873125 w 2441575"/>
                <a:gd name="connsiteY35" fmla="*/ 982528 h 2425213"/>
                <a:gd name="connsiteX36" fmla="*/ 1453769 w 2441575"/>
                <a:gd name="connsiteY36" fmla="*/ 982528 h 2425213"/>
                <a:gd name="connsiteX37" fmla="*/ 1558925 w 2441575"/>
                <a:gd name="connsiteY37" fmla="*/ 1087684 h 2425213"/>
                <a:gd name="connsiteX38" fmla="*/ 1453769 w 2441575"/>
                <a:gd name="connsiteY38" fmla="*/ 1192840 h 2425213"/>
                <a:gd name="connsiteX39" fmla="*/ 873125 w 2441575"/>
                <a:gd name="connsiteY39" fmla="*/ 1192840 h 2425213"/>
                <a:gd name="connsiteX40" fmla="*/ 873125 w 2441575"/>
                <a:gd name="connsiteY40" fmla="*/ 1207953 h 2425213"/>
                <a:gd name="connsiteX41" fmla="*/ 1383769 w 2441575"/>
                <a:gd name="connsiteY41" fmla="*/ 1207953 h 2425213"/>
                <a:gd name="connsiteX42" fmla="*/ 1488925 w 2441575"/>
                <a:gd name="connsiteY42" fmla="*/ 1313109 h 2425213"/>
                <a:gd name="connsiteX43" fmla="*/ 1383769 w 2441575"/>
                <a:gd name="connsiteY43" fmla="*/ 1418265 h 2425213"/>
                <a:gd name="connsiteX44" fmla="*/ 873125 w 2441575"/>
                <a:gd name="connsiteY44" fmla="*/ 1418265 h 2425213"/>
                <a:gd name="connsiteX45" fmla="*/ 873125 w 2441575"/>
                <a:gd name="connsiteY45" fmla="*/ 1433377 h 2425213"/>
                <a:gd name="connsiteX46" fmla="*/ 1191147 w 2441575"/>
                <a:gd name="connsiteY46" fmla="*/ 1433377 h 2425213"/>
                <a:gd name="connsiteX47" fmla="*/ 1296303 w 2441575"/>
                <a:gd name="connsiteY47" fmla="*/ 1538533 h 2425213"/>
                <a:gd name="connsiteX48" fmla="*/ 1191147 w 2441575"/>
                <a:gd name="connsiteY48" fmla="*/ 1643689 h 2425213"/>
                <a:gd name="connsiteX49" fmla="*/ 727601 w 2441575"/>
                <a:gd name="connsiteY49" fmla="*/ 1643689 h 2425213"/>
                <a:gd name="connsiteX50" fmla="*/ 184531 w 2441575"/>
                <a:gd name="connsiteY50" fmla="*/ 1643689 h 2425213"/>
                <a:gd name="connsiteX51" fmla="*/ 145524 w 2441575"/>
                <a:gd name="connsiteY51" fmla="*/ 1643689 h 2425213"/>
                <a:gd name="connsiteX52" fmla="*/ 0 w 2441575"/>
                <a:gd name="connsiteY52" fmla="*/ 1498165 h 2425213"/>
                <a:gd name="connsiteX53" fmla="*/ 0 w 2441575"/>
                <a:gd name="connsiteY53" fmla="*/ 874813 h 2425213"/>
                <a:gd name="connsiteX54" fmla="*/ 139174 w 2441575"/>
                <a:gd name="connsiteY54" fmla="*/ 672139 h 2425213"/>
                <a:gd name="connsiteX55" fmla="*/ 451231 w 2441575"/>
                <a:gd name="connsiteY55" fmla="*/ 531678 h 2425213"/>
                <a:gd name="connsiteX56" fmla="*/ 620561 w 2441575"/>
                <a:gd name="connsiteY56" fmla="*/ 0 h 2425213"/>
                <a:gd name="connsiteX57" fmla="*/ 1879617 w 2441575"/>
                <a:gd name="connsiteY57" fmla="*/ 0 h 2425213"/>
                <a:gd name="connsiteX58" fmla="*/ 1989301 w 2441575"/>
                <a:gd name="connsiteY58" fmla="*/ 109684 h 2425213"/>
                <a:gd name="connsiteX59" fmla="*/ 1989301 w 2441575"/>
                <a:gd name="connsiteY59" fmla="*/ 1142466 h 2425213"/>
                <a:gd name="connsiteX60" fmla="*/ 1899313 w 2441575"/>
                <a:gd name="connsiteY60" fmla="*/ 1142466 h 2425213"/>
                <a:gd name="connsiteX61" fmla="*/ 1899313 w 2441575"/>
                <a:gd name="connsiteY61" fmla="*/ 119402 h 2425213"/>
                <a:gd name="connsiteX62" fmla="*/ 1873915 w 2441575"/>
                <a:gd name="connsiteY62" fmla="*/ 94004 h 2425213"/>
                <a:gd name="connsiteX63" fmla="*/ 626263 w 2441575"/>
                <a:gd name="connsiteY63" fmla="*/ 94004 h 2425213"/>
                <a:gd name="connsiteX64" fmla="*/ 600865 w 2441575"/>
                <a:gd name="connsiteY64" fmla="*/ 119402 h 2425213"/>
                <a:gd name="connsiteX65" fmla="*/ 600865 w 2441575"/>
                <a:gd name="connsiteY65" fmla="*/ 485703 h 2425213"/>
                <a:gd name="connsiteX66" fmla="*/ 510877 w 2441575"/>
                <a:gd name="connsiteY66" fmla="*/ 485703 h 2425213"/>
                <a:gd name="connsiteX67" fmla="*/ 510877 w 2441575"/>
                <a:gd name="connsiteY67" fmla="*/ 109684 h 2425213"/>
                <a:gd name="connsiteX68" fmla="*/ 620561 w 2441575"/>
                <a:gd name="connsiteY68" fmla="*/ 0 h 2425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441575" h="2425213">
                  <a:moveTo>
                    <a:pt x="510877" y="1703889"/>
                  </a:moveTo>
                  <a:lnTo>
                    <a:pt x="600865" y="1703889"/>
                  </a:lnTo>
                  <a:lnTo>
                    <a:pt x="600865" y="2051230"/>
                  </a:lnTo>
                  <a:cubicBezTo>
                    <a:pt x="600865" y="2065257"/>
                    <a:pt x="612236" y="2076628"/>
                    <a:pt x="626263" y="2076628"/>
                  </a:cubicBezTo>
                  <a:lnTo>
                    <a:pt x="1527175" y="2076628"/>
                  </a:lnTo>
                  <a:lnTo>
                    <a:pt x="1527175" y="2170632"/>
                  </a:lnTo>
                  <a:lnTo>
                    <a:pt x="620561" y="2170632"/>
                  </a:lnTo>
                  <a:cubicBezTo>
                    <a:pt x="559984" y="2170632"/>
                    <a:pt x="510877" y="2121525"/>
                    <a:pt x="510877" y="2060948"/>
                  </a:cubicBezTo>
                  <a:lnTo>
                    <a:pt x="510877" y="1703889"/>
                  </a:lnTo>
                  <a:close/>
                  <a:moveTo>
                    <a:pt x="2003425" y="1257587"/>
                  </a:moveTo>
                  <a:cubicBezTo>
                    <a:pt x="1817037" y="1257587"/>
                    <a:pt x="1727147" y="1429173"/>
                    <a:pt x="1725649" y="1724245"/>
                  </a:cubicBezTo>
                  <a:lnTo>
                    <a:pt x="2287551" y="1724245"/>
                  </a:lnTo>
                  <a:cubicBezTo>
                    <a:pt x="2286053" y="1443592"/>
                    <a:pt x="2189813" y="1257587"/>
                    <a:pt x="2003425" y="1257587"/>
                  </a:cubicBezTo>
                  <a:close/>
                  <a:moveTo>
                    <a:pt x="2003425" y="1185730"/>
                  </a:moveTo>
                  <a:cubicBezTo>
                    <a:pt x="2232814" y="1185731"/>
                    <a:pt x="2357478" y="1400009"/>
                    <a:pt x="2355850" y="1724245"/>
                  </a:cubicBezTo>
                  <a:lnTo>
                    <a:pt x="2351452" y="1724245"/>
                  </a:lnTo>
                  <a:cubicBezTo>
                    <a:pt x="2401226" y="1724245"/>
                    <a:pt x="2441575" y="1764594"/>
                    <a:pt x="2441575" y="1814368"/>
                  </a:cubicBezTo>
                  <a:lnTo>
                    <a:pt x="2441575" y="2335090"/>
                  </a:lnTo>
                  <a:cubicBezTo>
                    <a:pt x="2441575" y="2384864"/>
                    <a:pt x="2401226" y="2425213"/>
                    <a:pt x="2351452" y="2425213"/>
                  </a:cubicBezTo>
                  <a:lnTo>
                    <a:pt x="1661748" y="2425213"/>
                  </a:lnTo>
                  <a:cubicBezTo>
                    <a:pt x="1611974" y="2425213"/>
                    <a:pt x="1571625" y="2384864"/>
                    <a:pt x="1571625" y="2335090"/>
                  </a:cubicBezTo>
                  <a:lnTo>
                    <a:pt x="1571625" y="1814368"/>
                  </a:lnTo>
                  <a:cubicBezTo>
                    <a:pt x="1571625" y="1764594"/>
                    <a:pt x="1611974" y="1724245"/>
                    <a:pt x="1661748" y="1724245"/>
                  </a:cubicBezTo>
                  <a:lnTo>
                    <a:pt x="1657350" y="1724245"/>
                  </a:lnTo>
                  <a:cubicBezTo>
                    <a:pt x="1658897" y="1420195"/>
                    <a:pt x="1774036" y="1185729"/>
                    <a:pt x="2003425" y="1185730"/>
                  </a:cubicBezTo>
                  <a:close/>
                  <a:moveTo>
                    <a:pt x="451231" y="531678"/>
                  </a:moveTo>
                  <a:lnTo>
                    <a:pt x="767969" y="531678"/>
                  </a:lnTo>
                  <a:cubicBezTo>
                    <a:pt x="826045" y="531678"/>
                    <a:pt x="873125" y="578758"/>
                    <a:pt x="873125" y="636834"/>
                  </a:cubicBezTo>
                  <a:cubicBezTo>
                    <a:pt x="873125" y="690915"/>
                    <a:pt x="832301" y="735460"/>
                    <a:pt x="779604" y="739614"/>
                  </a:cubicBezTo>
                  <a:lnTo>
                    <a:pt x="621507" y="739614"/>
                  </a:lnTo>
                  <a:lnTo>
                    <a:pt x="621507" y="757902"/>
                  </a:lnTo>
                  <a:lnTo>
                    <a:pt x="1324377" y="757902"/>
                  </a:lnTo>
                  <a:cubicBezTo>
                    <a:pt x="1380633" y="759272"/>
                    <a:pt x="1425575" y="805517"/>
                    <a:pt x="1425575" y="862259"/>
                  </a:cubicBezTo>
                  <a:cubicBezTo>
                    <a:pt x="1425575" y="920335"/>
                    <a:pt x="1378495" y="967415"/>
                    <a:pt x="1320419" y="967415"/>
                  </a:cubicBezTo>
                  <a:lnTo>
                    <a:pt x="873125" y="967415"/>
                  </a:lnTo>
                  <a:lnTo>
                    <a:pt x="873125" y="982528"/>
                  </a:lnTo>
                  <a:lnTo>
                    <a:pt x="1453769" y="982528"/>
                  </a:lnTo>
                  <a:cubicBezTo>
                    <a:pt x="1511845" y="982528"/>
                    <a:pt x="1558925" y="1029608"/>
                    <a:pt x="1558925" y="1087684"/>
                  </a:cubicBezTo>
                  <a:cubicBezTo>
                    <a:pt x="1558925" y="1145760"/>
                    <a:pt x="1511845" y="1192840"/>
                    <a:pt x="1453769" y="1192840"/>
                  </a:cubicBezTo>
                  <a:lnTo>
                    <a:pt x="873125" y="1192840"/>
                  </a:lnTo>
                  <a:lnTo>
                    <a:pt x="873125" y="1207953"/>
                  </a:lnTo>
                  <a:lnTo>
                    <a:pt x="1383769" y="1207953"/>
                  </a:lnTo>
                  <a:cubicBezTo>
                    <a:pt x="1441845" y="1207953"/>
                    <a:pt x="1488925" y="1255033"/>
                    <a:pt x="1488925" y="1313109"/>
                  </a:cubicBezTo>
                  <a:cubicBezTo>
                    <a:pt x="1488925" y="1371185"/>
                    <a:pt x="1441845" y="1418265"/>
                    <a:pt x="1383769" y="1418265"/>
                  </a:cubicBezTo>
                  <a:lnTo>
                    <a:pt x="873125" y="1418265"/>
                  </a:lnTo>
                  <a:lnTo>
                    <a:pt x="873125" y="1433377"/>
                  </a:lnTo>
                  <a:lnTo>
                    <a:pt x="1191147" y="1433377"/>
                  </a:lnTo>
                  <a:cubicBezTo>
                    <a:pt x="1249223" y="1433377"/>
                    <a:pt x="1296303" y="1480457"/>
                    <a:pt x="1296303" y="1538533"/>
                  </a:cubicBezTo>
                  <a:cubicBezTo>
                    <a:pt x="1296303" y="1596609"/>
                    <a:pt x="1249223" y="1643689"/>
                    <a:pt x="1191147" y="1643689"/>
                  </a:cubicBezTo>
                  <a:lnTo>
                    <a:pt x="727601" y="1643689"/>
                  </a:lnTo>
                  <a:lnTo>
                    <a:pt x="184531" y="1643689"/>
                  </a:lnTo>
                  <a:lnTo>
                    <a:pt x="145524" y="1643689"/>
                  </a:lnTo>
                  <a:cubicBezTo>
                    <a:pt x="65153" y="1643689"/>
                    <a:pt x="0" y="1578536"/>
                    <a:pt x="0" y="1498165"/>
                  </a:cubicBezTo>
                  <a:lnTo>
                    <a:pt x="0" y="874813"/>
                  </a:lnTo>
                  <a:cubicBezTo>
                    <a:pt x="0" y="794442"/>
                    <a:pt x="33403" y="748339"/>
                    <a:pt x="139174" y="672139"/>
                  </a:cubicBezTo>
                  <a:cubicBezTo>
                    <a:pt x="260126" y="606269"/>
                    <a:pt x="385842" y="531666"/>
                    <a:pt x="451231" y="531678"/>
                  </a:cubicBezTo>
                  <a:close/>
                  <a:moveTo>
                    <a:pt x="620561" y="0"/>
                  </a:moveTo>
                  <a:lnTo>
                    <a:pt x="1879617" y="0"/>
                  </a:lnTo>
                  <a:cubicBezTo>
                    <a:pt x="1940194" y="0"/>
                    <a:pt x="1989301" y="49107"/>
                    <a:pt x="1989301" y="109684"/>
                  </a:cubicBezTo>
                  <a:lnTo>
                    <a:pt x="1989301" y="1142466"/>
                  </a:lnTo>
                  <a:lnTo>
                    <a:pt x="1899313" y="1142466"/>
                  </a:lnTo>
                  <a:lnTo>
                    <a:pt x="1899313" y="119402"/>
                  </a:lnTo>
                  <a:cubicBezTo>
                    <a:pt x="1899313" y="105375"/>
                    <a:pt x="1887942" y="94004"/>
                    <a:pt x="1873915" y="94004"/>
                  </a:cubicBezTo>
                  <a:lnTo>
                    <a:pt x="626263" y="94004"/>
                  </a:lnTo>
                  <a:cubicBezTo>
                    <a:pt x="612236" y="94004"/>
                    <a:pt x="600865" y="105375"/>
                    <a:pt x="600865" y="119402"/>
                  </a:cubicBezTo>
                  <a:lnTo>
                    <a:pt x="600865" y="485703"/>
                  </a:lnTo>
                  <a:lnTo>
                    <a:pt x="510877" y="485703"/>
                  </a:lnTo>
                  <a:lnTo>
                    <a:pt x="510877" y="109684"/>
                  </a:lnTo>
                  <a:cubicBezTo>
                    <a:pt x="510877" y="49107"/>
                    <a:pt x="559984" y="0"/>
                    <a:pt x="62056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200" dirty="0"/>
            </a:p>
          </p:txBody>
        </p:sp>
        <p:grpSp>
          <p:nvGrpSpPr>
            <p:cNvPr id="55" name="Group 54"/>
            <p:cNvGrpSpPr/>
            <p:nvPr/>
          </p:nvGrpSpPr>
          <p:grpSpPr bwMode="black">
            <a:xfrm>
              <a:off x="8591524" y="5093150"/>
              <a:ext cx="321047" cy="329138"/>
              <a:chOff x="8587169" y="5108012"/>
              <a:chExt cx="1184275" cy="1214438"/>
            </a:xfrm>
            <a:solidFill>
              <a:schemeClr val="accent4"/>
            </a:solidFill>
          </p:grpSpPr>
          <p:sp>
            <p:nvSpPr>
              <p:cNvPr id="56" name="Freeform 55"/>
              <p:cNvSpPr>
                <a:spLocks noEditPoints="1"/>
              </p:cNvSpPr>
              <p:nvPr/>
            </p:nvSpPr>
            <p:spPr bwMode="black">
              <a:xfrm>
                <a:off x="8587169" y="5108012"/>
                <a:ext cx="1184275" cy="1214438"/>
              </a:xfrm>
              <a:custGeom>
                <a:avLst/>
                <a:gdLst>
                  <a:gd name="T0" fmla="*/ 0 w 316"/>
                  <a:gd name="T1" fmla="*/ 78 h 324"/>
                  <a:gd name="T2" fmla="*/ 0 w 316"/>
                  <a:gd name="T3" fmla="*/ 63 h 324"/>
                  <a:gd name="T4" fmla="*/ 0 w 316"/>
                  <a:gd name="T5" fmla="*/ 47 h 324"/>
                  <a:gd name="T6" fmla="*/ 0 w 316"/>
                  <a:gd name="T7" fmla="*/ 16 h 324"/>
                  <a:gd name="T8" fmla="*/ 0 w 316"/>
                  <a:gd name="T9" fmla="*/ 0 h 324"/>
                  <a:gd name="T10" fmla="*/ 13 w 316"/>
                  <a:gd name="T11" fmla="*/ 78 h 324"/>
                  <a:gd name="T12" fmla="*/ 15 w 316"/>
                  <a:gd name="T13" fmla="*/ 0 h 324"/>
                  <a:gd name="T14" fmla="*/ 26 w 316"/>
                  <a:gd name="T15" fmla="*/ 78 h 324"/>
                  <a:gd name="T16" fmla="*/ 31 w 316"/>
                  <a:gd name="T17" fmla="*/ 0 h 324"/>
                  <a:gd name="T18" fmla="*/ 46 w 316"/>
                  <a:gd name="T19" fmla="*/ 0 h 324"/>
                  <a:gd name="T20" fmla="*/ 52 w 316"/>
                  <a:gd name="T21" fmla="*/ 78 h 324"/>
                  <a:gd name="T22" fmla="*/ 39 w 316"/>
                  <a:gd name="T23" fmla="*/ 78 h 324"/>
                  <a:gd name="T24" fmla="*/ 62 w 316"/>
                  <a:gd name="T25" fmla="*/ 0 h 324"/>
                  <a:gd name="T26" fmla="*/ 65 w 316"/>
                  <a:gd name="T27" fmla="*/ 78 h 324"/>
                  <a:gd name="T28" fmla="*/ 78 w 316"/>
                  <a:gd name="T29" fmla="*/ 0 h 324"/>
                  <a:gd name="T30" fmla="*/ 78 w 316"/>
                  <a:gd name="T31" fmla="*/ 78 h 324"/>
                  <a:gd name="T32" fmla="*/ 78 w 316"/>
                  <a:gd name="T33" fmla="*/ 63 h 324"/>
                  <a:gd name="T34" fmla="*/ 78 w 316"/>
                  <a:gd name="T35" fmla="*/ 47 h 324"/>
                  <a:gd name="T36" fmla="*/ 78 w 316"/>
                  <a:gd name="T37" fmla="*/ 16 h 324"/>
                  <a:gd name="T38" fmla="*/ 0 w 316"/>
                  <a:gd name="T39" fmla="*/ 32 h 324"/>
                  <a:gd name="T40" fmla="*/ 78 w 316"/>
                  <a:gd name="T41" fmla="*/ 32 h 324"/>
                  <a:gd name="T42" fmla="*/ 316 w 316"/>
                  <a:gd name="T43" fmla="*/ 182 h 324"/>
                  <a:gd name="T44" fmla="*/ 114 w 316"/>
                  <a:gd name="T45" fmla="*/ 42 h 324"/>
                  <a:gd name="T46" fmla="*/ 114 w 316"/>
                  <a:gd name="T47" fmla="*/ 49 h 324"/>
                  <a:gd name="T48" fmla="*/ 116 w 316"/>
                  <a:gd name="T49" fmla="*/ 28 h 324"/>
                  <a:gd name="T50" fmla="*/ 119 w 316"/>
                  <a:gd name="T51" fmla="*/ 62 h 324"/>
                  <a:gd name="T52" fmla="*/ 123 w 316"/>
                  <a:gd name="T53" fmla="*/ 16 h 324"/>
                  <a:gd name="T54" fmla="*/ 127 w 316"/>
                  <a:gd name="T55" fmla="*/ 73 h 324"/>
                  <a:gd name="T56" fmla="*/ 133 w 316"/>
                  <a:gd name="T57" fmla="*/ 7 h 324"/>
                  <a:gd name="T58" fmla="*/ 138 w 316"/>
                  <a:gd name="T59" fmla="*/ 81 h 324"/>
                  <a:gd name="T60" fmla="*/ 146 w 316"/>
                  <a:gd name="T61" fmla="*/ 1 h 324"/>
                  <a:gd name="T62" fmla="*/ 158 w 316"/>
                  <a:gd name="T63" fmla="*/ 84 h 324"/>
                  <a:gd name="T64" fmla="*/ 166 w 316"/>
                  <a:gd name="T65" fmla="*/ 2 h 324"/>
                  <a:gd name="T66" fmla="*/ 172 w 316"/>
                  <a:gd name="T67" fmla="*/ 81 h 324"/>
                  <a:gd name="T68" fmla="*/ 179 w 316"/>
                  <a:gd name="T69" fmla="*/ 7 h 324"/>
                  <a:gd name="T70" fmla="*/ 183 w 316"/>
                  <a:gd name="T71" fmla="*/ 74 h 324"/>
                  <a:gd name="T72" fmla="*/ 189 w 316"/>
                  <a:gd name="T73" fmla="*/ 17 h 324"/>
                  <a:gd name="T74" fmla="*/ 192 w 316"/>
                  <a:gd name="T75" fmla="*/ 63 h 324"/>
                  <a:gd name="T76" fmla="*/ 196 w 316"/>
                  <a:gd name="T77" fmla="*/ 29 h 324"/>
                  <a:gd name="T78" fmla="*/ 197 w 316"/>
                  <a:gd name="T79" fmla="*/ 50 h 324"/>
                  <a:gd name="T80" fmla="*/ 198 w 316"/>
                  <a:gd name="T81" fmla="*/ 42 h 324"/>
                  <a:gd name="T82" fmla="*/ 316 w 316"/>
                  <a:gd name="T83" fmla="*/ 249 h 324"/>
                  <a:gd name="T84" fmla="*/ 146 w 316"/>
                  <a:gd name="T85" fmla="*/ 249 h 324"/>
                  <a:gd name="T86" fmla="*/ 0 w 316"/>
                  <a:gd name="T87" fmla="*/ 189 h 324"/>
                  <a:gd name="T88" fmla="*/ 0 w 316"/>
                  <a:gd name="T89" fmla="*/ 198 h 324"/>
                  <a:gd name="T90" fmla="*/ 0 w 316"/>
                  <a:gd name="T91" fmla="*/ 177 h 324"/>
                  <a:gd name="T92" fmla="*/ 0 w 316"/>
                  <a:gd name="T93" fmla="*/ 165 h 324"/>
                  <a:gd name="T94" fmla="*/ 0 w 316"/>
                  <a:gd name="T95" fmla="*/ 153 h 324"/>
                  <a:gd name="T96" fmla="*/ 0 w 316"/>
                  <a:gd name="T97" fmla="*/ 141 h 324"/>
                  <a:gd name="T98" fmla="*/ 0 w 316"/>
                  <a:gd name="T99" fmla="*/ 129 h 324"/>
                  <a:gd name="T100" fmla="*/ 6 w 316"/>
                  <a:gd name="T101" fmla="*/ 120 h 324"/>
                  <a:gd name="T102" fmla="*/ 16 w 316"/>
                  <a:gd name="T103" fmla="*/ 189 h 324"/>
                  <a:gd name="T104" fmla="*/ 16 w 316"/>
                  <a:gd name="T105" fmla="*/ 124 h 324"/>
                  <a:gd name="T106" fmla="*/ 27 w 316"/>
                  <a:gd name="T107" fmla="*/ 183 h 324"/>
                  <a:gd name="T108" fmla="*/ 27 w 316"/>
                  <a:gd name="T109" fmla="*/ 130 h 324"/>
                  <a:gd name="T110" fmla="*/ 37 w 316"/>
                  <a:gd name="T111" fmla="*/ 177 h 324"/>
                  <a:gd name="T112" fmla="*/ 37 w 316"/>
                  <a:gd name="T113" fmla="*/ 136 h 324"/>
                  <a:gd name="T114" fmla="*/ 47 w 316"/>
                  <a:gd name="T115" fmla="*/ 171 h 324"/>
                  <a:gd name="T116" fmla="*/ 48 w 316"/>
                  <a:gd name="T117" fmla="*/ 142 h 324"/>
                  <a:gd name="T118" fmla="*/ 58 w 316"/>
                  <a:gd name="T119" fmla="*/ 165 h 324"/>
                  <a:gd name="T120" fmla="*/ 58 w 316"/>
                  <a:gd name="T121" fmla="*/ 148 h 324"/>
                  <a:gd name="T122" fmla="*/ 60 w 316"/>
                  <a:gd name="T123" fmla="*/ 15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6" h="324">
                    <a:moveTo>
                      <a:pt x="0" y="78"/>
                    </a:moveTo>
                    <a:cubicBezTo>
                      <a:pt x="6" y="78"/>
                      <a:pt x="6" y="78"/>
                      <a:pt x="6" y="78"/>
                    </a:cubicBezTo>
                    <a:cubicBezTo>
                      <a:pt x="6" y="84"/>
                      <a:pt x="6" y="84"/>
                      <a:pt x="6" y="84"/>
                    </a:cubicBezTo>
                    <a:cubicBezTo>
                      <a:pt x="0" y="84"/>
                      <a:pt x="0" y="84"/>
                      <a:pt x="0" y="84"/>
                    </a:cubicBezTo>
                    <a:lnTo>
                      <a:pt x="0" y="78"/>
                    </a:lnTo>
                    <a:close/>
                    <a:moveTo>
                      <a:pt x="0" y="63"/>
                    </a:moveTo>
                    <a:cubicBezTo>
                      <a:pt x="6" y="63"/>
                      <a:pt x="6" y="63"/>
                      <a:pt x="6" y="63"/>
                    </a:cubicBezTo>
                    <a:cubicBezTo>
                      <a:pt x="6" y="69"/>
                      <a:pt x="6" y="69"/>
                      <a:pt x="6" y="69"/>
                    </a:cubicBezTo>
                    <a:cubicBezTo>
                      <a:pt x="0" y="69"/>
                      <a:pt x="0" y="69"/>
                      <a:pt x="0" y="69"/>
                    </a:cubicBezTo>
                    <a:lnTo>
                      <a:pt x="0" y="63"/>
                    </a:lnTo>
                    <a:close/>
                    <a:moveTo>
                      <a:pt x="0" y="47"/>
                    </a:moveTo>
                    <a:cubicBezTo>
                      <a:pt x="6" y="47"/>
                      <a:pt x="6" y="47"/>
                      <a:pt x="6" y="47"/>
                    </a:cubicBezTo>
                    <a:cubicBezTo>
                      <a:pt x="6" y="53"/>
                      <a:pt x="6" y="53"/>
                      <a:pt x="6" y="53"/>
                    </a:cubicBezTo>
                    <a:cubicBezTo>
                      <a:pt x="0" y="53"/>
                      <a:pt x="0" y="53"/>
                      <a:pt x="0" y="53"/>
                    </a:cubicBezTo>
                    <a:lnTo>
                      <a:pt x="0" y="47"/>
                    </a:lnTo>
                    <a:close/>
                    <a:moveTo>
                      <a:pt x="0" y="16"/>
                    </a:moveTo>
                    <a:cubicBezTo>
                      <a:pt x="6" y="16"/>
                      <a:pt x="6" y="16"/>
                      <a:pt x="6" y="16"/>
                    </a:cubicBezTo>
                    <a:cubicBezTo>
                      <a:pt x="6" y="22"/>
                      <a:pt x="6" y="22"/>
                      <a:pt x="6" y="22"/>
                    </a:cubicBezTo>
                    <a:cubicBezTo>
                      <a:pt x="0" y="22"/>
                      <a:pt x="0" y="22"/>
                      <a:pt x="0" y="22"/>
                    </a:cubicBezTo>
                    <a:lnTo>
                      <a:pt x="0" y="16"/>
                    </a:lnTo>
                    <a:close/>
                    <a:moveTo>
                      <a:pt x="0" y="0"/>
                    </a:moveTo>
                    <a:cubicBezTo>
                      <a:pt x="6" y="0"/>
                      <a:pt x="6" y="0"/>
                      <a:pt x="6" y="0"/>
                    </a:cubicBezTo>
                    <a:cubicBezTo>
                      <a:pt x="6" y="7"/>
                      <a:pt x="6" y="7"/>
                      <a:pt x="6" y="7"/>
                    </a:cubicBezTo>
                    <a:cubicBezTo>
                      <a:pt x="0" y="7"/>
                      <a:pt x="0" y="7"/>
                      <a:pt x="0" y="7"/>
                    </a:cubicBezTo>
                    <a:lnTo>
                      <a:pt x="0" y="0"/>
                    </a:lnTo>
                    <a:close/>
                    <a:moveTo>
                      <a:pt x="13" y="78"/>
                    </a:moveTo>
                    <a:cubicBezTo>
                      <a:pt x="19" y="78"/>
                      <a:pt x="19" y="78"/>
                      <a:pt x="19" y="78"/>
                    </a:cubicBezTo>
                    <a:cubicBezTo>
                      <a:pt x="19" y="84"/>
                      <a:pt x="19" y="84"/>
                      <a:pt x="19" y="84"/>
                    </a:cubicBezTo>
                    <a:cubicBezTo>
                      <a:pt x="13" y="84"/>
                      <a:pt x="13" y="84"/>
                      <a:pt x="13" y="84"/>
                    </a:cubicBezTo>
                    <a:lnTo>
                      <a:pt x="13" y="78"/>
                    </a:lnTo>
                    <a:close/>
                    <a:moveTo>
                      <a:pt x="15" y="0"/>
                    </a:moveTo>
                    <a:cubicBezTo>
                      <a:pt x="22" y="0"/>
                      <a:pt x="22" y="0"/>
                      <a:pt x="22" y="0"/>
                    </a:cubicBezTo>
                    <a:cubicBezTo>
                      <a:pt x="22" y="7"/>
                      <a:pt x="22" y="7"/>
                      <a:pt x="22" y="7"/>
                    </a:cubicBezTo>
                    <a:cubicBezTo>
                      <a:pt x="15" y="7"/>
                      <a:pt x="15" y="7"/>
                      <a:pt x="15" y="7"/>
                    </a:cubicBezTo>
                    <a:lnTo>
                      <a:pt x="15" y="0"/>
                    </a:lnTo>
                    <a:close/>
                    <a:moveTo>
                      <a:pt x="26" y="78"/>
                    </a:moveTo>
                    <a:cubicBezTo>
                      <a:pt x="32" y="78"/>
                      <a:pt x="32" y="78"/>
                      <a:pt x="32" y="78"/>
                    </a:cubicBezTo>
                    <a:cubicBezTo>
                      <a:pt x="32" y="84"/>
                      <a:pt x="32" y="84"/>
                      <a:pt x="32" y="84"/>
                    </a:cubicBezTo>
                    <a:cubicBezTo>
                      <a:pt x="26" y="84"/>
                      <a:pt x="26" y="84"/>
                      <a:pt x="26" y="84"/>
                    </a:cubicBezTo>
                    <a:lnTo>
                      <a:pt x="26" y="78"/>
                    </a:lnTo>
                    <a:close/>
                    <a:moveTo>
                      <a:pt x="31" y="0"/>
                    </a:moveTo>
                    <a:cubicBezTo>
                      <a:pt x="37" y="0"/>
                      <a:pt x="37" y="0"/>
                      <a:pt x="37" y="0"/>
                    </a:cubicBezTo>
                    <a:cubicBezTo>
                      <a:pt x="37" y="7"/>
                      <a:pt x="37" y="7"/>
                      <a:pt x="37" y="7"/>
                    </a:cubicBezTo>
                    <a:cubicBezTo>
                      <a:pt x="31" y="7"/>
                      <a:pt x="31" y="7"/>
                      <a:pt x="31" y="7"/>
                    </a:cubicBezTo>
                    <a:lnTo>
                      <a:pt x="31" y="0"/>
                    </a:lnTo>
                    <a:close/>
                    <a:moveTo>
                      <a:pt x="46" y="0"/>
                    </a:moveTo>
                    <a:cubicBezTo>
                      <a:pt x="53" y="0"/>
                      <a:pt x="53" y="0"/>
                      <a:pt x="53" y="0"/>
                    </a:cubicBezTo>
                    <a:cubicBezTo>
                      <a:pt x="53" y="7"/>
                      <a:pt x="53" y="7"/>
                      <a:pt x="53" y="7"/>
                    </a:cubicBezTo>
                    <a:cubicBezTo>
                      <a:pt x="46" y="7"/>
                      <a:pt x="46" y="7"/>
                      <a:pt x="46" y="7"/>
                    </a:cubicBezTo>
                    <a:lnTo>
                      <a:pt x="46" y="0"/>
                    </a:lnTo>
                    <a:close/>
                    <a:moveTo>
                      <a:pt x="52" y="78"/>
                    </a:moveTo>
                    <a:cubicBezTo>
                      <a:pt x="58" y="78"/>
                      <a:pt x="58" y="78"/>
                      <a:pt x="58" y="78"/>
                    </a:cubicBezTo>
                    <a:cubicBezTo>
                      <a:pt x="58" y="84"/>
                      <a:pt x="58" y="84"/>
                      <a:pt x="58" y="84"/>
                    </a:cubicBezTo>
                    <a:cubicBezTo>
                      <a:pt x="52" y="84"/>
                      <a:pt x="52" y="84"/>
                      <a:pt x="52" y="84"/>
                    </a:cubicBezTo>
                    <a:lnTo>
                      <a:pt x="52" y="78"/>
                    </a:lnTo>
                    <a:close/>
                    <a:moveTo>
                      <a:pt x="39" y="78"/>
                    </a:moveTo>
                    <a:cubicBezTo>
                      <a:pt x="45" y="78"/>
                      <a:pt x="45" y="78"/>
                      <a:pt x="45" y="78"/>
                    </a:cubicBezTo>
                    <a:cubicBezTo>
                      <a:pt x="45" y="84"/>
                      <a:pt x="45" y="84"/>
                      <a:pt x="45" y="84"/>
                    </a:cubicBezTo>
                    <a:cubicBezTo>
                      <a:pt x="39" y="84"/>
                      <a:pt x="39" y="84"/>
                      <a:pt x="39" y="84"/>
                    </a:cubicBezTo>
                    <a:lnTo>
                      <a:pt x="39" y="78"/>
                    </a:lnTo>
                    <a:close/>
                    <a:moveTo>
                      <a:pt x="62" y="0"/>
                    </a:moveTo>
                    <a:cubicBezTo>
                      <a:pt x="68" y="0"/>
                      <a:pt x="68" y="0"/>
                      <a:pt x="68" y="0"/>
                    </a:cubicBezTo>
                    <a:cubicBezTo>
                      <a:pt x="68" y="7"/>
                      <a:pt x="68" y="7"/>
                      <a:pt x="68" y="7"/>
                    </a:cubicBezTo>
                    <a:cubicBezTo>
                      <a:pt x="62" y="7"/>
                      <a:pt x="62" y="7"/>
                      <a:pt x="62" y="7"/>
                    </a:cubicBezTo>
                    <a:lnTo>
                      <a:pt x="62" y="0"/>
                    </a:lnTo>
                    <a:close/>
                    <a:moveTo>
                      <a:pt x="65" y="78"/>
                    </a:moveTo>
                    <a:cubicBezTo>
                      <a:pt x="71" y="78"/>
                      <a:pt x="71" y="78"/>
                      <a:pt x="71" y="78"/>
                    </a:cubicBezTo>
                    <a:cubicBezTo>
                      <a:pt x="71" y="84"/>
                      <a:pt x="71" y="84"/>
                      <a:pt x="71" y="84"/>
                    </a:cubicBezTo>
                    <a:cubicBezTo>
                      <a:pt x="65" y="84"/>
                      <a:pt x="65" y="84"/>
                      <a:pt x="65" y="84"/>
                    </a:cubicBezTo>
                    <a:lnTo>
                      <a:pt x="65" y="78"/>
                    </a:lnTo>
                    <a:close/>
                    <a:moveTo>
                      <a:pt x="78" y="0"/>
                    </a:moveTo>
                    <a:cubicBezTo>
                      <a:pt x="84" y="0"/>
                      <a:pt x="84" y="0"/>
                      <a:pt x="84" y="0"/>
                    </a:cubicBezTo>
                    <a:cubicBezTo>
                      <a:pt x="84" y="7"/>
                      <a:pt x="84" y="7"/>
                      <a:pt x="84" y="7"/>
                    </a:cubicBezTo>
                    <a:cubicBezTo>
                      <a:pt x="78" y="7"/>
                      <a:pt x="78" y="7"/>
                      <a:pt x="78" y="7"/>
                    </a:cubicBezTo>
                    <a:lnTo>
                      <a:pt x="78" y="0"/>
                    </a:lnTo>
                    <a:close/>
                    <a:moveTo>
                      <a:pt x="78" y="78"/>
                    </a:moveTo>
                    <a:cubicBezTo>
                      <a:pt x="84" y="78"/>
                      <a:pt x="84" y="78"/>
                      <a:pt x="84" y="78"/>
                    </a:cubicBezTo>
                    <a:cubicBezTo>
                      <a:pt x="84" y="84"/>
                      <a:pt x="84" y="84"/>
                      <a:pt x="84" y="84"/>
                    </a:cubicBezTo>
                    <a:cubicBezTo>
                      <a:pt x="78" y="84"/>
                      <a:pt x="78" y="84"/>
                      <a:pt x="78" y="84"/>
                    </a:cubicBezTo>
                    <a:lnTo>
                      <a:pt x="78" y="78"/>
                    </a:lnTo>
                    <a:close/>
                    <a:moveTo>
                      <a:pt x="78" y="63"/>
                    </a:moveTo>
                    <a:cubicBezTo>
                      <a:pt x="84" y="63"/>
                      <a:pt x="84" y="63"/>
                      <a:pt x="84" y="63"/>
                    </a:cubicBezTo>
                    <a:cubicBezTo>
                      <a:pt x="84" y="69"/>
                      <a:pt x="84" y="69"/>
                      <a:pt x="84" y="69"/>
                    </a:cubicBezTo>
                    <a:cubicBezTo>
                      <a:pt x="78" y="69"/>
                      <a:pt x="78" y="69"/>
                      <a:pt x="78" y="69"/>
                    </a:cubicBezTo>
                    <a:lnTo>
                      <a:pt x="78" y="63"/>
                    </a:lnTo>
                    <a:close/>
                    <a:moveTo>
                      <a:pt x="78" y="47"/>
                    </a:moveTo>
                    <a:cubicBezTo>
                      <a:pt x="84" y="47"/>
                      <a:pt x="84" y="47"/>
                      <a:pt x="84" y="47"/>
                    </a:cubicBezTo>
                    <a:cubicBezTo>
                      <a:pt x="84" y="53"/>
                      <a:pt x="84" y="53"/>
                      <a:pt x="84" y="53"/>
                    </a:cubicBezTo>
                    <a:cubicBezTo>
                      <a:pt x="78" y="53"/>
                      <a:pt x="78" y="53"/>
                      <a:pt x="78" y="53"/>
                    </a:cubicBezTo>
                    <a:lnTo>
                      <a:pt x="78" y="47"/>
                    </a:lnTo>
                    <a:close/>
                    <a:moveTo>
                      <a:pt x="78" y="16"/>
                    </a:moveTo>
                    <a:cubicBezTo>
                      <a:pt x="84" y="16"/>
                      <a:pt x="84" y="16"/>
                      <a:pt x="84" y="16"/>
                    </a:cubicBezTo>
                    <a:cubicBezTo>
                      <a:pt x="84" y="22"/>
                      <a:pt x="84" y="22"/>
                      <a:pt x="84" y="22"/>
                    </a:cubicBezTo>
                    <a:cubicBezTo>
                      <a:pt x="78" y="22"/>
                      <a:pt x="78" y="22"/>
                      <a:pt x="78" y="22"/>
                    </a:cubicBezTo>
                    <a:lnTo>
                      <a:pt x="78" y="16"/>
                    </a:lnTo>
                    <a:close/>
                    <a:moveTo>
                      <a:pt x="0" y="32"/>
                    </a:moveTo>
                    <a:cubicBezTo>
                      <a:pt x="6" y="32"/>
                      <a:pt x="6" y="32"/>
                      <a:pt x="6" y="32"/>
                    </a:cubicBezTo>
                    <a:cubicBezTo>
                      <a:pt x="6" y="38"/>
                      <a:pt x="6" y="38"/>
                      <a:pt x="6" y="38"/>
                    </a:cubicBezTo>
                    <a:cubicBezTo>
                      <a:pt x="0" y="38"/>
                      <a:pt x="0" y="38"/>
                      <a:pt x="0" y="38"/>
                    </a:cubicBezTo>
                    <a:lnTo>
                      <a:pt x="0" y="32"/>
                    </a:lnTo>
                    <a:close/>
                    <a:moveTo>
                      <a:pt x="78" y="32"/>
                    </a:moveTo>
                    <a:cubicBezTo>
                      <a:pt x="84" y="32"/>
                      <a:pt x="84" y="32"/>
                      <a:pt x="84" y="32"/>
                    </a:cubicBezTo>
                    <a:cubicBezTo>
                      <a:pt x="84" y="38"/>
                      <a:pt x="84" y="38"/>
                      <a:pt x="84" y="38"/>
                    </a:cubicBezTo>
                    <a:cubicBezTo>
                      <a:pt x="78" y="38"/>
                      <a:pt x="78" y="38"/>
                      <a:pt x="78" y="38"/>
                    </a:cubicBezTo>
                    <a:lnTo>
                      <a:pt x="78" y="32"/>
                    </a:lnTo>
                    <a:close/>
                    <a:moveTo>
                      <a:pt x="316" y="182"/>
                    </a:moveTo>
                    <a:cubicBezTo>
                      <a:pt x="316" y="161"/>
                      <a:pt x="299" y="144"/>
                      <a:pt x="278" y="144"/>
                    </a:cubicBezTo>
                    <a:cubicBezTo>
                      <a:pt x="258" y="144"/>
                      <a:pt x="241" y="161"/>
                      <a:pt x="241" y="182"/>
                    </a:cubicBezTo>
                    <a:cubicBezTo>
                      <a:pt x="241" y="203"/>
                      <a:pt x="258" y="219"/>
                      <a:pt x="278" y="219"/>
                    </a:cubicBezTo>
                    <a:cubicBezTo>
                      <a:pt x="299" y="219"/>
                      <a:pt x="316" y="203"/>
                      <a:pt x="316" y="182"/>
                    </a:cubicBezTo>
                    <a:moveTo>
                      <a:pt x="114" y="42"/>
                    </a:moveTo>
                    <a:cubicBezTo>
                      <a:pt x="114" y="39"/>
                      <a:pt x="114" y="37"/>
                      <a:pt x="114" y="35"/>
                    </a:cubicBezTo>
                    <a:cubicBezTo>
                      <a:pt x="121" y="36"/>
                      <a:pt x="121" y="36"/>
                      <a:pt x="121" y="36"/>
                    </a:cubicBezTo>
                    <a:cubicBezTo>
                      <a:pt x="120" y="38"/>
                      <a:pt x="120" y="40"/>
                      <a:pt x="120" y="42"/>
                    </a:cubicBezTo>
                    <a:lnTo>
                      <a:pt x="114" y="42"/>
                    </a:lnTo>
                    <a:close/>
                    <a:moveTo>
                      <a:pt x="114" y="49"/>
                    </a:moveTo>
                    <a:cubicBezTo>
                      <a:pt x="120" y="48"/>
                      <a:pt x="120" y="48"/>
                      <a:pt x="120" y="48"/>
                    </a:cubicBezTo>
                    <a:cubicBezTo>
                      <a:pt x="121" y="50"/>
                      <a:pt x="121" y="52"/>
                      <a:pt x="122" y="53"/>
                    </a:cubicBezTo>
                    <a:cubicBezTo>
                      <a:pt x="116" y="55"/>
                      <a:pt x="116" y="55"/>
                      <a:pt x="116" y="55"/>
                    </a:cubicBezTo>
                    <a:cubicBezTo>
                      <a:pt x="115" y="53"/>
                      <a:pt x="115" y="51"/>
                      <a:pt x="114" y="49"/>
                    </a:cubicBezTo>
                    <a:moveTo>
                      <a:pt x="116" y="28"/>
                    </a:moveTo>
                    <a:cubicBezTo>
                      <a:pt x="117" y="26"/>
                      <a:pt x="118" y="24"/>
                      <a:pt x="119" y="22"/>
                    </a:cubicBezTo>
                    <a:cubicBezTo>
                      <a:pt x="124" y="25"/>
                      <a:pt x="124" y="25"/>
                      <a:pt x="124" y="25"/>
                    </a:cubicBezTo>
                    <a:cubicBezTo>
                      <a:pt x="124" y="27"/>
                      <a:pt x="123" y="28"/>
                      <a:pt x="122" y="30"/>
                    </a:cubicBezTo>
                    <a:lnTo>
                      <a:pt x="116" y="28"/>
                    </a:lnTo>
                    <a:close/>
                    <a:moveTo>
                      <a:pt x="119" y="62"/>
                    </a:moveTo>
                    <a:cubicBezTo>
                      <a:pt x="124" y="59"/>
                      <a:pt x="124" y="59"/>
                      <a:pt x="124" y="59"/>
                    </a:cubicBezTo>
                    <a:cubicBezTo>
                      <a:pt x="125" y="61"/>
                      <a:pt x="126" y="62"/>
                      <a:pt x="127" y="64"/>
                    </a:cubicBezTo>
                    <a:cubicBezTo>
                      <a:pt x="122" y="68"/>
                      <a:pt x="122" y="68"/>
                      <a:pt x="122" y="68"/>
                    </a:cubicBezTo>
                    <a:cubicBezTo>
                      <a:pt x="121" y="66"/>
                      <a:pt x="120" y="64"/>
                      <a:pt x="119" y="62"/>
                    </a:cubicBezTo>
                    <a:moveTo>
                      <a:pt x="123" y="16"/>
                    </a:moveTo>
                    <a:cubicBezTo>
                      <a:pt x="124" y="14"/>
                      <a:pt x="126" y="13"/>
                      <a:pt x="128" y="11"/>
                    </a:cubicBezTo>
                    <a:cubicBezTo>
                      <a:pt x="132" y="16"/>
                      <a:pt x="132" y="16"/>
                      <a:pt x="132" y="16"/>
                    </a:cubicBezTo>
                    <a:cubicBezTo>
                      <a:pt x="130" y="17"/>
                      <a:pt x="129" y="18"/>
                      <a:pt x="128" y="20"/>
                    </a:cubicBezTo>
                    <a:lnTo>
                      <a:pt x="123" y="16"/>
                    </a:lnTo>
                    <a:close/>
                    <a:moveTo>
                      <a:pt x="127" y="73"/>
                    </a:moveTo>
                    <a:cubicBezTo>
                      <a:pt x="131" y="68"/>
                      <a:pt x="131" y="68"/>
                      <a:pt x="131" y="68"/>
                    </a:cubicBezTo>
                    <a:cubicBezTo>
                      <a:pt x="133" y="70"/>
                      <a:pt x="134" y="71"/>
                      <a:pt x="136" y="72"/>
                    </a:cubicBezTo>
                    <a:cubicBezTo>
                      <a:pt x="132" y="77"/>
                      <a:pt x="132" y="77"/>
                      <a:pt x="132" y="77"/>
                    </a:cubicBezTo>
                    <a:cubicBezTo>
                      <a:pt x="130" y="76"/>
                      <a:pt x="128" y="74"/>
                      <a:pt x="127" y="73"/>
                    </a:cubicBezTo>
                    <a:moveTo>
                      <a:pt x="133" y="7"/>
                    </a:moveTo>
                    <a:cubicBezTo>
                      <a:pt x="135" y="6"/>
                      <a:pt x="137" y="5"/>
                      <a:pt x="139" y="4"/>
                    </a:cubicBezTo>
                    <a:cubicBezTo>
                      <a:pt x="142" y="9"/>
                      <a:pt x="142" y="9"/>
                      <a:pt x="142" y="9"/>
                    </a:cubicBezTo>
                    <a:cubicBezTo>
                      <a:pt x="140" y="10"/>
                      <a:pt x="138" y="11"/>
                      <a:pt x="137" y="12"/>
                    </a:cubicBezTo>
                    <a:lnTo>
                      <a:pt x="133" y="7"/>
                    </a:lnTo>
                    <a:close/>
                    <a:moveTo>
                      <a:pt x="138" y="81"/>
                    </a:moveTo>
                    <a:cubicBezTo>
                      <a:pt x="141" y="75"/>
                      <a:pt x="141" y="75"/>
                      <a:pt x="141" y="75"/>
                    </a:cubicBezTo>
                    <a:cubicBezTo>
                      <a:pt x="143" y="76"/>
                      <a:pt x="144" y="76"/>
                      <a:pt x="146" y="77"/>
                    </a:cubicBezTo>
                    <a:cubicBezTo>
                      <a:pt x="145" y="83"/>
                      <a:pt x="145" y="83"/>
                      <a:pt x="145" y="83"/>
                    </a:cubicBezTo>
                    <a:cubicBezTo>
                      <a:pt x="142" y="82"/>
                      <a:pt x="140" y="82"/>
                      <a:pt x="138" y="81"/>
                    </a:cubicBezTo>
                    <a:moveTo>
                      <a:pt x="146" y="1"/>
                    </a:moveTo>
                    <a:cubicBezTo>
                      <a:pt x="148" y="1"/>
                      <a:pt x="150" y="1"/>
                      <a:pt x="153" y="0"/>
                    </a:cubicBezTo>
                    <a:cubicBezTo>
                      <a:pt x="153" y="7"/>
                      <a:pt x="153" y="7"/>
                      <a:pt x="153" y="7"/>
                    </a:cubicBezTo>
                    <a:cubicBezTo>
                      <a:pt x="151" y="7"/>
                      <a:pt x="149" y="7"/>
                      <a:pt x="147" y="8"/>
                    </a:cubicBezTo>
                    <a:lnTo>
                      <a:pt x="146" y="1"/>
                    </a:lnTo>
                    <a:close/>
                    <a:moveTo>
                      <a:pt x="152" y="84"/>
                    </a:moveTo>
                    <a:cubicBezTo>
                      <a:pt x="152" y="78"/>
                      <a:pt x="152" y="78"/>
                      <a:pt x="152" y="78"/>
                    </a:cubicBezTo>
                    <a:cubicBezTo>
                      <a:pt x="153" y="78"/>
                      <a:pt x="155" y="78"/>
                      <a:pt x="156" y="78"/>
                    </a:cubicBezTo>
                    <a:cubicBezTo>
                      <a:pt x="157" y="78"/>
                      <a:pt x="157" y="78"/>
                      <a:pt x="158" y="78"/>
                    </a:cubicBezTo>
                    <a:cubicBezTo>
                      <a:pt x="158" y="84"/>
                      <a:pt x="158" y="84"/>
                      <a:pt x="158" y="84"/>
                    </a:cubicBezTo>
                    <a:cubicBezTo>
                      <a:pt x="157" y="84"/>
                      <a:pt x="157" y="84"/>
                      <a:pt x="156" y="84"/>
                    </a:cubicBezTo>
                    <a:cubicBezTo>
                      <a:pt x="154" y="84"/>
                      <a:pt x="153" y="84"/>
                      <a:pt x="152" y="84"/>
                    </a:cubicBezTo>
                    <a:moveTo>
                      <a:pt x="159" y="7"/>
                    </a:moveTo>
                    <a:cubicBezTo>
                      <a:pt x="160" y="0"/>
                      <a:pt x="160" y="0"/>
                      <a:pt x="160" y="0"/>
                    </a:cubicBezTo>
                    <a:cubicBezTo>
                      <a:pt x="162" y="1"/>
                      <a:pt x="164" y="1"/>
                      <a:pt x="166" y="2"/>
                    </a:cubicBezTo>
                    <a:cubicBezTo>
                      <a:pt x="165" y="8"/>
                      <a:pt x="165" y="8"/>
                      <a:pt x="165" y="8"/>
                    </a:cubicBezTo>
                    <a:cubicBezTo>
                      <a:pt x="163" y="7"/>
                      <a:pt x="161" y="7"/>
                      <a:pt x="159" y="7"/>
                    </a:cubicBezTo>
                    <a:moveTo>
                      <a:pt x="164" y="77"/>
                    </a:moveTo>
                    <a:cubicBezTo>
                      <a:pt x="166" y="77"/>
                      <a:pt x="168" y="76"/>
                      <a:pt x="169" y="76"/>
                    </a:cubicBezTo>
                    <a:cubicBezTo>
                      <a:pt x="172" y="81"/>
                      <a:pt x="172" y="81"/>
                      <a:pt x="172" y="81"/>
                    </a:cubicBezTo>
                    <a:cubicBezTo>
                      <a:pt x="170" y="82"/>
                      <a:pt x="168" y="83"/>
                      <a:pt x="165" y="83"/>
                    </a:cubicBezTo>
                    <a:lnTo>
                      <a:pt x="164" y="77"/>
                    </a:lnTo>
                    <a:close/>
                    <a:moveTo>
                      <a:pt x="170" y="10"/>
                    </a:moveTo>
                    <a:cubicBezTo>
                      <a:pt x="173" y="4"/>
                      <a:pt x="173" y="4"/>
                      <a:pt x="173" y="4"/>
                    </a:cubicBezTo>
                    <a:cubicBezTo>
                      <a:pt x="175" y="5"/>
                      <a:pt x="177" y="6"/>
                      <a:pt x="179" y="7"/>
                    </a:cubicBezTo>
                    <a:cubicBezTo>
                      <a:pt x="175" y="12"/>
                      <a:pt x="175" y="12"/>
                      <a:pt x="175" y="12"/>
                    </a:cubicBezTo>
                    <a:cubicBezTo>
                      <a:pt x="174" y="11"/>
                      <a:pt x="172" y="10"/>
                      <a:pt x="170" y="10"/>
                    </a:cubicBezTo>
                    <a:moveTo>
                      <a:pt x="175" y="73"/>
                    </a:moveTo>
                    <a:cubicBezTo>
                      <a:pt x="176" y="72"/>
                      <a:pt x="178" y="71"/>
                      <a:pt x="179" y="69"/>
                    </a:cubicBezTo>
                    <a:cubicBezTo>
                      <a:pt x="183" y="74"/>
                      <a:pt x="183" y="74"/>
                      <a:pt x="183" y="74"/>
                    </a:cubicBezTo>
                    <a:cubicBezTo>
                      <a:pt x="182" y="75"/>
                      <a:pt x="180" y="77"/>
                      <a:pt x="178" y="78"/>
                    </a:cubicBezTo>
                    <a:lnTo>
                      <a:pt x="175" y="73"/>
                    </a:lnTo>
                    <a:close/>
                    <a:moveTo>
                      <a:pt x="180" y="16"/>
                    </a:moveTo>
                    <a:cubicBezTo>
                      <a:pt x="184" y="12"/>
                      <a:pt x="184" y="12"/>
                      <a:pt x="184" y="12"/>
                    </a:cubicBezTo>
                    <a:cubicBezTo>
                      <a:pt x="186" y="13"/>
                      <a:pt x="188" y="15"/>
                      <a:pt x="189" y="17"/>
                    </a:cubicBezTo>
                    <a:cubicBezTo>
                      <a:pt x="184" y="20"/>
                      <a:pt x="184" y="20"/>
                      <a:pt x="184" y="20"/>
                    </a:cubicBezTo>
                    <a:cubicBezTo>
                      <a:pt x="183" y="19"/>
                      <a:pt x="182" y="17"/>
                      <a:pt x="180" y="16"/>
                    </a:cubicBezTo>
                    <a:moveTo>
                      <a:pt x="184" y="65"/>
                    </a:moveTo>
                    <a:cubicBezTo>
                      <a:pt x="185" y="63"/>
                      <a:pt x="186" y="62"/>
                      <a:pt x="187" y="60"/>
                    </a:cubicBezTo>
                    <a:cubicBezTo>
                      <a:pt x="192" y="63"/>
                      <a:pt x="192" y="63"/>
                      <a:pt x="192" y="63"/>
                    </a:cubicBezTo>
                    <a:cubicBezTo>
                      <a:pt x="191" y="65"/>
                      <a:pt x="190" y="67"/>
                      <a:pt x="188" y="69"/>
                    </a:cubicBezTo>
                    <a:lnTo>
                      <a:pt x="184" y="65"/>
                    </a:lnTo>
                    <a:close/>
                    <a:moveTo>
                      <a:pt x="187" y="26"/>
                    </a:moveTo>
                    <a:cubicBezTo>
                      <a:pt x="193" y="23"/>
                      <a:pt x="193" y="23"/>
                      <a:pt x="193" y="23"/>
                    </a:cubicBezTo>
                    <a:cubicBezTo>
                      <a:pt x="194" y="25"/>
                      <a:pt x="195" y="27"/>
                      <a:pt x="196" y="29"/>
                    </a:cubicBezTo>
                    <a:cubicBezTo>
                      <a:pt x="190" y="31"/>
                      <a:pt x="190" y="31"/>
                      <a:pt x="190" y="31"/>
                    </a:cubicBezTo>
                    <a:cubicBezTo>
                      <a:pt x="189" y="29"/>
                      <a:pt x="188" y="27"/>
                      <a:pt x="187" y="26"/>
                    </a:cubicBezTo>
                    <a:moveTo>
                      <a:pt x="189" y="55"/>
                    </a:moveTo>
                    <a:cubicBezTo>
                      <a:pt x="190" y="53"/>
                      <a:pt x="191" y="51"/>
                      <a:pt x="191" y="49"/>
                    </a:cubicBezTo>
                    <a:cubicBezTo>
                      <a:pt x="197" y="50"/>
                      <a:pt x="197" y="50"/>
                      <a:pt x="197" y="50"/>
                    </a:cubicBezTo>
                    <a:cubicBezTo>
                      <a:pt x="197" y="53"/>
                      <a:pt x="196" y="55"/>
                      <a:pt x="195" y="57"/>
                    </a:cubicBezTo>
                    <a:lnTo>
                      <a:pt x="189" y="55"/>
                    </a:lnTo>
                    <a:close/>
                    <a:moveTo>
                      <a:pt x="191" y="37"/>
                    </a:moveTo>
                    <a:cubicBezTo>
                      <a:pt x="197" y="36"/>
                      <a:pt x="197" y="36"/>
                      <a:pt x="197" y="36"/>
                    </a:cubicBezTo>
                    <a:cubicBezTo>
                      <a:pt x="198" y="38"/>
                      <a:pt x="198" y="40"/>
                      <a:pt x="198" y="42"/>
                    </a:cubicBezTo>
                    <a:cubicBezTo>
                      <a:pt x="198" y="43"/>
                      <a:pt x="198" y="43"/>
                      <a:pt x="198" y="43"/>
                    </a:cubicBezTo>
                    <a:cubicBezTo>
                      <a:pt x="192" y="43"/>
                      <a:pt x="192" y="43"/>
                      <a:pt x="192" y="43"/>
                    </a:cubicBezTo>
                    <a:cubicBezTo>
                      <a:pt x="192" y="42"/>
                      <a:pt x="192" y="42"/>
                      <a:pt x="192" y="42"/>
                    </a:cubicBezTo>
                    <a:cubicBezTo>
                      <a:pt x="192" y="40"/>
                      <a:pt x="191" y="39"/>
                      <a:pt x="191" y="37"/>
                    </a:cubicBezTo>
                    <a:moveTo>
                      <a:pt x="316" y="249"/>
                    </a:moveTo>
                    <a:cubicBezTo>
                      <a:pt x="241" y="249"/>
                      <a:pt x="241" y="249"/>
                      <a:pt x="241" y="249"/>
                    </a:cubicBezTo>
                    <a:cubicBezTo>
                      <a:pt x="241" y="324"/>
                      <a:pt x="241" y="324"/>
                      <a:pt x="241" y="324"/>
                    </a:cubicBezTo>
                    <a:cubicBezTo>
                      <a:pt x="316" y="324"/>
                      <a:pt x="316" y="324"/>
                      <a:pt x="316" y="324"/>
                    </a:cubicBezTo>
                    <a:lnTo>
                      <a:pt x="316" y="249"/>
                    </a:lnTo>
                    <a:close/>
                    <a:moveTo>
                      <a:pt x="146" y="249"/>
                    </a:moveTo>
                    <a:cubicBezTo>
                      <a:pt x="146" y="324"/>
                      <a:pt x="146" y="324"/>
                      <a:pt x="146" y="324"/>
                    </a:cubicBezTo>
                    <a:cubicBezTo>
                      <a:pt x="211" y="287"/>
                      <a:pt x="211" y="287"/>
                      <a:pt x="211" y="287"/>
                    </a:cubicBezTo>
                    <a:lnTo>
                      <a:pt x="146" y="249"/>
                    </a:lnTo>
                    <a:close/>
                    <a:moveTo>
                      <a:pt x="0" y="198"/>
                    </a:moveTo>
                    <a:cubicBezTo>
                      <a:pt x="0" y="189"/>
                      <a:pt x="0" y="189"/>
                      <a:pt x="0" y="189"/>
                    </a:cubicBezTo>
                    <a:cubicBezTo>
                      <a:pt x="6" y="189"/>
                      <a:pt x="6" y="189"/>
                      <a:pt x="6" y="189"/>
                    </a:cubicBezTo>
                    <a:cubicBezTo>
                      <a:pt x="6" y="193"/>
                      <a:pt x="6" y="193"/>
                      <a:pt x="6" y="193"/>
                    </a:cubicBezTo>
                    <a:cubicBezTo>
                      <a:pt x="5" y="193"/>
                      <a:pt x="5" y="193"/>
                      <a:pt x="5" y="193"/>
                    </a:cubicBezTo>
                    <a:cubicBezTo>
                      <a:pt x="6" y="195"/>
                      <a:pt x="6" y="195"/>
                      <a:pt x="6" y="195"/>
                    </a:cubicBezTo>
                    <a:lnTo>
                      <a:pt x="0" y="198"/>
                    </a:lnTo>
                    <a:close/>
                    <a:moveTo>
                      <a:pt x="0" y="177"/>
                    </a:moveTo>
                    <a:cubicBezTo>
                      <a:pt x="6" y="177"/>
                      <a:pt x="6" y="177"/>
                      <a:pt x="6" y="177"/>
                    </a:cubicBezTo>
                    <a:cubicBezTo>
                      <a:pt x="6" y="183"/>
                      <a:pt x="6" y="183"/>
                      <a:pt x="6" y="183"/>
                    </a:cubicBezTo>
                    <a:cubicBezTo>
                      <a:pt x="0" y="183"/>
                      <a:pt x="0" y="183"/>
                      <a:pt x="0" y="183"/>
                    </a:cubicBezTo>
                    <a:lnTo>
                      <a:pt x="0" y="177"/>
                    </a:lnTo>
                    <a:close/>
                    <a:moveTo>
                      <a:pt x="0" y="165"/>
                    </a:moveTo>
                    <a:cubicBezTo>
                      <a:pt x="6" y="165"/>
                      <a:pt x="6" y="165"/>
                      <a:pt x="6" y="165"/>
                    </a:cubicBezTo>
                    <a:cubicBezTo>
                      <a:pt x="6" y="171"/>
                      <a:pt x="6" y="171"/>
                      <a:pt x="6" y="171"/>
                    </a:cubicBezTo>
                    <a:cubicBezTo>
                      <a:pt x="0" y="171"/>
                      <a:pt x="0" y="171"/>
                      <a:pt x="0" y="171"/>
                    </a:cubicBezTo>
                    <a:lnTo>
                      <a:pt x="0" y="165"/>
                    </a:lnTo>
                    <a:close/>
                    <a:moveTo>
                      <a:pt x="0" y="153"/>
                    </a:moveTo>
                    <a:cubicBezTo>
                      <a:pt x="6" y="153"/>
                      <a:pt x="6" y="153"/>
                      <a:pt x="6" y="153"/>
                    </a:cubicBezTo>
                    <a:cubicBezTo>
                      <a:pt x="6" y="159"/>
                      <a:pt x="6" y="159"/>
                      <a:pt x="6" y="159"/>
                    </a:cubicBezTo>
                    <a:cubicBezTo>
                      <a:pt x="0" y="159"/>
                      <a:pt x="0" y="159"/>
                      <a:pt x="0" y="159"/>
                    </a:cubicBezTo>
                    <a:lnTo>
                      <a:pt x="0" y="153"/>
                    </a:lnTo>
                    <a:close/>
                    <a:moveTo>
                      <a:pt x="0" y="141"/>
                    </a:moveTo>
                    <a:cubicBezTo>
                      <a:pt x="6" y="141"/>
                      <a:pt x="6" y="141"/>
                      <a:pt x="6" y="141"/>
                    </a:cubicBezTo>
                    <a:cubicBezTo>
                      <a:pt x="6" y="147"/>
                      <a:pt x="6" y="147"/>
                      <a:pt x="6" y="147"/>
                    </a:cubicBezTo>
                    <a:cubicBezTo>
                      <a:pt x="0" y="147"/>
                      <a:pt x="0" y="147"/>
                      <a:pt x="0" y="147"/>
                    </a:cubicBezTo>
                    <a:lnTo>
                      <a:pt x="0" y="141"/>
                    </a:lnTo>
                    <a:close/>
                    <a:moveTo>
                      <a:pt x="0" y="129"/>
                    </a:moveTo>
                    <a:cubicBezTo>
                      <a:pt x="6" y="129"/>
                      <a:pt x="6" y="129"/>
                      <a:pt x="6" y="129"/>
                    </a:cubicBezTo>
                    <a:cubicBezTo>
                      <a:pt x="6" y="135"/>
                      <a:pt x="6" y="135"/>
                      <a:pt x="6" y="135"/>
                    </a:cubicBezTo>
                    <a:cubicBezTo>
                      <a:pt x="0" y="135"/>
                      <a:pt x="0" y="135"/>
                      <a:pt x="0" y="135"/>
                    </a:cubicBezTo>
                    <a:lnTo>
                      <a:pt x="0" y="129"/>
                    </a:lnTo>
                    <a:close/>
                    <a:moveTo>
                      <a:pt x="0" y="123"/>
                    </a:moveTo>
                    <a:cubicBezTo>
                      <a:pt x="0" y="114"/>
                      <a:pt x="0" y="114"/>
                      <a:pt x="0" y="114"/>
                    </a:cubicBezTo>
                    <a:cubicBezTo>
                      <a:pt x="6" y="118"/>
                      <a:pt x="6" y="118"/>
                      <a:pt x="6" y="118"/>
                    </a:cubicBezTo>
                    <a:cubicBezTo>
                      <a:pt x="5" y="120"/>
                      <a:pt x="5" y="120"/>
                      <a:pt x="5" y="120"/>
                    </a:cubicBezTo>
                    <a:cubicBezTo>
                      <a:pt x="6" y="120"/>
                      <a:pt x="6" y="120"/>
                      <a:pt x="6" y="120"/>
                    </a:cubicBezTo>
                    <a:cubicBezTo>
                      <a:pt x="6" y="123"/>
                      <a:pt x="6" y="123"/>
                      <a:pt x="6" y="123"/>
                    </a:cubicBezTo>
                    <a:lnTo>
                      <a:pt x="0" y="123"/>
                    </a:lnTo>
                    <a:close/>
                    <a:moveTo>
                      <a:pt x="8" y="187"/>
                    </a:moveTo>
                    <a:cubicBezTo>
                      <a:pt x="13" y="184"/>
                      <a:pt x="13" y="184"/>
                      <a:pt x="13" y="184"/>
                    </a:cubicBezTo>
                    <a:cubicBezTo>
                      <a:pt x="16" y="189"/>
                      <a:pt x="16" y="189"/>
                      <a:pt x="16" y="189"/>
                    </a:cubicBezTo>
                    <a:cubicBezTo>
                      <a:pt x="11" y="192"/>
                      <a:pt x="11" y="192"/>
                      <a:pt x="11" y="192"/>
                    </a:cubicBezTo>
                    <a:lnTo>
                      <a:pt x="8" y="187"/>
                    </a:lnTo>
                    <a:close/>
                    <a:moveTo>
                      <a:pt x="8" y="126"/>
                    </a:moveTo>
                    <a:cubicBezTo>
                      <a:pt x="11" y="121"/>
                      <a:pt x="11" y="121"/>
                      <a:pt x="11" y="121"/>
                    </a:cubicBezTo>
                    <a:cubicBezTo>
                      <a:pt x="16" y="124"/>
                      <a:pt x="16" y="124"/>
                      <a:pt x="16" y="124"/>
                    </a:cubicBezTo>
                    <a:cubicBezTo>
                      <a:pt x="13" y="129"/>
                      <a:pt x="13" y="129"/>
                      <a:pt x="13" y="129"/>
                    </a:cubicBezTo>
                    <a:lnTo>
                      <a:pt x="8" y="126"/>
                    </a:lnTo>
                    <a:close/>
                    <a:moveTo>
                      <a:pt x="19" y="181"/>
                    </a:moveTo>
                    <a:cubicBezTo>
                      <a:pt x="24" y="178"/>
                      <a:pt x="24" y="178"/>
                      <a:pt x="24" y="178"/>
                    </a:cubicBezTo>
                    <a:cubicBezTo>
                      <a:pt x="27" y="183"/>
                      <a:pt x="27" y="183"/>
                      <a:pt x="27" y="183"/>
                    </a:cubicBezTo>
                    <a:cubicBezTo>
                      <a:pt x="21" y="186"/>
                      <a:pt x="21" y="186"/>
                      <a:pt x="21" y="186"/>
                    </a:cubicBezTo>
                    <a:lnTo>
                      <a:pt x="19" y="181"/>
                    </a:lnTo>
                    <a:close/>
                    <a:moveTo>
                      <a:pt x="19" y="132"/>
                    </a:moveTo>
                    <a:cubicBezTo>
                      <a:pt x="22" y="127"/>
                      <a:pt x="22" y="127"/>
                      <a:pt x="22" y="127"/>
                    </a:cubicBezTo>
                    <a:cubicBezTo>
                      <a:pt x="27" y="130"/>
                      <a:pt x="27" y="130"/>
                      <a:pt x="27" y="130"/>
                    </a:cubicBezTo>
                    <a:cubicBezTo>
                      <a:pt x="24" y="135"/>
                      <a:pt x="24" y="135"/>
                      <a:pt x="24" y="135"/>
                    </a:cubicBezTo>
                    <a:lnTo>
                      <a:pt x="19" y="132"/>
                    </a:lnTo>
                    <a:close/>
                    <a:moveTo>
                      <a:pt x="29" y="175"/>
                    </a:moveTo>
                    <a:cubicBezTo>
                      <a:pt x="34" y="172"/>
                      <a:pt x="34" y="172"/>
                      <a:pt x="34" y="172"/>
                    </a:cubicBezTo>
                    <a:cubicBezTo>
                      <a:pt x="37" y="177"/>
                      <a:pt x="37" y="177"/>
                      <a:pt x="37" y="177"/>
                    </a:cubicBezTo>
                    <a:cubicBezTo>
                      <a:pt x="32" y="180"/>
                      <a:pt x="32" y="180"/>
                      <a:pt x="32" y="180"/>
                    </a:cubicBezTo>
                    <a:lnTo>
                      <a:pt x="29" y="175"/>
                    </a:lnTo>
                    <a:close/>
                    <a:moveTo>
                      <a:pt x="29" y="138"/>
                    </a:moveTo>
                    <a:cubicBezTo>
                      <a:pt x="32" y="133"/>
                      <a:pt x="32" y="133"/>
                      <a:pt x="32" y="133"/>
                    </a:cubicBezTo>
                    <a:cubicBezTo>
                      <a:pt x="37" y="136"/>
                      <a:pt x="37" y="136"/>
                      <a:pt x="37" y="136"/>
                    </a:cubicBezTo>
                    <a:cubicBezTo>
                      <a:pt x="34" y="141"/>
                      <a:pt x="34" y="141"/>
                      <a:pt x="34" y="141"/>
                    </a:cubicBezTo>
                    <a:lnTo>
                      <a:pt x="29" y="138"/>
                    </a:lnTo>
                    <a:close/>
                    <a:moveTo>
                      <a:pt x="39" y="169"/>
                    </a:moveTo>
                    <a:cubicBezTo>
                      <a:pt x="44" y="166"/>
                      <a:pt x="44" y="166"/>
                      <a:pt x="44" y="166"/>
                    </a:cubicBezTo>
                    <a:cubicBezTo>
                      <a:pt x="47" y="171"/>
                      <a:pt x="47" y="171"/>
                      <a:pt x="47" y="171"/>
                    </a:cubicBezTo>
                    <a:cubicBezTo>
                      <a:pt x="42" y="174"/>
                      <a:pt x="42" y="174"/>
                      <a:pt x="42" y="174"/>
                    </a:cubicBezTo>
                    <a:lnTo>
                      <a:pt x="39" y="169"/>
                    </a:lnTo>
                    <a:close/>
                    <a:moveTo>
                      <a:pt x="39" y="144"/>
                    </a:moveTo>
                    <a:cubicBezTo>
                      <a:pt x="42" y="139"/>
                      <a:pt x="42" y="139"/>
                      <a:pt x="42" y="139"/>
                    </a:cubicBezTo>
                    <a:cubicBezTo>
                      <a:pt x="48" y="142"/>
                      <a:pt x="48" y="142"/>
                      <a:pt x="48" y="142"/>
                    </a:cubicBezTo>
                    <a:cubicBezTo>
                      <a:pt x="45" y="147"/>
                      <a:pt x="45" y="147"/>
                      <a:pt x="45" y="147"/>
                    </a:cubicBezTo>
                    <a:lnTo>
                      <a:pt x="39" y="144"/>
                    </a:lnTo>
                    <a:close/>
                    <a:moveTo>
                      <a:pt x="50" y="163"/>
                    </a:moveTo>
                    <a:cubicBezTo>
                      <a:pt x="55" y="160"/>
                      <a:pt x="55" y="160"/>
                      <a:pt x="55" y="160"/>
                    </a:cubicBezTo>
                    <a:cubicBezTo>
                      <a:pt x="58" y="165"/>
                      <a:pt x="58" y="165"/>
                      <a:pt x="58" y="165"/>
                    </a:cubicBezTo>
                    <a:cubicBezTo>
                      <a:pt x="53" y="168"/>
                      <a:pt x="53" y="168"/>
                      <a:pt x="53" y="168"/>
                    </a:cubicBezTo>
                    <a:lnTo>
                      <a:pt x="50" y="163"/>
                    </a:lnTo>
                    <a:close/>
                    <a:moveTo>
                      <a:pt x="50" y="150"/>
                    </a:moveTo>
                    <a:cubicBezTo>
                      <a:pt x="53" y="145"/>
                      <a:pt x="53" y="145"/>
                      <a:pt x="53" y="145"/>
                    </a:cubicBezTo>
                    <a:cubicBezTo>
                      <a:pt x="58" y="148"/>
                      <a:pt x="58" y="148"/>
                      <a:pt x="58" y="148"/>
                    </a:cubicBezTo>
                    <a:cubicBezTo>
                      <a:pt x="55" y="153"/>
                      <a:pt x="55" y="153"/>
                      <a:pt x="55" y="153"/>
                    </a:cubicBezTo>
                    <a:lnTo>
                      <a:pt x="50" y="150"/>
                    </a:lnTo>
                    <a:close/>
                    <a:moveTo>
                      <a:pt x="60" y="157"/>
                    </a:moveTo>
                    <a:cubicBezTo>
                      <a:pt x="61" y="156"/>
                      <a:pt x="61" y="156"/>
                      <a:pt x="61" y="156"/>
                    </a:cubicBezTo>
                    <a:cubicBezTo>
                      <a:pt x="60" y="156"/>
                      <a:pt x="60" y="156"/>
                      <a:pt x="60" y="156"/>
                    </a:cubicBezTo>
                    <a:cubicBezTo>
                      <a:pt x="63" y="151"/>
                      <a:pt x="63" y="151"/>
                      <a:pt x="63" y="151"/>
                    </a:cubicBezTo>
                    <a:cubicBezTo>
                      <a:pt x="73" y="156"/>
                      <a:pt x="73" y="156"/>
                      <a:pt x="73" y="156"/>
                    </a:cubicBezTo>
                    <a:cubicBezTo>
                      <a:pt x="63" y="162"/>
                      <a:pt x="63" y="162"/>
                      <a:pt x="63" y="162"/>
                    </a:cubicBezTo>
                    <a:lnTo>
                      <a:pt x="60" y="157"/>
                    </a:ln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p>
            </p:txBody>
          </p:sp>
          <p:sp>
            <p:nvSpPr>
              <p:cNvPr id="57" name="Freeform 56"/>
              <p:cNvSpPr>
                <a:spLocks noEditPoints="1"/>
              </p:cNvSpPr>
              <p:nvPr/>
            </p:nvSpPr>
            <p:spPr bwMode="black">
              <a:xfrm>
                <a:off x="8863394" y="5414400"/>
                <a:ext cx="652463" cy="657225"/>
              </a:xfrm>
              <a:custGeom>
                <a:avLst/>
                <a:gdLst>
                  <a:gd name="T0" fmla="*/ 116 w 411"/>
                  <a:gd name="T1" fmla="*/ 121 h 414"/>
                  <a:gd name="T2" fmla="*/ 123 w 411"/>
                  <a:gd name="T3" fmla="*/ 208 h 414"/>
                  <a:gd name="T4" fmla="*/ 159 w 411"/>
                  <a:gd name="T5" fmla="*/ 173 h 414"/>
                  <a:gd name="T6" fmla="*/ 293 w 411"/>
                  <a:gd name="T7" fmla="*/ 310 h 414"/>
                  <a:gd name="T8" fmla="*/ 307 w 411"/>
                  <a:gd name="T9" fmla="*/ 296 h 414"/>
                  <a:gd name="T10" fmla="*/ 170 w 411"/>
                  <a:gd name="T11" fmla="*/ 161 h 414"/>
                  <a:gd name="T12" fmla="*/ 204 w 411"/>
                  <a:gd name="T13" fmla="*/ 128 h 414"/>
                  <a:gd name="T14" fmla="*/ 116 w 411"/>
                  <a:gd name="T15" fmla="*/ 121 h 414"/>
                  <a:gd name="T16" fmla="*/ 7 w 411"/>
                  <a:gd name="T17" fmla="*/ 397 h 414"/>
                  <a:gd name="T18" fmla="*/ 41 w 411"/>
                  <a:gd name="T19" fmla="*/ 362 h 414"/>
                  <a:gd name="T20" fmla="*/ 93 w 411"/>
                  <a:gd name="T21" fmla="*/ 414 h 414"/>
                  <a:gd name="T22" fmla="*/ 104 w 411"/>
                  <a:gd name="T23" fmla="*/ 402 h 414"/>
                  <a:gd name="T24" fmla="*/ 52 w 411"/>
                  <a:gd name="T25" fmla="*/ 350 h 414"/>
                  <a:gd name="T26" fmla="*/ 88 w 411"/>
                  <a:gd name="T27" fmla="*/ 317 h 414"/>
                  <a:gd name="T28" fmla="*/ 0 w 411"/>
                  <a:gd name="T29" fmla="*/ 310 h 414"/>
                  <a:gd name="T30" fmla="*/ 7 w 411"/>
                  <a:gd name="T31" fmla="*/ 397 h 414"/>
                  <a:gd name="T32" fmla="*/ 305 w 411"/>
                  <a:gd name="T33" fmla="*/ 0 h 414"/>
                  <a:gd name="T34" fmla="*/ 315 w 411"/>
                  <a:gd name="T35" fmla="*/ 90 h 414"/>
                  <a:gd name="T36" fmla="*/ 348 w 411"/>
                  <a:gd name="T37" fmla="*/ 55 h 414"/>
                  <a:gd name="T38" fmla="*/ 397 w 411"/>
                  <a:gd name="T39" fmla="*/ 104 h 414"/>
                  <a:gd name="T40" fmla="*/ 411 w 411"/>
                  <a:gd name="T41" fmla="*/ 92 h 414"/>
                  <a:gd name="T42" fmla="*/ 359 w 411"/>
                  <a:gd name="T43" fmla="*/ 43 h 414"/>
                  <a:gd name="T44" fmla="*/ 395 w 411"/>
                  <a:gd name="T45" fmla="*/ 7 h 414"/>
                  <a:gd name="T46" fmla="*/ 305 w 411"/>
                  <a:gd name="T4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1" h="414">
                    <a:moveTo>
                      <a:pt x="116" y="121"/>
                    </a:moveTo>
                    <a:lnTo>
                      <a:pt x="123" y="208"/>
                    </a:lnTo>
                    <a:lnTo>
                      <a:pt x="159" y="173"/>
                    </a:lnTo>
                    <a:lnTo>
                      <a:pt x="293" y="310"/>
                    </a:lnTo>
                    <a:lnTo>
                      <a:pt x="307" y="296"/>
                    </a:lnTo>
                    <a:lnTo>
                      <a:pt x="170" y="161"/>
                    </a:lnTo>
                    <a:lnTo>
                      <a:pt x="204" y="128"/>
                    </a:lnTo>
                    <a:lnTo>
                      <a:pt x="116" y="121"/>
                    </a:lnTo>
                    <a:close/>
                    <a:moveTo>
                      <a:pt x="7" y="397"/>
                    </a:moveTo>
                    <a:lnTo>
                      <a:pt x="41" y="362"/>
                    </a:lnTo>
                    <a:lnTo>
                      <a:pt x="93" y="414"/>
                    </a:lnTo>
                    <a:lnTo>
                      <a:pt x="104" y="402"/>
                    </a:lnTo>
                    <a:lnTo>
                      <a:pt x="52" y="350"/>
                    </a:lnTo>
                    <a:lnTo>
                      <a:pt x="88" y="317"/>
                    </a:lnTo>
                    <a:lnTo>
                      <a:pt x="0" y="310"/>
                    </a:lnTo>
                    <a:lnTo>
                      <a:pt x="7" y="397"/>
                    </a:lnTo>
                    <a:close/>
                    <a:moveTo>
                      <a:pt x="305" y="0"/>
                    </a:moveTo>
                    <a:lnTo>
                      <a:pt x="315" y="90"/>
                    </a:lnTo>
                    <a:lnTo>
                      <a:pt x="348" y="55"/>
                    </a:lnTo>
                    <a:lnTo>
                      <a:pt x="397" y="104"/>
                    </a:lnTo>
                    <a:lnTo>
                      <a:pt x="411" y="92"/>
                    </a:lnTo>
                    <a:lnTo>
                      <a:pt x="359" y="43"/>
                    </a:lnTo>
                    <a:lnTo>
                      <a:pt x="395" y="7"/>
                    </a:lnTo>
                    <a:lnTo>
                      <a:pt x="305" y="0"/>
                    </a:ln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p>
            </p:txBody>
          </p:sp>
        </p:grpSp>
      </p:grpSp>
      <p:sp>
        <p:nvSpPr>
          <p:cNvPr id="4" name="Rectangle 3"/>
          <p:cNvSpPr/>
          <p:nvPr/>
        </p:nvSpPr>
        <p:spPr bwMode="auto">
          <a:xfrm>
            <a:off x="0" y="2110740"/>
            <a:ext cx="585216" cy="488378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27258FFF-F925-446B-8502-81C933981705}" type="slidenum">
              <a:rPr lang="en-US" smtClean="0"/>
              <a:pPr/>
              <a:t>20</a:t>
            </a:fld>
            <a:endParaRPr lang="en-US" dirty="0"/>
          </a:p>
        </p:txBody>
      </p:sp>
      <p:grpSp>
        <p:nvGrpSpPr>
          <p:cNvPr id="9" name="Group 8"/>
          <p:cNvGrpSpPr/>
          <p:nvPr/>
        </p:nvGrpSpPr>
        <p:grpSpPr>
          <a:xfrm>
            <a:off x="579438" y="2227729"/>
            <a:ext cx="6757320" cy="4231792"/>
            <a:chOff x="579438" y="2227729"/>
            <a:chExt cx="5173248" cy="4231792"/>
          </a:xfrm>
        </p:grpSpPr>
        <p:grpSp>
          <p:nvGrpSpPr>
            <p:cNvPr id="3" name="Group 2"/>
            <p:cNvGrpSpPr/>
            <p:nvPr/>
          </p:nvGrpSpPr>
          <p:grpSpPr>
            <a:xfrm>
              <a:off x="579438" y="2227729"/>
              <a:ext cx="2538985" cy="1213970"/>
              <a:chOff x="585215" y="2110740"/>
              <a:chExt cx="1691260" cy="1072812"/>
            </a:xfrm>
          </p:grpSpPr>
          <p:sp>
            <p:nvSpPr>
              <p:cNvPr id="15" name="Rectangle 14"/>
              <p:cNvSpPr/>
              <p:nvPr/>
            </p:nvSpPr>
            <p:spPr>
              <a:xfrm flipH="1">
                <a:off x="585215" y="2110740"/>
                <a:ext cx="1691260" cy="4113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spcBef>
                    <a:spcPts val="600"/>
                  </a:spcBef>
                  <a:spcAft>
                    <a:spcPts val="1200"/>
                  </a:spcAft>
                </a:pPr>
                <a:r>
                  <a:rPr lang="en-IN" sz="1600" dirty="0">
                    <a:solidFill>
                      <a:schemeClr val="bg1"/>
                    </a:solidFill>
                    <a:latin typeface="Segoe UI Semibold" panose="020B0702040204020203" pitchFamily="34" charset="0"/>
                    <a:cs typeface="Segoe UI Semibold" panose="020B0702040204020203" pitchFamily="34" charset="0"/>
                  </a:rPr>
                  <a:t>Data </a:t>
                </a:r>
                <a:r>
                  <a:rPr lang="en-IN" sz="1600" dirty="0" smtClean="0">
                    <a:solidFill>
                      <a:schemeClr val="bg1"/>
                    </a:solidFill>
                    <a:latin typeface="Segoe UI Semibold" panose="020B0702040204020203" pitchFamily="34" charset="0"/>
                    <a:cs typeface="Segoe UI Semibold" panose="020B0702040204020203" pitchFamily="34" charset="0"/>
                  </a:rPr>
                  <a:t>isolation</a:t>
                </a:r>
                <a:endParaRPr lang="en-IN" sz="1600" dirty="0">
                  <a:solidFill>
                    <a:schemeClr val="bg1"/>
                  </a:solidFill>
                  <a:latin typeface="Segoe UI Semibold" panose="020B0702040204020203" pitchFamily="34" charset="0"/>
                  <a:cs typeface="Segoe UI Semibold" panose="020B0702040204020203" pitchFamily="34" charset="0"/>
                </a:endParaRPr>
              </a:p>
            </p:txBody>
          </p:sp>
          <p:sp>
            <p:nvSpPr>
              <p:cNvPr id="22" name="Rectangle 21"/>
              <p:cNvSpPr/>
              <p:nvPr/>
            </p:nvSpPr>
            <p:spPr>
              <a:xfrm flipH="1">
                <a:off x="585216" y="2508722"/>
                <a:ext cx="1691258" cy="6748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spcBef>
                    <a:spcPts val="400"/>
                  </a:spcBef>
                </a:pPr>
                <a:r>
                  <a:rPr lang="en-IN" sz="1200" dirty="0">
                    <a:solidFill>
                      <a:schemeClr val="tx2"/>
                    </a:solidFill>
                  </a:rPr>
                  <a:t>Logical isolation segregates each customer’s data from that of </a:t>
                </a:r>
                <a:r>
                  <a:rPr lang="en-IN" sz="1200" dirty="0" smtClean="0">
                    <a:solidFill>
                      <a:schemeClr val="tx2"/>
                    </a:solidFill>
                  </a:rPr>
                  <a:t>others is enabled by default.</a:t>
                </a:r>
                <a:endParaRPr lang="en-IN" sz="1200" dirty="0">
                  <a:solidFill>
                    <a:schemeClr val="tx2"/>
                  </a:solidFill>
                </a:endParaRPr>
              </a:p>
            </p:txBody>
          </p:sp>
          <p:sp>
            <p:nvSpPr>
              <p:cNvPr id="59" name="Rectangle 58"/>
              <p:cNvSpPr/>
              <p:nvPr/>
            </p:nvSpPr>
            <p:spPr>
              <a:xfrm flipH="1">
                <a:off x="585215" y="2476812"/>
                <a:ext cx="1691260" cy="59366"/>
              </a:xfrm>
              <a:prstGeom prst="rect">
                <a:avLst/>
              </a:prstGeom>
              <a:solidFill>
                <a:schemeClr val="bg1">
                  <a:alpha val="30000"/>
                </a:schemeClr>
              </a:solidFill>
            </p:spPr>
            <p:txBody>
              <a:bodyPr wrap="square" lIns="91440" tIns="45720" rIns="91440" bIns="45720" rtlCol="0" anchor="ctr">
                <a:noAutofit/>
              </a:bodyPr>
              <a:lstStyle/>
              <a:p>
                <a:pPr fontAlgn="base"/>
                <a:endParaRPr lang="en-IN" sz="1600" dirty="0">
                  <a:solidFill>
                    <a:srgbClr val="FFFFFF"/>
                  </a:solidFill>
                  <a:latin typeface="Segoe UI Semibold" panose="020B0702040204020203" pitchFamily="34" charset="0"/>
                  <a:cs typeface="Segoe UI Semibold" panose="020B0702040204020203" pitchFamily="34" charset="0"/>
                </a:endParaRPr>
              </a:p>
            </p:txBody>
          </p:sp>
        </p:grpSp>
        <p:grpSp>
          <p:nvGrpSpPr>
            <p:cNvPr id="66" name="Group 65"/>
            <p:cNvGrpSpPr/>
            <p:nvPr/>
          </p:nvGrpSpPr>
          <p:grpSpPr>
            <a:xfrm>
              <a:off x="579438" y="3501783"/>
              <a:ext cx="2538985" cy="1534440"/>
              <a:chOff x="585215" y="2110740"/>
              <a:chExt cx="1691260" cy="1309126"/>
            </a:xfrm>
          </p:grpSpPr>
          <p:sp>
            <p:nvSpPr>
              <p:cNvPr id="67" name="Rectangle 66"/>
              <p:cNvSpPr/>
              <p:nvPr/>
            </p:nvSpPr>
            <p:spPr>
              <a:xfrm flipH="1">
                <a:off x="585215" y="2110740"/>
                <a:ext cx="1691260" cy="4113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spcBef>
                    <a:spcPts val="600"/>
                  </a:spcBef>
                  <a:spcAft>
                    <a:spcPts val="1200"/>
                  </a:spcAft>
                </a:pPr>
                <a:r>
                  <a:rPr lang="en-IN" sz="1600" dirty="0">
                    <a:solidFill>
                      <a:schemeClr val="bg1"/>
                    </a:solidFill>
                    <a:latin typeface="Segoe UI Semibold" panose="020B0702040204020203" pitchFamily="34" charset="0"/>
                    <a:cs typeface="Segoe UI Semibold" panose="020B0702040204020203" pitchFamily="34" charset="0"/>
                  </a:rPr>
                  <a:t>In-transit data protection</a:t>
                </a:r>
              </a:p>
            </p:txBody>
          </p:sp>
          <p:sp>
            <p:nvSpPr>
              <p:cNvPr id="68" name="Rectangle 67"/>
              <p:cNvSpPr/>
              <p:nvPr/>
            </p:nvSpPr>
            <p:spPr>
              <a:xfrm flipH="1">
                <a:off x="585216" y="2508722"/>
                <a:ext cx="1691258" cy="9111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spcBef>
                    <a:spcPts val="400"/>
                  </a:spcBef>
                </a:pPr>
                <a:r>
                  <a:rPr lang="en-GB" sz="1200" dirty="0">
                    <a:solidFill>
                      <a:schemeClr val="tx2"/>
                    </a:solidFill>
                  </a:rPr>
                  <a:t>Industry-standard protocols encrypt data in transit to/from outside components, as well as data in transit internally by default.</a:t>
                </a:r>
              </a:p>
            </p:txBody>
          </p:sp>
          <p:sp>
            <p:nvSpPr>
              <p:cNvPr id="69" name="Rectangle 68"/>
              <p:cNvSpPr/>
              <p:nvPr/>
            </p:nvSpPr>
            <p:spPr>
              <a:xfrm flipH="1">
                <a:off x="585215" y="2476812"/>
                <a:ext cx="1691260" cy="59366"/>
              </a:xfrm>
              <a:prstGeom prst="rect">
                <a:avLst/>
              </a:prstGeom>
              <a:solidFill>
                <a:schemeClr val="bg1">
                  <a:alpha val="30000"/>
                </a:schemeClr>
              </a:solidFill>
            </p:spPr>
            <p:txBody>
              <a:bodyPr wrap="square" lIns="91440" tIns="45720" rIns="91440" bIns="45720" rtlCol="0" anchor="ctr">
                <a:noAutofit/>
              </a:bodyPr>
              <a:lstStyle/>
              <a:p>
                <a:pPr fontAlgn="base"/>
                <a:endParaRPr lang="en-IN" sz="1600" dirty="0">
                  <a:solidFill>
                    <a:srgbClr val="FFFFFF"/>
                  </a:solidFill>
                  <a:latin typeface="Segoe UI Semibold" panose="020B0702040204020203" pitchFamily="34" charset="0"/>
                  <a:cs typeface="Segoe UI Semibold" panose="020B0702040204020203" pitchFamily="34" charset="0"/>
                </a:endParaRPr>
              </a:p>
            </p:txBody>
          </p:sp>
        </p:grpSp>
        <p:grpSp>
          <p:nvGrpSpPr>
            <p:cNvPr id="70" name="Group 69"/>
            <p:cNvGrpSpPr/>
            <p:nvPr/>
          </p:nvGrpSpPr>
          <p:grpSpPr>
            <a:xfrm>
              <a:off x="579438" y="5087921"/>
              <a:ext cx="2538985" cy="1371600"/>
              <a:chOff x="585215" y="2110740"/>
              <a:chExt cx="1691260" cy="1170197"/>
            </a:xfrm>
          </p:grpSpPr>
          <p:sp>
            <p:nvSpPr>
              <p:cNvPr id="71" name="Rectangle 70"/>
              <p:cNvSpPr/>
              <p:nvPr/>
            </p:nvSpPr>
            <p:spPr>
              <a:xfrm flipH="1">
                <a:off x="585215" y="2110740"/>
                <a:ext cx="1691260" cy="4113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spcBef>
                    <a:spcPts val="600"/>
                  </a:spcBef>
                  <a:spcAft>
                    <a:spcPts val="1200"/>
                  </a:spcAft>
                </a:pPr>
                <a:r>
                  <a:rPr lang="en-IN" sz="1600" dirty="0">
                    <a:solidFill>
                      <a:schemeClr val="bg1"/>
                    </a:solidFill>
                    <a:latin typeface="Segoe UI Semibold" panose="020B0702040204020203" pitchFamily="34" charset="0"/>
                    <a:cs typeface="Segoe UI Semibold" panose="020B0702040204020203" pitchFamily="34" charset="0"/>
                  </a:rPr>
                  <a:t>Data redundancy</a:t>
                </a:r>
              </a:p>
            </p:txBody>
          </p:sp>
          <p:sp>
            <p:nvSpPr>
              <p:cNvPr id="72" name="Rectangle 71"/>
              <p:cNvSpPr/>
              <p:nvPr/>
            </p:nvSpPr>
            <p:spPr>
              <a:xfrm flipH="1">
                <a:off x="585216" y="2508722"/>
                <a:ext cx="1691258" cy="77221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spcBef>
                    <a:spcPts val="400"/>
                  </a:spcBef>
                </a:pPr>
                <a:r>
                  <a:rPr lang="en-US" sz="1200" dirty="0">
                    <a:solidFill>
                      <a:schemeClr val="tx2"/>
                    </a:solidFill>
                  </a:rPr>
                  <a:t>Customers have multiple options for replicating data, including number of copies and number and location of replication data centers. </a:t>
                </a:r>
                <a:endParaRPr lang="en-IN" sz="1200" dirty="0">
                  <a:solidFill>
                    <a:schemeClr val="tx2"/>
                  </a:solidFill>
                </a:endParaRPr>
              </a:p>
            </p:txBody>
          </p:sp>
          <p:sp>
            <p:nvSpPr>
              <p:cNvPr id="73" name="Rectangle 72"/>
              <p:cNvSpPr/>
              <p:nvPr/>
            </p:nvSpPr>
            <p:spPr>
              <a:xfrm flipH="1">
                <a:off x="585215" y="2476812"/>
                <a:ext cx="1691260" cy="59366"/>
              </a:xfrm>
              <a:prstGeom prst="rect">
                <a:avLst/>
              </a:prstGeom>
              <a:solidFill>
                <a:schemeClr val="bg1">
                  <a:alpha val="30000"/>
                </a:schemeClr>
              </a:solidFill>
            </p:spPr>
            <p:txBody>
              <a:bodyPr wrap="square" lIns="91440" tIns="45720" rIns="91440" bIns="45720" rtlCol="0" anchor="ctr">
                <a:noAutofit/>
              </a:bodyPr>
              <a:lstStyle/>
              <a:p>
                <a:pPr fontAlgn="base"/>
                <a:endParaRPr lang="en-IN" sz="1600" dirty="0">
                  <a:solidFill>
                    <a:srgbClr val="FFFFFF"/>
                  </a:solidFill>
                  <a:latin typeface="Segoe UI Semibold" panose="020B0702040204020203" pitchFamily="34" charset="0"/>
                  <a:cs typeface="Segoe UI Semibold" panose="020B0702040204020203" pitchFamily="34" charset="0"/>
                </a:endParaRPr>
              </a:p>
            </p:txBody>
          </p:sp>
        </p:grpSp>
        <p:grpSp>
          <p:nvGrpSpPr>
            <p:cNvPr id="74" name="Group 73"/>
            <p:cNvGrpSpPr/>
            <p:nvPr/>
          </p:nvGrpSpPr>
          <p:grpSpPr>
            <a:xfrm>
              <a:off x="3213701" y="2227730"/>
              <a:ext cx="2538985" cy="1213969"/>
              <a:chOff x="585215" y="2110740"/>
              <a:chExt cx="1691260" cy="1072811"/>
            </a:xfrm>
          </p:grpSpPr>
          <p:sp>
            <p:nvSpPr>
              <p:cNvPr id="75" name="Rectangle 74"/>
              <p:cNvSpPr/>
              <p:nvPr/>
            </p:nvSpPr>
            <p:spPr>
              <a:xfrm flipH="1">
                <a:off x="585215" y="2110740"/>
                <a:ext cx="1691260" cy="4113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spcBef>
                    <a:spcPts val="600"/>
                  </a:spcBef>
                  <a:spcAft>
                    <a:spcPts val="1200"/>
                  </a:spcAft>
                </a:pPr>
                <a:r>
                  <a:rPr lang="en-IN" sz="1600" dirty="0">
                    <a:solidFill>
                      <a:schemeClr val="bg1"/>
                    </a:solidFill>
                    <a:latin typeface="Segoe UI Semibold" panose="020B0702040204020203" pitchFamily="34" charset="0"/>
                    <a:cs typeface="Segoe UI Semibold" panose="020B0702040204020203" pitchFamily="34" charset="0"/>
                  </a:rPr>
                  <a:t>At-rest data protection</a:t>
                </a:r>
              </a:p>
            </p:txBody>
          </p:sp>
          <p:sp>
            <p:nvSpPr>
              <p:cNvPr id="76" name="Rectangle 75"/>
              <p:cNvSpPr/>
              <p:nvPr/>
            </p:nvSpPr>
            <p:spPr>
              <a:xfrm flipH="1">
                <a:off x="585216" y="2508722"/>
                <a:ext cx="1691258" cy="6748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spcBef>
                    <a:spcPts val="400"/>
                  </a:spcBef>
                </a:pPr>
                <a:r>
                  <a:rPr lang="en-GB" sz="1200" dirty="0">
                    <a:solidFill>
                      <a:schemeClr val="tx2"/>
                    </a:solidFill>
                  </a:rPr>
                  <a:t>Customers can implement a range of encryption options for virtual machines and storage.</a:t>
                </a:r>
              </a:p>
            </p:txBody>
          </p:sp>
          <p:sp>
            <p:nvSpPr>
              <p:cNvPr id="77" name="Rectangle 76"/>
              <p:cNvSpPr/>
              <p:nvPr/>
            </p:nvSpPr>
            <p:spPr>
              <a:xfrm flipH="1">
                <a:off x="585215" y="2476812"/>
                <a:ext cx="1691260" cy="59366"/>
              </a:xfrm>
              <a:prstGeom prst="rect">
                <a:avLst/>
              </a:prstGeom>
              <a:solidFill>
                <a:schemeClr val="bg1">
                  <a:alpha val="30000"/>
                </a:schemeClr>
              </a:solidFill>
            </p:spPr>
            <p:txBody>
              <a:bodyPr wrap="square" lIns="91440" tIns="45720" rIns="91440" bIns="45720" rtlCol="0" anchor="ctr">
                <a:noAutofit/>
              </a:bodyPr>
              <a:lstStyle/>
              <a:p>
                <a:pPr fontAlgn="base"/>
                <a:endParaRPr lang="en-IN" sz="1600" dirty="0">
                  <a:solidFill>
                    <a:srgbClr val="FFFFFF"/>
                  </a:solidFill>
                  <a:latin typeface="Segoe UI Semibold" panose="020B0702040204020203" pitchFamily="34" charset="0"/>
                  <a:cs typeface="Segoe UI Semibold" panose="020B0702040204020203" pitchFamily="34" charset="0"/>
                </a:endParaRPr>
              </a:p>
            </p:txBody>
          </p:sp>
        </p:grpSp>
        <p:grpSp>
          <p:nvGrpSpPr>
            <p:cNvPr id="78" name="Group 77"/>
            <p:cNvGrpSpPr/>
            <p:nvPr/>
          </p:nvGrpSpPr>
          <p:grpSpPr>
            <a:xfrm>
              <a:off x="3213701" y="3501783"/>
              <a:ext cx="2538985" cy="1569648"/>
              <a:chOff x="585215" y="2110740"/>
              <a:chExt cx="1691260" cy="1339164"/>
            </a:xfrm>
          </p:grpSpPr>
          <p:sp>
            <p:nvSpPr>
              <p:cNvPr id="79" name="Rectangle 78"/>
              <p:cNvSpPr/>
              <p:nvPr/>
            </p:nvSpPr>
            <p:spPr>
              <a:xfrm flipH="1">
                <a:off x="585215" y="2110740"/>
                <a:ext cx="1691260" cy="4113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spcBef>
                    <a:spcPts val="600"/>
                  </a:spcBef>
                  <a:spcAft>
                    <a:spcPts val="1200"/>
                  </a:spcAft>
                </a:pPr>
                <a:r>
                  <a:rPr lang="en-IN" sz="1600" dirty="0">
                    <a:solidFill>
                      <a:schemeClr val="bg1"/>
                    </a:solidFill>
                    <a:latin typeface="Segoe UI Semibold" panose="020B0702040204020203" pitchFamily="34" charset="0"/>
                    <a:cs typeface="Segoe UI Semibold" panose="020B0702040204020203" pitchFamily="34" charset="0"/>
                  </a:rPr>
                  <a:t>Encryption</a:t>
                </a:r>
              </a:p>
            </p:txBody>
          </p:sp>
          <p:sp>
            <p:nvSpPr>
              <p:cNvPr id="80" name="Rectangle 79"/>
              <p:cNvSpPr/>
              <p:nvPr/>
            </p:nvSpPr>
            <p:spPr>
              <a:xfrm flipH="1">
                <a:off x="585216" y="2508722"/>
                <a:ext cx="1691258" cy="9411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spcBef>
                    <a:spcPts val="400"/>
                  </a:spcBef>
                </a:pPr>
                <a:r>
                  <a:rPr lang="en-GB" sz="1200" dirty="0">
                    <a:solidFill>
                      <a:schemeClr val="tx2"/>
                    </a:solidFill>
                  </a:rPr>
                  <a:t>Data encryption in storage or in transit can be deployed by the customer to align with best practices for ensuring confidentiality and integrity of data. </a:t>
                </a:r>
              </a:p>
            </p:txBody>
          </p:sp>
          <p:sp>
            <p:nvSpPr>
              <p:cNvPr id="81" name="Rectangle 80"/>
              <p:cNvSpPr/>
              <p:nvPr/>
            </p:nvSpPr>
            <p:spPr>
              <a:xfrm flipH="1">
                <a:off x="585215" y="2476812"/>
                <a:ext cx="1691260" cy="59366"/>
              </a:xfrm>
              <a:prstGeom prst="rect">
                <a:avLst/>
              </a:prstGeom>
              <a:solidFill>
                <a:schemeClr val="bg1">
                  <a:alpha val="30000"/>
                </a:schemeClr>
              </a:solidFill>
            </p:spPr>
            <p:txBody>
              <a:bodyPr wrap="square" lIns="91440" tIns="45720" rIns="91440" bIns="45720" rtlCol="0" anchor="ctr">
                <a:noAutofit/>
              </a:bodyPr>
              <a:lstStyle/>
              <a:p>
                <a:pPr fontAlgn="base"/>
                <a:endParaRPr lang="en-IN" sz="1600" dirty="0">
                  <a:solidFill>
                    <a:srgbClr val="FFFFFF"/>
                  </a:solidFill>
                  <a:latin typeface="Segoe UI Semibold" panose="020B0702040204020203" pitchFamily="34" charset="0"/>
                  <a:cs typeface="Segoe UI Semibold" panose="020B0702040204020203" pitchFamily="34" charset="0"/>
                </a:endParaRPr>
              </a:p>
            </p:txBody>
          </p:sp>
        </p:grpSp>
        <p:grpSp>
          <p:nvGrpSpPr>
            <p:cNvPr id="82" name="Group 81"/>
            <p:cNvGrpSpPr/>
            <p:nvPr/>
          </p:nvGrpSpPr>
          <p:grpSpPr>
            <a:xfrm>
              <a:off x="3213701" y="5087921"/>
              <a:ext cx="2538985" cy="1371600"/>
              <a:chOff x="585215" y="2110740"/>
              <a:chExt cx="1691260" cy="1170197"/>
            </a:xfrm>
          </p:grpSpPr>
          <p:sp>
            <p:nvSpPr>
              <p:cNvPr id="83" name="Rectangle 82"/>
              <p:cNvSpPr/>
              <p:nvPr/>
            </p:nvSpPr>
            <p:spPr>
              <a:xfrm flipH="1">
                <a:off x="585215" y="2110740"/>
                <a:ext cx="1691260" cy="4113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spcBef>
                    <a:spcPts val="400"/>
                  </a:spcBef>
                </a:pPr>
                <a:r>
                  <a:rPr lang="en-IN" sz="1600" dirty="0">
                    <a:solidFill>
                      <a:schemeClr val="bg1"/>
                    </a:solidFill>
                    <a:latin typeface="Segoe UI Semibold" panose="020B0702040204020203" pitchFamily="34" charset="0"/>
                    <a:cs typeface="Segoe UI Semibold" panose="020B0702040204020203" pitchFamily="34" charset="0"/>
                  </a:rPr>
                  <a:t>Data destruction</a:t>
                </a:r>
              </a:p>
            </p:txBody>
          </p:sp>
          <p:sp>
            <p:nvSpPr>
              <p:cNvPr id="84" name="Rectangle 83"/>
              <p:cNvSpPr/>
              <p:nvPr/>
            </p:nvSpPr>
            <p:spPr>
              <a:xfrm flipH="1">
                <a:off x="585216" y="2508722"/>
                <a:ext cx="1691258" cy="77221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spcBef>
                    <a:spcPts val="400"/>
                  </a:spcBef>
                </a:pPr>
                <a:r>
                  <a:rPr lang="en-GB" sz="1200" dirty="0">
                    <a:solidFill>
                      <a:schemeClr val="tx2"/>
                    </a:solidFill>
                  </a:rPr>
                  <a:t>Strict standards for overwriting storage resources before reuse and the physical destruction of decommissioned hardware are by default.</a:t>
                </a:r>
              </a:p>
            </p:txBody>
          </p:sp>
          <p:sp>
            <p:nvSpPr>
              <p:cNvPr id="85" name="Rectangle 84"/>
              <p:cNvSpPr/>
              <p:nvPr/>
            </p:nvSpPr>
            <p:spPr>
              <a:xfrm flipH="1">
                <a:off x="585215" y="2476812"/>
                <a:ext cx="1691260" cy="59366"/>
              </a:xfrm>
              <a:prstGeom prst="rect">
                <a:avLst/>
              </a:prstGeom>
              <a:solidFill>
                <a:schemeClr val="bg1">
                  <a:alpha val="30000"/>
                </a:schemeClr>
              </a:solidFill>
            </p:spPr>
            <p:txBody>
              <a:bodyPr wrap="square" lIns="91440" tIns="45720" rIns="91440" bIns="45720" rtlCol="0" anchor="ctr">
                <a:noAutofit/>
              </a:bodyPr>
              <a:lstStyle/>
              <a:p>
                <a:pPr fontAlgn="base"/>
                <a:endParaRPr lang="en-IN" sz="1600" dirty="0">
                  <a:solidFill>
                    <a:srgbClr val="FFFFFF"/>
                  </a:solidFill>
                  <a:latin typeface="Segoe UI Semibold" panose="020B0702040204020203" pitchFamily="34" charset="0"/>
                  <a:cs typeface="Segoe UI Semibold" panose="020B0702040204020203" pitchFamily="34" charset="0"/>
                </a:endParaRPr>
              </a:p>
            </p:txBody>
          </p:sp>
        </p:grpSp>
      </p:grpSp>
      <p:grpSp>
        <p:nvGrpSpPr>
          <p:cNvPr id="60" name="Group 59"/>
          <p:cNvGrpSpPr/>
          <p:nvPr/>
        </p:nvGrpSpPr>
        <p:grpSpPr>
          <a:xfrm>
            <a:off x="11070579" y="297389"/>
            <a:ext cx="932340" cy="913874"/>
            <a:chOff x="11070579" y="297389"/>
            <a:chExt cx="932340" cy="913874"/>
          </a:xfrm>
        </p:grpSpPr>
        <p:sp>
          <p:nvSpPr>
            <p:cNvPr id="61" name="Rectangle 60"/>
            <p:cNvSpPr/>
            <p:nvPr/>
          </p:nvSpPr>
          <p:spPr bwMode="auto">
            <a:xfrm>
              <a:off x="11070579" y="297389"/>
              <a:ext cx="932340" cy="913874"/>
            </a:xfrm>
            <a:prstGeom prst="rect">
              <a:avLst/>
            </a:prstGeom>
            <a:solidFill>
              <a:schemeClr val="accent2"/>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p>
              <a:pPr algn="l" defTabSz="932563" fontAlgn="auto">
                <a:spcAft>
                  <a:spcPts val="587"/>
                </a:spcAft>
              </a:pPr>
              <a:endParaRPr lang="en-US" sz="2200" dirty="0">
                <a:solidFill>
                  <a:schemeClr val="bg1"/>
                </a:solidFill>
                <a:latin typeface="+mj-lt"/>
                <a:cs typeface="Segoe UI Semibold" panose="020B0702040204020203" pitchFamily="34" charset="0"/>
              </a:endParaRPr>
            </a:p>
          </p:txBody>
        </p:sp>
        <p:sp>
          <p:nvSpPr>
            <p:cNvPr id="62" name="Rectangle 61"/>
            <p:cNvSpPr/>
            <p:nvPr/>
          </p:nvSpPr>
          <p:spPr>
            <a:xfrm>
              <a:off x="11070579" y="1137623"/>
              <a:ext cx="932340" cy="73640"/>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sp>
          <p:nvSpPr>
            <p:cNvPr id="63" name="Freeform 62"/>
            <p:cNvSpPr>
              <a:spLocks noEditPoints="1"/>
            </p:cNvSpPr>
            <p:nvPr/>
          </p:nvSpPr>
          <p:spPr bwMode="black">
            <a:xfrm>
              <a:off x="11329732" y="467317"/>
              <a:ext cx="414034" cy="574018"/>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alpha val="22000"/>
              </a:schemeClr>
            </a:solidFill>
            <a:ln w="0">
              <a:noFill/>
              <a:prstDash val="solid"/>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grpSp>
    </p:spTree>
    <p:extLst>
      <p:ext uri="{BB962C8B-B14F-4D97-AF65-F5344CB8AC3E}">
        <p14:creationId xmlns:p14="http://schemas.microsoft.com/office/powerpoint/2010/main" val="224178166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8"/>
                                        </p:tgtEl>
                                        <p:attrNameLst>
                                          <p:attrName>style.visibility</p:attrName>
                                        </p:attrNameLst>
                                      </p:cBhvr>
                                      <p:to>
                                        <p:strVal val="visible"/>
                                      </p:to>
                                    </p:set>
                                    <p:animEffect transition="in" filter="fade">
                                      <p:cBhvr>
                                        <p:cTn id="15"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3234"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IN" dirty="0" smtClean="0"/>
              <a:t>Azure Transparency</a:t>
            </a:r>
            <a:endParaRPr lang="en-IN" dirty="0"/>
          </a:p>
        </p:txBody>
      </p:sp>
      <p:grpSp>
        <p:nvGrpSpPr>
          <p:cNvPr id="6" name="Group 5"/>
          <p:cNvGrpSpPr/>
          <p:nvPr/>
        </p:nvGrpSpPr>
        <p:grpSpPr>
          <a:xfrm>
            <a:off x="11070579" y="297389"/>
            <a:ext cx="932340" cy="913874"/>
            <a:chOff x="11070579" y="297389"/>
            <a:chExt cx="932340" cy="913874"/>
          </a:xfrm>
        </p:grpSpPr>
        <p:sp>
          <p:nvSpPr>
            <p:cNvPr id="17" name="Rectangle 16"/>
            <p:cNvSpPr/>
            <p:nvPr/>
          </p:nvSpPr>
          <p:spPr bwMode="auto">
            <a:xfrm>
              <a:off x="11070579" y="297389"/>
              <a:ext cx="932340" cy="913874"/>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p>
              <a:pPr algn="l" defTabSz="932563" fontAlgn="auto">
                <a:spcAft>
                  <a:spcPts val="587"/>
                </a:spcAft>
              </a:pPr>
              <a:endParaRPr lang="en-US" sz="2200" dirty="0">
                <a:solidFill>
                  <a:schemeClr val="bg1"/>
                </a:solidFill>
                <a:latin typeface="+mj-lt"/>
                <a:cs typeface="Segoe UI Semibold" panose="020B0702040204020203" pitchFamily="34" charset="0"/>
              </a:endParaRPr>
            </a:p>
          </p:txBody>
        </p:sp>
        <p:sp>
          <p:nvSpPr>
            <p:cNvPr id="18" name="Rectangle 17"/>
            <p:cNvSpPr/>
            <p:nvPr/>
          </p:nvSpPr>
          <p:spPr>
            <a:xfrm>
              <a:off x="11070579" y="1137623"/>
              <a:ext cx="932340" cy="73640"/>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grpSp>
          <p:nvGrpSpPr>
            <p:cNvPr id="19" name="Group 18"/>
            <p:cNvGrpSpPr/>
            <p:nvPr/>
          </p:nvGrpSpPr>
          <p:grpSpPr>
            <a:xfrm>
              <a:off x="11241857" y="470429"/>
              <a:ext cx="589786" cy="567796"/>
              <a:chOff x="11677282" y="2098248"/>
              <a:chExt cx="398821" cy="383953"/>
            </a:xfrm>
          </p:grpSpPr>
          <p:sp>
            <p:nvSpPr>
              <p:cNvPr id="20" name="Rounded Rectangle 10"/>
              <p:cNvSpPr/>
              <p:nvPr/>
            </p:nvSpPr>
            <p:spPr bwMode="auto">
              <a:xfrm>
                <a:off x="11824146" y="2098248"/>
                <a:ext cx="251957" cy="286218"/>
              </a:xfrm>
              <a:custGeom>
                <a:avLst/>
                <a:gdLst/>
                <a:ahLst/>
                <a:cxnLst/>
                <a:rect l="l" t="t" r="r" b="b"/>
                <a:pathLst>
                  <a:path w="457200" h="457200">
                    <a:moveTo>
                      <a:pt x="76202" y="0"/>
                    </a:moveTo>
                    <a:lnTo>
                      <a:pt x="380998" y="0"/>
                    </a:lnTo>
                    <a:cubicBezTo>
                      <a:pt x="423083" y="0"/>
                      <a:pt x="457200" y="34117"/>
                      <a:pt x="457200" y="76202"/>
                    </a:cubicBezTo>
                    <a:lnTo>
                      <a:pt x="457200" y="380998"/>
                    </a:lnTo>
                    <a:cubicBezTo>
                      <a:pt x="457200" y="423083"/>
                      <a:pt x="423083" y="457200"/>
                      <a:pt x="380998" y="457200"/>
                    </a:cubicBezTo>
                    <a:lnTo>
                      <a:pt x="190701" y="457200"/>
                    </a:lnTo>
                    <a:lnTo>
                      <a:pt x="190701" y="232559"/>
                    </a:lnTo>
                    <a:cubicBezTo>
                      <a:pt x="190701" y="190474"/>
                      <a:pt x="156584" y="156357"/>
                      <a:pt x="114499" y="156357"/>
                    </a:cubicBezTo>
                    <a:lnTo>
                      <a:pt x="0" y="156357"/>
                    </a:lnTo>
                    <a:lnTo>
                      <a:pt x="0" y="76202"/>
                    </a:lnTo>
                    <a:cubicBezTo>
                      <a:pt x="0" y="34117"/>
                      <a:pt x="34117" y="0"/>
                      <a:pt x="76202" y="0"/>
                    </a:cubicBezTo>
                    <a:close/>
                  </a:path>
                </a:pathLst>
              </a:custGeom>
              <a:noFill/>
              <a:ln w="9525">
                <a:solidFill>
                  <a:schemeClr val="bg1">
                    <a:alpha val="23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Rounded Rectangle 11"/>
              <p:cNvSpPr/>
              <p:nvPr/>
            </p:nvSpPr>
            <p:spPr bwMode="auto">
              <a:xfrm>
                <a:off x="11677282" y="2195983"/>
                <a:ext cx="251957" cy="286218"/>
              </a:xfrm>
              <a:custGeom>
                <a:avLst/>
                <a:gdLst/>
                <a:ahLst/>
                <a:cxnLst/>
                <a:rect l="l" t="t" r="r" b="b"/>
                <a:pathLst>
                  <a:path w="457200" h="457200">
                    <a:moveTo>
                      <a:pt x="76202" y="0"/>
                    </a:moveTo>
                    <a:lnTo>
                      <a:pt x="266499" y="0"/>
                    </a:lnTo>
                    <a:lnTo>
                      <a:pt x="266499" y="224641"/>
                    </a:lnTo>
                    <a:cubicBezTo>
                      <a:pt x="266499" y="266726"/>
                      <a:pt x="300616" y="300843"/>
                      <a:pt x="342701" y="300843"/>
                    </a:cubicBezTo>
                    <a:lnTo>
                      <a:pt x="457200" y="300843"/>
                    </a:lnTo>
                    <a:lnTo>
                      <a:pt x="457200" y="380998"/>
                    </a:lnTo>
                    <a:cubicBezTo>
                      <a:pt x="457200" y="423083"/>
                      <a:pt x="423083" y="457200"/>
                      <a:pt x="380998" y="457200"/>
                    </a:cubicBezTo>
                    <a:lnTo>
                      <a:pt x="76202" y="457200"/>
                    </a:lnTo>
                    <a:cubicBezTo>
                      <a:pt x="34117" y="457200"/>
                      <a:pt x="0" y="423083"/>
                      <a:pt x="0" y="380998"/>
                    </a:cubicBezTo>
                    <a:lnTo>
                      <a:pt x="0" y="76202"/>
                    </a:lnTo>
                    <a:cubicBezTo>
                      <a:pt x="0" y="34117"/>
                      <a:pt x="34117" y="0"/>
                      <a:pt x="76202" y="0"/>
                    </a:cubicBezTo>
                    <a:close/>
                  </a:path>
                </a:pathLst>
              </a:custGeom>
              <a:noFill/>
              <a:ln w="9525">
                <a:solidFill>
                  <a:schemeClr val="bg1">
                    <a:alpha val="23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7" name="Group 6"/>
          <p:cNvGrpSpPr/>
          <p:nvPr/>
        </p:nvGrpSpPr>
        <p:grpSpPr>
          <a:xfrm>
            <a:off x="0" y="1430529"/>
            <a:ext cx="12436475" cy="4572001"/>
            <a:chOff x="0" y="1430529"/>
            <a:chExt cx="12436475" cy="4572001"/>
          </a:xfrm>
        </p:grpSpPr>
        <p:pic>
          <p:nvPicPr>
            <p:cNvPr id="23" name="Picture 2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1430529"/>
              <a:ext cx="6838122" cy="4558748"/>
            </a:xfrm>
            <a:prstGeom prst="rect">
              <a:avLst/>
            </a:prstGeom>
          </p:spPr>
        </p:pic>
        <p:grpSp>
          <p:nvGrpSpPr>
            <p:cNvPr id="4" name="Group 3"/>
            <p:cNvGrpSpPr/>
            <p:nvPr/>
          </p:nvGrpSpPr>
          <p:grpSpPr>
            <a:xfrm>
              <a:off x="2959264" y="1430529"/>
              <a:ext cx="9477211" cy="4572001"/>
              <a:chOff x="2959264" y="1430529"/>
              <a:chExt cx="9477211" cy="4572001"/>
            </a:xfrm>
          </p:grpSpPr>
          <p:sp>
            <p:nvSpPr>
              <p:cNvPr id="8" name="Rectangle 14"/>
              <p:cNvSpPr/>
              <p:nvPr/>
            </p:nvSpPr>
            <p:spPr>
              <a:xfrm>
                <a:off x="3213401" y="1430530"/>
                <a:ext cx="6049356" cy="4572000"/>
              </a:xfrm>
              <a:custGeom>
                <a:avLst/>
                <a:gdLst/>
                <a:ahLst/>
                <a:cxnLst/>
                <a:rect l="l" t="t" r="r" b="b"/>
                <a:pathLst>
                  <a:path w="5537559" h="5549541">
                    <a:moveTo>
                      <a:pt x="0" y="0"/>
                    </a:moveTo>
                    <a:lnTo>
                      <a:pt x="5537559" y="0"/>
                    </a:lnTo>
                    <a:lnTo>
                      <a:pt x="5537559" y="5549541"/>
                    </a:lnTo>
                    <a:lnTo>
                      <a:pt x="0" y="5549541"/>
                    </a:lnTo>
                    <a:cubicBezTo>
                      <a:pt x="415349" y="4831645"/>
                      <a:pt x="669836" y="3853086"/>
                      <a:pt x="669836" y="2774771"/>
                    </a:cubicBezTo>
                    <a:cubicBezTo>
                      <a:pt x="669836" y="1696455"/>
                      <a:pt x="415349" y="717896"/>
                      <a:pt x="0" y="0"/>
                    </a:cubicBezTo>
                    <a:close/>
                  </a:path>
                </a:pathLst>
              </a:custGeom>
              <a:solidFill>
                <a:schemeClr val="accent3"/>
              </a:solidFill>
            </p:spPr>
            <p:txBody>
              <a:bodyPr wrap="square" rtlCol="0" anchor="ctr">
                <a:noAutofit/>
              </a:bodyPr>
              <a:lstStyle/>
              <a:p>
                <a:pPr algn="l"/>
                <a:endParaRPr lang="en-US" sz="2000" dirty="0">
                  <a:solidFill>
                    <a:srgbClr val="FFFFFF"/>
                  </a:solidFill>
                  <a:cs typeface="Segoe UI Light"/>
                </a:endParaRPr>
              </a:p>
            </p:txBody>
          </p:sp>
          <p:sp>
            <p:nvSpPr>
              <p:cNvPr id="12" name="Rectangle 11"/>
              <p:cNvSpPr/>
              <p:nvPr/>
            </p:nvSpPr>
            <p:spPr>
              <a:xfrm>
                <a:off x="8942119" y="1430529"/>
                <a:ext cx="3494356" cy="4572001"/>
              </a:xfrm>
              <a:prstGeom prst="rect">
                <a:avLst/>
              </a:prstGeom>
              <a:solidFill>
                <a:schemeClr val="accent3"/>
              </a:solidFill>
            </p:spPr>
            <p:txBody>
              <a:bodyPr wrap="square" rtlCol="0" anchor="ctr">
                <a:noAutofit/>
              </a:bodyPr>
              <a:lstStyle/>
              <a:p>
                <a:pPr algn="l"/>
                <a:endParaRPr lang="en-US" sz="2000" dirty="0">
                  <a:solidFill>
                    <a:srgbClr val="FFFFFF"/>
                  </a:solidFill>
                  <a:cs typeface="Segoe UI Light"/>
                </a:endParaRPr>
              </a:p>
            </p:txBody>
          </p:sp>
          <p:sp>
            <p:nvSpPr>
              <p:cNvPr id="15" name="Rectangle 14"/>
              <p:cNvSpPr/>
              <p:nvPr/>
            </p:nvSpPr>
            <p:spPr>
              <a:xfrm>
                <a:off x="2959264" y="1430530"/>
                <a:ext cx="1055555" cy="4572000"/>
              </a:xfrm>
              <a:custGeom>
                <a:avLst/>
                <a:gdLst/>
                <a:ahLst/>
                <a:cxnLst/>
                <a:rect l="l" t="t" r="r" b="b"/>
                <a:pathLst>
                  <a:path w="1055555" h="5177917">
                    <a:moveTo>
                      <a:pt x="0" y="0"/>
                    </a:moveTo>
                    <a:lnTo>
                      <a:pt x="353208" y="0"/>
                    </a:lnTo>
                    <a:cubicBezTo>
                      <a:pt x="788716" y="669822"/>
                      <a:pt x="1055555" y="1582852"/>
                      <a:pt x="1055555" y="2588959"/>
                    </a:cubicBezTo>
                    <a:cubicBezTo>
                      <a:pt x="1055555" y="3595065"/>
                      <a:pt x="788716" y="4508095"/>
                      <a:pt x="353208" y="5177917"/>
                    </a:cubicBezTo>
                    <a:lnTo>
                      <a:pt x="0" y="5177917"/>
                    </a:lnTo>
                    <a:cubicBezTo>
                      <a:pt x="453737" y="4508095"/>
                      <a:pt x="731744" y="3595065"/>
                      <a:pt x="731744" y="2588959"/>
                    </a:cubicBezTo>
                    <a:cubicBezTo>
                      <a:pt x="731744" y="1582852"/>
                      <a:pt x="453737" y="669822"/>
                      <a:pt x="0" y="0"/>
                    </a:cubicBezTo>
                    <a:close/>
                  </a:path>
                </a:pathLst>
              </a:custGeom>
              <a:solidFill>
                <a:schemeClr val="bg1">
                  <a:alpha val="25000"/>
                </a:schemeClr>
              </a:solidFill>
            </p:spPr>
            <p:txBody>
              <a:bodyPr wrap="square" rtlCol="0" anchor="ctr">
                <a:noAutofit/>
              </a:bodyPr>
              <a:lstStyle/>
              <a:p>
                <a:pPr algn="l"/>
                <a:endParaRPr lang="en-US" sz="2000" dirty="0">
                  <a:solidFill>
                    <a:srgbClr val="FFFFFF"/>
                  </a:solidFill>
                  <a:cs typeface="Segoe UI Light"/>
                </a:endParaRPr>
              </a:p>
            </p:txBody>
          </p:sp>
        </p:grpSp>
        <p:sp>
          <p:nvSpPr>
            <p:cNvPr id="14" name="Rectangle 13"/>
            <p:cNvSpPr/>
            <p:nvPr/>
          </p:nvSpPr>
          <p:spPr>
            <a:xfrm>
              <a:off x="4058153" y="2593145"/>
              <a:ext cx="8103685" cy="2246769"/>
            </a:xfrm>
            <a:prstGeom prst="rect">
              <a:avLst/>
            </a:prstGeom>
          </p:spPr>
          <p:txBody>
            <a:bodyPr wrap="square" lIns="91440" tIns="45720" rIns="91440" bIns="45720">
              <a:spAutoFit/>
            </a:bodyPr>
            <a:lstStyle/>
            <a:p>
              <a:pPr>
                <a:spcAft>
                  <a:spcPts val="800"/>
                </a:spcAft>
              </a:pPr>
              <a:r>
                <a:rPr lang="en-IN" sz="2800" dirty="0">
                  <a:solidFill>
                    <a:schemeClr val="bg1"/>
                  </a:solidFill>
                  <a:latin typeface="+mj-lt"/>
                  <a:ea typeface="Segoe UI" panose="020B0502040204020203" pitchFamily="34" charset="0"/>
                  <a:cs typeface="Segoe UI" panose="020B0502040204020203" pitchFamily="34" charset="0"/>
                </a:rPr>
                <a:t>Azure helps enable customer control over Customer Data by providing transparency into where it is stored, who can access it, and how Microsoft helps secure it, with accessible tools and straightforward language.</a:t>
              </a:r>
            </a:p>
          </p:txBody>
        </p:sp>
      </p:grpSp>
      <p:sp>
        <p:nvSpPr>
          <p:cNvPr id="9" name="Slide Number Placeholder 8"/>
          <p:cNvSpPr>
            <a:spLocks noGrp="1"/>
          </p:cNvSpPr>
          <p:nvPr>
            <p:ph type="sldNum" sz="quarter" idx="11"/>
          </p:nvPr>
        </p:nvSpPr>
        <p:spPr/>
        <p:txBody>
          <a:bodyPr/>
          <a:lstStyle/>
          <a:p>
            <a:fld id="{27258FFF-F925-446B-8502-81C933981705}" type="slidenum">
              <a:rPr lang="en-US" smtClean="0"/>
              <a:pPr/>
              <a:t>21</a:t>
            </a:fld>
            <a:endParaRPr lang="en-US" dirty="0"/>
          </a:p>
        </p:txBody>
      </p:sp>
    </p:spTree>
    <p:extLst>
      <p:ext uri="{BB962C8B-B14F-4D97-AF65-F5344CB8AC3E}">
        <p14:creationId xmlns:p14="http://schemas.microsoft.com/office/powerpoint/2010/main" val="170033526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0-#ppt_w/2"/>
                                          </p:val>
                                        </p:tav>
                                        <p:tav tm="100000">
                                          <p:val>
                                            <p:strVal val="#ppt_x"/>
                                          </p:val>
                                        </p:tav>
                                      </p:tavLst>
                                    </p:anim>
                                    <p:anim calcmode="lin" valueType="num">
                                      <p:cBhvr additive="base">
                                        <p:cTn id="8"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476"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IN" dirty="0" smtClean="0"/>
              <a:t>Data storage and use</a:t>
            </a:r>
            <a:endParaRPr lang="en-IN" dirty="0"/>
          </a:p>
        </p:txBody>
      </p:sp>
      <p:sp>
        <p:nvSpPr>
          <p:cNvPr id="7" name="Slide Number Placeholder 6"/>
          <p:cNvSpPr>
            <a:spLocks noGrp="1"/>
          </p:cNvSpPr>
          <p:nvPr>
            <p:ph type="sldNum" sz="quarter" idx="11"/>
          </p:nvPr>
        </p:nvSpPr>
        <p:spPr/>
        <p:txBody>
          <a:bodyPr/>
          <a:lstStyle/>
          <a:p>
            <a:fld id="{27258FFF-F925-446B-8502-81C933981705}" type="slidenum">
              <a:rPr lang="en-US" smtClean="0"/>
              <a:pPr/>
              <a:t>22</a:t>
            </a:fld>
            <a:endParaRPr lang="en-US" dirty="0"/>
          </a:p>
        </p:txBody>
      </p:sp>
      <p:grpSp>
        <p:nvGrpSpPr>
          <p:cNvPr id="4" name="Group 3"/>
          <p:cNvGrpSpPr/>
          <p:nvPr/>
        </p:nvGrpSpPr>
        <p:grpSpPr>
          <a:xfrm>
            <a:off x="-4" y="1414030"/>
            <a:ext cx="12436479" cy="4353087"/>
            <a:chOff x="-4" y="1414030"/>
            <a:chExt cx="12436479" cy="4353087"/>
          </a:xfrm>
        </p:grpSpPr>
        <p:grpSp>
          <p:nvGrpSpPr>
            <p:cNvPr id="3" name="Group 2"/>
            <p:cNvGrpSpPr/>
            <p:nvPr/>
          </p:nvGrpSpPr>
          <p:grpSpPr>
            <a:xfrm>
              <a:off x="-4" y="1414030"/>
              <a:ext cx="12436479" cy="4353087"/>
              <a:chOff x="-4" y="1414030"/>
              <a:chExt cx="12436479" cy="4353087"/>
            </a:xfrm>
          </p:grpSpPr>
          <p:sp>
            <p:nvSpPr>
              <p:cNvPr id="126" name="Rectangle 125"/>
              <p:cNvSpPr/>
              <p:nvPr/>
            </p:nvSpPr>
            <p:spPr bwMode="auto">
              <a:xfrm flipH="1">
                <a:off x="-4" y="1414030"/>
                <a:ext cx="12436478" cy="4353086"/>
              </a:xfrm>
              <a:prstGeom prst="rect">
                <a:avLst/>
              </a:prstGeom>
              <a:solidFill>
                <a:schemeClr val="bg1">
                  <a:lumMod val="95000"/>
                </a:schemeClr>
              </a:solidFill>
              <a:ln>
                <a:noFill/>
                <a:headEnd type="none" w="med" len="med"/>
                <a:tailEnd type="none" w="med" len="med"/>
              </a:ln>
              <a:effectLst>
                <a:outerShdw blurRad="50800" dist="38100" dir="708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91440" rIns="457200" bIns="91440" numCol="1" spcCol="0" rtlCol="0" fromWordArt="0" anchor="ctr" anchorCtr="0" forceAA="0" compatLnSpc="1">
                <a:prstTxWarp prst="textNoShape">
                  <a:avLst/>
                </a:prstTxWarp>
                <a:noAutofit/>
              </a:bodyPr>
              <a:lstStyle/>
              <a:p>
                <a:pPr lvl="0" defTabSz="932472">
                  <a:spcBef>
                    <a:spcPct val="0"/>
                  </a:spcBef>
                  <a:spcAft>
                    <a:spcPct val="0"/>
                  </a:spcAft>
                </a:pPr>
                <a:r>
                  <a:rPr lang="en-IN" sz="2600" dirty="0" smtClean="0">
                    <a:solidFill>
                      <a:schemeClr val="accent3"/>
                    </a:solidFill>
                    <a:latin typeface="Segoe UI Light"/>
                    <a:ea typeface="Segoe UI" pitchFamily="34" charset="0"/>
                    <a:cs typeface="Segoe UI" pitchFamily="34" charset="0"/>
                  </a:rPr>
                  <a:t>Customers</a:t>
                </a:r>
                <a:br>
                  <a:rPr lang="en-IN" sz="2600" dirty="0" smtClean="0">
                    <a:solidFill>
                      <a:schemeClr val="accent3"/>
                    </a:solidFill>
                    <a:latin typeface="Segoe UI Light"/>
                    <a:ea typeface="Segoe UI" pitchFamily="34" charset="0"/>
                    <a:cs typeface="Segoe UI" pitchFamily="34" charset="0"/>
                  </a:rPr>
                </a:br>
                <a:r>
                  <a:rPr lang="en-IN" sz="2600" dirty="0" smtClean="0">
                    <a:solidFill>
                      <a:schemeClr val="accent3"/>
                    </a:solidFill>
                    <a:latin typeface="Segoe UI Light"/>
                    <a:ea typeface="Segoe UI" pitchFamily="34" charset="0"/>
                    <a:cs typeface="Segoe UI" pitchFamily="34" charset="0"/>
                  </a:rPr>
                  <a:t>know where and</a:t>
                </a:r>
                <a:br>
                  <a:rPr lang="en-IN" sz="2600" dirty="0" smtClean="0">
                    <a:solidFill>
                      <a:schemeClr val="accent3"/>
                    </a:solidFill>
                    <a:latin typeface="Segoe UI Light"/>
                    <a:ea typeface="Segoe UI" pitchFamily="34" charset="0"/>
                    <a:cs typeface="Segoe UI" pitchFamily="34" charset="0"/>
                  </a:rPr>
                </a:br>
                <a:r>
                  <a:rPr lang="en-IN" sz="2600" dirty="0" smtClean="0">
                    <a:solidFill>
                      <a:schemeClr val="accent3"/>
                    </a:solidFill>
                    <a:latin typeface="Segoe UI Light"/>
                    <a:ea typeface="Segoe UI" pitchFamily="34" charset="0"/>
                    <a:cs typeface="Segoe UI" pitchFamily="34" charset="0"/>
                  </a:rPr>
                  <a:t>how</a:t>
                </a:r>
                <a:r>
                  <a:rPr lang="en-IN" sz="2600" dirty="0">
                    <a:solidFill>
                      <a:schemeClr val="accent3"/>
                    </a:solidFill>
                    <a:latin typeface="Segoe UI Light"/>
                    <a:ea typeface="Segoe UI" pitchFamily="34" charset="0"/>
                    <a:cs typeface="Segoe UI" pitchFamily="34" charset="0"/>
                  </a:rPr>
                  <a:t> </a:t>
                </a:r>
                <a:r>
                  <a:rPr lang="en-IN" sz="2600" dirty="0" smtClean="0">
                    <a:solidFill>
                      <a:schemeClr val="accent3"/>
                    </a:solidFill>
                    <a:latin typeface="Segoe UI Light"/>
                    <a:ea typeface="Segoe UI" pitchFamily="34" charset="0"/>
                    <a:cs typeface="Segoe UI" pitchFamily="34" charset="0"/>
                  </a:rPr>
                  <a:t>their </a:t>
                </a:r>
                <a:r>
                  <a:rPr lang="en-IN" sz="2600" dirty="0">
                    <a:solidFill>
                      <a:schemeClr val="accent3"/>
                    </a:solidFill>
                    <a:latin typeface="Segoe UI Light"/>
                    <a:ea typeface="Segoe UI" pitchFamily="34" charset="0"/>
                    <a:cs typeface="Segoe UI" pitchFamily="34" charset="0"/>
                  </a:rPr>
                  <a:t>data </a:t>
                </a:r>
                <a:r>
                  <a:rPr lang="en-IN" sz="2600" dirty="0" smtClean="0">
                    <a:solidFill>
                      <a:schemeClr val="accent3"/>
                    </a:solidFill>
                    <a:latin typeface="Segoe UI Light"/>
                    <a:ea typeface="Segoe UI" pitchFamily="34" charset="0"/>
                    <a:cs typeface="Segoe UI" pitchFamily="34" charset="0"/>
                  </a:rPr>
                  <a:t>is</a:t>
                </a:r>
                <a:br>
                  <a:rPr lang="en-IN" sz="2600" dirty="0" smtClean="0">
                    <a:solidFill>
                      <a:schemeClr val="accent3"/>
                    </a:solidFill>
                    <a:latin typeface="Segoe UI Light"/>
                    <a:ea typeface="Segoe UI" pitchFamily="34" charset="0"/>
                    <a:cs typeface="Segoe UI" pitchFamily="34" charset="0"/>
                  </a:rPr>
                </a:br>
                <a:r>
                  <a:rPr lang="en-IN" sz="2600" dirty="0" smtClean="0">
                    <a:solidFill>
                      <a:schemeClr val="accent3"/>
                    </a:solidFill>
                    <a:latin typeface="Segoe UI Light"/>
                    <a:ea typeface="Segoe UI" pitchFamily="34" charset="0"/>
                    <a:cs typeface="Segoe UI" pitchFamily="34" charset="0"/>
                  </a:rPr>
                  <a:t>stored</a:t>
                </a:r>
                <a:r>
                  <a:rPr lang="en-IN" sz="2600" dirty="0">
                    <a:solidFill>
                      <a:schemeClr val="accent3"/>
                    </a:solidFill>
                    <a:latin typeface="Segoe UI Light"/>
                    <a:ea typeface="Segoe UI" pitchFamily="34" charset="0"/>
                    <a:cs typeface="Segoe UI" pitchFamily="34" charset="0"/>
                  </a:rPr>
                  <a:t> </a:t>
                </a:r>
                <a:r>
                  <a:rPr lang="en-IN" sz="2600" dirty="0" smtClean="0">
                    <a:solidFill>
                      <a:schemeClr val="accent3"/>
                    </a:solidFill>
                    <a:latin typeface="Segoe UI Light"/>
                    <a:ea typeface="Segoe UI" pitchFamily="34" charset="0"/>
                    <a:cs typeface="Segoe UI" pitchFamily="34" charset="0"/>
                  </a:rPr>
                  <a:t>and </a:t>
                </a:r>
                <a:r>
                  <a:rPr lang="en-IN" sz="2600" dirty="0">
                    <a:solidFill>
                      <a:schemeClr val="accent3"/>
                    </a:solidFill>
                    <a:latin typeface="Segoe UI Light"/>
                    <a:ea typeface="Segoe UI" pitchFamily="34" charset="0"/>
                    <a:cs typeface="Segoe UI" pitchFamily="34" charset="0"/>
                  </a:rPr>
                  <a:t>used</a:t>
                </a:r>
              </a:p>
            </p:txBody>
          </p:sp>
          <p:grpSp>
            <p:nvGrpSpPr>
              <p:cNvPr id="389" name="Group 388"/>
              <p:cNvGrpSpPr/>
              <p:nvPr/>
            </p:nvGrpSpPr>
            <p:grpSpPr>
              <a:xfrm>
                <a:off x="2190979" y="1414031"/>
                <a:ext cx="10245496" cy="4353086"/>
                <a:chOff x="2190979" y="1414031"/>
                <a:chExt cx="10245496" cy="4353086"/>
              </a:xfrm>
            </p:grpSpPr>
            <p:sp>
              <p:nvSpPr>
                <p:cNvPr id="127" name="Rectangle 126"/>
                <p:cNvSpPr/>
                <p:nvPr/>
              </p:nvSpPr>
              <p:spPr bwMode="auto">
                <a:xfrm flipH="1">
                  <a:off x="2903142" y="1414031"/>
                  <a:ext cx="9533332" cy="815754"/>
                </a:xfrm>
                <a:prstGeom prst="rect">
                  <a:avLst/>
                </a:prstGeom>
                <a:solidFill>
                  <a:schemeClr val="accent3"/>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365760" bIns="91440" numCol="1" spcCol="0" rtlCol="0" fromWordArt="0" anchor="ctr" anchorCtr="0" forceAA="0" compatLnSpc="1">
                  <a:prstTxWarp prst="textNoShape">
                    <a:avLst/>
                  </a:prstTxWarp>
                  <a:noAutofit/>
                </a:bodyPr>
                <a:lstStyle/>
                <a:p>
                  <a:pPr lvl="0" defTabSz="932472">
                    <a:spcBef>
                      <a:spcPct val="0"/>
                    </a:spcBef>
                    <a:spcAft>
                      <a:spcPct val="0"/>
                    </a:spcAft>
                  </a:pPr>
                  <a:r>
                    <a:rPr lang="en-IN" sz="1600" dirty="0">
                      <a:solidFill>
                        <a:srgbClr val="FFFFFF"/>
                      </a:solidFill>
                      <a:latin typeface="Segoe UI Light"/>
                      <a:ea typeface="Segoe UI" pitchFamily="34" charset="0"/>
                      <a:cs typeface="Segoe UI" pitchFamily="34" charset="0"/>
                    </a:rPr>
                    <a:t>Customers control where Customer Data is stored</a:t>
                  </a:r>
                </a:p>
              </p:txBody>
            </p:sp>
            <p:grpSp>
              <p:nvGrpSpPr>
                <p:cNvPr id="128" name="Group 127"/>
                <p:cNvGrpSpPr/>
                <p:nvPr/>
              </p:nvGrpSpPr>
              <p:grpSpPr>
                <a:xfrm flipH="1">
                  <a:off x="2190979" y="1414031"/>
                  <a:ext cx="815754" cy="815754"/>
                  <a:chOff x="3135086" y="2554514"/>
                  <a:chExt cx="914400" cy="914400"/>
                </a:xfrm>
              </p:grpSpPr>
              <p:sp>
                <p:nvSpPr>
                  <p:cNvPr id="129" name="Rounded Rectangle 128"/>
                  <p:cNvSpPr/>
                  <p:nvPr/>
                </p:nvSpPr>
                <p:spPr bwMode="auto">
                  <a:xfrm>
                    <a:off x="3135086" y="2554514"/>
                    <a:ext cx="914400" cy="914400"/>
                  </a:xfrm>
                  <a:prstGeom prst="roundRect">
                    <a:avLst>
                      <a:gd name="adj" fmla="val 8731"/>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3200" dirty="0" smtClean="0">
                      <a:solidFill>
                        <a:schemeClr val="accent5"/>
                      </a:solidFill>
                      <a:ea typeface="Segoe UI" pitchFamily="34" charset="0"/>
                      <a:cs typeface="Segoe UI" pitchFamily="34" charset="0"/>
                    </a:endParaRPr>
                  </a:p>
                </p:txBody>
              </p:sp>
              <p:sp>
                <p:nvSpPr>
                  <p:cNvPr id="130" name="Rounded Rectangle 129"/>
                  <p:cNvSpPr/>
                  <p:nvPr/>
                </p:nvSpPr>
                <p:spPr bwMode="auto">
                  <a:xfrm>
                    <a:off x="3251201" y="2670629"/>
                    <a:ext cx="682171" cy="682171"/>
                  </a:xfrm>
                  <a:prstGeom prst="roundRect">
                    <a:avLst>
                      <a:gd name="adj" fmla="val 8731"/>
                    </a:avLst>
                  </a:prstGeom>
                  <a:solidFill>
                    <a:srgbClr val="F7F7F7"/>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3200" dirty="0" smtClean="0">
                      <a:solidFill>
                        <a:schemeClr val="accent5"/>
                      </a:solidFill>
                      <a:latin typeface="Segoe UI Semibold" panose="020B0702040204020203" pitchFamily="34" charset="0"/>
                      <a:ea typeface="Segoe UI" pitchFamily="34" charset="0"/>
                      <a:cs typeface="Segoe UI Semibold" panose="020B0702040204020203" pitchFamily="34" charset="0"/>
                    </a:endParaRPr>
                  </a:p>
                </p:txBody>
              </p:sp>
            </p:grpSp>
            <p:sp>
              <p:nvSpPr>
                <p:cNvPr id="131" name="Rectangle 130"/>
                <p:cNvSpPr/>
                <p:nvPr/>
              </p:nvSpPr>
              <p:spPr bwMode="auto">
                <a:xfrm flipH="1">
                  <a:off x="3718897" y="2298660"/>
                  <a:ext cx="8717578" cy="815754"/>
                </a:xfrm>
                <a:prstGeom prst="rect">
                  <a:avLst/>
                </a:prstGeom>
                <a:solidFill>
                  <a:schemeClr val="accent3"/>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365760" bIns="91440" numCol="1" spcCol="0" rtlCol="0" fromWordArt="0" anchor="ctr" anchorCtr="0" forceAA="0" compatLnSpc="1">
                  <a:prstTxWarp prst="textNoShape">
                    <a:avLst/>
                  </a:prstTxWarp>
                  <a:noAutofit/>
                </a:bodyPr>
                <a:lstStyle/>
                <a:p>
                  <a:pPr lvl="0" defTabSz="932472">
                    <a:spcBef>
                      <a:spcPct val="0"/>
                    </a:spcBef>
                    <a:spcAft>
                      <a:spcPct val="0"/>
                    </a:spcAft>
                  </a:pPr>
                  <a:r>
                    <a:rPr lang="en-IN" sz="1600" dirty="0">
                      <a:solidFill>
                        <a:srgbClr val="FFFFFF"/>
                      </a:solidFill>
                      <a:latin typeface="Segoe UI Light"/>
                      <a:ea typeface="Segoe UI" pitchFamily="34" charset="0"/>
                      <a:cs typeface="Segoe UI" pitchFamily="34" charset="0"/>
                    </a:rPr>
                    <a:t>Microsoft doesn’t use Customer Data for advertising</a:t>
                  </a:r>
                </a:p>
              </p:txBody>
            </p:sp>
            <p:grpSp>
              <p:nvGrpSpPr>
                <p:cNvPr id="132" name="Group 131"/>
                <p:cNvGrpSpPr/>
                <p:nvPr/>
              </p:nvGrpSpPr>
              <p:grpSpPr>
                <a:xfrm flipH="1">
                  <a:off x="3006732" y="2298660"/>
                  <a:ext cx="815754" cy="815754"/>
                  <a:chOff x="3135086" y="2554514"/>
                  <a:chExt cx="914400" cy="914400"/>
                </a:xfrm>
              </p:grpSpPr>
              <p:sp>
                <p:nvSpPr>
                  <p:cNvPr id="133" name="Rounded Rectangle 132"/>
                  <p:cNvSpPr/>
                  <p:nvPr/>
                </p:nvSpPr>
                <p:spPr bwMode="auto">
                  <a:xfrm>
                    <a:off x="3135086" y="2554514"/>
                    <a:ext cx="914400" cy="914400"/>
                  </a:xfrm>
                  <a:prstGeom prst="roundRect">
                    <a:avLst>
                      <a:gd name="adj" fmla="val 8731"/>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3200" dirty="0" smtClean="0">
                      <a:solidFill>
                        <a:schemeClr val="accent5"/>
                      </a:solidFill>
                      <a:ea typeface="Segoe UI" pitchFamily="34" charset="0"/>
                      <a:cs typeface="Segoe UI" pitchFamily="34" charset="0"/>
                    </a:endParaRPr>
                  </a:p>
                </p:txBody>
              </p:sp>
              <p:sp>
                <p:nvSpPr>
                  <p:cNvPr id="134" name="Rounded Rectangle 133"/>
                  <p:cNvSpPr/>
                  <p:nvPr/>
                </p:nvSpPr>
                <p:spPr bwMode="auto">
                  <a:xfrm>
                    <a:off x="3251201" y="2670629"/>
                    <a:ext cx="682171" cy="682171"/>
                  </a:xfrm>
                  <a:prstGeom prst="roundRect">
                    <a:avLst>
                      <a:gd name="adj" fmla="val 8731"/>
                    </a:avLst>
                  </a:prstGeom>
                  <a:solidFill>
                    <a:srgbClr val="F7F7F7"/>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3200" dirty="0" smtClean="0">
                      <a:solidFill>
                        <a:schemeClr val="accent5"/>
                      </a:solidFill>
                      <a:latin typeface="Segoe UI Semibold" panose="020B0702040204020203" pitchFamily="34" charset="0"/>
                      <a:ea typeface="Segoe UI" pitchFamily="34" charset="0"/>
                      <a:cs typeface="Segoe UI Semibold" panose="020B0702040204020203" pitchFamily="34" charset="0"/>
                    </a:endParaRPr>
                  </a:p>
                </p:txBody>
              </p:sp>
            </p:grpSp>
            <p:sp>
              <p:nvSpPr>
                <p:cNvPr id="135" name="Rectangle 134"/>
                <p:cNvSpPr/>
                <p:nvPr/>
              </p:nvSpPr>
              <p:spPr bwMode="auto">
                <a:xfrm flipH="1">
                  <a:off x="4534649" y="3183288"/>
                  <a:ext cx="7901824" cy="815754"/>
                </a:xfrm>
                <a:prstGeom prst="rect">
                  <a:avLst/>
                </a:prstGeom>
                <a:solidFill>
                  <a:schemeClr val="accent3"/>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365760" bIns="91440" numCol="1" spcCol="0" rtlCol="0" fromWordArt="0" anchor="ctr" anchorCtr="0" forceAA="0" compatLnSpc="1">
                  <a:prstTxWarp prst="textNoShape">
                    <a:avLst/>
                  </a:prstTxWarp>
                  <a:noAutofit/>
                </a:bodyPr>
                <a:lstStyle/>
                <a:p>
                  <a:pPr lvl="0" defTabSz="932472">
                    <a:spcBef>
                      <a:spcPct val="0"/>
                    </a:spcBef>
                    <a:spcAft>
                      <a:spcPct val="0"/>
                    </a:spcAft>
                  </a:pPr>
                  <a:r>
                    <a:rPr lang="en-IN" sz="1600" dirty="0">
                      <a:solidFill>
                        <a:srgbClr val="FFFFFF"/>
                      </a:solidFill>
                      <a:latin typeface="Segoe UI Light"/>
                      <a:ea typeface="Segoe UI" pitchFamily="34" charset="0"/>
                      <a:cs typeface="Segoe UI" pitchFamily="34" charset="0"/>
                    </a:rPr>
                    <a:t>Microsoft doesn’t share Customer Data with our advertiser-supported services or mine it for marketing</a:t>
                  </a:r>
                </a:p>
              </p:txBody>
            </p:sp>
            <p:grpSp>
              <p:nvGrpSpPr>
                <p:cNvPr id="136" name="Group 135"/>
                <p:cNvGrpSpPr/>
                <p:nvPr/>
              </p:nvGrpSpPr>
              <p:grpSpPr>
                <a:xfrm flipH="1">
                  <a:off x="3822486" y="3183288"/>
                  <a:ext cx="815754" cy="815754"/>
                  <a:chOff x="3135086" y="2554514"/>
                  <a:chExt cx="914400" cy="914400"/>
                </a:xfrm>
              </p:grpSpPr>
              <p:sp>
                <p:nvSpPr>
                  <p:cNvPr id="137" name="Rounded Rectangle 136"/>
                  <p:cNvSpPr/>
                  <p:nvPr/>
                </p:nvSpPr>
                <p:spPr bwMode="auto">
                  <a:xfrm>
                    <a:off x="3135086" y="2554514"/>
                    <a:ext cx="914400" cy="914400"/>
                  </a:xfrm>
                  <a:prstGeom prst="roundRect">
                    <a:avLst>
                      <a:gd name="adj" fmla="val 8731"/>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3200" dirty="0" smtClean="0">
                      <a:solidFill>
                        <a:schemeClr val="accent5"/>
                      </a:solidFill>
                      <a:ea typeface="Segoe UI" pitchFamily="34" charset="0"/>
                      <a:cs typeface="Segoe UI" pitchFamily="34" charset="0"/>
                    </a:endParaRPr>
                  </a:p>
                </p:txBody>
              </p:sp>
              <p:sp>
                <p:nvSpPr>
                  <p:cNvPr id="138" name="Rounded Rectangle 137"/>
                  <p:cNvSpPr/>
                  <p:nvPr/>
                </p:nvSpPr>
                <p:spPr bwMode="auto">
                  <a:xfrm>
                    <a:off x="3251201" y="2670629"/>
                    <a:ext cx="682171" cy="682171"/>
                  </a:xfrm>
                  <a:prstGeom prst="roundRect">
                    <a:avLst>
                      <a:gd name="adj" fmla="val 8731"/>
                    </a:avLst>
                  </a:prstGeom>
                  <a:solidFill>
                    <a:srgbClr val="F7F7F7"/>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3200" dirty="0" smtClean="0">
                      <a:solidFill>
                        <a:schemeClr val="accent5"/>
                      </a:solidFill>
                      <a:latin typeface="Segoe UI Semibold" panose="020B0702040204020203" pitchFamily="34" charset="0"/>
                      <a:ea typeface="Segoe UI" pitchFamily="34" charset="0"/>
                      <a:cs typeface="Segoe UI Semibold" panose="020B0702040204020203" pitchFamily="34" charset="0"/>
                    </a:endParaRPr>
                  </a:p>
                </p:txBody>
              </p:sp>
            </p:grpSp>
            <p:sp>
              <p:nvSpPr>
                <p:cNvPr id="139" name="Rectangle 138"/>
                <p:cNvSpPr/>
                <p:nvPr/>
              </p:nvSpPr>
              <p:spPr bwMode="auto">
                <a:xfrm flipH="1">
                  <a:off x="5350405" y="4067916"/>
                  <a:ext cx="7086069" cy="815754"/>
                </a:xfrm>
                <a:prstGeom prst="rect">
                  <a:avLst/>
                </a:prstGeom>
                <a:solidFill>
                  <a:schemeClr val="accent3"/>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365760" bIns="91440" numCol="1" spcCol="0" rtlCol="0" fromWordArt="0" anchor="ctr" anchorCtr="0" forceAA="0" compatLnSpc="1">
                  <a:prstTxWarp prst="textNoShape">
                    <a:avLst/>
                  </a:prstTxWarp>
                  <a:noAutofit/>
                </a:bodyPr>
                <a:lstStyle/>
                <a:p>
                  <a:pPr lvl="0" defTabSz="932472">
                    <a:spcBef>
                      <a:spcPct val="0"/>
                    </a:spcBef>
                    <a:spcAft>
                      <a:spcPct val="0"/>
                    </a:spcAft>
                  </a:pPr>
                  <a:r>
                    <a:rPr lang="en-IN" sz="1600" dirty="0">
                      <a:solidFill>
                        <a:srgbClr val="FFFFFF"/>
                      </a:solidFill>
                      <a:latin typeface="Segoe UI Light"/>
                      <a:ea typeface="Segoe UI" pitchFamily="34" charset="0"/>
                      <a:cs typeface="Segoe UI" pitchFamily="34" charset="0"/>
                    </a:rPr>
                    <a:t>Microsoft uses Customer Data </a:t>
                  </a:r>
                  <a:r>
                    <a:rPr lang="en-IN" sz="1600" dirty="0" smtClean="0">
                      <a:solidFill>
                        <a:srgbClr val="FFFFFF"/>
                      </a:solidFill>
                      <a:latin typeface="Segoe UI Light"/>
                      <a:ea typeface="Segoe UI" pitchFamily="34" charset="0"/>
                      <a:cs typeface="Segoe UI" pitchFamily="34" charset="0"/>
                    </a:rPr>
                    <a:t>only to provide the services, </a:t>
                  </a:r>
                  <a:br>
                    <a:rPr lang="en-IN" sz="1600" dirty="0" smtClean="0">
                      <a:solidFill>
                        <a:srgbClr val="FFFFFF"/>
                      </a:solidFill>
                      <a:latin typeface="Segoe UI Light"/>
                      <a:ea typeface="Segoe UI" pitchFamily="34" charset="0"/>
                      <a:cs typeface="Segoe UI" pitchFamily="34" charset="0"/>
                    </a:rPr>
                  </a:br>
                  <a:r>
                    <a:rPr lang="en-IN" sz="1600" dirty="0" smtClean="0">
                      <a:solidFill>
                        <a:srgbClr val="FFFFFF"/>
                      </a:solidFill>
                      <a:latin typeface="Segoe UI Light"/>
                      <a:ea typeface="Segoe UI" pitchFamily="34" charset="0"/>
                      <a:cs typeface="Segoe UI" pitchFamily="34" charset="0"/>
                    </a:rPr>
                    <a:t>including purposes compatible with providing the services.</a:t>
                  </a:r>
                  <a:endParaRPr lang="en-IN" sz="1600" dirty="0">
                    <a:solidFill>
                      <a:srgbClr val="FFFFFF"/>
                    </a:solidFill>
                    <a:latin typeface="Segoe UI Light"/>
                    <a:ea typeface="Segoe UI" pitchFamily="34" charset="0"/>
                    <a:cs typeface="Segoe UI" pitchFamily="34" charset="0"/>
                  </a:endParaRPr>
                </a:p>
              </p:txBody>
            </p:sp>
            <p:grpSp>
              <p:nvGrpSpPr>
                <p:cNvPr id="140" name="Group 139"/>
                <p:cNvGrpSpPr/>
                <p:nvPr/>
              </p:nvGrpSpPr>
              <p:grpSpPr>
                <a:xfrm flipH="1">
                  <a:off x="4638240" y="4067916"/>
                  <a:ext cx="815754" cy="815754"/>
                  <a:chOff x="3135086" y="2554514"/>
                  <a:chExt cx="914400" cy="914400"/>
                </a:xfrm>
              </p:grpSpPr>
              <p:sp>
                <p:nvSpPr>
                  <p:cNvPr id="141" name="Rounded Rectangle 140"/>
                  <p:cNvSpPr/>
                  <p:nvPr/>
                </p:nvSpPr>
                <p:spPr bwMode="auto">
                  <a:xfrm>
                    <a:off x="3135086" y="2554514"/>
                    <a:ext cx="914400" cy="914400"/>
                  </a:xfrm>
                  <a:prstGeom prst="roundRect">
                    <a:avLst>
                      <a:gd name="adj" fmla="val 8731"/>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3200" dirty="0" smtClean="0">
                      <a:solidFill>
                        <a:schemeClr val="accent5"/>
                      </a:solidFill>
                      <a:ea typeface="Segoe UI" pitchFamily="34" charset="0"/>
                      <a:cs typeface="Segoe UI" pitchFamily="34" charset="0"/>
                    </a:endParaRPr>
                  </a:p>
                </p:txBody>
              </p:sp>
              <p:sp>
                <p:nvSpPr>
                  <p:cNvPr id="142" name="Rounded Rectangle 141"/>
                  <p:cNvSpPr/>
                  <p:nvPr/>
                </p:nvSpPr>
                <p:spPr bwMode="auto">
                  <a:xfrm>
                    <a:off x="3251201" y="2670629"/>
                    <a:ext cx="682171" cy="682171"/>
                  </a:xfrm>
                  <a:prstGeom prst="roundRect">
                    <a:avLst>
                      <a:gd name="adj" fmla="val 8731"/>
                    </a:avLst>
                  </a:prstGeom>
                  <a:solidFill>
                    <a:srgbClr val="F7F7F7"/>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3200" dirty="0" smtClean="0">
                      <a:solidFill>
                        <a:schemeClr val="accent5"/>
                      </a:solidFill>
                      <a:latin typeface="Segoe UI Semibold" panose="020B0702040204020203" pitchFamily="34" charset="0"/>
                      <a:ea typeface="Segoe UI" pitchFamily="34" charset="0"/>
                      <a:cs typeface="Segoe UI Semibold" panose="020B0702040204020203" pitchFamily="34" charset="0"/>
                    </a:endParaRPr>
                  </a:p>
                </p:txBody>
              </p:sp>
            </p:grpSp>
            <p:sp>
              <p:nvSpPr>
                <p:cNvPr id="143" name="Rectangle 142"/>
                <p:cNvSpPr/>
                <p:nvPr/>
              </p:nvSpPr>
              <p:spPr bwMode="auto">
                <a:xfrm flipH="1">
                  <a:off x="6166159" y="4951363"/>
                  <a:ext cx="6270313" cy="815754"/>
                </a:xfrm>
                <a:prstGeom prst="rect">
                  <a:avLst/>
                </a:prstGeom>
                <a:solidFill>
                  <a:schemeClr val="accent3"/>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365760" bIns="91440" numCol="1" spcCol="0" rtlCol="0" fromWordArt="0" anchor="ctr" anchorCtr="0" forceAA="0" compatLnSpc="1">
                  <a:prstTxWarp prst="textNoShape">
                    <a:avLst/>
                  </a:prstTxWarp>
                  <a:noAutofit/>
                </a:bodyPr>
                <a:lstStyle/>
                <a:p>
                  <a:pPr lvl="0" defTabSz="932472">
                    <a:spcBef>
                      <a:spcPct val="0"/>
                    </a:spcBef>
                    <a:spcAft>
                      <a:spcPct val="0"/>
                    </a:spcAft>
                  </a:pPr>
                  <a:r>
                    <a:rPr lang="en-IN" sz="1600" dirty="0">
                      <a:solidFill>
                        <a:srgbClr val="FFFFFF"/>
                      </a:solidFill>
                      <a:latin typeface="Segoe UI Light"/>
                      <a:ea typeface="Segoe UI" pitchFamily="34" charset="0"/>
                      <a:cs typeface="Segoe UI" pitchFamily="34" charset="0"/>
                    </a:rPr>
                    <a:t>Customers may delete Customer </a:t>
                  </a:r>
                  <a:r>
                    <a:rPr lang="en-IN" sz="1600" dirty="0" smtClean="0">
                      <a:solidFill>
                        <a:srgbClr val="FFFFFF"/>
                      </a:solidFill>
                      <a:latin typeface="Segoe UI Light"/>
                      <a:ea typeface="Segoe UI" pitchFamily="34" charset="0"/>
                      <a:cs typeface="Segoe UI" pitchFamily="34" charset="0"/>
                    </a:rPr>
                    <a:t>Data</a:t>
                  </a:r>
                  <a:br>
                    <a:rPr lang="en-IN" sz="1600" dirty="0" smtClean="0">
                      <a:solidFill>
                        <a:srgbClr val="FFFFFF"/>
                      </a:solidFill>
                      <a:latin typeface="Segoe UI Light"/>
                      <a:ea typeface="Segoe UI" pitchFamily="34" charset="0"/>
                      <a:cs typeface="Segoe UI" pitchFamily="34" charset="0"/>
                    </a:rPr>
                  </a:br>
                  <a:r>
                    <a:rPr lang="en-IN" sz="1600" dirty="0" smtClean="0">
                      <a:solidFill>
                        <a:srgbClr val="FFFFFF"/>
                      </a:solidFill>
                      <a:latin typeface="Segoe UI Light"/>
                      <a:ea typeface="Segoe UI" pitchFamily="34" charset="0"/>
                      <a:cs typeface="Segoe UI" pitchFamily="34" charset="0"/>
                    </a:rPr>
                    <a:t>or </a:t>
                  </a:r>
                  <a:r>
                    <a:rPr lang="en-IN" sz="1600" dirty="0">
                      <a:solidFill>
                        <a:srgbClr val="FFFFFF"/>
                      </a:solidFill>
                      <a:latin typeface="Segoe UI Light"/>
                      <a:ea typeface="Segoe UI" pitchFamily="34" charset="0"/>
                      <a:cs typeface="Segoe UI" pitchFamily="34" charset="0"/>
                    </a:rPr>
                    <a:t>leave the service at any time</a:t>
                  </a:r>
                </a:p>
              </p:txBody>
            </p:sp>
            <p:grpSp>
              <p:nvGrpSpPr>
                <p:cNvPr id="144" name="Group 143"/>
                <p:cNvGrpSpPr/>
                <p:nvPr/>
              </p:nvGrpSpPr>
              <p:grpSpPr>
                <a:xfrm flipH="1">
                  <a:off x="5453994" y="4951363"/>
                  <a:ext cx="815754" cy="815754"/>
                  <a:chOff x="3135086" y="2554514"/>
                  <a:chExt cx="914400" cy="914400"/>
                </a:xfrm>
              </p:grpSpPr>
              <p:sp>
                <p:nvSpPr>
                  <p:cNvPr id="145" name="Rounded Rectangle 144"/>
                  <p:cNvSpPr/>
                  <p:nvPr/>
                </p:nvSpPr>
                <p:spPr bwMode="auto">
                  <a:xfrm>
                    <a:off x="3135086" y="2554514"/>
                    <a:ext cx="914400" cy="914400"/>
                  </a:xfrm>
                  <a:prstGeom prst="roundRect">
                    <a:avLst>
                      <a:gd name="adj" fmla="val 8731"/>
                    </a:avLst>
                  </a:prstGeom>
                  <a:solidFill>
                    <a:schemeClr val="bg1">
                      <a:lumMod val="9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3200" dirty="0" smtClean="0">
                      <a:solidFill>
                        <a:schemeClr val="accent5"/>
                      </a:solidFill>
                      <a:ea typeface="Segoe UI" pitchFamily="34" charset="0"/>
                      <a:cs typeface="Segoe UI" pitchFamily="34" charset="0"/>
                    </a:endParaRPr>
                  </a:p>
                </p:txBody>
              </p:sp>
              <p:sp>
                <p:nvSpPr>
                  <p:cNvPr id="146" name="Rounded Rectangle 145"/>
                  <p:cNvSpPr/>
                  <p:nvPr/>
                </p:nvSpPr>
                <p:spPr bwMode="auto">
                  <a:xfrm>
                    <a:off x="3251200" y="2670628"/>
                    <a:ext cx="682171" cy="682171"/>
                  </a:xfrm>
                  <a:prstGeom prst="roundRect">
                    <a:avLst>
                      <a:gd name="adj" fmla="val 8731"/>
                    </a:avLst>
                  </a:prstGeom>
                  <a:solidFill>
                    <a:srgbClr val="F7F7F7"/>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3200" dirty="0" smtClean="0">
                      <a:solidFill>
                        <a:schemeClr val="accent5"/>
                      </a:solidFill>
                      <a:latin typeface="Segoe UI Semibold" panose="020B0702040204020203" pitchFamily="34" charset="0"/>
                      <a:ea typeface="Segoe UI" pitchFamily="34" charset="0"/>
                      <a:cs typeface="Segoe UI Semibold" panose="020B0702040204020203" pitchFamily="34" charset="0"/>
                    </a:endParaRPr>
                  </a:p>
                </p:txBody>
              </p:sp>
            </p:grpSp>
          </p:grpSp>
        </p:grpSp>
        <p:grpSp>
          <p:nvGrpSpPr>
            <p:cNvPr id="238" name="Group 237"/>
            <p:cNvGrpSpPr/>
            <p:nvPr/>
          </p:nvGrpSpPr>
          <p:grpSpPr>
            <a:xfrm>
              <a:off x="2442031" y="1635388"/>
              <a:ext cx="359082" cy="340093"/>
              <a:chOff x="-3227388" y="3256364"/>
              <a:chExt cx="1881884" cy="1782362"/>
            </a:xfrm>
            <a:solidFill>
              <a:schemeClr val="accent5"/>
            </a:solidFill>
            <a:effectLst>
              <a:outerShdw blurRad="50800" dist="38100" dir="8100000" algn="tr" rotWithShape="0">
                <a:prstClr val="black">
                  <a:alpha val="40000"/>
                </a:prstClr>
              </a:outerShdw>
            </a:effectLst>
          </p:grpSpPr>
          <p:sp>
            <p:nvSpPr>
              <p:cNvPr id="239" name="Freeform 8"/>
              <p:cNvSpPr>
                <a:spLocks/>
              </p:cNvSpPr>
              <p:nvPr/>
            </p:nvSpPr>
            <p:spPr bwMode="auto">
              <a:xfrm>
                <a:off x="-3227388" y="3490913"/>
                <a:ext cx="1550988" cy="1547813"/>
              </a:xfrm>
              <a:custGeom>
                <a:avLst/>
                <a:gdLst>
                  <a:gd name="T0" fmla="*/ 0 w 3907"/>
                  <a:gd name="T1" fmla="*/ 0 h 3900"/>
                  <a:gd name="T2" fmla="*/ 3706 w 3907"/>
                  <a:gd name="T3" fmla="*/ 0 h 3900"/>
                  <a:gd name="T4" fmla="*/ 3609 w 3907"/>
                  <a:gd name="T5" fmla="*/ 87 h 3900"/>
                  <a:gd name="T6" fmla="*/ 3516 w 3907"/>
                  <a:gd name="T7" fmla="*/ 171 h 3900"/>
                  <a:gd name="T8" fmla="*/ 3425 w 3907"/>
                  <a:gd name="T9" fmla="*/ 254 h 3900"/>
                  <a:gd name="T10" fmla="*/ 3336 w 3907"/>
                  <a:gd name="T11" fmla="*/ 334 h 3900"/>
                  <a:gd name="T12" fmla="*/ 3246 w 3907"/>
                  <a:gd name="T13" fmla="*/ 412 h 3900"/>
                  <a:gd name="T14" fmla="*/ 3157 w 3907"/>
                  <a:gd name="T15" fmla="*/ 489 h 3900"/>
                  <a:gd name="T16" fmla="*/ 3140 w 3907"/>
                  <a:gd name="T17" fmla="*/ 498 h 3900"/>
                  <a:gd name="T18" fmla="*/ 3121 w 3907"/>
                  <a:gd name="T19" fmla="*/ 504 h 3900"/>
                  <a:gd name="T20" fmla="*/ 3098 w 3907"/>
                  <a:gd name="T21" fmla="*/ 507 h 3900"/>
                  <a:gd name="T22" fmla="*/ 3075 w 3907"/>
                  <a:gd name="T23" fmla="*/ 508 h 3900"/>
                  <a:gd name="T24" fmla="*/ 3050 w 3907"/>
                  <a:gd name="T25" fmla="*/ 507 h 3900"/>
                  <a:gd name="T26" fmla="*/ 3026 w 3907"/>
                  <a:gd name="T27" fmla="*/ 507 h 3900"/>
                  <a:gd name="T28" fmla="*/ 3002 w 3907"/>
                  <a:gd name="T29" fmla="*/ 505 h 3900"/>
                  <a:gd name="T30" fmla="*/ 715 w 3907"/>
                  <a:gd name="T31" fmla="*/ 507 h 3900"/>
                  <a:gd name="T32" fmla="*/ 656 w 3907"/>
                  <a:gd name="T33" fmla="*/ 507 h 3900"/>
                  <a:gd name="T34" fmla="*/ 595 w 3907"/>
                  <a:gd name="T35" fmla="*/ 507 h 3900"/>
                  <a:gd name="T36" fmla="*/ 529 w 3907"/>
                  <a:gd name="T37" fmla="*/ 507 h 3900"/>
                  <a:gd name="T38" fmla="*/ 529 w 3907"/>
                  <a:gd name="T39" fmla="*/ 3382 h 3900"/>
                  <a:gd name="T40" fmla="*/ 3405 w 3907"/>
                  <a:gd name="T41" fmla="*/ 3382 h 3900"/>
                  <a:gd name="T42" fmla="*/ 3406 w 3907"/>
                  <a:gd name="T43" fmla="*/ 2980 h 3900"/>
                  <a:gd name="T44" fmla="*/ 3406 w 3907"/>
                  <a:gd name="T45" fmla="*/ 2584 h 3900"/>
                  <a:gd name="T46" fmla="*/ 3406 w 3907"/>
                  <a:gd name="T47" fmla="*/ 2191 h 3900"/>
                  <a:gd name="T48" fmla="*/ 3403 w 3907"/>
                  <a:gd name="T49" fmla="*/ 1799 h 3900"/>
                  <a:gd name="T50" fmla="*/ 3404 w 3907"/>
                  <a:gd name="T51" fmla="*/ 1751 h 3900"/>
                  <a:gd name="T52" fmla="*/ 3410 w 3907"/>
                  <a:gd name="T53" fmla="*/ 1706 h 3900"/>
                  <a:gd name="T54" fmla="*/ 3421 w 3907"/>
                  <a:gd name="T55" fmla="*/ 1665 h 3900"/>
                  <a:gd name="T56" fmla="*/ 3437 w 3907"/>
                  <a:gd name="T57" fmla="*/ 1627 h 3900"/>
                  <a:gd name="T58" fmla="*/ 3460 w 3907"/>
                  <a:gd name="T59" fmla="*/ 1591 h 3900"/>
                  <a:gd name="T60" fmla="*/ 3489 w 3907"/>
                  <a:gd name="T61" fmla="*/ 1557 h 3900"/>
                  <a:gd name="T62" fmla="*/ 3524 w 3907"/>
                  <a:gd name="T63" fmla="*/ 1524 h 3900"/>
                  <a:gd name="T64" fmla="*/ 3598 w 3907"/>
                  <a:gd name="T65" fmla="*/ 1461 h 3900"/>
                  <a:gd name="T66" fmla="*/ 3674 w 3907"/>
                  <a:gd name="T67" fmla="*/ 1394 h 3900"/>
                  <a:gd name="T68" fmla="*/ 3747 w 3907"/>
                  <a:gd name="T69" fmla="*/ 1324 h 3900"/>
                  <a:gd name="T70" fmla="*/ 3825 w 3907"/>
                  <a:gd name="T71" fmla="*/ 1250 h 3900"/>
                  <a:gd name="T72" fmla="*/ 3907 w 3907"/>
                  <a:gd name="T73" fmla="*/ 1173 h 3900"/>
                  <a:gd name="T74" fmla="*/ 3907 w 3907"/>
                  <a:gd name="T75" fmla="*/ 1724 h 3900"/>
                  <a:gd name="T76" fmla="*/ 3907 w 3907"/>
                  <a:gd name="T77" fmla="*/ 2271 h 3900"/>
                  <a:gd name="T78" fmla="*/ 3907 w 3907"/>
                  <a:gd name="T79" fmla="*/ 2815 h 3900"/>
                  <a:gd name="T80" fmla="*/ 3907 w 3907"/>
                  <a:gd name="T81" fmla="*/ 3356 h 3900"/>
                  <a:gd name="T82" fmla="*/ 3907 w 3907"/>
                  <a:gd name="T83" fmla="*/ 3900 h 3900"/>
                  <a:gd name="T84" fmla="*/ 0 w 3907"/>
                  <a:gd name="T85" fmla="*/ 3900 h 3900"/>
                  <a:gd name="T86" fmla="*/ 0 w 3907"/>
                  <a:gd name="T87"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7" h="3900">
                    <a:moveTo>
                      <a:pt x="0" y="0"/>
                    </a:moveTo>
                    <a:lnTo>
                      <a:pt x="3706" y="0"/>
                    </a:lnTo>
                    <a:lnTo>
                      <a:pt x="3609" y="87"/>
                    </a:lnTo>
                    <a:lnTo>
                      <a:pt x="3516" y="171"/>
                    </a:lnTo>
                    <a:lnTo>
                      <a:pt x="3425" y="254"/>
                    </a:lnTo>
                    <a:lnTo>
                      <a:pt x="3336" y="334"/>
                    </a:lnTo>
                    <a:lnTo>
                      <a:pt x="3246" y="412"/>
                    </a:lnTo>
                    <a:lnTo>
                      <a:pt x="3157" y="489"/>
                    </a:lnTo>
                    <a:lnTo>
                      <a:pt x="3140" y="498"/>
                    </a:lnTo>
                    <a:lnTo>
                      <a:pt x="3121" y="504"/>
                    </a:lnTo>
                    <a:lnTo>
                      <a:pt x="3098" y="507"/>
                    </a:lnTo>
                    <a:lnTo>
                      <a:pt x="3075" y="508"/>
                    </a:lnTo>
                    <a:lnTo>
                      <a:pt x="3050" y="507"/>
                    </a:lnTo>
                    <a:lnTo>
                      <a:pt x="3026" y="507"/>
                    </a:lnTo>
                    <a:lnTo>
                      <a:pt x="3002" y="505"/>
                    </a:lnTo>
                    <a:lnTo>
                      <a:pt x="715" y="507"/>
                    </a:lnTo>
                    <a:lnTo>
                      <a:pt x="656" y="507"/>
                    </a:lnTo>
                    <a:lnTo>
                      <a:pt x="595" y="507"/>
                    </a:lnTo>
                    <a:lnTo>
                      <a:pt x="529" y="507"/>
                    </a:lnTo>
                    <a:lnTo>
                      <a:pt x="529" y="3382"/>
                    </a:lnTo>
                    <a:lnTo>
                      <a:pt x="3405" y="3382"/>
                    </a:lnTo>
                    <a:lnTo>
                      <a:pt x="3406" y="2980"/>
                    </a:lnTo>
                    <a:lnTo>
                      <a:pt x="3406" y="2584"/>
                    </a:lnTo>
                    <a:lnTo>
                      <a:pt x="3406" y="2191"/>
                    </a:lnTo>
                    <a:lnTo>
                      <a:pt x="3403" y="1799"/>
                    </a:lnTo>
                    <a:lnTo>
                      <a:pt x="3404" y="1751"/>
                    </a:lnTo>
                    <a:lnTo>
                      <a:pt x="3410" y="1706"/>
                    </a:lnTo>
                    <a:lnTo>
                      <a:pt x="3421" y="1665"/>
                    </a:lnTo>
                    <a:lnTo>
                      <a:pt x="3437" y="1627"/>
                    </a:lnTo>
                    <a:lnTo>
                      <a:pt x="3460" y="1591"/>
                    </a:lnTo>
                    <a:lnTo>
                      <a:pt x="3489" y="1557"/>
                    </a:lnTo>
                    <a:lnTo>
                      <a:pt x="3524" y="1524"/>
                    </a:lnTo>
                    <a:lnTo>
                      <a:pt x="3598" y="1461"/>
                    </a:lnTo>
                    <a:lnTo>
                      <a:pt x="3674" y="1394"/>
                    </a:lnTo>
                    <a:lnTo>
                      <a:pt x="3747" y="1324"/>
                    </a:lnTo>
                    <a:lnTo>
                      <a:pt x="3825" y="1250"/>
                    </a:lnTo>
                    <a:lnTo>
                      <a:pt x="3907" y="1173"/>
                    </a:lnTo>
                    <a:lnTo>
                      <a:pt x="3907" y="1724"/>
                    </a:lnTo>
                    <a:lnTo>
                      <a:pt x="3907" y="2271"/>
                    </a:lnTo>
                    <a:lnTo>
                      <a:pt x="3907" y="2815"/>
                    </a:lnTo>
                    <a:lnTo>
                      <a:pt x="3907" y="3356"/>
                    </a:lnTo>
                    <a:lnTo>
                      <a:pt x="3907" y="3900"/>
                    </a:lnTo>
                    <a:lnTo>
                      <a:pt x="0" y="3900"/>
                    </a:lnTo>
                    <a:lnTo>
                      <a:pt x="0" y="0"/>
                    </a:lnTo>
                    <a:close/>
                  </a:path>
                </a:pathLst>
              </a:custGeom>
              <a:solidFill>
                <a:schemeClr val="accent3"/>
              </a:solid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sp>
            <p:nvSpPr>
              <p:cNvPr id="240" name="Freeform 9"/>
              <p:cNvSpPr>
                <a:spLocks/>
              </p:cNvSpPr>
              <p:nvPr/>
            </p:nvSpPr>
            <p:spPr bwMode="auto">
              <a:xfrm>
                <a:off x="-2894015" y="3256364"/>
                <a:ext cx="1548511" cy="1351170"/>
              </a:xfrm>
              <a:custGeom>
                <a:avLst/>
                <a:gdLst>
                  <a:gd name="T0" fmla="*/ 3078 w 3078"/>
                  <a:gd name="T1" fmla="*/ 0 h 2682"/>
                  <a:gd name="T2" fmla="*/ 3078 w 3078"/>
                  <a:gd name="T3" fmla="*/ 157 h 2682"/>
                  <a:gd name="T4" fmla="*/ 3078 w 3078"/>
                  <a:gd name="T5" fmla="*/ 303 h 2682"/>
                  <a:gd name="T6" fmla="*/ 3078 w 3078"/>
                  <a:gd name="T7" fmla="*/ 315 h 2682"/>
                  <a:gd name="T8" fmla="*/ 3078 w 3078"/>
                  <a:gd name="T9" fmla="*/ 454 h 2682"/>
                  <a:gd name="T10" fmla="*/ 3077 w 3078"/>
                  <a:gd name="T11" fmla="*/ 597 h 2682"/>
                  <a:gd name="T12" fmla="*/ 3076 w 3078"/>
                  <a:gd name="T13" fmla="*/ 739 h 2682"/>
                  <a:gd name="T14" fmla="*/ 3072 w 3078"/>
                  <a:gd name="T15" fmla="*/ 755 h 2682"/>
                  <a:gd name="T16" fmla="*/ 3062 w 3078"/>
                  <a:gd name="T17" fmla="*/ 770 h 2682"/>
                  <a:gd name="T18" fmla="*/ 3050 w 3078"/>
                  <a:gd name="T19" fmla="*/ 787 h 2682"/>
                  <a:gd name="T20" fmla="*/ 3036 w 3078"/>
                  <a:gd name="T21" fmla="*/ 801 h 2682"/>
                  <a:gd name="T22" fmla="*/ 3023 w 3078"/>
                  <a:gd name="T23" fmla="*/ 814 h 2682"/>
                  <a:gd name="T24" fmla="*/ 1096 w 3078"/>
                  <a:gd name="T25" fmla="*/ 2666 h 2682"/>
                  <a:gd name="T26" fmla="*/ 1090 w 3078"/>
                  <a:gd name="T27" fmla="*/ 2669 h 2682"/>
                  <a:gd name="T28" fmla="*/ 1082 w 3078"/>
                  <a:gd name="T29" fmla="*/ 2673 h 2682"/>
                  <a:gd name="T30" fmla="*/ 1071 w 3078"/>
                  <a:gd name="T31" fmla="*/ 2676 h 2682"/>
                  <a:gd name="T32" fmla="*/ 1057 w 3078"/>
                  <a:gd name="T33" fmla="*/ 2682 h 2682"/>
                  <a:gd name="T34" fmla="*/ 531 w 3078"/>
                  <a:gd name="T35" fmla="*/ 2131 h 2682"/>
                  <a:gd name="T36" fmla="*/ 0 w 3078"/>
                  <a:gd name="T37" fmla="*/ 1576 h 2682"/>
                  <a:gd name="T38" fmla="*/ 83 w 3078"/>
                  <a:gd name="T39" fmla="*/ 1491 h 2682"/>
                  <a:gd name="T40" fmla="*/ 163 w 3078"/>
                  <a:gd name="T41" fmla="*/ 1408 h 2682"/>
                  <a:gd name="T42" fmla="*/ 240 w 3078"/>
                  <a:gd name="T43" fmla="*/ 1331 h 2682"/>
                  <a:gd name="T44" fmla="*/ 314 w 3078"/>
                  <a:gd name="T45" fmla="*/ 1256 h 2682"/>
                  <a:gd name="T46" fmla="*/ 383 w 3078"/>
                  <a:gd name="T47" fmla="*/ 1184 h 2682"/>
                  <a:gd name="T48" fmla="*/ 562 w 3078"/>
                  <a:gd name="T49" fmla="*/ 1347 h 2682"/>
                  <a:gd name="T50" fmla="*/ 739 w 3078"/>
                  <a:gd name="T51" fmla="*/ 1511 h 2682"/>
                  <a:gd name="T52" fmla="*/ 918 w 3078"/>
                  <a:gd name="T53" fmla="*/ 1674 h 2682"/>
                  <a:gd name="T54" fmla="*/ 1099 w 3078"/>
                  <a:gd name="T55" fmla="*/ 1840 h 2682"/>
                  <a:gd name="T56" fmla="*/ 1374 w 3078"/>
                  <a:gd name="T57" fmla="*/ 1584 h 2682"/>
                  <a:gd name="T58" fmla="*/ 1651 w 3078"/>
                  <a:gd name="T59" fmla="*/ 1326 h 2682"/>
                  <a:gd name="T60" fmla="*/ 1930 w 3078"/>
                  <a:gd name="T61" fmla="*/ 1066 h 2682"/>
                  <a:gd name="T62" fmla="*/ 2213 w 3078"/>
                  <a:gd name="T63" fmla="*/ 804 h 2682"/>
                  <a:gd name="T64" fmla="*/ 2498 w 3078"/>
                  <a:gd name="T65" fmla="*/ 539 h 2682"/>
                  <a:gd name="T66" fmla="*/ 2786 w 3078"/>
                  <a:gd name="T67" fmla="*/ 270 h 2682"/>
                  <a:gd name="T68" fmla="*/ 3078 w 3078"/>
                  <a:gd name="T69" fmla="*/ 0 h 2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8" h="2682">
                    <a:moveTo>
                      <a:pt x="3078" y="0"/>
                    </a:moveTo>
                    <a:lnTo>
                      <a:pt x="3078" y="157"/>
                    </a:lnTo>
                    <a:lnTo>
                      <a:pt x="3078" y="303"/>
                    </a:lnTo>
                    <a:lnTo>
                      <a:pt x="3078" y="315"/>
                    </a:lnTo>
                    <a:lnTo>
                      <a:pt x="3078" y="454"/>
                    </a:lnTo>
                    <a:lnTo>
                      <a:pt x="3077" y="597"/>
                    </a:lnTo>
                    <a:lnTo>
                      <a:pt x="3076" y="739"/>
                    </a:lnTo>
                    <a:lnTo>
                      <a:pt x="3072" y="755"/>
                    </a:lnTo>
                    <a:lnTo>
                      <a:pt x="3062" y="770"/>
                    </a:lnTo>
                    <a:lnTo>
                      <a:pt x="3050" y="787"/>
                    </a:lnTo>
                    <a:lnTo>
                      <a:pt x="3036" y="801"/>
                    </a:lnTo>
                    <a:lnTo>
                      <a:pt x="3023" y="814"/>
                    </a:lnTo>
                    <a:lnTo>
                      <a:pt x="1096" y="2666"/>
                    </a:lnTo>
                    <a:lnTo>
                      <a:pt x="1090" y="2669"/>
                    </a:lnTo>
                    <a:lnTo>
                      <a:pt x="1082" y="2673"/>
                    </a:lnTo>
                    <a:lnTo>
                      <a:pt x="1071" y="2676"/>
                    </a:lnTo>
                    <a:lnTo>
                      <a:pt x="1057" y="2682"/>
                    </a:lnTo>
                    <a:lnTo>
                      <a:pt x="531" y="2131"/>
                    </a:lnTo>
                    <a:lnTo>
                      <a:pt x="0" y="1576"/>
                    </a:lnTo>
                    <a:lnTo>
                      <a:pt x="83" y="1491"/>
                    </a:lnTo>
                    <a:lnTo>
                      <a:pt x="163" y="1408"/>
                    </a:lnTo>
                    <a:lnTo>
                      <a:pt x="240" y="1331"/>
                    </a:lnTo>
                    <a:lnTo>
                      <a:pt x="314" y="1256"/>
                    </a:lnTo>
                    <a:lnTo>
                      <a:pt x="383" y="1184"/>
                    </a:lnTo>
                    <a:lnTo>
                      <a:pt x="562" y="1347"/>
                    </a:lnTo>
                    <a:lnTo>
                      <a:pt x="739" y="1511"/>
                    </a:lnTo>
                    <a:lnTo>
                      <a:pt x="918" y="1674"/>
                    </a:lnTo>
                    <a:lnTo>
                      <a:pt x="1099" y="1840"/>
                    </a:lnTo>
                    <a:lnTo>
                      <a:pt x="1374" y="1584"/>
                    </a:lnTo>
                    <a:lnTo>
                      <a:pt x="1651" y="1326"/>
                    </a:lnTo>
                    <a:lnTo>
                      <a:pt x="1930" y="1066"/>
                    </a:lnTo>
                    <a:lnTo>
                      <a:pt x="2213" y="804"/>
                    </a:lnTo>
                    <a:lnTo>
                      <a:pt x="2498" y="539"/>
                    </a:lnTo>
                    <a:lnTo>
                      <a:pt x="2786" y="270"/>
                    </a:lnTo>
                    <a:lnTo>
                      <a:pt x="3078" y="0"/>
                    </a:lnTo>
                    <a:close/>
                  </a:path>
                </a:pathLst>
              </a:custGeom>
              <a:solidFill>
                <a:schemeClr val="accent3"/>
              </a:solid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grpSp>
        <p:grpSp>
          <p:nvGrpSpPr>
            <p:cNvPr id="241" name="Group 240"/>
            <p:cNvGrpSpPr/>
            <p:nvPr/>
          </p:nvGrpSpPr>
          <p:grpSpPr>
            <a:xfrm>
              <a:off x="3266805" y="2523335"/>
              <a:ext cx="359082" cy="340093"/>
              <a:chOff x="-3094272" y="3389480"/>
              <a:chExt cx="1881884" cy="1782362"/>
            </a:xfrm>
            <a:solidFill>
              <a:schemeClr val="accent5"/>
            </a:solidFill>
            <a:effectLst>
              <a:outerShdw blurRad="50800" dist="38100" dir="8100000" algn="tr" rotWithShape="0">
                <a:prstClr val="black">
                  <a:alpha val="40000"/>
                </a:prstClr>
              </a:outerShdw>
            </a:effectLst>
          </p:grpSpPr>
          <p:sp>
            <p:nvSpPr>
              <p:cNvPr id="242" name="Freeform 8"/>
              <p:cNvSpPr>
                <a:spLocks/>
              </p:cNvSpPr>
              <p:nvPr/>
            </p:nvSpPr>
            <p:spPr bwMode="auto">
              <a:xfrm>
                <a:off x="-3094272" y="3624027"/>
                <a:ext cx="1550989" cy="1547815"/>
              </a:xfrm>
              <a:custGeom>
                <a:avLst/>
                <a:gdLst>
                  <a:gd name="T0" fmla="*/ 0 w 3907"/>
                  <a:gd name="T1" fmla="*/ 0 h 3900"/>
                  <a:gd name="T2" fmla="*/ 3706 w 3907"/>
                  <a:gd name="T3" fmla="*/ 0 h 3900"/>
                  <a:gd name="T4" fmla="*/ 3609 w 3907"/>
                  <a:gd name="T5" fmla="*/ 87 h 3900"/>
                  <a:gd name="T6" fmla="*/ 3516 w 3907"/>
                  <a:gd name="T7" fmla="*/ 171 h 3900"/>
                  <a:gd name="T8" fmla="*/ 3425 w 3907"/>
                  <a:gd name="T9" fmla="*/ 254 h 3900"/>
                  <a:gd name="T10" fmla="*/ 3336 w 3907"/>
                  <a:gd name="T11" fmla="*/ 334 h 3900"/>
                  <a:gd name="T12" fmla="*/ 3246 w 3907"/>
                  <a:gd name="T13" fmla="*/ 412 h 3900"/>
                  <a:gd name="T14" fmla="*/ 3157 w 3907"/>
                  <a:gd name="T15" fmla="*/ 489 h 3900"/>
                  <a:gd name="T16" fmla="*/ 3140 w 3907"/>
                  <a:gd name="T17" fmla="*/ 498 h 3900"/>
                  <a:gd name="T18" fmla="*/ 3121 w 3907"/>
                  <a:gd name="T19" fmla="*/ 504 h 3900"/>
                  <a:gd name="T20" fmla="*/ 3098 w 3907"/>
                  <a:gd name="T21" fmla="*/ 507 h 3900"/>
                  <a:gd name="T22" fmla="*/ 3075 w 3907"/>
                  <a:gd name="T23" fmla="*/ 508 h 3900"/>
                  <a:gd name="T24" fmla="*/ 3050 w 3907"/>
                  <a:gd name="T25" fmla="*/ 507 h 3900"/>
                  <a:gd name="T26" fmla="*/ 3026 w 3907"/>
                  <a:gd name="T27" fmla="*/ 507 h 3900"/>
                  <a:gd name="T28" fmla="*/ 3002 w 3907"/>
                  <a:gd name="T29" fmla="*/ 505 h 3900"/>
                  <a:gd name="T30" fmla="*/ 715 w 3907"/>
                  <a:gd name="T31" fmla="*/ 507 h 3900"/>
                  <a:gd name="T32" fmla="*/ 656 w 3907"/>
                  <a:gd name="T33" fmla="*/ 507 h 3900"/>
                  <a:gd name="T34" fmla="*/ 595 w 3907"/>
                  <a:gd name="T35" fmla="*/ 507 h 3900"/>
                  <a:gd name="T36" fmla="*/ 529 w 3907"/>
                  <a:gd name="T37" fmla="*/ 507 h 3900"/>
                  <a:gd name="T38" fmla="*/ 529 w 3907"/>
                  <a:gd name="T39" fmla="*/ 3382 h 3900"/>
                  <a:gd name="T40" fmla="*/ 3405 w 3907"/>
                  <a:gd name="T41" fmla="*/ 3382 h 3900"/>
                  <a:gd name="T42" fmla="*/ 3406 w 3907"/>
                  <a:gd name="T43" fmla="*/ 2980 h 3900"/>
                  <a:gd name="T44" fmla="*/ 3406 w 3907"/>
                  <a:gd name="T45" fmla="*/ 2584 h 3900"/>
                  <a:gd name="T46" fmla="*/ 3406 w 3907"/>
                  <a:gd name="T47" fmla="*/ 2191 h 3900"/>
                  <a:gd name="T48" fmla="*/ 3403 w 3907"/>
                  <a:gd name="T49" fmla="*/ 1799 h 3900"/>
                  <a:gd name="T50" fmla="*/ 3404 w 3907"/>
                  <a:gd name="T51" fmla="*/ 1751 h 3900"/>
                  <a:gd name="T52" fmla="*/ 3410 w 3907"/>
                  <a:gd name="T53" fmla="*/ 1706 h 3900"/>
                  <a:gd name="T54" fmla="*/ 3421 w 3907"/>
                  <a:gd name="T55" fmla="*/ 1665 h 3900"/>
                  <a:gd name="T56" fmla="*/ 3437 w 3907"/>
                  <a:gd name="T57" fmla="*/ 1627 h 3900"/>
                  <a:gd name="T58" fmla="*/ 3460 w 3907"/>
                  <a:gd name="T59" fmla="*/ 1591 h 3900"/>
                  <a:gd name="T60" fmla="*/ 3489 w 3907"/>
                  <a:gd name="T61" fmla="*/ 1557 h 3900"/>
                  <a:gd name="T62" fmla="*/ 3524 w 3907"/>
                  <a:gd name="T63" fmla="*/ 1524 h 3900"/>
                  <a:gd name="T64" fmla="*/ 3598 w 3907"/>
                  <a:gd name="T65" fmla="*/ 1461 h 3900"/>
                  <a:gd name="T66" fmla="*/ 3674 w 3907"/>
                  <a:gd name="T67" fmla="*/ 1394 h 3900"/>
                  <a:gd name="T68" fmla="*/ 3747 w 3907"/>
                  <a:gd name="T69" fmla="*/ 1324 h 3900"/>
                  <a:gd name="T70" fmla="*/ 3825 w 3907"/>
                  <a:gd name="T71" fmla="*/ 1250 h 3900"/>
                  <a:gd name="T72" fmla="*/ 3907 w 3907"/>
                  <a:gd name="T73" fmla="*/ 1173 h 3900"/>
                  <a:gd name="T74" fmla="*/ 3907 w 3907"/>
                  <a:gd name="T75" fmla="*/ 1724 h 3900"/>
                  <a:gd name="T76" fmla="*/ 3907 w 3907"/>
                  <a:gd name="T77" fmla="*/ 2271 h 3900"/>
                  <a:gd name="T78" fmla="*/ 3907 w 3907"/>
                  <a:gd name="T79" fmla="*/ 2815 h 3900"/>
                  <a:gd name="T80" fmla="*/ 3907 w 3907"/>
                  <a:gd name="T81" fmla="*/ 3356 h 3900"/>
                  <a:gd name="T82" fmla="*/ 3907 w 3907"/>
                  <a:gd name="T83" fmla="*/ 3900 h 3900"/>
                  <a:gd name="T84" fmla="*/ 0 w 3907"/>
                  <a:gd name="T85" fmla="*/ 3900 h 3900"/>
                  <a:gd name="T86" fmla="*/ 0 w 3907"/>
                  <a:gd name="T87"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7" h="3900">
                    <a:moveTo>
                      <a:pt x="0" y="0"/>
                    </a:moveTo>
                    <a:lnTo>
                      <a:pt x="3706" y="0"/>
                    </a:lnTo>
                    <a:lnTo>
                      <a:pt x="3609" y="87"/>
                    </a:lnTo>
                    <a:lnTo>
                      <a:pt x="3516" y="171"/>
                    </a:lnTo>
                    <a:lnTo>
                      <a:pt x="3425" y="254"/>
                    </a:lnTo>
                    <a:lnTo>
                      <a:pt x="3336" y="334"/>
                    </a:lnTo>
                    <a:lnTo>
                      <a:pt x="3246" y="412"/>
                    </a:lnTo>
                    <a:lnTo>
                      <a:pt x="3157" y="489"/>
                    </a:lnTo>
                    <a:lnTo>
                      <a:pt x="3140" y="498"/>
                    </a:lnTo>
                    <a:lnTo>
                      <a:pt x="3121" y="504"/>
                    </a:lnTo>
                    <a:lnTo>
                      <a:pt x="3098" y="507"/>
                    </a:lnTo>
                    <a:lnTo>
                      <a:pt x="3075" y="508"/>
                    </a:lnTo>
                    <a:lnTo>
                      <a:pt x="3050" y="507"/>
                    </a:lnTo>
                    <a:lnTo>
                      <a:pt x="3026" y="507"/>
                    </a:lnTo>
                    <a:lnTo>
                      <a:pt x="3002" y="505"/>
                    </a:lnTo>
                    <a:lnTo>
                      <a:pt x="715" y="507"/>
                    </a:lnTo>
                    <a:lnTo>
                      <a:pt x="656" y="507"/>
                    </a:lnTo>
                    <a:lnTo>
                      <a:pt x="595" y="507"/>
                    </a:lnTo>
                    <a:lnTo>
                      <a:pt x="529" y="507"/>
                    </a:lnTo>
                    <a:lnTo>
                      <a:pt x="529" y="3382"/>
                    </a:lnTo>
                    <a:lnTo>
                      <a:pt x="3405" y="3382"/>
                    </a:lnTo>
                    <a:lnTo>
                      <a:pt x="3406" y="2980"/>
                    </a:lnTo>
                    <a:lnTo>
                      <a:pt x="3406" y="2584"/>
                    </a:lnTo>
                    <a:lnTo>
                      <a:pt x="3406" y="2191"/>
                    </a:lnTo>
                    <a:lnTo>
                      <a:pt x="3403" y="1799"/>
                    </a:lnTo>
                    <a:lnTo>
                      <a:pt x="3404" y="1751"/>
                    </a:lnTo>
                    <a:lnTo>
                      <a:pt x="3410" y="1706"/>
                    </a:lnTo>
                    <a:lnTo>
                      <a:pt x="3421" y="1665"/>
                    </a:lnTo>
                    <a:lnTo>
                      <a:pt x="3437" y="1627"/>
                    </a:lnTo>
                    <a:lnTo>
                      <a:pt x="3460" y="1591"/>
                    </a:lnTo>
                    <a:lnTo>
                      <a:pt x="3489" y="1557"/>
                    </a:lnTo>
                    <a:lnTo>
                      <a:pt x="3524" y="1524"/>
                    </a:lnTo>
                    <a:lnTo>
                      <a:pt x="3598" y="1461"/>
                    </a:lnTo>
                    <a:lnTo>
                      <a:pt x="3674" y="1394"/>
                    </a:lnTo>
                    <a:lnTo>
                      <a:pt x="3747" y="1324"/>
                    </a:lnTo>
                    <a:lnTo>
                      <a:pt x="3825" y="1250"/>
                    </a:lnTo>
                    <a:lnTo>
                      <a:pt x="3907" y="1173"/>
                    </a:lnTo>
                    <a:lnTo>
                      <a:pt x="3907" y="1724"/>
                    </a:lnTo>
                    <a:lnTo>
                      <a:pt x="3907" y="2271"/>
                    </a:lnTo>
                    <a:lnTo>
                      <a:pt x="3907" y="2815"/>
                    </a:lnTo>
                    <a:lnTo>
                      <a:pt x="3907" y="3356"/>
                    </a:lnTo>
                    <a:lnTo>
                      <a:pt x="3907" y="3900"/>
                    </a:lnTo>
                    <a:lnTo>
                      <a:pt x="0" y="3900"/>
                    </a:lnTo>
                    <a:lnTo>
                      <a:pt x="0" y="0"/>
                    </a:lnTo>
                    <a:close/>
                  </a:path>
                </a:pathLst>
              </a:custGeom>
              <a:solidFill>
                <a:schemeClr val="accent3"/>
              </a:solid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sp>
            <p:nvSpPr>
              <p:cNvPr id="243" name="Freeform 9"/>
              <p:cNvSpPr>
                <a:spLocks/>
              </p:cNvSpPr>
              <p:nvPr/>
            </p:nvSpPr>
            <p:spPr bwMode="auto">
              <a:xfrm>
                <a:off x="-2760898" y="3389480"/>
                <a:ext cx="1548510" cy="1351169"/>
              </a:xfrm>
              <a:custGeom>
                <a:avLst/>
                <a:gdLst>
                  <a:gd name="T0" fmla="*/ 3078 w 3078"/>
                  <a:gd name="T1" fmla="*/ 0 h 2682"/>
                  <a:gd name="T2" fmla="*/ 3078 w 3078"/>
                  <a:gd name="T3" fmla="*/ 157 h 2682"/>
                  <a:gd name="T4" fmla="*/ 3078 w 3078"/>
                  <a:gd name="T5" fmla="*/ 303 h 2682"/>
                  <a:gd name="T6" fmla="*/ 3078 w 3078"/>
                  <a:gd name="T7" fmla="*/ 315 h 2682"/>
                  <a:gd name="T8" fmla="*/ 3078 w 3078"/>
                  <a:gd name="T9" fmla="*/ 454 h 2682"/>
                  <a:gd name="T10" fmla="*/ 3077 w 3078"/>
                  <a:gd name="T11" fmla="*/ 597 h 2682"/>
                  <a:gd name="T12" fmla="*/ 3076 w 3078"/>
                  <a:gd name="T13" fmla="*/ 739 h 2682"/>
                  <a:gd name="T14" fmla="*/ 3072 w 3078"/>
                  <a:gd name="T15" fmla="*/ 755 h 2682"/>
                  <a:gd name="T16" fmla="*/ 3062 w 3078"/>
                  <a:gd name="T17" fmla="*/ 770 h 2682"/>
                  <a:gd name="T18" fmla="*/ 3050 w 3078"/>
                  <a:gd name="T19" fmla="*/ 787 h 2682"/>
                  <a:gd name="T20" fmla="*/ 3036 w 3078"/>
                  <a:gd name="T21" fmla="*/ 801 h 2682"/>
                  <a:gd name="T22" fmla="*/ 3023 w 3078"/>
                  <a:gd name="T23" fmla="*/ 814 h 2682"/>
                  <a:gd name="T24" fmla="*/ 1096 w 3078"/>
                  <a:gd name="T25" fmla="*/ 2666 h 2682"/>
                  <a:gd name="T26" fmla="*/ 1090 w 3078"/>
                  <a:gd name="T27" fmla="*/ 2669 h 2682"/>
                  <a:gd name="T28" fmla="*/ 1082 w 3078"/>
                  <a:gd name="T29" fmla="*/ 2673 h 2682"/>
                  <a:gd name="T30" fmla="*/ 1071 w 3078"/>
                  <a:gd name="T31" fmla="*/ 2676 h 2682"/>
                  <a:gd name="T32" fmla="*/ 1057 w 3078"/>
                  <a:gd name="T33" fmla="*/ 2682 h 2682"/>
                  <a:gd name="T34" fmla="*/ 531 w 3078"/>
                  <a:gd name="T35" fmla="*/ 2131 h 2682"/>
                  <a:gd name="T36" fmla="*/ 0 w 3078"/>
                  <a:gd name="T37" fmla="*/ 1576 h 2682"/>
                  <a:gd name="T38" fmla="*/ 83 w 3078"/>
                  <a:gd name="T39" fmla="*/ 1491 h 2682"/>
                  <a:gd name="T40" fmla="*/ 163 w 3078"/>
                  <a:gd name="T41" fmla="*/ 1408 h 2682"/>
                  <a:gd name="T42" fmla="*/ 240 w 3078"/>
                  <a:gd name="T43" fmla="*/ 1331 h 2682"/>
                  <a:gd name="T44" fmla="*/ 314 w 3078"/>
                  <a:gd name="T45" fmla="*/ 1256 h 2682"/>
                  <a:gd name="T46" fmla="*/ 383 w 3078"/>
                  <a:gd name="T47" fmla="*/ 1184 h 2682"/>
                  <a:gd name="T48" fmla="*/ 562 w 3078"/>
                  <a:gd name="T49" fmla="*/ 1347 h 2682"/>
                  <a:gd name="T50" fmla="*/ 739 w 3078"/>
                  <a:gd name="T51" fmla="*/ 1511 h 2682"/>
                  <a:gd name="T52" fmla="*/ 918 w 3078"/>
                  <a:gd name="T53" fmla="*/ 1674 h 2682"/>
                  <a:gd name="T54" fmla="*/ 1099 w 3078"/>
                  <a:gd name="T55" fmla="*/ 1840 h 2682"/>
                  <a:gd name="T56" fmla="*/ 1374 w 3078"/>
                  <a:gd name="T57" fmla="*/ 1584 h 2682"/>
                  <a:gd name="T58" fmla="*/ 1651 w 3078"/>
                  <a:gd name="T59" fmla="*/ 1326 h 2682"/>
                  <a:gd name="T60" fmla="*/ 1930 w 3078"/>
                  <a:gd name="T61" fmla="*/ 1066 h 2682"/>
                  <a:gd name="T62" fmla="*/ 2213 w 3078"/>
                  <a:gd name="T63" fmla="*/ 804 h 2682"/>
                  <a:gd name="T64" fmla="*/ 2498 w 3078"/>
                  <a:gd name="T65" fmla="*/ 539 h 2682"/>
                  <a:gd name="T66" fmla="*/ 2786 w 3078"/>
                  <a:gd name="T67" fmla="*/ 270 h 2682"/>
                  <a:gd name="T68" fmla="*/ 3078 w 3078"/>
                  <a:gd name="T69" fmla="*/ 0 h 2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8" h="2682">
                    <a:moveTo>
                      <a:pt x="3078" y="0"/>
                    </a:moveTo>
                    <a:lnTo>
                      <a:pt x="3078" y="157"/>
                    </a:lnTo>
                    <a:lnTo>
                      <a:pt x="3078" y="303"/>
                    </a:lnTo>
                    <a:lnTo>
                      <a:pt x="3078" y="315"/>
                    </a:lnTo>
                    <a:lnTo>
                      <a:pt x="3078" y="454"/>
                    </a:lnTo>
                    <a:lnTo>
                      <a:pt x="3077" y="597"/>
                    </a:lnTo>
                    <a:lnTo>
                      <a:pt x="3076" y="739"/>
                    </a:lnTo>
                    <a:lnTo>
                      <a:pt x="3072" y="755"/>
                    </a:lnTo>
                    <a:lnTo>
                      <a:pt x="3062" y="770"/>
                    </a:lnTo>
                    <a:lnTo>
                      <a:pt x="3050" y="787"/>
                    </a:lnTo>
                    <a:lnTo>
                      <a:pt x="3036" y="801"/>
                    </a:lnTo>
                    <a:lnTo>
                      <a:pt x="3023" y="814"/>
                    </a:lnTo>
                    <a:lnTo>
                      <a:pt x="1096" y="2666"/>
                    </a:lnTo>
                    <a:lnTo>
                      <a:pt x="1090" y="2669"/>
                    </a:lnTo>
                    <a:lnTo>
                      <a:pt x="1082" y="2673"/>
                    </a:lnTo>
                    <a:lnTo>
                      <a:pt x="1071" y="2676"/>
                    </a:lnTo>
                    <a:lnTo>
                      <a:pt x="1057" y="2682"/>
                    </a:lnTo>
                    <a:lnTo>
                      <a:pt x="531" y="2131"/>
                    </a:lnTo>
                    <a:lnTo>
                      <a:pt x="0" y="1576"/>
                    </a:lnTo>
                    <a:lnTo>
                      <a:pt x="83" y="1491"/>
                    </a:lnTo>
                    <a:lnTo>
                      <a:pt x="163" y="1408"/>
                    </a:lnTo>
                    <a:lnTo>
                      <a:pt x="240" y="1331"/>
                    </a:lnTo>
                    <a:lnTo>
                      <a:pt x="314" y="1256"/>
                    </a:lnTo>
                    <a:lnTo>
                      <a:pt x="383" y="1184"/>
                    </a:lnTo>
                    <a:lnTo>
                      <a:pt x="562" y="1347"/>
                    </a:lnTo>
                    <a:lnTo>
                      <a:pt x="739" y="1511"/>
                    </a:lnTo>
                    <a:lnTo>
                      <a:pt x="918" y="1674"/>
                    </a:lnTo>
                    <a:lnTo>
                      <a:pt x="1099" y="1840"/>
                    </a:lnTo>
                    <a:lnTo>
                      <a:pt x="1374" y="1584"/>
                    </a:lnTo>
                    <a:lnTo>
                      <a:pt x="1651" y="1326"/>
                    </a:lnTo>
                    <a:lnTo>
                      <a:pt x="1930" y="1066"/>
                    </a:lnTo>
                    <a:lnTo>
                      <a:pt x="2213" y="804"/>
                    </a:lnTo>
                    <a:lnTo>
                      <a:pt x="2498" y="539"/>
                    </a:lnTo>
                    <a:lnTo>
                      <a:pt x="2786" y="270"/>
                    </a:lnTo>
                    <a:lnTo>
                      <a:pt x="3078" y="0"/>
                    </a:lnTo>
                    <a:close/>
                  </a:path>
                </a:pathLst>
              </a:custGeom>
              <a:solidFill>
                <a:schemeClr val="accent3"/>
              </a:solid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grpSp>
        <p:grpSp>
          <p:nvGrpSpPr>
            <p:cNvPr id="244" name="Group 243"/>
            <p:cNvGrpSpPr/>
            <p:nvPr/>
          </p:nvGrpSpPr>
          <p:grpSpPr>
            <a:xfrm>
              <a:off x="4069872" y="3407052"/>
              <a:ext cx="359082" cy="340093"/>
              <a:chOff x="-3127551" y="3189806"/>
              <a:chExt cx="1881884" cy="1782362"/>
            </a:xfrm>
            <a:solidFill>
              <a:schemeClr val="accent5"/>
            </a:solidFill>
            <a:effectLst>
              <a:outerShdw blurRad="50800" dist="38100" dir="8100000" algn="tr" rotWithShape="0">
                <a:prstClr val="black">
                  <a:alpha val="40000"/>
                </a:prstClr>
              </a:outerShdw>
            </a:effectLst>
          </p:grpSpPr>
          <p:sp>
            <p:nvSpPr>
              <p:cNvPr id="245" name="Freeform 8"/>
              <p:cNvSpPr>
                <a:spLocks/>
              </p:cNvSpPr>
              <p:nvPr/>
            </p:nvSpPr>
            <p:spPr bwMode="auto">
              <a:xfrm>
                <a:off x="-3127551" y="3424353"/>
                <a:ext cx="1550989" cy="1547815"/>
              </a:xfrm>
              <a:custGeom>
                <a:avLst/>
                <a:gdLst>
                  <a:gd name="T0" fmla="*/ 0 w 3907"/>
                  <a:gd name="T1" fmla="*/ 0 h 3900"/>
                  <a:gd name="T2" fmla="*/ 3706 w 3907"/>
                  <a:gd name="T3" fmla="*/ 0 h 3900"/>
                  <a:gd name="T4" fmla="*/ 3609 w 3907"/>
                  <a:gd name="T5" fmla="*/ 87 h 3900"/>
                  <a:gd name="T6" fmla="*/ 3516 w 3907"/>
                  <a:gd name="T7" fmla="*/ 171 h 3900"/>
                  <a:gd name="T8" fmla="*/ 3425 w 3907"/>
                  <a:gd name="T9" fmla="*/ 254 h 3900"/>
                  <a:gd name="T10" fmla="*/ 3336 w 3907"/>
                  <a:gd name="T11" fmla="*/ 334 h 3900"/>
                  <a:gd name="T12" fmla="*/ 3246 w 3907"/>
                  <a:gd name="T13" fmla="*/ 412 h 3900"/>
                  <a:gd name="T14" fmla="*/ 3157 w 3907"/>
                  <a:gd name="T15" fmla="*/ 489 h 3900"/>
                  <a:gd name="T16" fmla="*/ 3140 w 3907"/>
                  <a:gd name="T17" fmla="*/ 498 h 3900"/>
                  <a:gd name="T18" fmla="*/ 3121 w 3907"/>
                  <a:gd name="T19" fmla="*/ 504 h 3900"/>
                  <a:gd name="T20" fmla="*/ 3098 w 3907"/>
                  <a:gd name="T21" fmla="*/ 507 h 3900"/>
                  <a:gd name="T22" fmla="*/ 3075 w 3907"/>
                  <a:gd name="T23" fmla="*/ 508 h 3900"/>
                  <a:gd name="T24" fmla="*/ 3050 w 3907"/>
                  <a:gd name="T25" fmla="*/ 507 h 3900"/>
                  <a:gd name="T26" fmla="*/ 3026 w 3907"/>
                  <a:gd name="T27" fmla="*/ 507 h 3900"/>
                  <a:gd name="T28" fmla="*/ 3002 w 3907"/>
                  <a:gd name="T29" fmla="*/ 505 h 3900"/>
                  <a:gd name="T30" fmla="*/ 715 w 3907"/>
                  <a:gd name="T31" fmla="*/ 507 h 3900"/>
                  <a:gd name="T32" fmla="*/ 656 w 3907"/>
                  <a:gd name="T33" fmla="*/ 507 h 3900"/>
                  <a:gd name="T34" fmla="*/ 595 w 3907"/>
                  <a:gd name="T35" fmla="*/ 507 h 3900"/>
                  <a:gd name="T36" fmla="*/ 529 w 3907"/>
                  <a:gd name="T37" fmla="*/ 507 h 3900"/>
                  <a:gd name="T38" fmla="*/ 529 w 3907"/>
                  <a:gd name="T39" fmla="*/ 3382 h 3900"/>
                  <a:gd name="T40" fmla="*/ 3405 w 3907"/>
                  <a:gd name="T41" fmla="*/ 3382 h 3900"/>
                  <a:gd name="T42" fmla="*/ 3406 w 3907"/>
                  <a:gd name="T43" fmla="*/ 2980 h 3900"/>
                  <a:gd name="T44" fmla="*/ 3406 w 3907"/>
                  <a:gd name="T45" fmla="*/ 2584 h 3900"/>
                  <a:gd name="T46" fmla="*/ 3406 w 3907"/>
                  <a:gd name="T47" fmla="*/ 2191 h 3900"/>
                  <a:gd name="T48" fmla="*/ 3403 w 3907"/>
                  <a:gd name="T49" fmla="*/ 1799 h 3900"/>
                  <a:gd name="T50" fmla="*/ 3404 w 3907"/>
                  <a:gd name="T51" fmla="*/ 1751 h 3900"/>
                  <a:gd name="T52" fmla="*/ 3410 w 3907"/>
                  <a:gd name="T53" fmla="*/ 1706 h 3900"/>
                  <a:gd name="T54" fmla="*/ 3421 w 3907"/>
                  <a:gd name="T55" fmla="*/ 1665 h 3900"/>
                  <a:gd name="T56" fmla="*/ 3437 w 3907"/>
                  <a:gd name="T57" fmla="*/ 1627 h 3900"/>
                  <a:gd name="T58" fmla="*/ 3460 w 3907"/>
                  <a:gd name="T59" fmla="*/ 1591 h 3900"/>
                  <a:gd name="T60" fmla="*/ 3489 w 3907"/>
                  <a:gd name="T61" fmla="*/ 1557 h 3900"/>
                  <a:gd name="T62" fmla="*/ 3524 w 3907"/>
                  <a:gd name="T63" fmla="*/ 1524 h 3900"/>
                  <a:gd name="T64" fmla="*/ 3598 w 3907"/>
                  <a:gd name="T65" fmla="*/ 1461 h 3900"/>
                  <a:gd name="T66" fmla="*/ 3674 w 3907"/>
                  <a:gd name="T67" fmla="*/ 1394 h 3900"/>
                  <a:gd name="T68" fmla="*/ 3747 w 3907"/>
                  <a:gd name="T69" fmla="*/ 1324 h 3900"/>
                  <a:gd name="T70" fmla="*/ 3825 w 3907"/>
                  <a:gd name="T71" fmla="*/ 1250 h 3900"/>
                  <a:gd name="T72" fmla="*/ 3907 w 3907"/>
                  <a:gd name="T73" fmla="*/ 1173 h 3900"/>
                  <a:gd name="T74" fmla="*/ 3907 w 3907"/>
                  <a:gd name="T75" fmla="*/ 1724 h 3900"/>
                  <a:gd name="T76" fmla="*/ 3907 w 3907"/>
                  <a:gd name="T77" fmla="*/ 2271 h 3900"/>
                  <a:gd name="T78" fmla="*/ 3907 w 3907"/>
                  <a:gd name="T79" fmla="*/ 2815 h 3900"/>
                  <a:gd name="T80" fmla="*/ 3907 w 3907"/>
                  <a:gd name="T81" fmla="*/ 3356 h 3900"/>
                  <a:gd name="T82" fmla="*/ 3907 w 3907"/>
                  <a:gd name="T83" fmla="*/ 3900 h 3900"/>
                  <a:gd name="T84" fmla="*/ 0 w 3907"/>
                  <a:gd name="T85" fmla="*/ 3900 h 3900"/>
                  <a:gd name="T86" fmla="*/ 0 w 3907"/>
                  <a:gd name="T87"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7" h="3900">
                    <a:moveTo>
                      <a:pt x="0" y="0"/>
                    </a:moveTo>
                    <a:lnTo>
                      <a:pt x="3706" y="0"/>
                    </a:lnTo>
                    <a:lnTo>
                      <a:pt x="3609" y="87"/>
                    </a:lnTo>
                    <a:lnTo>
                      <a:pt x="3516" y="171"/>
                    </a:lnTo>
                    <a:lnTo>
                      <a:pt x="3425" y="254"/>
                    </a:lnTo>
                    <a:lnTo>
                      <a:pt x="3336" y="334"/>
                    </a:lnTo>
                    <a:lnTo>
                      <a:pt x="3246" y="412"/>
                    </a:lnTo>
                    <a:lnTo>
                      <a:pt x="3157" y="489"/>
                    </a:lnTo>
                    <a:lnTo>
                      <a:pt x="3140" y="498"/>
                    </a:lnTo>
                    <a:lnTo>
                      <a:pt x="3121" y="504"/>
                    </a:lnTo>
                    <a:lnTo>
                      <a:pt x="3098" y="507"/>
                    </a:lnTo>
                    <a:lnTo>
                      <a:pt x="3075" y="508"/>
                    </a:lnTo>
                    <a:lnTo>
                      <a:pt x="3050" y="507"/>
                    </a:lnTo>
                    <a:lnTo>
                      <a:pt x="3026" y="507"/>
                    </a:lnTo>
                    <a:lnTo>
                      <a:pt x="3002" y="505"/>
                    </a:lnTo>
                    <a:lnTo>
                      <a:pt x="715" y="507"/>
                    </a:lnTo>
                    <a:lnTo>
                      <a:pt x="656" y="507"/>
                    </a:lnTo>
                    <a:lnTo>
                      <a:pt x="595" y="507"/>
                    </a:lnTo>
                    <a:lnTo>
                      <a:pt x="529" y="507"/>
                    </a:lnTo>
                    <a:lnTo>
                      <a:pt x="529" y="3382"/>
                    </a:lnTo>
                    <a:lnTo>
                      <a:pt x="3405" y="3382"/>
                    </a:lnTo>
                    <a:lnTo>
                      <a:pt x="3406" y="2980"/>
                    </a:lnTo>
                    <a:lnTo>
                      <a:pt x="3406" y="2584"/>
                    </a:lnTo>
                    <a:lnTo>
                      <a:pt x="3406" y="2191"/>
                    </a:lnTo>
                    <a:lnTo>
                      <a:pt x="3403" y="1799"/>
                    </a:lnTo>
                    <a:lnTo>
                      <a:pt x="3404" y="1751"/>
                    </a:lnTo>
                    <a:lnTo>
                      <a:pt x="3410" y="1706"/>
                    </a:lnTo>
                    <a:lnTo>
                      <a:pt x="3421" y="1665"/>
                    </a:lnTo>
                    <a:lnTo>
                      <a:pt x="3437" y="1627"/>
                    </a:lnTo>
                    <a:lnTo>
                      <a:pt x="3460" y="1591"/>
                    </a:lnTo>
                    <a:lnTo>
                      <a:pt x="3489" y="1557"/>
                    </a:lnTo>
                    <a:lnTo>
                      <a:pt x="3524" y="1524"/>
                    </a:lnTo>
                    <a:lnTo>
                      <a:pt x="3598" y="1461"/>
                    </a:lnTo>
                    <a:lnTo>
                      <a:pt x="3674" y="1394"/>
                    </a:lnTo>
                    <a:lnTo>
                      <a:pt x="3747" y="1324"/>
                    </a:lnTo>
                    <a:lnTo>
                      <a:pt x="3825" y="1250"/>
                    </a:lnTo>
                    <a:lnTo>
                      <a:pt x="3907" y="1173"/>
                    </a:lnTo>
                    <a:lnTo>
                      <a:pt x="3907" y="1724"/>
                    </a:lnTo>
                    <a:lnTo>
                      <a:pt x="3907" y="2271"/>
                    </a:lnTo>
                    <a:lnTo>
                      <a:pt x="3907" y="2815"/>
                    </a:lnTo>
                    <a:lnTo>
                      <a:pt x="3907" y="3356"/>
                    </a:lnTo>
                    <a:lnTo>
                      <a:pt x="3907" y="3900"/>
                    </a:lnTo>
                    <a:lnTo>
                      <a:pt x="0" y="3900"/>
                    </a:lnTo>
                    <a:lnTo>
                      <a:pt x="0" y="0"/>
                    </a:lnTo>
                    <a:close/>
                  </a:path>
                </a:pathLst>
              </a:custGeom>
              <a:solidFill>
                <a:schemeClr val="accent3"/>
              </a:solid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sp>
            <p:nvSpPr>
              <p:cNvPr id="246" name="Freeform 9"/>
              <p:cNvSpPr>
                <a:spLocks/>
              </p:cNvSpPr>
              <p:nvPr/>
            </p:nvSpPr>
            <p:spPr bwMode="auto">
              <a:xfrm>
                <a:off x="-2794177" y="3189806"/>
                <a:ext cx="1548510" cy="1351169"/>
              </a:xfrm>
              <a:custGeom>
                <a:avLst/>
                <a:gdLst>
                  <a:gd name="T0" fmla="*/ 3078 w 3078"/>
                  <a:gd name="T1" fmla="*/ 0 h 2682"/>
                  <a:gd name="T2" fmla="*/ 3078 w 3078"/>
                  <a:gd name="T3" fmla="*/ 157 h 2682"/>
                  <a:gd name="T4" fmla="*/ 3078 w 3078"/>
                  <a:gd name="T5" fmla="*/ 303 h 2682"/>
                  <a:gd name="T6" fmla="*/ 3078 w 3078"/>
                  <a:gd name="T7" fmla="*/ 315 h 2682"/>
                  <a:gd name="T8" fmla="*/ 3078 w 3078"/>
                  <a:gd name="T9" fmla="*/ 454 h 2682"/>
                  <a:gd name="T10" fmla="*/ 3077 w 3078"/>
                  <a:gd name="T11" fmla="*/ 597 h 2682"/>
                  <a:gd name="T12" fmla="*/ 3076 w 3078"/>
                  <a:gd name="T13" fmla="*/ 739 h 2682"/>
                  <a:gd name="T14" fmla="*/ 3072 w 3078"/>
                  <a:gd name="T15" fmla="*/ 755 h 2682"/>
                  <a:gd name="T16" fmla="*/ 3062 w 3078"/>
                  <a:gd name="T17" fmla="*/ 770 h 2682"/>
                  <a:gd name="T18" fmla="*/ 3050 w 3078"/>
                  <a:gd name="T19" fmla="*/ 787 h 2682"/>
                  <a:gd name="T20" fmla="*/ 3036 w 3078"/>
                  <a:gd name="T21" fmla="*/ 801 h 2682"/>
                  <a:gd name="T22" fmla="*/ 3023 w 3078"/>
                  <a:gd name="T23" fmla="*/ 814 h 2682"/>
                  <a:gd name="T24" fmla="*/ 1096 w 3078"/>
                  <a:gd name="T25" fmla="*/ 2666 h 2682"/>
                  <a:gd name="T26" fmla="*/ 1090 w 3078"/>
                  <a:gd name="T27" fmla="*/ 2669 h 2682"/>
                  <a:gd name="T28" fmla="*/ 1082 w 3078"/>
                  <a:gd name="T29" fmla="*/ 2673 h 2682"/>
                  <a:gd name="T30" fmla="*/ 1071 w 3078"/>
                  <a:gd name="T31" fmla="*/ 2676 h 2682"/>
                  <a:gd name="T32" fmla="*/ 1057 w 3078"/>
                  <a:gd name="T33" fmla="*/ 2682 h 2682"/>
                  <a:gd name="T34" fmla="*/ 531 w 3078"/>
                  <a:gd name="T35" fmla="*/ 2131 h 2682"/>
                  <a:gd name="T36" fmla="*/ 0 w 3078"/>
                  <a:gd name="T37" fmla="*/ 1576 h 2682"/>
                  <a:gd name="T38" fmla="*/ 83 w 3078"/>
                  <a:gd name="T39" fmla="*/ 1491 h 2682"/>
                  <a:gd name="T40" fmla="*/ 163 w 3078"/>
                  <a:gd name="T41" fmla="*/ 1408 h 2682"/>
                  <a:gd name="T42" fmla="*/ 240 w 3078"/>
                  <a:gd name="T43" fmla="*/ 1331 h 2682"/>
                  <a:gd name="T44" fmla="*/ 314 w 3078"/>
                  <a:gd name="T45" fmla="*/ 1256 h 2682"/>
                  <a:gd name="T46" fmla="*/ 383 w 3078"/>
                  <a:gd name="T47" fmla="*/ 1184 h 2682"/>
                  <a:gd name="T48" fmla="*/ 562 w 3078"/>
                  <a:gd name="T49" fmla="*/ 1347 h 2682"/>
                  <a:gd name="T50" fmla="*/ 739 w 3078"/>
                  <a:gd name="T51" fmla="*/ 1511 h 2682"/>
                  <a:gd name="T52" fmla="*/ 918 w 3078"/>
                  <a:gd name="T53" fmla="*/ 1674 h 2682"/>
                  <a:gd name="T54" fmla="*/ 1099 w 3078"/>
                  <a:gd name="T55" fmla="*/ 1840 h 2682"/>
                  <a:gd name="T56" fmla="*/ 1374 w 3078"/>
                  <a:gd name="T57" fmla="*/ 1584 h 2682"/>
                  <a:gd name="T58" fmla="*/ 1651 w 3078"/>
                  <a:gd name="T59" fmla="*/ 1326 h 2682"/>
                  <a:gd name="T60" fmla="*/ 1930 w 3078"/>
                  <a:gd name="T61" fmla="*/ 1066 h 2682"/>
                  <a:gd name="T62" fmla="*/ 2213 w 3078"/>
                  <a:gd name="T63" fmla="*/ 804 h 2682"/>
                  <a:gd name="T64" fmla="*/ 2498 w 3078"/>
                  <a:gd name="T65" fmla="*/ 539 h 2682"/>
                  <a:gd name="T66" fmla="*/ 2786 w 3078"/>
                  <a:gd name="T67" fmla="*/ 270 h 2682"/>
                  <a:gd name="T68" fmla="*/ 3078 w 3078"/>
                  <a:gd name="T69" fmla="*/ 0 h 2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8" h="2682">
                    <a:moveTo>
                      <a:pt x="3078" y="0"/>
                    </a:moveTo>
                    <a:lnTo>
                      <a:pt x="3078" y="157"/>
                    </a:lnTo>
                    <a:lnTo>
                      <a:pt x="3078" y="303"/>
                    </a:lnTo>
                    <a:lnTo>
                      <a:pt x="3078" y="315"/>
                    </a:lnTo>
                    <a:lnTo>
                      <a:pt x="3078" y="454"/>
                    </a:lnTo>
                    <a:lnTo>
                      <a:pt x="3077" y="597"/>
                    </a:lnTo>
                    <a:lnTo>
                      <a:pt x="3076" y="739"/>
                    </a:lnTo>
                    <a:lnTo>
                      <a:pt x="3072" y="755"/>
                    </a:lnTo>
                    <a:lnTo>
                      <a:pt x="3062" y="770"/>
                    </a:lnTo>
                    <a:lnTo>
                      <a:pt x="3050" y="787"/>
                    </a:lnTo>
                    <a:lnTo>
                      <a:pt x="3036" y="801"/>
                    </a:lnTo>
                    <a:lnTo>
                      <a:pt x="3023" y="814"/>
                    </a:lnTo>
                    <a:lnTo>
                      <a:pt x="1096" y="2666"/>
                    </a:lnTo>
                    <a:lnTo>
                      <a:pt x="1090" y="2669"/>
                    </a:lnTo>
                    <a:lnTo>
                      <a:pt x="1082" y="2673"/>
                    </a:lnTo>
                    <a:lnTo>
                      <a:pt x="1071" y="2676"/>
                    </a:lnTo>
                    <a:lnTo>
                      <a:pt x="1057" y="2682"/>
                    </a:lnTo>
                    <a:lnTo>
                      <a:pt x="531" y="2131"/>
                    </a:lnTo>
                    <a:lnTo>
                      <a:pt x="0" y="1576"/>
                    </a:lnTo>
                    <a:lnTo>
                      <a:pt x="83" y="1491"/>
                    </a:lnTo>
                    <a:lnTo>
                      <a:pt x="163" y="1408"/>
                    </a:lnTo>
                    <a:lnTo>
                      <a:pt x="240" y="1331"/>
                    </a:lnTo>
                    <a:lnTo>
                      <a:pt x="314" y="1256"/>
                    </a:lnTo>
                    <a:lnTo>
                      <a:pt x="383" y="1184"/>
                    </a:lnTo>
                    <a:lnTo>
                      <a:pt x="562" y="1347"/>
                    </a:lnTo>
                    <a:lnTo>
                      <a:pt x="739" y="1511"/>
                    </a:lnTo>
                    <a:lnTo>
                      <a:pt x="918" y="1674"/>
                    </a:lnTo>
                    <a:lnTo>
                      <a:pt x="1099" y="1840"/>
                    </a:lnTo>
                    <a:lnTo>
                      <a:pt x="1374" y="1584"/>
                    </a:lnTo>
                    <a:lnTo>
                      <a:pt x="1651" y="1326"/>
                    </a:lnTo>
                    <a:lnTo>
                      <a:pt x="1930" y="1066"/>
                    </a:lnTo>
                    <a:lnTo>
                      <a:pt x="2213" y="804"/>
                    </a:lnTo>
                    <a:lnTo>
                      <a:pt x="2498" y="539"/>
                    </a:lnTo>
                    <a:lnTo>
                      <a:pt x="2786" y="270"/>
                    </a:lnTo>
                    <a:lnTo>
                      <a:pt x="3078" y="0"/>
                    </a:lnTo>
                    <a:close/>
                  </a:path>
                </a:pathLst>
              </a:custGeom>
              <a:solidFill>
                <a:schemeClr val="accent3"/>
              </a:solid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grpSp>
        <p:grpSp>
          <p:nvGrpSpPr>
            <p:cNvPr id="247" name="Group 246"/>
            <p:cNvGrpSpPr/>
            <p:nvPr/>
          </p:nvGrpSpPr>
          <p:grpSpPr>
            <a:xfrm>
              <a:off x="4901001" y="4291089"/>
              <a:ext cx="359082" cy="340093"/>
              <a:chOff x="-3293946" y="3189806"/>
              <a:chExt cx="1881884" cy="1782362"/>
            </a:xfrm>
            <a:solidFill>
              <a:schemeClr val="accent5"/>
            </a:solidFill>
            <a:effectLst>
              <a:outerShdw blurRad="50800" dist="38100" dir="8100000" algn="tr" rotWithShape="0">
                <a:prstClr val="black">
                  <a:alpha val="40000"/>
                </a:prstClr>
              </a:outerShdw>
            </a:effectLst>
          </p:grpSpPr>
          <p:sp>
            <p:nvSpPr>
              <p:cNvPr id="248" name="Freeform 8"/>
              <p:cNvSpPr>
                <a:spLocks/>
              </p:cNvSpPr>
              <p:nvPr/>
            </p:nvSpPr>
            <p:spPr bwMode="auto">
              <a:xfrm>
                <a:off x="-3293946" y="3424353"/>
                <a:ext cx="1550989" cy="1547815"/>
              </a:xfrm>
              <a:custGeom>
                <a:avLst/>
                <a:gdLst>
                  <a:gd name="T0" fmla="*/ 0 w 3907"/>
                  <a:gd name="T1" fmla="*/ 0 h 3900"/>
                  <a:gd name="T2" fmla="*/ 3706 w 3907"/>
                  <a:gd name="T3" fmla="*/ 0 h 3900"/>
                  <a:gd name="T4" fmla="*/ 3609 w 3907"/>
                  <a:gd name="T5" fmla="*/ 87 h 3900"/>
                  <a:gd name="T6" fmla="*/ 3516 w 3907"/>
                  <a:gd name="T7" fmla="*/ 171 h 3900"/>
                  <a:gd name="T8" fmla="*/ 3425 w 3907"/>
                  <a:gd name="T9" fmla="*/ 254 h 3900"/>
                  <a:gd name="T10" fmla="*/ 3336 w 3907"/>
                  <a:gd name="T11" fmla="*/ 334 h 3900"/>
                  <a:gd name="T12" fmla="*/ 3246 w 3907"/>
                  <a:gd name="T13" fmla="*/ 412 h 3900"/>
                  <a:gd name="T14" fmla="*/ 3157 w 3907"/>
                  <a:gd name="T15" fmla="*/ 489 h 3900"/>
                  <a:gd name="T16" fmla="*/ 3140 w 3907"/>
                  <a:gd name="T17" fmla="*/ 498 h 3900"/>
                  <a:gd name="T18" fmla="*/ 3121 w 3907"/>
                  <a:gd name="T19" fmla="*/ 504 h 3900"/>
                  <a:gd name="T20" fmla="*/ 3098 w 3907"/>
                  <a:gd name="T21" fmla="*/ 507 h 3900"/>
                  <a:gd name="T22" fmla="*/ 3075 w 3907"/>
                  <a:gd name="T23" fmla="*/ 508 h 3900"/>
                  <a:gd name="T24" fmla="*/ 3050 w 3907"/>
                  <a:gd name="T25" fmla="*/ 507 h 3900"/>
                  <a:gd name="T26" fmla="*/ 3026 w 3907"/>
                  <a:gd name="T27" fmla="*/ 507 h 3900"/>
                  <a:gd name="T28" fmla="*/ 3002 w 3907"/>
                  <a:gd name="T29" fmla="*/ 505 h 3900"/>
                  <a:gd name="T30" fmla="*/ 715 w 3907"/>
                  <a:gd name="T31" fmla="*/ 507 h 3900"/>
                  <a:gd name="T32" fmla="*/ 656 w 3907"/>
                  <a:gd name="T33" fmla="*/ 507 h 3900"/>
                  <a:gd name="T34" fmla="*/ 595 w 3907"/>
                  <a:gd name="T35" fmla="*/ 507 h 3900"/>
                  <a:gd name="T36" fmla="*/ 529 w 3907"/>
                  <a:gd name="T37" fmla="*/ 507 h 3900"/>
                  <a:gd name="T38" fmla="*/ 529 w 3907"/>
                  <a:gd name="T39" fmla="*/ 3382 h 3900"/>
                  <a:gd name="T40" fmla="*/ 3405 w 3907"/>
                  <a:gd name="T41" fmla="*/ 3382 h 3900"/>
                  <a:gd name="T42" fmla="*/ 3406 w 3907"/>
                  <a:gd name="T43" fmla="*/ 2980 h 3900"/>
                  <a:gd name="T44" fmla="*/ 3406 w 3907"/>
                  <a:gd name="T45" fmla="*/ 2584 h 3900"/>
                  <a:gd name="T46" fmla="*/ 3406 w 3907"/>
                  <a:gd name="T47" fmla="*/ 2191 h 3900"/>
                  <a:gd name="T48" fmla="*/ 3403 w 3907"/>
                  <a:gd name="T49" fmla="*/ 1799 h 3900"/>
                  <a:gd name="T50" fmla="*/ 3404 w 3907"/>
                  <a:gd name="T51" fmla="*/ 1751 h 3900"/>
                  <a:gd name="T52" fmla="*/ 3410 w 3907"/>
                  <a:gd name="T53" fmla="*/ 1706 h 3900"/>
                  <a:gd name="T54" fmla="*/ 3421 w 3907"/>
                  <a:gd name="T55" fmla="*/ 1665 h 3900"/>
                  <a:gd name="T56" fmla="*/ 3437 w 3907"/>
                  <a:gd name="T57" fmla="*/ 1627 h 3900"/>
                  <a:gd name="T58" fmla="*/ 3460 w 3907"/>
                  <a:gd name="T59" fmla="*/ 1591 h 3900"/>
                  <a:gd name="T60" fmla="*/ 3489 w 3907"/>
                  <a:gd name="T61" fmla="*/ 1557 h 3900"/>
                  <a:gd name="T62" fmla="*/ 3524 w 3907"/>
                  <a:gd name="T63" fmla="*/ 1524 h 3900"/>
                  <a:gd name="T64" fmla="*/ 3598 w 3907"/>
                  <a:gd name="T65" fmla="*/ 1461 h 3900"/>
                  <a:gd name="T66" fmla="*/ 3674 w 3907"/>
                  <a:gd name="T67" fmla="*/ 1394 h 3900"/>
                  <a:gd name="T68" fmla="*/ 3747 w 3907"/>
                  <a:gd name="T69" fmla="*/ 1324 h 3900"/>
                  <a:gd name="T70" fmla="*/ 3825 w 3907"/>
                  <a:gd name="T71" fmla="*/ 1250 h 3900"/>
                  <a:gd name="T72" fmla="*/ 3907 w 3907"/>
                  <a:gd name="T73" fmla="*/ 1173 h 3900"/>
                  <a:gd name="T74" fmla="*/ 3907 w 3907"/>
                  <a:gd name="T75" fmla="*/ 1724 h 3900"/>
                  <a:gd name="T76" fmla="*/ 3907 w 3907"/>
                  <a:gd name="T77" fmla="*/ 2271 h 3900"/>
                  <a:gd name="T78" fmla="*/ 3907 w 3907"/>
                  <a:gd name="T79" fmla="*/ 2815 h 3900"/>
                  <a:gd name="T80" fmla="*/ 3907 w 3907"/>
                  <a:gd name="T81" fmla="*/ 3356 h 3900"/>
                  <a:gd name="T82" fmla="*/ 3907 w 3907"/>
                  <a:gd name="T83" fmla="*/ 3900 h 3900"/>
                  <a:gd name="T84" fmla="*/ 0 w 3907"/>
                  <a:gd name="T85" fmla="*/ 3900 h 3900"/>
                  <a:gd name="T86" fmla="*/ 0 w 3907"/>
                  <a:gd name="T87"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7" h="3900">
                    <a:moveTo>
                      <a:pt x="0" y="0"/>
                    </a:moveTo>
                    <a:lnTo>
                      <a:pt x="3706" y="0"/>
                    </a:lnTo>
                    <a:lnTo>
                      <a:pt x="3609" y="87"/>
                    </a:lnTo>
                    <a:lnTo>
                      <a:pt x="3516" y="171"/>
                    </a:lnTo>
                    <a:lnTo>
                      <a:pt x="3425" y="254"/>
                    </a:lnTo>
                    <a:lnTo>
                      <a:pt x="3336" y="334"/>
                    </a:lnTo>
                    <a:lnTo>
                      <a:pt x="3246" y="412"/>
                    </a:lnTo>
                    <a:lnTo>
                      <a:pt x="3157" y="489"/>
                    </a:lnTo>
                    <a:lnTo>
                      <a:pt x="3140" y="498"/>
                    </a:lnTo>
                    <a:lnTo>
                      <a:pt x="3121" y="504"/>
                    </a:lnTo>
                    <a:lnTo>
                      <a:pt x="3098" y="507"/>
                    </a:lnTo>
                    <a:lnTo>
                      <a:pt x="3075" y="508"/>
                    </a:lnTo>
                    <a:lnTo>
                      <a:pt x="3050" y="507"/>
                    </a:lnTo>
                    <a:lnTo>
                      <a:pt x="3026" y="507"/>
                    </a:lnTo>
                    <a:lnTo>
                      <a:pt x="3002" y="505"/>
                    </a:lnTo>
                    <a:lnTo>
                      <a:pt x="715" y="507"/>
                    </a:lnTo>
                    <a:lnTo>
                      <a:pt x="656" y="507"/>
                    </a:lnTo>
                    <a:lnTo>
                      <a:pt x="595" y="507"/>
                    </a:lnTo>
                    <a:lnTo>
                      <a:pt x="529" y="507"/>
                    </a:lnTo>
                    <a:lnTo>
                      <a:pt x="529" y="3382"/>
                    </a:lnTo>
                    <a:lnTo>
                      <a:pt x="3405" y="3382"/>
                    </a:lnTo>
                    <a:lnTo>
                      <a:pt x="3406" y="2980"/>
                    </a:lnTo>
                    <a:lnTo>
                      <a:pt x="3406" y="2584"/>
                    </a:lnTo>
                    <a:lnTo>
                      <a:pt x="3406" y="2191"/>
                    </a:lnTo>
                    <a:lnTo>
                      <a:pt x="3403" y="1799"/>
                    </a:lnTo>
                    <a:lnTo>
                      <a:pt x="3404" y="1751"/>
                    </a:lnTo>
                    <a:lnTo>
                      <a:pt x="3410" y="1706"/>
                    </a:lnTo>
                    <a:lnTo>
                      <a:pt x="3421" y="1665"/>
                    </a:lnTo>
                    <a:lnTo>
                      <a:pt x="3437" y="1627"/>
                    </a:lnTo>
                    <a:lnTo>
                      <a:pt x="3460" y="1591"/>
                    </a:lnTo>
                    <a:lnTo>
                      <a:pt x="3489" y="1557"/>
                    </a:lnTo>
                    <a:lnTo>
                      <a:pt x="3524" y="1524"/>
                    </a:lnTo>
                    <a:lnTo>
                      <a:pt x="3598" y="1461"/>
                    </a:lnTo>
                    <a:lnTo>
                      <a:pt x="3674" y="1394"/>
                    </a:lnTo>
                    <a:lnTo>
                      <a:pt x="3747" y="1324"/>
                    </a:lnTo>
                    <a:lnTo>
                      <a:pt x="3825" y="1250"/>
                    </a:lnTo>
                    <a:lnTo>
                      <a:pt x="3907" y="1173"/>
                    </a:lnTo>
                    <a:lnTo>
                      <a:pt x="3907" y="1724"/>
                    </a:lnTo>
                    <a:lnTo>
                      <a:pt x="3907" y="2271"/>
                    </a:lnTo>
                    <a:lnTo>
                      <a:pt x="3907" y="2815"/>
                    </a:lnTo>
                    <a:lnTo>
                      <a:pt x="3907" y="3356"/>
                    </a:lnTo>
                    <a:lnTo>
                      <a:pt x="3907" y="3900"/>
                    </a:lnTo>
                    <a:lnTo>
                      <a:pt x="0" y="3900"/>
                    </a:lnTo>
                    <a:lnTo>
                      <a:pt x="0" y="0"/>
                    </a:lnTo>
                    <a:close/>
                  </a:path>
                </a:pathLst>
              </a:custGeom>
              <a:solidFill>
                <a:schemeClr val="accent3"/>
              </a:solid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sp>
            <p:nvSpPr>
              <p:cNvPr id="249" name="Freeform 9"/>
              <p:cNvSpPr>
                <a:spLocks/>
              </p:cNvSpPr>
              <p:nvPr/>
            </p:nvSpPr>
            <p:spPr bwMode="auto">
              <a:xfrm>
                <a:off x="-2960572" y="3189806"/>
                <a:ext cx="1548510" cy="1351169"/>
              </a:xfrm>
              <a:custGeom>
                <a:avLst/>
                <a:gdLst>
                  <a:gd name="T0" fmla="*/ 3078 w 3078"/>
                  <a:gd name="T1" fmla="*/ 0 h 2682"/>
                  <a:gd name="T2" fmla="*/ 3078 w 3078"/>
                  <a:gd name="T3" fmla="*/ 157 h 2682"/>
                  <a:gd name="T4" fmla="*/ 3078 w 3078"/>
                  <a:gd name="T5" fmla="*/ 303 h 2682"/>
                  <a:gd name="T6" fmla="*/ 3078 w 3078"/>
                  <a:gd name="T7" fmla="*/ 315 h 2682"/>
                  <a:gd name="T8" fmla="*/ 3078 w 3078"/>
                  <a:gd name="T9" fmla="*/ 454 h 2682"/>
                  <a:gd name="T10" fmla="*/ 3077 w 3078"/>
                  <a:gd name="T11" fmla="*/ 597 h 2682"/>
                  <a:gd name="T12" fmla="*/ 3076 w 3078"/>
                  <a:gd name="T13" fmla="*/ 739 h 2682"/>
                  <a:gd name="T14" fmla="*/ 3072 w 3078"/>
                  <a:gd name="T15" fmla="*/ 755 h 2682"/>
                  <a:gd name="T16" fmla="*/ 3062 w 3078"/>
                  <a:gd name="T17" fmla="*/ 770 h 2682"/>
                  <a:gd name="T18" fmla="*/ 3050 w 3078"/>
                  <a:gd name="T19" fmla="*/ 787 h 2682"/>
                  <a:gd name="T20" fmla="*/ 3036 w 3078"/>
                  <a:gd name="T21" fmla="*/ 801 h 2682"/>
                  <a:gd name="T22" fmla="*/ 3023 w 3078"/>
                  <a:gd name="T23" fmla="*/ 814 h 2682"/>
                  <a:gd name="T24" fmla="*/ 1096 w 3078"/>
                  <a:gd name="T25" fmla="*/ 2666 h 2682"/>
                  <a:gd name="T26" fmla="*/ 1090 w 3078"/>
                  <a:gd name="T27" fmla="*/ 2669 h 2682"/>
                  <a:gd name="T28" fmla="*/ 1082 w 3078"/>
                  <a:gd name="T29" fmla="*/ 2673 h 2682"/>
                  <a:gd name="T30" fmla="*/ 1071 w 3078"/>
                  <a:gd name="T31" fmla="*/ 2676 h 2682"/>
                  <a:gd name="T32" fmla="*/ 1057 w 3078"/>
                  <a:gd name="T33" fmla="*/ 2682 h 2682"/>
                  <a:gd name="T34" fmla="*/ 531 w 3078"/>
                  <a:gd name="T35" fmla="*/ 2131 h 2682"/>
                  <a:gd name="T36" fmla="*/ 0 w 3078"/>
                  <a:gd name="T37" fmla="*/ 1576 h 2682"/>
                  <a:gd name="T38" fmla="*/ 83 w 3078"/>
                  <a:gd name="T39" fmla="*/ 1491 h 2682"/>
                  <a:gd name="T40" fmla="*/ 163 w 3078"/>
                  <a:gd name="T41" fmla="*/ 1408 h 2682"/>
                  <a:gd name="T42" fmla="*/ 240 w 3078"/>
                  <a:gd name="T43" fmla="*/ 1331 h 2682"/>
                  <a:gd name="T44" fmla="*/ 314 w 3078"/>
                  <a:gd name="T45" fmla="*/ 1256 h 2682"/>
                  <a:gd name="T46" fmla="*/ 383 w 3078"/>
                  <a:gd name="T47" fmla="*/ 1184 h 2682"/>
                  <a:gd name="T48" fmla="*/ 562 w 3078"/>
                  <a:gd name="T49" fmla="*/ 1347 h 2682"/>
                  <a:gd name="T50" fmla="*/ 739 w 3078"/>
                  <a:gd name="T51" fmla="*/ 1511 h 2682"/>
                  <a:gd name="T52" fmla="*/ 918 w 3078"/>
                  <a:gd name="T53" fmla="*/ 1674 h 2682"/>
                  <a:gd name="T54" fmla="*/ 1099 w 3078"/>
                  <a:gd name="T55" fmla="*/ 1840 h 2682"/>
                  <a:gd name="T56" fmla="*/ 1374 w 3078"/>
                  <a:gd name="T57" fmla="*/ 1584 h 2682"/>
                  <a:gd name="T58" fmla="*/ 1651 w 3078"/>
                  <a:gd name="T59" fmla="*/ 1326 h 2682"/>
                  <a:gd name="T60" fmla="*/ 1930 w 3078"/>
                  <a:gd name="T61" fmla="*/ 1066 h 2682"/>
                  <a:gd name="T62" fmla="*/ 2213 w 3078"/>
                  <a:gd name="T63" fmla="*/ 804 h 2682"/>
                  <a:gd name="T64" fmla="*/ 2498 w 3078"/>
                  <a:gd name="T65" fmla="*/ 539 h 2682"/>
                  <a:gd name="T66" fmla="*/ 2786 w 3078"/>
                  <a:gd name="T67" fmla="*/ 270 h 2682"/>
                  <a:gd name="T68" fmla="*/ 3078 w 3078"/>
                  <a:gd name="T69" fmla="*/ 0 h 2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8" h="2682">
                    <a:moveTo>
                      <a:pt x="3078" y="0"/>
                    </a:moveTo>
                    <a:lnTo>
                      <a:pt x="3078" y="157"/>
                    </a:lnTo>
                    <a:lnTo>
                      <a:pt x="3078" y="303"/>
                    </a:lnTo>
                    <a:lnTo>
                      <a:pt x="3078" y="315"/>
                    </a:lnTo>
                    <a:lnTo>
                      <a:pt x="3078" y="454"/>
                    </a:lnTo>
                    <a:lnTo>
                      <a:pt x="3077" y="597"/>
                    </a:lnTo>
                    <a:lnTo>
                      <a:pt x="3076" y="739"/>
                    </a:lnTo>
                    <a:lnTo>
                      <a:pt x="3072" y="755"/>
                    </a:lnTo>
                    <a:lnTo>
                      <a:pt x="3062" y="770"/>
                    </a:lnTo>
                    <a:lnTo>
                      <a:pt x="3050" y="787"/>
                    </a:lnTo>
                    <a:lnTo>
                      <a:pt x="3036" y="801"/>
                    </a:lnTo>
                    <a:lnTo>
                      <a:pt x="3023" y="814"/>
                    </a:lnTo>
                    <a:lnTo>
                      <a:pt x="1096" y="2666"/>
                    </a:lnTo>
                    <a:lnTo>
                      <a:pt x="1090" y="2669"/>
                    </a:lnTo>
                    <a:lnTo>
                      <a:pt x="1082" y="2673"/>
                    </a:lnTo>
                    <a:lnTo>
                      <a:pt x="1071" y="2676"/>
                    </a:lnTo>
                    <a:lnTo>
                      <a:pt x="1057" y="2682"/>
                    </a:lnTo>
                    <a:lnTo>
                      <a:pt x="531" y="2131"/>
                    </a:lnTo>
                    <a:lnTo>
                      <a:pt x="0" y="1576"/>
                    </a:lnTo>
                    <a:lnTo>
                      <a:pt x="83" y="1491"/>
                    </a:lnTo>
                    <a:lnTo>
                      <a:pt x="163" y="1408"/>
                    </a:lnTo>
                    <a:lnTo>
                      <a:pt x="240" y="1331"/>
                    </a:lnTo>
                    <a:lnTo>
                      <a:pt x="314" y="1256"/>
                    </a:lnTo>
                    <a:lnTo>
                      <a:pt x="383" y="1184"/>
                    </a:lnTo>
                    <a:lnTo>
                      <a:pt x="562" y="1347"/>
                    </a:lnTo>
                    <a:lnTo>
                      <a:pt x="739" y="1511"/>
                    </a:lnTo>
                    <a:lnTo>
                      <a:pt x="918" y="1674"/>
                    </a:lnTo>
                    <a:lnTo>
                      <a:pt x="1099" y="1840"/>
                    </a:lnTo>
                    <a:lnTo>
                      <a:pt x="1374" y="1584"/>
                    </a:lnTo>
                    <a:lnTo>
                      <a:pt x="1651" y="1326"/>
                    </a:lnTo>
                    <a:lnTo>
                      <a:pt x="1930" y="1066"/>
                    </a:lnTo>
                    <a:lnTo>
                      <a:pt x="2213" y="804"/>
                    </a:lnTo>
                    <a:lnTo>
                      <a:pt x="2498" y="539"/>
                    </a:lnTo>
                    <a:lnTo>
                      <a:pt x="2786" y="270"/>
                    </a:lnTo>
                    <a:lnTo>
                      <a:pt x="3078" y="0"/>
                    </a:lnTo>
                    <a:close/>
                  </a:path>
                </a:pathLst>
              </a:custGeom>
              <a:solidFill>
                <a:schemeClr val="accent3"/>
              </a:solid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grpSp>
        <p:grpSp>
          <p:nvGrpSpPr>
            <p:cNvPr id="250" name="Group 249"/>
            <p:cNvGrpSpPr/>
            <p:nvPr/>
          </p:nvGrpSpPr>
          <p:grpSpPr>
            <a:xfrm>
              <a:off x="5715116" y="5174667"/>
              <a:ext cx="359082" cy="340093"/>
              <a:chOff x="-3260667" y="3156527"/>
              <a:chExt cx="1881884" cy="1782362"/>
            </a:xfrm>
            <a:solidFill>
              <a:schemeClr val="accent5"/>
            </a:solidFill>
            <a:effectLst>
              <a:outerShdw blurRad="50800" dist="38100" dir="8100000" algn="tr" rotWithShape="0">
                <a:prstClr val="black">
                  <a:alpha val="40000"/>
                </a:prstClr>
              </a:outerShdw>
            </a:effectLst>
          </p:grpSpPr>
          <p:sp>
            <p:nvSpPr>
              <p:cNvPr id="251" name="Freeform 8"/>
              <p:cNvSpPr>
                <a:spLocks/>
              </p:cNvSpPr>
              <p:nvPr/>
            </p:nvSpPr>
            <p:spPr bwMode="auto">
              <a:xfrm>
                <a:off x="-3260667" y="3391074"/>
                <a:ext cx="1550989" cy="1547815"/>
              </a:xfrm>
              <a:custGeom>
                <a:avLst/>
                <a:gdLst>
                  <a:gd name="T0" fmla="*/ 0 w 3907"/>
                  <a:gd name="T1" fmla="*/ 0 h 3900"/>
                  <a:gd name="T2" fmla="*/ 3706 w 3907"/>
                  <a:gd name="T3" fmla="*/ 0 h 3900"/>
                  <a:gd name="T4" fmla="*/ 3609 w 3907"/>
                  <a:gd name="T5" fmla="*/ 87 h 3900"/>
                  <a:gd name="T6" fmla="*/ 3516 w 3907"/>
                  <a:gd name="T7" fmla="*/ 171 h 3900"/>
                  <a:gd name="T8" fmla="*/ 3425 w 3907"/>
                  <a:gd name="T9" fmla="*/ 254 h 3900"/>
                  <a:gd name="T10" fmla="*/ 3336 w 3907"/>
                  <a:gd name="T11" fmla="*/ 334 h 3900"/>
                  <a:gd name="T12" fmla="*/ 3246 w 3907"/>
                  <a:gd name="T13" fmla="*/ 412 h 3900"/>
                  <a:gd name="T14" fmla="*/ 3157 w 3907"/>
                  <a:gd name="T15" fmla="*/ 489 h 3900"/>
                  <a:gd name="T16" fmla="*/ 3140 w 3907"/>
                  <a:gd name="T17" fmla="*/ 498 h 3900"/>
                  <a:gd name="T18" fmla="*/ 3121 w 3907"/>
                  <a:gd name="T19" fmla="*/ 504 h 3900"/>
                  <a:gd name="T20" fmla="*/ 3098 w 3907"/>
                  <a:gd name="T21" fmla="*/ 507 h 3900"/>
                  <a:gd name="T22" fmla="*/ 3075 w 3907"/>
                  <a:gd name="T23" fmla="*/ 508 h 3900"/>
                  <a:gd name="T24" fmla="*/ 3050 w 3907"/>
                  <a:gd name="T25" fmla="*/ 507 h 3900"/>
                  <a:gd name="T26" fmla="*/ 3026 w 3907"/>
                  <a:gd name="T27" fmla="*/ 507 h 3900"/>
                  <a:gd name="T28" fmla="*/ 3002 w 3907"/>
                  <a:gd name="T29" fmla="*/ 505 h 3900"/>
                  <a:gd name="T30" fmla="*/ 715 w 3907"/>
                  <a:gd name="T31" fmla="*/ 507 h 3900"/>
                  <a:gd name="T32" fmla="*/ 656 w 3907"/>
                  <a:gd name="T33" fmla="*/ 507 h 3900"/>
                  <a:gd name="T34" fmla="*/ 595 w 3907"/>
                  <a:gd name="T35" fmla="*/ 507 h 3900"/>
                  <a:gd name="T36" fmla="*/ 529 w 3907"/>
                  <a:gd name="T37" fmla="*/ 507 h 3900"/>
                  <a:gd name="T38" fmla="*/ 529 w 3907"/>
                  <a:gd name="T39" fmla="*/ 3382 h 3900"/>
                  <a:gd name="T40" fmla="*/ 3405 w 3907"/>
                  <a:gd name="T41" fmla="*/ 3382 h 3900"/>
                  <a:gd name="T42" fmla="*/ 3406 w 3907"/>
                  <a:gd name="T43" fmla="*/ 2980 h 3900"/>
                  <a:gd name="T44" fmla="*/ 3406 w 3907"/>
                  <a:gd name="T45" fmla="*/ 2584 h 3900"/>
                  <a:gd name="T46" fmla="*/ 3406 w 3907"/>
                  <a:gd name="T47" fmla="*/ 2191 h 3900"/>
                  <a:gd name="T48" fmla="*/ 3403 w 3907"/>
                  <a:gd name="T49" fmla="*/ 1799 h 3900"/>
                  <a:gd name="T50" fmla="*/ 3404 w 3907"/>
                  <a:gd name="T51" fmla="*/ 1751 h 3900"/>
                  <a:gd name="T52" fmla="*/ 3410 w 3907"/>
                  <a:gd name="T53" fmla="*/ 1706 h 3900"/>
                  <a:gd name="T54" fmla="*/ 3421 w 3907"/>
                  <a:gd name="T55" fmla="*/ 1665 h 3900"/>
                  <a:gd name="T56" fmla="*/ 3437 w 3907"/>
                  <a:gd name="T57" fmla="*/ 1627 h 3900"/>
                  <a:gd name="T58" fmla="*/ 3460 w 3907"/>
                  <a:gd name="T59" fmla="*/ 1591 h 3900"/>
                  <a:gd name="T60" fmla="*/ 3489 w 3907"/>
                  <a:gd name="T61" fmla="*/ 1557 h 3900"/>
                  <a:gd name="T62" fmla="*/ 3524 w 3907"/>
                  <a:gd name="T63" fmla="*/ 1524 h 3900"/>
                  <a:gd name="T64" fmla="*/ 3598 w 3907"/>
                  <a:gd name="T65" fmla="*/ 1461 h 3900"/>
                  <a:gd name="T66" fmla="*/ 3674 w 3907"/>
                  <a:gd name="T67" fmla="*/ 1394 h 3900"/>
                  <a:gd name="T68" fmla="*/ 3747 w 3907"/>
                  <a:gd name="T69" fmla="*/ 1324 h 3900"/>
                  <a:gd name="T70" fmla="*/ 3825 w 3907"/>
                  <a:gd name="T71" fmla="*/ 1250 h 3900"/>
                  <a:gd name="T72" fmla="*/ 3907 w 3907"/>
                  <a:gd name="T73" fmla="*/ 1173 h 3900"/>
                  <a:gd name="T74" fmla="*/ 3907 w 3907"/>
                  <a:gd name="T75" fmla="*/ 1724 h 3900"/>
                  <a:gd name="T76" fmla="*/ 3907 w 3907"/>
                  <a:gd name="T77" fmla="*/ 2271 h 3900"/>
                  <a:gd name="T78" fmla="*/ 3907 w 3907"/>
                  <a:gd name="T79" fmla="*/ 2815 h 3900"/>
                  <a:gd name="T80" fmla="*/ 3907 w 3907"/>
                  <a:gd name="T81" fmla="*/ 3356 h 3900"/>
                  <a:gd name="T82" fmla="*/ 3907 w 3907"/>
                  <a:gd name="T83" fmla="*/ 3900 h 3900"/>
                  <a:gd name="T84" fmla="*/ 0 w 3907"/>
                  <a:gd name="T85" fmla="*/ 3900 h 3900"/>
                  <a:gd name="T86" fmla="*/ 0 w 3907"/>
                  <a:gd name="T87"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7" h="3900">
                    <a:moveTo>
                      <a:pt x="0" y="0"/>
                    </a:moveTo>
                    <a:lnTo>
                      <a:pt x="3706" y="0"/>
                    </a:lnTo>
                    <a:lnTo>
                      <a:pt x="3609" y="87"/>
                    </a:lnTo>
                    <a:lnTo>
                      <a:pt x="3516" y="171"/>
                    </a:lnTo>
                    <a:lnTo>
                      <a:pt x="3425" y="254"/>
                    </a:lnTo>
                    <a:lnTo>
                      <a:pt x="3336" y="334"/>
                    </a:lnTo>
                    <a:lnTo>
                      <a:pt x="3246" y="412"/>
                    </a:lnTo>
                    <a:lnTo>
                      <a:pt x="3157" y="489"/>
                    </a:lnTo>
                    <a:lnTo>
                      <a:pt x="3140" y="498"/>
                    </a:lnTo>
                    <a:lnTo>
                      <a:pt x="3121" y="504"/>
                    </a:lnTo>
                    <a:lnTo>
                      <a:pt x="3098" y="507"/>
                    </a:lnTo>
                    <a:lnTo>
                      <a:pt x="3075" y="508"/>
                    </a:lnTo>
                    <a:lnTo>
                      <a:pt x="3050" y="507"/>
                    </a:lnTo>
                    <a:lnTo>
                      <a:pt x="3026" y="507"/>
                    </a:lnTo>
                    <a:lnTo>
                      <a:pt x="3002" y="505"/>
                    </a:lnTo>
                    <a:lnTo>
                      <a:pt x="715" y="507"/>
                    </a:lnTo>
                    <a:lnTo>
                      <a:pt x="656" y="507"/>
                    </a:lnTo>
                    <a:lnTo>
                      <a:pt x="595" y="507"/>
                    </a:lnTo>
                    <a:lnTo>
                      <a:pt x="529" y="507"/>
                    </a:lnTo>
                    <a:lnTo>
                      <a:pt x="529" y="3382"/>
                    </a:lnTo>
                    <a:lnTo>
                      <a:pt x="3405" y="3382"/>
                    </a:lnTo>
                    <a:lnTo>
                      <a:pt x="3406" y="2980"/>
                    </a:lnTo>
                    <a:lnTo>
                      <a:pt x="3406" y="2584"/>
                    </a:lnTo>
                    <a:lnTo>
                      <a:pt x="3406" y="2191"/>
                    </a:lnTo>
                    <a:lnTo>
                      <a:pt x="3403" y="1799"/>
                    </a:lnTo>
                    <a:lnTo>
                      <a:pt x="3404" y="1751"/>
                    </a:lnTo>
                    <a:lnTo>
                      <a:pt x="3410" y="1706"/>
                    </a:lnTo>
                    <a:lnTo>
                      <a:pt x="3421" y="1665"/>
                    </a:lnTo>
                    <a:lnTo>
                      <a:pt x="3437" y="1627"/>
                    </a:lnTo>
                    <a:lnTo>
                      <a:pt x="3460" y="1591"/>
                    </a:lnTo>
                    <a:lnTo>
                      <a:pt x="3489" y="1557"/>
                    </a:lnTo>
                    <a:lnTo>
                      <a:pt x="3524" y="1524"/>
                    </a:lnTo>
                    <a:lnTo>
                      <a:pt x="3598" y="1461"/>
                    </a:lnTo>
                    <a:lnTo>
                      <a:pt x="3674" y="1394"/>
                    </a:lnTo>
                    <a:lnTo>
                      <a:pt x="3747" y="1324"/>
                    </a:lnTo>
                    <a:lnTo>
                      <a:pt x="3825" y="1250"/>
                    </a:lnTo>
                    <a:lnTo>
                      <a:pt x="3907" y="1173"/>
                    </a:lnTo>
                    <a:lnTo>
                      <a:pt x="3907" y="1724"/>
                    </a:lnTo>
                    <a:lnTo>
                      <a:pt x="3907" y="2271"/>
                    </a:lnTo>
                    <a:lnTo>
                      <a:pt x="3907" y="2815"/>
                    </a:lnTo>
                    <a:lnTo>
                      <a:pt x="3907" y="3356"/>
                    </a:lnTo>
                    <a:lnTo>
                      <a:pt x="3907" y="3900"/>
                    </a:lnTo>
                    <a:lnTo>
                      <a:pt x="0" y="3900"/>
                    </a:lnTo>
                    <a:lnTo>
                      <a:pt x="0" y="0"/>
                    </a:lnTo>
                    <a:close/>
                  </a:path>
                </a:pathLst>
              </a:custGeom>
              <a:solidFill>
                <a:schemeClr val="accent3"/>
              </a:solid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sp>
            <p:nvSpPr>
              <p:cNvPr id="252" name="Freeform 9"/>
              <p:cNvSpPr>
                <a:spLocks/>
              </p:cNvSpPr>
              <p:nvPr/>
            </p:nvSpPr>
            <p:spPr bwMode="auto">
              <a:xfrm>
                <a:off x="-2927293" y="3156527"/>
                <a:ext cx="1548510" cy="1351169"/>
              </a:xfrm>
              <a:custGeom>
                <a:avLst/>
                <a:gdLst>
                  <a:gd name="T0" fmla="*/ 3078 w 3078"/>
                  <a:gd name="T1" fmla="*/ 0 h 2682"/>
                  <a:gd name="T2" fmla="*/ 3078 w 3078"/>
                  <a:gd name="T3" fmla="*/ 157 h 2682"/>
                  <a:gd name="T4" fmla="*/ 3078 w 3078"/>
                  <a:gd name="T5" fmla="*/ 303 h 2682"/>
                  <a:gd name="T6" fmla="*/ 3078 w 3078"/>
                  <a:gd name="T7" fmla="*/ 315 h 2682"/>
                  <a:gd name="T8" fmla="*/ 3078 w 3078"/>
                  <a:gd name="T9" fmla="*/ 454 h 2682"/>
                  <a:gd name="T10" fmla="*/ 3077 w 3078"/>
                  <a:gd name="T11" fmla="*/ 597 h 2682"/>
                  <a:gd name="T12" fmla="*/ 3076 w 3078"/>
                  <a:gd name="T13" fmla="*/ 739 h 2682"/>
                  <a:gd name="T14" fmla="*/ 3072 w 3078"/>
                  <a:gd name="T15" fmla="*/ 755 h 2682"/>
                  <a:gd name="T16" fmla="*/ 3062 w 3078"/>
                  <a:gd name="T17" fmla="*/ 770 h 2682"/>
                  <a:gd name="T18" fmla="*/ 3050 w 3078"/>
                  <a:gd name="T19" fmla="*/ 787 h 2682"/>
                  <a:gd name="T20" fmla="*/ 3036 w 3078"/>
                  <a:gd name="T21" fmla="*/ 801 h 2682"/>
                  <a:gd name="T22" fmla="*/ 3023 w 3078"/>
                  <a:gd name="T23" fmla="*/ 814 h 2682"/>
                  <a:gd name="T24" fmla="*/ 1096 w 3078"/>
                  <a:gd name="T25" fmla="*/ 2666 h 2682"/>
                  <a:gd name="T26" fmla="*/ 1090 w 3078"/>
                  <a:gd name="T27" fmla="*/ 2669 h 2682"/>
                  <a:gd name="T28" fmla="*/ 1082 w 3078"/>
                  <a:gd name="T29" fmla="*/ 2673 h 2682"/>
                  <a:gd name="T30" fmla="*/ 1071 w 3078"/>
                  <a:gd name="T31" fmla="*/ 2676 h 2682"/>
                  <a:gd name="T32" fmla="*/ 1057 w 3078"/>
                  <a:gd name="T33" fmla="*/ 2682 h 2682"/>
                  <a:gd name="T34" fmla="*/ 531 w 3078"/>
                  <a:gd name="T35" fmla="*/ 2131 h 2682"/>
                  <a:gd name="T36" fmla="*/ 0 w 3078"/>
                  <a:gd name="T37" fmla="*/ 1576 h 2682"/>
                  <a:gd name="T38" fmla="*/ 83 w 3078"/>
                  <a:gd name="T39" fmla="*/ 1491 h 2682"/>
                  <a:gd name="T40" fmla="*/ 163 w 3078"/>
                  <a:gd name="T41" fmla="*/ 1408 h 2682"/>
                  <a:gd name="T42" fmla="*/ 240 w 3078"/>
                  <a:gd name="T43" fmla="*/ 1331 h 2682"/>
                  <a:gd name="T44" fmla="*/ 314 w 3078"/>
                  <a:gd name="T45" fmla="*/ 1256 h 2682"/>
                  <a:gd name="T46" fmla="*/ 383 w 3078"/>
                  <a:gd name="T47" fmla="*/ 1184 h 2682"/>
                  <a:gd name="T48" fmla="*/ 562 w 3078"/>
                  <a:gd name="T49" fmla="*/ 1347 h 2682"/>
                  <a:gd name="T50" fmla="*/ 739 w 3078"/>
                  <a:gd name="T51" fmla="*/ 1511 h 2682"/>
                  <a:gd name="T52" fmla="*/ 918 w 3078"/>
                  <a:gd name="T53" fmla="*/ 1674 h 2682"/>
                  <a:gd name="T54" fmla="*/ 1099 w 3078"/>
                  <a:gd name="T55" fmla="*/ 1840 h 2682"/>
                  <a:gd name="T56" fmla="*/ 1374 w 3078"/>
                  <a:gd name="T57" fmla="*/ 1584 h 2682"/>
                  <a:gd name="T58" fmla="*/ 1651 w 3078"/>
                  <a:gd name="T59" fmla="*/ 1326 h 2682"/>
                  <a:gd name="T60" fmla="*/ 1930 w 3078"/>
                  <a:gd name="T61" fmla="*/ 1066 h 2682"/>
                  <a:gd name="T62" fmla="*/ 2213 w 3078"/>
                  <a:gd name="T63" fmla="*/ 804 h 2682"/>
                  <a:gd name="T64" fmla="*/ 2498 w 3078"/>
                  <a:gd name="T65" fmla="*/ 539 h 2682"/>
                  <a:gd name="T66" fmla="*/ 2786 w 3078"/>
                  <a:gd name="T67" fmla="*/ 270 h 2682"/>
                  <a:gd name="T68" fmla="*/ 3078 w 3078"/>
                  <a:gd name="T69" fmla="*/ 0 h 2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8" h="2682">
                    <a:moveTo>
                      <a:pt x="3078" y="0"/>
                    </a:moveTo>
                    <a:lnTo>
                      <a:pt x="3078" y="157"/>
                    </a:lnTo>
                    <a:lnTo>
                      <a:pt x="3078" y="303"/>
                    </a:lnTo>
                    <a:lnTo>
                      <a:pt x="3078" y="315"/>
                    </a:lnTo>
                    <a:lnTo>
                      <a:pt x="3078" y="454"/>
                    </a:lnTo>
                    <a:lnTo>
                      <a:pt x="3077" y="597"/>
                    </a:lnTo>
                    <a:lnTo>
                      <a:pt x="3076" y="739"/>
                    </a:lnTo>
                    <a:lnTo>
                      <a:pt x="3072" y="755"/>
                    </a:lnTo>
                    <a:lnTo>
                      <a:pt x="3062" y="770"/>
                    </a:lnTo>
                    <a:lnTo>
                      <a:pt x="3050" y="787"/>
                    </a:lnTo>
                    <a:lnTo>
                      <a:pt x="3036" y="801"/>
                    </a:lnTo>
                    <a:lnTo>
                      <a:pt x="3023" y="814"/>
                    </a:lnTo>
                    <a:lnTo>
                      <a:pt x="1096" y="2666"/>
                    </a:lnTo>
                    <a:lnTo>
                      <a:pt x="1090" y="2669"/>
                    </a:lnTo>
                    <a:lnTo>
                      <a:pt x="1082" y="2673"/>
                    </a:lnTo>
                    <a:lnTo>
                      <a:pt x="1071" y="2676"/>
                    </a:lnTo>
                    <a:lnTo>
                      <a:pt x="1057" y="2682"/>
                    </a:lnTo>
                    <a:lnTo>
                      <a:pt x="531" y="2131"/>
                    </a:lnTo>
                    <a:lnTo>
                      <a:pt x="0" y="1576"/>
                    </a:lnTo>
                    <a:lnTo>
                      <a:pt x="83" y="1491"/>
                    </a:lnTo>
                    <a:lnTo>
                      <a:pt x="163" y="1408"/>
                    </a:lnTo>
                    <a:lnTo>
                      <a:pt x="240" y="1331"/>
                    </a:lnTo>
                    <a:lnTo>
                      <a:pt x="314" y="1256"/>
                    </a:lnTo>
                    <a:lnTo>
                      <a:pt x="383" y="1184"/>
                    </a:lnTo>
                    <a:lnTo>
                      <a:pt x="562" y="1347"/>
                    </a:lnTo>
                    <a:lnTo>
                      <a:pt x="739" y="1511"/>
                    </a:lnTo>
                    <a:lnTo>
                      <a:pt x="918" y="1674"/>
                    </a:lnTo>
                    <a:lnTo>
                      <a:pt x="1099" y="1840"/>
                    </a:lnTo>
                    <a:lnTo>
                      <a:pt x="1374" y="1584"/>
                    </a:lnTo>
                    <a:lnTo>
                      <a:pt x="1651" y="1326"/>
                    </a:lnTo>
                    <a:lnTo>
                      <a:pt x="1930" y="1066"/>
                    </a:lnTo>
                    <a:lnTo>
                      <a:pt x="2213" y="804"/>
                    </a:lnTo>
                    <a:lnTo>
                      <a:pt x="2498" y="539"/>
                    </a:lnTo>
                    <a:lnTo>
                      <a:pt x="2786" y="270"/>
                    </a:lnTo>
                    <a:lnTo>
                      <a:pt x="3078" y="0"/>
                    </a:lnTo>
                    <a:close/>
                  </a:path>
                </a:pathLst>
              </a:custGeom>
              <a:solidFill>
                <a:schemeClr val="accent3"/>
              </a:solid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grpSp>
      </p:grpSp>
      <p:grpSp>
        <p:nvGrpSpPr>
          <p:cNvPr id="6" name="Group 5"/>
          <p:cNvGrpSpPr/>
          <p:nvPr/>
        </p:nvGrpSpPr>
        <p:grpSpPr>
          <a:xfrm>
            <a:off x="2034" y="4085970"/>
            <a:ext cx="12486234" cy="2942135"/>
            <a:chOff x="2034" y="4085970"/>
            <a:chExt cx="12486234" cy="2942135"/>
          </a:xfrm>
        </p:grpSpPr>
        <p:grpSp>
          <p:nvGrpSpPr>
            <p:cNvPr id="228" name="Group 227"/>
            <p:cNvGrpSpPr/>
            <p:nvPr/>
          </p:nvGrpSpPr>
          <p:grpSpPr>
            <a:xfrm>
              <a:off x="10753378" y="4085970"/>
              <a:ext cx="1734890" cy="2933448"/>
              <a:chOff x="3336932" y="6948161"/>
              <a:chExt cx="1093788" cy="1849437"/>
            </a:xfrm>
          </p:grpSpPr>
          <p:sp>
            <p:nvSpPr>
              <p:cNvPr id="154" name="Freeform 74"/>
              <p:cNvSpPr>
                <a:spLocks/>
              </p:cNvSpPr>
              <p:nvPr/>
            </p:nvSpPr>
            <p:spPr bwMode="auto">
              <a:xfrm>
                <a:off x="3336932" y="8721398"/>
                <a:ext cx="1065213" cy="76200"/>
              </a:xfrm>
              <a:custGeom>
                <a:avLst/>
                <a:gdLst>
                  <a:gd name="T0" fmla="*/ 1381 w 1425"/>
                  <a:gd name="T1" fmla="*/ 0 h 103"/>
                  <a:gd name="T2" fmla="*/ 774 w 1425"/>
                  <a:gd name="T3" fmla="*/ 0 h 103"/>
                  <a:gd name="T4" fmla="*/ 834 w 1425"/>
                  <a:gd name="T5" fmla="*/ 61 h 103"/>
                  <a:gd name="T6" fmla="*/ 834 w 1425"/>
                  <a:gd name="T7" fmla="*/ 83 h 103"/>
                  <a:gd name="T8" fmla="*/ 663 w 1425"/>
                  <a:gd name="T9" fmla="*/ 83 h 103"/>
                  <a:gd name="T10" fmla="*/ 663 w 1425"/>
                  <a:gd name="T11" fmla="*/ 0 h 103"/>
                  <a:gd name="T12" fmla="*/ 38 w 1425"/>
                  <a:gd name="T13" fmla="*/ 0 h 103"/>
                  <a:gd name="T14" fmla="*/ 38 w 1425"/>
                  <a:gd name="T15" fmla="*/ 1 h 103"/>
                  <a:gd name="T16" fmla="*/ 0 w 1425"/>
                  <a:gd name="T17" fmla="*/ 52 h 103"/>
                  <a:gd name="T18" fmla="*/ 43 w 1425"/>
                  <a:gd name="T19" fmla="*/ 103 h 103"/>
                  <a:gd name="T20" fmla="*/ 1381 w 1425"/>
                  <a:gd name="T21" fmla="*/ 103 h 103"/>
                  <a:gd name="T22" fmla="*/ 1425 w 1425"/>
                  <a:gd name="T23" fmla="*/ 52 h 103"/>
                  <a:gd name="T24" fmla="*/ 1381 w 1425"/>
                  <a:gd name="T2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5" h="103">
                    <a:moveTo>
                      <a:pt x="1381" y="0"/>
                    </a:moveTo>
                    <a:cubicBezTo>
                      <a:pt x="1380" y="0"/>
                      <a:pt x="1087" y="0"/>
                      <a:pt x="774" y="0"/>
                    </a:cubicBezTo>
                    <a:cubicBezTo>
                      <a:pt x="834" y="61"/>
                      <a:pt x="834" y="61"/>
                      <a:pt x="834" y="61"/>
                    </a:cubicBezTo>
                    <a:cubicBezTo>
                      <a:pt x="834" y="83"/>
                      <a:pt x="834" y="83"/>
                      <a:pt x="834" y="83"/>
                    </a:cubicBezTo>
                    <a:cubicBezTo>
                      <a:pt x="663" y="83"/>
                      <a:pt x="663" y="83"/>
                      <a:pt x="663" y="83"/>
                    </a:cubicBezTo>
                    <a:cubicBezTo>
                      <a:pt x="663" y="0"/>
                      <a:pt x="663" y="0"/>
                      <a:pt x="663" y="0"/>
                    </a:cubicBezTo>
                    <a:cubicBezTo>
                      <a:pt x="344" y="0"/>
                      <a:pt x="38" y="0"/>
                      <a:pt x="38" y="0"/>
                    </a:cubicBezTo>
                    <a:cubicBezTo>
                      <a:pt x="38" y="1"/>
                      <a:pt x="38" y="1"/>
                      <a:pt x="38" y="1"/>
                    </a:cubicBezTo>
                    <a:cubicBezTo>
                      <a:pt x="16" y="4"/>
                      <a:pt x="0" y="25"/>
                      <a:pt x="0" y="52"/>
                    </a:cubicBezTo>
                    <a:cubicBezTo>
                      <a:pt x="0" y="80"/>
                      <a:pt x="19" y="103"/>
                      <a:pt x="43" y="103"/>
                    </a:cubicBezTo>
                    <a:cubicBezTo>
                      <a:pt x="46" y="103"/>
                      <a:pt x="1378" y="103"/>
                      <a:pt x="1381" y="103"/>
                    </a:cubicBezTo>
                    <a:cubicBezTo>
                      <a:pt x="1405" y="103"/>
                      <a:pt x="1425" y="80"/>
                      <a:pt x="1425" y="52"/>
                    </a:cubicBezTo>
                    <a:cubicBezTo>
                      <a:pt x="1425" y="23"/>
                      <a:pt x="1405" y="0"/>
                      <a:pt x="1381" y="0"/>
                    </a:cubicBezTo>
                  </a:path>
                </a:pathLst>
              </a:custGeom>
              <a:solidFill>
                <a:srgbClr val="C63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5" name="Rectangle 75"/>
              <p:cNvSpPr>
                <a:spLocks noChangeArrowheads="1"/>
              </p:cNvSpPr>
              <p:nvPr/>
            </p:nvSpPr>
            <p:spPr bwMode="auto">
              <a:xfrm>
                <a:off x="4256095" y="8372148"/>
                <a:ext cx="50800" cy="4095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6" name="Rectangle 76"/>
              <p:cNvSpPr>
                <a:spLocks noChangeArrowheads="1"/>
              </p:cNvSpPr>
              <p:nvPr/>
            </p:nvSpPr>
            <p:spPr bwMode="auto">
              <a:xfrm>
                <a:off x="3998920" y="8364211"/>
                <a:ext cx="50800" cy="4175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7" name="Rectangle 77"/>
              <p:cNvSpPr>
                <a:spLocks noChangeArrowheads="1"/>
              </p:cNvSpPr>
              <p:nvPr/>
            </p:nvSpPr>
            <p:spPr bwMode="auto">
              <a:xfrm>
                <a:off x="4281495" y="8372148"/>
                <a:ext cx="25400" cy="4095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8" name="Rectangle 78"/>
              <p:cNvSpPr>
                <a:spLocks noChangeArrowheads="1"/>
              </p:cNvSpPr>
              <p:nvPr/>
            </p:nvSpPr>
            <p:spPr bwMode="auto">
              <a:xfrm>
                <a:off x="4024320" y="8372148"/>
                <a:ext cx="25400" cy="409575"/>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9" name="Rectangle 79"/>
              <p:cNvSpPr>
                <a:spLocks noChangeArrowheads="1"/>
              </p:cNvSpPr>
              <p:nvPr/>
            </p:nvSpPr>
            <p:spPr bwMode="auto">
              <a:xfrm>
                <a:off x="3546482" y="8313411"/>
                <a:ext cx="760413" cy="587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0" name="Rectangle 80"/>
              <p:cNvSpPr>
                <a:spLocks noChangeArrowheads="1"/>
              </p:cNvSpPr>
              <p:nvPr/>
            </p:nvSpPr>
            <p:spPr bwMode="auto">
              <a:xfrm>
                <a:off x="3546482" y="8313411"/>
                <a:ext cx="760413" cy="58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1" name="Rectangle 81"/>
              <p:cNvSpPr>
                <a:spLocks noChangeArrowheads="1"/>
              </p:cNvSpPr>
              <p:nvPr/>
            </p:nvSpPr>
            <p:spPr bwMode="auto">
              <a:xfrm>
                <a:off x="4024320" y="8313411"/>
                <a:ext cx="282575" cy="58738"/>
              </a:xfrm>
              <a:prstGeom prst="rect">
                <a:avLst/>
              </a:prstGeom>
              <a:solidFill>
                <a:srgbClr val="4423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2" name="Rectangle 82"/>
              <p:cNvSpPr>
                <a:spLocks noChangeArrowheads="1"/>
              </p:cNvSpPr>
              <p:nvPr/>
            </p:nvSpPr>
            <p:spPr bwMode="auto">
              <a:xfrm>
                <a:off x="4024320" y="8313411"/>
                <a:ext cx="282575" cy="58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3" name="Freeform 83"/>
              <p:cNvSpPr>
                <a:spLocks/>
              </p:cNvSpPr>
              <p:nvPr/>
            </p:nvSpPr>
            <p:spPr bwMode="auto">
              <a:xfrm>
                <a:off x="3675070" y="6948161"/>
                <a:ext cx="600075" cy="360363"/>
              </a:xfrm>
              <a:custGeom>
                <a:avLst/>
                <a:gdLst>
                  <a:gd name="T0" fmla="*/ 724 w 803"/>
                  <a:gd name="T1" fmla="*/ 240 h 483"/>
                  <a:gd name="T2" fmla="*/ 591 w 803"/>
                  <a:gd name="T3" fmla="*/ 136 h 483"/>
                  <a:gd name="T4" fmla="*/ 590 w 803"/>
                  <a:gd name="T5" fmla="*/ 136 h 483"/>
                  <a:gd name="T6" fmla="*/ 590 w 803"/>
                  <a:gd name="T7" fmla="*/ 136 h 483"/>
                  <a:gd name="T8" fmla="*/ 454 w 803"/>
                  <a:gd name="T9" fmla="*/ 0 h 483"/>
                  <a:gd name="T10" fmla="*/ 334 w 803"/>
                  <a:gd name="T11" fmla="*/ 72 h 483"/>
                  <a:gd name="T12" fmla="*/ 291 w 803"/>
                  <a:gd name="T13" fmla="*/ 64 h 483"/>
                  <a:gd name="T14" fmla="*/ 163 w 803"/>
                  <a:gd name="T15" fmla="*/ 192 h 483"/>
                  <a:gd name="T16" fmla="*/ 163 w 803"/>
                  <a:gd name="T17" fmla="*/ 193 h 483"/>
                  <a:gd name="T18" fmla="*/ 145 w 803"/>
                  <a:gd name="T19" fmla="*/ 192 h 483"/>
                  <a:gd name="T20" fmla="*/ 0 w 803"/>
                  <a:gd name="T21" fmla="*/ 338 h 483"/>
                  <a:gd name="T22" fmla="*/ 145 w 803"/>
                  <a:gd name="T23" fmla="*/ 483 h 483"/>
                  <a:gd name="T24" fmla="*/ 677 w 803"/>
                  <a:gd name="T25" fmla="*/ 483 h 483"/>
                  <a:gd name="T26" fmla="*/ 803 w 803"/>
                  <a:gd name="T27" fmla="*/ 357 h 483"/>
                  <a:gd name="T28" fmla="*/ 724 w 803"/>
                  <a:gd name="T29" fmla="*/ 24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3" h="483">
                    <a:moveTo>
                      <a:pt x="724" y="240"/>
                    </a:moveTo>
                    <a:cubicBezTo>
                      <a:pt x="709" y="181"/>
                      <a:pt x="655" y="136"/>
                      <a:pt x="591" y="136"/>
                    </a:cubicBezTo>
                    <a:cubicBezTo>
                      <a:pt x="591" y="136"/>
                      <a:pt x="590" y="136"/>
                      <a:pt x="590" y="136"/>
                    </a:cubicBezTo>
                    <a:cubicBezTo>
                      <a:pt x="590" y="136"/>
                      <a:pt x="590" y="136"/>
                      <a:pt x="590" y="136"/>
                    </a:cubicBezTo>
                    <a:cubicBezTo>
                      <a:pt x="590" y="61"/>
                      <a:pt x="529" y="0"/>
                      <a:pt x="454" y="0"/>
                    </a:cubicBezTo>
                    <a:cubicBezTo>
                      <a:pt x="402" y="0"/>
                      <a:pt x="357" y="29"/>
                      <a:pt x="334" y="72"/>
                    </a:cubicBezTo>
                    <a:cubicBezTo>
                      <a:pt x="320" y="67"/>
                      <a:pt x="306" y="64"/>
                      <a:pt x="291" y="64"/>
                    </a:cubicBezTo>
                    <a:cubicBezTo>
                      <a:pt x="220" y="64"/>
                      <a:pt x="163" y="122"/>
                      <a:pt x="163" y="192"/>
                    </a:cubicBezTo>
                    <a:cubicBezTo>
                      <a:pt x="163" y="193"/>
                      <a:pt x="163" y="193"/>
                      <a:pt x="163" y="193"/>
                    </a:cubicBezTo>
                    <a:cubicBezTo>
                      <a:pt x="157" y="193"/>
                      <a:pt x="151" y="192"/>
                      <a:pt x="145" y="192"/>
                    </a:cubicBezTo>
                    <a:cubicBezTo>
                      <a:pt x="65" y="192"/>
                      <a:pt x="0" y="257"/>
                      <a:pt x="0" y="338"/>
                    </a:cubicBezTo>
                    <a:cubicBezTo>
                      <a:pt x="0" y="418"/>
                      <a:pt x="65" y="483"/>
                      <a:pt x="145" y="483"/>
                    </a:cubicBezTo>
                    <a:cubicBezTo>
                      <a:pt x="677" y="483"/>
                      <a:pt x="677" y="483"/>
                      <a:pt x="677" y="483"/>
                    </a:cubicBezTo>
                    <a:cubicBezTo>
                      <a:pt x="747" y="483"/>
                      <a:pt x="803" y="426"/>
                      <a:pt x="803" y="357"/>
                    </a:cubicBezTo>
                    <a:cubicBezTo>
                      <a:pt x="803" y="304"/>
                      <a:pt x="770" y="259"/>
                      <a:pt x="724" y="240"/>
                    </a:cubicBezTo>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4" name="Freeform 84"/>
              <p:cNvSpPr>
                <a:spLocks/>
              </p:cNvSpPr>
              <p:nvPr/>
            </p:nvSpPr>
            <p:spPr bwMode="auto">
              <a:xfrm>
                <a:off x="3744920" y="7922886"/>
                <a:ext cx="412750" cy="336550"/>
              </a:xfrm>
              <a:custGeom>
                <a:avLst/>
                <a:gdLst>
                  <a:gd name="T0" fmla="*/ 0 w 551"/>
                  <a:gd name="T1" fmla="*/ 28 h 452"/>
                  <a:gd name="T2" fmla="*/ 0 w 551"/>
                  <a:gd name="T3" fmla="*/ 424 h 452"/>
                  <a:gd name="T4" fmla="*/ 29 w 551"/>
                  <a:gd name="T5" fmla="*/ 452 h 452"/>
                  <a:gd name="T6" fmla="*/ 522 w 551"/>
                  <a:gd name="T7" fmla="*/ 452 h 452"/>
                  <a:gd name="T8" fmla="*/ 551 w 551"/>
                  <a:gd name="T9" fmla="*/ 424 h 452"/>
                  <a:gd name="T10" fmla="*/ 551 w 551"/>
                  <a:gd name="T11" fmla="*/ 28 h 452"/>
                  <a:gd name="T12" fmla="*/ 522 w 551"/>
                  <a:gd name="T13" fmla="*/ 0 h 452"/>
                  <a:gd name="T14" fmla="*/ 29 w 551"/>
                  <a:gd name="T15" fmla="*/ 0 h 452"/>
                  <a:gd name="T16" fmla="*/ 0 w 551"/>
                  <a:gd name="T17" fmla="*/ 28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1" h="452">
                    <a:moveTo>
                      <a:pt x="0" y="28"/>
                    </a:moveTo>
                    <a:cubicBezTo>
                      <a:pt x="0" y="424"/>
                      <a:pt x="0" y="424"/>
                      <a:pt x="0" y="424"/>
                    </a:cubicBezTo>
                    <a:cubicBezTo>
                      <a:pt x="0" y="424"/>
                      <a:pt x="0" y="452"/>
                      <a:pt x="29" y="452"/>
                    </a:cubicBezTo>
                    <a:cubicBezTo>
                      <a:pt x="522" y="452"/>
                      <a:pt x="522" y="452"/>
                      <a:pt x="522" y="452"/>
                    </a:cubicBezTo>
                    <a:cubicBezTo>
                      <a:pt x="522" y="452"/>
                      <a:pt x="551" y="452"/>
                      <a:pt x="551" y="424"/>
                    </a:cubicBezTo>
                    <a:cubicBezTo>
                      <a:pt x="551" y="28"/>
                      <a:pt x="551" y="28"/>
                      <a:pt x="551" y="28"/>
                    </a:cubicBezTo>
                    <a:cubicBezTo>
                      <a:pt x="551" y="28"/>
                      <a:pt x="551" y="0"/>
                      <a:pt x="522" y="0"/>
                    </a:cubicBezTo>
                    <a:cubicBezTo>
                      <a:pt x="29" y="0"/>
                      <a:pt x="29" y="0"/>
                      <a:pt x="29" y="0"/>
                    </a:cubicBezTo>
                    <a:cubicBezTo>
                      <a:pt x="29" y="0"/>
                      <a:pt x="0" y="0"/>
                      <a:pt x="0" y="28"/>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5" name="Freeform 85"/>
              <p:cNvSpPr>
                <a:spLocks/>
              </p:cNvSpPr>
              <p:nvPr/>
            </p:nvSpPr>
            <p:spPr bwMode="auto">
              <a:xfrm>
                <a:off x="3716345" y="7922886"/>
                <a:ext cx="423863" cy="336550"/>
              </a:xfrm>
              <a:custGeom>
                <a:avLst/>
                <a:gdLst>
                  <a:gd name="T0" fmla="*/ 0 w 566"/>
                  <a:gd name="T1" fmla="*/ 28 h 452"/>
                  <a:gd name="T2" fmla="*/ 0 w 566"/>
                  <a:gd name="T3" fmla="*/ 424 h 452"/>
                  <a:gd name="T4" fmla="*/ 28 w 566"/>
                  <a:gd name="T5" fmla="*/ 452 h 452"/>
                  <a:gd name="T6" fmla="*/ 538 w 566"/>
                  <a:gd name="T7" fmla="*/ 452 h 452"/>
                  <a:gd name="T8" fmla="*/ 566 w 566"/>
                  <a:gd name="T9" fmla="*/ 424 h 452"/>
                  <a:gd name="T10" fmla="*/ 566 w 566"/>
                  <a:gd name="T11" fmla="*/ 28 h 452"/>
                  <a:gd name="T12" fmla="*/ 538 w 566"/>
                  <a:gd name="T13" fmla="*/ 0 h 452"/>
                  <a:gd name="T14" fmla="*/ 28 w 566"/>
                  <a:gd name="T15" fmla="*/ 0 h 452"/>
                  <a:gd name="T16" fmla="*/ 0 w 566"/>
                  <a:gd name="T17" fmla="*/ 28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2">
                    <a:moveTo>
                      <a:pt x="0" y="28"/>
                    </a:moveTo>
                    <a:cubicBezTo>
                      <a:pt x="0" y="424"/>
                      <a:pt x="0" y="424"/>
                      <a:pt x="0" y="424"/>
                    </a:cubicBezTo>
                    <a:cubicBezTo>
                      <a:pt x="0" y="424"/>
                      <a:pt x="0" y="452"/>
                      <a:pt x="28" y="452"/>
                    </a:cubicBezTo>
                    <a:cubicBezTo>
                      <a:pt x="538" y="452"/>
                      <a:pt x="538" y="452"/>
                      <a:pt x="538" y="452"/>
                    </a:cubicBezTo>
                    <a:cubicBezTo>
                      <a:pt x="538" y="452"/>
                      <a:pt x="566" y="452"/>
                      <a:pt x="566" y="424"/>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6" name="Rectangle 86"/>
              <p:cNvSpPr>
                <a:spLocks noChangeArrowheads="1"/>
              </p:cNvSpPr>
              <p:nvPr/>
            </p:nvSpPr>
            <p:spPr bwMode="auto">
              <a:xfrm>
                <a:off x="3738570" y="7943523"/>
                <a:ext cx="381000" cy="2540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7" name="Rectangle 87"/>
              <p:cNvSpPr>
                <a:spLocks noChangeArrowheads="1"/>
              </p:cNvSpPr>
              <p:nvPr/>
            </p:nvSpPr>
            <p:spPr bwMode="auto">
              <a:xfrm>
                <a:off x="3738570" y="7943523"/>
                <a:ext cx="38100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8" name="Freeform 88"/>
              <p:cNvSpPr>
                <a:spLocks noEditPoints="1"/>
              </p:cNvSpPr>
              <p:nvPr/>
            </p:nvSpPr>
            <p:spPr bwMode="auto">
              <a:xfrm>
                <a:off x="3716345" y="7964161"/>
                <a:ext cx="423863" cy="295275"/>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2 h 396"/>
                  <a:gd name="T10" fmla="*/ 110 w 566"/>
                  <a:gd name="T11" fmla="*/ 312 h 396"/>
                  <a:gd name="T12" fmla="*/ 165 w 566"/>
                  <a:gd name="T13" fmla="*/ 343 h 396"/>
                  <a:gd name="T14" fmla="*/ 135 w 566"/>
                  <a:gd name="T15" fmla="*/ 396 h 396"/>
                  <a:gd name="T16" fmla="*/ 538 w 566"/>
                  <a:gd name="T17" fmla="*/ 396 h 396"/>
                  <a:gd name="T18" fmla="*/ 566 w 566"/>
                  <a:gd name="T19" fmla="*/ 368 h 396"/>
                  <a:gd name="T20" fmla="*/ 566 w 566"/>
                  <a:gd name="T21" fmla="*/ 340 h 396"/>
                  <a:gd name="T22" fmla="*/ 519 w 566"/>
                  <a:gd name="T23" fmla="*/ 312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2"/>
                    </a:moveTo>
                    <a:cubicBezTo>
                      <a:pt x="110" y="312"/>
                      <a:pt x="110" y="312"/>
                      <a:pt x="110" y="312"/>
                    </a:cubicBezTo>
                    <a:cubicBezTo>
                      <a:pt x="165" y="343"/>
                      <a:pt x="165" y="343"/>
                      <a:pt x="165" y="343"/>
                    </a:cubicBezTo>
                    <a:cubicBezTo>
                      <a:pt x="135" y="396"/>
                      <a:pt x="135" y="396"/>
                      <a:pt x="135" y="396"/>
                    </a:cubicBezTo>
                    <a:cubicBezTo>
                      <a:pt x="538" y="396"/>
                      <a:pt x="538" y="396"/>
                      <a:pt x="538" y="396"/>
                    </a:cubicBezTo>
                    <a:cubicBezTo>
                      <a:pt x="538" y="396"/>
                      <a:pt x="566" y="396"/>
                      <a:pt x="566" y="368"/>
                    </a:cubicBezTo>
                    <a:cubicBezTo>
                      <a:pt x="566" y="340"/>
                      <a:pt x="566" y="340"/>
                      <a:pt x="566" y="340"/>
                    </a:cubicBezTo>
                    <a:cubicBezTo>
                      <a:pt x="519" y="312"/>
                      <a:pt x="519" y="312"/>
                      <a:pt x="519" y="312"/>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5DA5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Freeform 89"/>
              <p:cNvSpPr>
                <a:spLocks/>
              </p:cNvSpPr>
              <p:nvPr/>
            </p:nvSpPr>
            <p:spPr bwMode="auto">
              <a:xfrm>
                <a:off x="3738570" y="7976861"/>
                <a:ext cx="366713" cy="220663"/>
              </a:xfrm>
              <a:custGeom>
                <a:avLst/>
                <a:gdLst>
                  <a:gd name="T0" fmla="*/ 0 w 231"/>
                  <a:gd name="T1" fmla="*/ 0 h 139"/>
                  <a:gd name="T2" fmla="*/ 0 w 231"/>
                  <a:gd name="T3" fmla="*/ 23 h 139"/>
                  <a:gd name="T4" fmla="*/ 36 w 231"/>
                  <a:gd name="T5" fmla="*/ 23 h 139"/>
                  <a:gd name="T6" fmla="*/ 36 w 231"/>
                  <a:gd name="T7" fmla="*/ 138 h 139"/>
                  <a:gd name="T8" fmla="*/ 38 w 231"/>
                  <a:gd name="T9" fmla="*/ 139 h 139"/>
                  <a:gd name="T10" fmla="*/ 231 w 231"/>
                  <a:gd name="T11" fmla="*/ 139 h 139"/>
                  <a:gd name="T12" fmla="*/ 0 w 231"/>
                  <a:gd name="T13" fmla="*/ 0 h 139"/>
                </a:gdLst>
                <a:ahLst/>
                <a:cxnLst>
                  <a:cxn ang="0">
                    <a:pos x="T0" y="T1"/>
                  </a:cxn>
                  <a:cxn ang="0">
                    <a:pos x="T2" y="T3"/>
                  </a:cxn>
                  <a:cxn ang="0">
                    <a:pos x="T4" y="T5"/>
                  </a:cxn>
                  <a:cxn ang="0">
                    <a:pos x="T6" y="T7"/>
                  </a:cxn>
                  <a:cxn ang="0">
                    <a:pos x="T8" y="T9"/>
                  </a:cxn>
                  <a:cxn ang="0">
                    <a:pos x="T10" y="T11"/>
                  </a:cxn>
                  <a:cxn ang="0">
                    <a:pos x="T12" y="T13"/>
                  </a:cxn>
                </a:cxnLst>
                <a:rect l="0" t="0" r="r" b="b"/>
                <a:pathLst>
                  <a:path w="231" h="139">
                    <a:moveTo>
                      <a:pt x="0" y="0"/>
                    </a:moveTo>
                    <a:lnTo>
                      <a:pt x="0" y="23"/>
                    </a:lnTo>
                    <a:lnTo>
                      <a:pt x="36" y="23"/>
                    </a:lnTo>
                    <a:lnTo>
                      <a:pt x="36" y="138"/>
                    </a:lnTo>
                    <a:lnTo>
                      <a:pt x="38" y="139"/>
                    </a:lnTo>
                    <a:lnTo>
                      <a:pt x="231" y="139"/>
                    </a:lnTo>
                    <a:lnTo>
                      <a:pt x="0" y="0"/>
                    </a:lnTo>
                    <a:close/>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Freeform 90"/>
              <p:cNvSpPr>
                <a:spLocks/>
              </p:cNvSpPr>
              <p:nvPr/>
            </p:nvSpPr>
            <p:spPr bwMode="auto">
              <a:xfrm>
                <a:off x="3738570" y="7976861"/>
                <a:ext cx="366713" cy="220663"/>
              </a:xfrm>
              <a:custGeom>
                <a:avLst/>
                <a:gdLst>
                  <a:gd name="T0" fmla="*/ 0 w 231"/>
                  <a:gd name="T1" fmla="*/ 0 h 139"/>
                  <a:gd name="T2" fmla="*/ 0 w 231"/>
                  <a:gd name="T3" fmla="*/ 23 h 139"/>
                  <a:gd name="T4" fmla="*/ 36 w 231"/>
                  <a:gd name="T5" fmla="*/ 23 h 139"/>
                  <a:gd name="T6" fmla="*/ 36 w 231"/>
                  <a:gd name="T7" fmla="*/ 138 h 139"/>
                  <a:gd name="T8" fmla="*/ 38 w 231"/>
                  <a:gd name="T9" fmla="*/ 139 h 139"/>
                  <a:gd name="T10" fmla="*/ 231 w 231"/>
                  <a:gd name="T11" fmla="*/ 139 h 139"/>
                  <a:gd name="T12" fmla="*/ 0 w 231"/>
                  <a:gd name="T13" fmla="*/ 0 h 139"/>
                </a:gdLst>
                <a:ahLst/>
                <a:cxnLst>
                  <a:cxn ang="0">
                    <a:pos x="T0" y="T1"/>
                  </a:cxn>
                  <a:cxn ang="0">
                    <a:pos x="T2" y="T3"/>
                  </a:cxn>
                  <a:cxn ang="0">
                    <a:pos x="T4" y="T5"/>
                  </a:cxn>
                  <a:cxn ang="0">
                    <a:pos x="T6" y="T7"/>
                  </a:cxn>
                  <a:cxn ang="0">
                    <a:pos x="T8" y="T9"/>
                  </a:cxn>
                  <a:cxn ang="0">
                    <a:pos x="T10" y="T11"/>
                  </a:cxn>
                  <a:cxn ang="0">
                    <a:pos x="T12" y="T13"/>
                  </a:cxn>
                </a:cxnLst>
                <a:rect l="0" t="0" r="r" b="b"/>
                <a:pathLst>
                  <a:path w="231" h="139">
                    <a:moveTo>
                      <a:pt x="0" y="0"/>
                    </a:moveTo>
                    <a:lnTo>
                      <a:pt x="0" y="23"/>
                    </a:lnTo>
                    <a:lnTo>
                      <a:pt x="36" y="23"/>
                    </a:lnTo>
                    <a:lnTo>
                      <a:pt x="36" y="138"/>
                    </a:lnTo>
                    <a:lnTo>
                      <a:pt x="38" y="139"/>
                    </a:lnTo>
                    <a:lnTo>
                      <a:pt x="231" y="13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91"/>
              <p:cNvSpPr>
                <a:spLocks/>
              </p:cNvSpPr>
              <p:nvPr/>
            </p:nvSpPr>
            <p:spPr bwMode="auto">
              <a:xfrm>
                <a:off x="3768732" y="8194348"/>
                <a:ext cx="71438" cy="68263"/>
              </a:xfrm>
              <a:custGeom>
                <a:avLst/>
                <a:gdLst>
                  <a:gd name="T0" fmla="*/ 31 w 45"/>
                  <a:gd name="T1" fmla="*/ 43 h 43"/>
                  <a:gd name="T2" fmla="*/ 0 w 45"/>
                  <a:gd name="T3" fmla="*/ 26 h 43"/>
                  <a:gd name="T4" fmla="*/ 15 w 45"/>
                  <a:gd name="T5" fmla="*/ 0 h 43"/>
                  <a:gd name="T6" fmla="*/ 45 w 45"/>
                  <a:gd name="T7" fmla="*/ 17 h 43"/>
                  <a:gd name="T8" fmla="*/ 31 w 45"/>
                  <a:gd name="T9" fmla="*/ 43 h 43"/>
                </a:gdLst>
                <a:ahLst/>
                <a:cxnLst>
                  <a:cxn ang="0">
                    <a:pos x="T0" y="T1"/>
                  </a:cxn>
                  <a:cxn ang="0">
                    <a:pos x="T2" y="T3"/>
                  </a:cxn>
                  <a:cxn ang="0">
                    <a:pos x="T4" y="T5"/>
                  </a:cxn>
                  <a:cxn ang="0">
                    <a:pos x="T6" y="T7"/>
                  </a:cxn>
                  <a:cxn ang="0">
                    <a:pos x="T8" y="T9"/>
                  </a:cxn>
                </a:cxnLst>
                <a:rect l="0" t="0" r="r" b="b"/>
                <a:pathLst>
                  <a:path w="45" h="43">
                    <a:moveTo>
                      <a:pt x="31" y="43"/>
                    </a:moveTo>
                    <a:lnTo>
                      <a:pt x="0" y="26"/>
                    </a:lnTo>
                    <a:lnTo>
                      <a:pt x="15" y="0"/>
                    </a:lnTo>
                    <a:lnTo>
                      <a:pt x="45" y="17"/>
                    </a:lnTo>
                    <a:lnTo>
                      <a:pt x="31" y="43"/>
                    </a:lnTo>
                    <a:close/>
                  </a:path>
                </a:pathLst>
              </a:custGeom>
              <a:solidFill>
                <a:srgbClr val="0FB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2" name="Freeform 92"/>
              <p:cNvSpPr>
                <a:spLocks/>
              </p:cNvSpPr>
              <p:nvPr/>
            </p:nvSpPr>
            <p:spPr bwMode="auto">
              <a:xfrm>
                <a:off x="3768732" y="8194348"/>
                <a:ext cx="71438" cy="68263"/>
              </a:xfrm>
              <a:custGeom>
                <a:avLst/>
                <a:gdLst>
                  <a:gd name="T0" fmla="*/ 31 w 45"/>
                  <a:gd name="T1" fmla="*/ 43 h 43"/>
                  <a:gd name="T2" fmla="*/ 0 w 45"/>
                  <a:gd name="T3" fmla="*/ 26 h 43"/>
                  <a:gd name="T4" fmla="*/ 15 w 45"/>
                  <a:gd name="T5" fmla="*/ 0 h 43"/>
                  <a:gd name="T6" fmla="*/ 45 w 45"/>
                  <a:gd name="T7" fmla="*/ 17 h 43"/>
                  <a:gd name="T8" fmla="*/ 31 w 45"/>
                  <a:gd name="T9" fmla="*/ 43 h 43"/>
                </a:gdLst>
                <a:ahLst/>
                <a:cxnLst>
                  <a:cxn ang="0">
                    <a:pos x="T0" y="T1"/>
                  </a:cxn>
                  <a:cxn ang="0">
                    <a:pos x="T2" y="T3"/>
                  </a:cxn>
                  <a:cxn ang="0">
                    <a:pos x="T4" y="T5"/>
                  </a:cxn>
                  <a:cxn ang="0">
                    <a:pos x="T6" y="T7"/>
                  </a:cxn>
                  <a:cxn ang="0">
                    <a:pos x="T8" y="T9"/>
                  </a:cxn>
                </a:cxnLst>
                <a:rect l="0" t="0" r="r" b="b"/>
                <a:pathLst>
                  <a:path w="45" h="43">
                    <a:moveTo>
                      <a:pt x="31" y="43"/>
                    </a:moveTo>
                    <a:lnTo>
                      <a:pt x="0" y="26"/>
                    </a:lnTo>
                    <a:lnTo>
                      <a:pt x="15" y="0"/>
                    </a:lnTo>
                    <a:lnTo>
                      <a:pt x="45" y="17"/>
                    </a:lnTo>
                    <a:lnTo>
                      <a:pt x="31" y="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3" name="Freeform 93"/>
              <p:cNvSpPr>
                <a:spLocks/>
              </p:cNvSpPr>
              <p:nvPr/>
            </p:nvSpPr>
            <p:spPr bwMode="auto">
              <a:xfrm>
                <a:off x="3795720" y="8195936"/>
                <a:ext cx="44450" cy="66675"/>
              </a:xfrm>
              <a:custGeom>
                <a:avLst/>
                <a:gdLst>
                  <a:gd name="T0" fmla="*/ 0 w 28"/>
                  <a:gd name="T1" fmla="*/ 0 h 42"/>
                  <a:gd name="T2" fmla="*/ 0 w 28"/>
                  <a:gd name="T3" fmla="*/ 34 h 42"/>
                  <a:gd name="T4" fmla="*/ 14 w 28"/>
                  <a:gd name="T5" fmla="*/ 42 h 42"/>
                  <a:gd name="T6" fmla="*/ 28 w 28"/>
                  <a:gd name="T7" fmla="*/ 16 h 42"/>
                  <a:gd name="T8" fmla="*/ 0 w 28"/>
                  <a:gd name="T9" fmla="*/ 0 h 42"/>
                </a:gdLst>
                <a:ahLst/>
                <a:cxnLst>
                  <a:cxn ang="0">
                    <a:pos x="T0" y="T1"/>
                  </a:cxn>
                  <a:cxn ang="0">
                    <a:pos x="T2" y="T3"/>
                  </a:cxn>
                  <a:cxn ang="0">
                    <a:pos x="T4" y="T5"/>
                  </a:cxn>
                  <a:cxn ang="0">
                    <a:pos x="T6" y="T7"/>
                  </a:cxn>
                  <a:cxn ang="0">
                    <a:pos x="T8" y="T9"/>
                  </a:cxn>
                </a:cxnLst>
                <a:rect l="0" t="0" r="r" b="b"/>
                <a:pathLst>
                  <a:path w="28" h="42">
                    <a:moveTo>
                      <a:pt x="0" y="0"/>
                    </a:moveTo>
                    <a:lnTo>
                      <a:pt x="0" y="34"/>
                    </a:lnTo>
                    <a:lnTo>
                      <a:pt x="14" y="42"/>
                    </a:lnTo>
                    <a:lnTo>
                      <a:pt x="28" y="16"/>
                    </a:lnTo>
                    <a:lnTo>
                      <a:pt x="0" y="0"/>
                    </a:lnTo>
                    <a:close/>
                  </a:path>
                </a:pathLst>
              </a:custGeom>
              <a:solidFill>
                <a:srgbClr val="0D9C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4" name="Freeform 94"/>
              <p:cNvSpPr>
                <a:spLocks/>
              </p:cNvSpPr>
              <p:nvPr/>
            </p:nvSpPr>
            <p:spPr bwMode="auto">
              <a:xfrm>
                <a:off x="3795720" y="8195936"/>
                <a:ext cx="44450" cy="66675"/>
              </a:xfrm>
              <a:custGeom>
                <a:avLst/>
                <a:gdLst>
                  <a:gd name="T0" fmla="*/ 0 w 28"/>
                  <a:gd name="T1" fmla="*/ 0 h 42"/>
                  <a:gd name="T2" fmla="*/ 0 w 28"/>
                  <a:gd name="T3" fmla="*/ 34 h 42"/>
                  <a:gd name="T4" fmla="*/ 14 w 28"/>
                  <a:gd name="T5" fmla="*/ 42 h 42"/>
                  <a:gd name="T6" fmla="*/ 28 w 28"/>
                  <a:gd name="T7" fmla="*/ 16 h 42"/>
                  <a:gd name="T8" fmla="*/ 0 w 28"/>
                  <a:gd name="T9" fmla="*/ 0 h 42"/>
                </a:gdLst>
                <a:ahLst/>
                <a:cxnLst>
                  <a:cxn ang="0">
                    <a:pos x="T0" y="T1"/>
                  </a:cxn>
                  <a:cxn ang="0">
                    <a:pos x="T2" y="T3"/>
                  </a:cxn>
                  <a:cxn ang="0">
                    <a:pos x="T4" y="T5"/>
                  </a:cxn>
                  <a:cxn ang="0">
                    <a:pos x="T6" y="T7"/>
                  </a:cxn>
                  <a:cxn ang="0">
                    <a:pos x="T8" y="T9"/>
                  </a:cxn>
                </a:cxnLst>
                <a:rect l="0" t="0" r="r" b="b"/>
                <a:pathLst>
                  <a:path w="28" h="42">
                    <a:moveTo>
                      <a:pt x="0" y="0"/>
                    </a:moveTo>
                    <a:lnTo>
                      <a:pt x="0" y="34"/>
                    </a:lnTo>
                    <a:lnTo>
                      <a:pt x="14" y="42"/>
                    </a:lnTo>
                    <a:lnTo>
                      <a:pt x="28" y="1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5" name="Rectangle 95"/>
              <p:cNvSpPr>
                <a:spLocks noChangeArrowheads="1"/>
              </p:cNvSpPr>
              <p:nvPr/>
            </p:nvSpPr>
            <p:spPr bwMode="auto">
              <a:xfrm>
                <a:off x="3549657" y="8013373"/>
                <a:ext cx="246063" cy="431800"/>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6" name="Rectangle 96"/>
              <p:cNvSpPr>
                <a:spLocks noChangeArrowheads="1"/>
              </p:cNvSpPr>
              <p:nvPr/>
            </p:nvSpPr>
            <p:spPr bwMode="auto">
              <a:xfrm>
                <a:off x="3549657" y="8013373"/>
                <a:ext cx="24606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7" name="Freeform 97"/>
              <p:cNvSpPr>
                <a:spLocks/>
              </p:cNvSpPr>
              <p:nvPr/>
            </p:nvSpPr>
            <p:spPr bwMode="auto">
              <a:xfrm>
                <a:off x="3549657" y="8048298"/>
                <a:ext cx="246063" cy="344488"/>
              </a:xfrm>
              <a:custGeom>
                <a:avLst/>
                <a:gdLst>
                  <a:gd name="T0" fmla="*/ 0 w 155"/>
                  <a:gd name="T1" fmla="*/ 0 h 217"/>
                  <a:gd name="T2" fmla="*/ 0 w 155"/>
                  <a:gd name="T3" fmla="*/ 217 h 217"/>
                  <a:gd name="T4" fmla="*/ 155 w 155"/>
                  <a:gd name="T5" fmla="*/ 217 h 217"/>
                  <a:gd name="T6" fmla="*/ 155 w 155"/>
                  <a:gd name="T7" fmla="*/ 204 h 217"/>
                  <a:gd name="T8" fmla="*/ 155 w 155"/>
                  <a:gd name="T9" fmla="*/ 167 h 217"/>
                  <a:gd name="T10" fmla="*/ 155 w 155"/>
                  <a:gd name="T11" fmla="*/ 147 h 217"/>
                  <a:gd name="T12" fmla="*/ 0 w 155"/>
                  <a:gd name="T13" fmla="*/ 0 h 217"/>
                </a:gdLst>
                <a:ahLst/>
                <a:cxnLst>
                  <a:cxn ang="0">
                    <a:pos x="T0" y="T1"/>
                  </a:cxn>
                  <a:cxn ang="0">
                    <a:pos x="T2" y="T3"/>
                  </a:cxn>
                  <a:cxn ang="0">
                    <a:pos x="T4" y="T5"/>
                  </a:cxn>
                  <a:cxn ang="0">
                    <a:pos x="T6" y="T7"/>
                  </a:cxn>
                  <a:cxn ang="0">
                    <a:pos x="T8" y="T9"/>
                  </a:cxn>
                  <a:cxn ang="0">
                    <a:pos x="T10" y="T11"/>
                  </a:cxn>
                  <a:cxn ang="0">
                    <a:pos x="T12" y="T13"/>
                  </a:cxn>
                </a:cxnLst>
                <a:rect l="0" t="0" r="r" b="b"/>
                <a:pathLst>
                  <a:path w="155" h="217">
                    <a:moveTo>
                      <a:pt x="0" y="0"/>
                    </a:moveTo>
                    <a:lnTo>
                      <a:pt x="0" y="217"/>
                    </a:lnTo>
                    <a:lnTo>
                      <a:pt x="155" y="217"/>
                    </a:lnTo>
                    <a:lnTo>
                      <a:pt x="155" y="204"/>
                    </a:lnTo>
                    <a:lnTo>
                      <a:pt x="155" y="167"/>
                    </a:lnTo>
                    <a:lnTo>
                      <a:pt x="155" y="147"/>
                    </a:lnTo>
                    <a:lnTo>
                      <a:pt x="0" y="0"/>
                    </a:lnTo>
                    <a:close/>
                  </a:path>
                </a:pathLst>
              </a:custGeom>
              <a:solidFill>
                <a:srgbClr val="00A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8" name="Freeform 98"/>
              <p:cNvSpPr>
                <a:spLocks/>
              </p:cNvSpPr>
              <p:nvPr/>
            </p:nvSpPr>
            <p:spPr bwMode="auto">
              <a:xfrm>
                <a:off x="3549657" y="8048298"/>
                <a:ext cx="246063" cy="344488"/>
              </a:xfrm>
              <a:custGeom>
                <a:avLst/>
                <a:gdLst>
                  <a:gd name="T0" fmla="*/ 0 w 155"/>
                  <a:gd name="T1" fmla="*/ 0 h 217"/>
                  <a:gd name="T2" fmla="*/ 0 w 155"/>
                  <a:gd name="T3" fmla="*/ 217 h 217"/>
                  <a:gd name="T4" fmla="*/ 155 w 155"/>
                  <a:gd name="T5" fmla="*/ 217 h 217"/>
                  <a:gd name="T6" fmla="*/ 155 w 155"/>
                  <a:gd name="T7" fmla="*/ 204 h 217"/>
                  <a:gd name="T8" fmla="*/ 155 w 155"/>
                  <a:gd name="T9" fmla="*/ 167 h 217"/>
                  <a:gd name="T10" fmla="*/ 155 w 155"/>
                  <a:gd name="T11" fmla="*/ 147 h 217"/>
                  <a:gd name="T12" fmla="*/ 0 w 155"/>
                  <a:gd name="T13" fmla="*/ 0 h 217"/>
                </a:gdLst>
                <a:ahLst/>
                <a:cxnLst>
                  <a:cxn ang="0">
                    <a:pos x="T0" y="T1"/>
                  </a:cxn>
                  <a:cxn ang="0">
                    <a:pos x="T2" y="T3"/>
                  </a:cxn>
                  <a:cxn ang="0">
                    <a:pos x="T4" y="T5"/>
                  </a:cxn>
                  <a:cxn ang="0">
                    <a:pos x="T6" y="T7"/>
                  </a:cxn>
                  <a:cxn ang="0">
                    <a:pos x="T8" y="T9"/>
                  </a:cxn>
                  <a:cxn ang="0">
                    <a:pos x="T10" y="T11"/>
                  </a:cxn>
                  <a:cxn ang="0">
                    <a:pos x="T12" y="T13"/>
                  </a:cxn>
                </a:cxnLst>
                <a:rect l="0" t="0" r="r" b="b"/>
                <a:pathLst>
                  <a:path w="155" h="217">
                    <a:moveTo>
                      <a:pt x="0" y="0"/>
                    </a:moveTo>
                    <a:lnTo>
                      <a:pt x="0" y="217"/>
                    </a:lnTo>
                    <a:lnTo>
                      <a:pt x="155" y="217"/>
                    </a:lnTo>
                    <a:lnTo>
                      <a:pt x="155" y="204"/>
                    </a:lnTo>
                    <a:lnTo>
                      <a:pt x="155" y="167"/>
                    </a:lnTo>
                    <a:lnTo>
                      <a:pt x="155" y="14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9" name="Freeform 99"/>
              <p:cNvSpPr>
                <a:spLocks/>
              </p:cNvSpPr>
              <p:nvPr/>
            </p:nvSpPr>
            <p:spPr bwMode="auto">
              <a:xfrm>
                <a:off x="3675070" y="7091036"/>
                <a:ext cx="411163" cy="217488"/>
              </a:xfrm>
              <a:custGeom>
                <a:avLst/>
                <a:gdLst>
                  <a:gd name="T0" fmla="*/ 145 w 551"/>
                  <a:gd name="T1" fmla="*/ 0 h 291"/>
                  <a:gd name="T2" fmla="*/ 0 w 551"/>
                  <a:gd name="T3" fmla="*/ 146 h 291"/>
                  <a:gd name="T4" fmla="*/ 145 w 551"/>
                  <a:gd name="T5" fmla="*/ 291 h 291"/>
                  <a:gd name="T6" fmla="*/ 551 w 551"/>
                  <a:gd name="T7" fmla="*/ 291 h 291"/>
                  <a:gd name="T8" fmla="*/ 163 w 551"/>
                  <a:gd name="T9" fmla="*/ 1 h 291"/>
                  <a:gd name="T10" fmla="*/ 163 w 551"/>
                  <a:gd name="T11" fmla="*/ 1 h 291"/>
                  <a:gd name="T12" fmla="*/ 163 w 551"/>
                  <a:gd name="T13" fmla="*/ 1 h 291"/>
                  <a:gd name="T14" fmla="*/ 145 w 551"/>
                  <a:gd name="T15" fmla="*/ 0 h 2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1" h="291">
                    <a:moveTo>
                      <a:pt x="145" y="0"/>
                    </a:moveTo>
                    <a:cubicBezTo>
                      <a:pt x="65" y="0"/>
                      <a:pt x="0" y="65"/>
                      <a:pt x="0" y="146"/>
                    </a:cubicBezTo>
                    <a:cubicBezTo>
                      <a:pt x="0" y="226"/>
                      <a:pt x="65" y="291"/>
                      <a:pt x="145" y="291"/>
                    </a:cubicBezTo>
                    <a:cubicBezTo>
                      <a:pt x="551" y="291"/>
                      <a:pt x="551" y="291"/>
                      <a:pt x="551" y="291"/>
                    </a:cubicBezTo>
                    <a:cubicBezTo>
                      <a:pt x="163" y="1"/>
                      <a:pt x="163" y="1"/>
                      <a:pt x="163" y="1"/>
                    </a:cubicBezTo>
                    <a:cubicBezTo>
                      <a:pt x="163" y="1"/>
                      <a:pt x="163" y="1"/>
                      <a:pt x="163" y="1"/>
                    </a:cubicBezTo>
                    <a:cubicBezTo>
                      <a:pt x="163" y="1"/>
                      <a:pt x="163" y="1"/>
                      <a:pt x="163" y="1"/>
                    </a:cubicBezTo>
                    <a:cubicBezTo>
                      <a:pt x="157" y="1"/>
                      <a:pt x="151" y="0"/>
                      <a:pt x="145" y="0"/>
                    </a:cubicBezTo>
                  </a:path>
                </a:pathLst>
              </a:custGeom>
              <a:solidFill>
                <a:schemeClr val="accent6">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0" name="Freeform 100"/>
              <p:cNvSpPr>
                <a:spLocks/>
              </p:cNvSpPr>
              <p:nvPr/>
            </p:nvSpPr>
            <p:spPr bwMode="auto">
              <a:xfrm>
                <a:off x="3732220" y="7270423"/>
                <a:ext cx="263525" cy="801688"/>
              </a:xfrm>
              <a:custGeom>
                <a:avLst/>
                <a:gdLst>
                  <a:gd name="T0" fmla="*/ 18 w 351"/>
                  <a:gd name="T1" fmla="*/ 1073 h 1073"/>
                  <a:gd name="T2" fmla="*/ 0 w 351"/>
                  <a:gd name="T3" fmla="*/ 1072 h 1073"/>
                  <a:gd name="T4" fmla="*/ 11 w 351"/>
                  <a:gd name="T5" fmla="*/ 1009 h 1073"/>
                  <a:gd name="T6" fmla="*/ 11 w 351"/>
                  <a:gd name="T7" fmla="*/ 1009 h 1073"/>
                  <a:gd name="T8" fmla="*/ 124 w 351"/>
                  <a:gd name="T9" fmla="*/ 961 h 1073"/>
                  <a:gd name="T10" fmla="*/ 247 w 351"/>
                  <a:gd name="T11" fmla="*/ 693 h 1073"/>
                  <a:gd name="T12" fmla="*/ 260 w 351"/>
                  <a:gd name="T13" fmla="*/ 6 h 1073"/>
                  <a:gd name="T14" fmla="*/ 324 w 351"/>
                  <a:gd name="T15" fmla="*/ 0 h 1073"/>
                  <a:gd name="T16" fmla="*/ 309 w 351"/>
                  <a:gd name="T17" fmla="*/ 710 h 1073"/>
                  <a:gd name="T18" fmla="*/ 165 w 351"/>
                  <a:gd name="T19" fmla="*/ 1011 h 1073"/>
                  <a:gd name="T20" fmla="*/ 18 w 351"/>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1073">
                    <a:moveTo>
                      <a:pt x="18" y="1073"/>
                    </a:moveTo>
                    <a:cubicBezTo>
                      <a:pt x="8" y="1073"/>
                      <a:pt x="1" y="1072"/>
                      <a:pt x="0" y="1072"/>
                    </a:cubicBezTo>
                    <a:cubicBezTo>
                      <a:pt x="11" y="1009"/>
                      <a:pt x="11" y="1009"/>
                      <a:pt x="11" y="1009"/>
                    </a:cubicBezTo>
                    <a:cubicBezTo>
                      <a:pt x="11" y="1009"/>
                      <a:pt x="11" y="1009"/>
                      <a:pt x="11" y="1009"/>
                    </a:cubicBezTo>
                    <a:cubicBezTo>
                      <a:pt x="13" y="1009"/>
                      <a:pt x="66" y="1016"/>
                      <a:pt x="124" y="961"/>
                    </a:cubicBezTo>
                    <a:cubicBezTo>
                      <a:pt x="180" y="908"/>
                      <a:pt x="221" y="818"/>
                      <a:pt x="247" y="693"/>
                    </a:cubicBezTo>
                    <a:cubicBezTo>
                      <a:pt x="282" y="522"/>
                      <a:pt x="286" y="291"/>
                      <a:pt x="260" y="6"/>
                    </a:cubicBezTo>
                    <a:cubicBezTo>
                      <a:pt x="324" y="0"/>
                      <a:pt x="324" y="0"/>
                      <a:pt x="324" y="0"/>
                    </a:cubicBezTo>
                    <a:cubicBezTo>
                      <a:pt x="351" y="294"/>
                      <a:pt x="346" y="533"/>
                      <a:pt x="309" y="710"/>
                    </a:cubicBezTo>
                    <a:cubicBezTo>
                      <a:pt x="280" y="848"/>
                      <a:pt x="231" y="949"/>
                      <a:pt x="165" y="1011"/>
                    </a:cubicBezTo>
                    <a:cubicBezTo>
                      <a:pt x="105" y="1066"/>
                      <a:pt x="47" y="1073"/>
                      <a:pt x="18" y="1073"/>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1" name="Freeform 101"/>
              <p:cNvSpPr>
                <a:spLocks/>
              </p:cNvSpPr>
              <p:nvPr/>
            </p:nvSpPr>
            <p:spPr bwMode="auto">
              <a:xfrm>
                <a:off x="3668720" y="8711873"/>
                <a:ext cx="128588" cy="71438"/>
              </a:xfrm>
              <a:custGeom>
                <a:avLst/>
                <a:gdLst>
                  <a:gd name="T0" fmla="*/ 81 w 81"/>
                  <a:gd name="T1" fmla="*/ 35 h 45"/>
                  <a:gd name="T2" fmla="*/ 46 w 81"/>
                  <a:gd name="T3" fmla="*/ 0 h 45"/>
                  <a:gd name="T4" fmla="*/ 0 w 81"/>
                  <a:gd name="T5" fmla="*/ 0 h 45"/>
                  <a:gd name="T6" fmla="*/ 0 w 81"/>
                  <a:gd name="T7" fmla="*/ 45 h 45"/>
                  <a:gd name="T8" fmla="*/ 75 w 81"/>
                  <a:gd name="T9" fmla="*/ 45 h 45"/>
                  <a:gd name="T10" fmla="*/ 81 w 81"/>
                  <a:gd name="T11" fmla="*/ 35 h 45"/>
                </a:gdLst>
                <a:ahLst/>
                <a:cxnLst>
                  <a:cxn ang="0">
                    <a:pos x="T0" y="T1"/>
                  </a:cxn>
                  <a:cxn ang="0">
                    <a:pos x="T2" y="T3"/>
                  </a:cxn>
                  <a:cxn ang="0">
                    <a:pos x="T4" y="T5"/>
                  </a:cxn>
                  <a:cxn ang="0">
                    <a:pos x="T6" y="T7"/>
                  </a:cxn>
                  <a:cxn ang="0">
                    <a:pos x="T8" y="T9"/>
                  </a:cxn>
                  <a:cxn ang="0">
                    <a:pos x="T10" y="T11"/>
                  </a:cxn>
                </a:cxnLst>
                <a:rect l="0" t="0" r="r" b="b"/>
                <a:pathLst>
                  <a:path w="81" h="45">
                    <a:moveTo>
                      <a:pt x="81" y="35"/>
                    </a:moveTo>
                    <a:lnTo>
                      <a:pt x="46" y="0"/>
                    </a:lnTo>
                    <a:lnTo>
                      <a:pt x="0" y="0"/>
                    </a:lnTo>
                    <a:lnTo>
                      <a:pt x="0" y="45"/>
                    </a:lnTo>
                    <a:lnTo>
                      <a:pt x="75" y="45"/>
                    </a:lnTo>
                    <a:lnTo>
                      <a:pt x="81" y="3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2" name="Rectangle 102"/>
              <p:cNvSpPr>
                <a:spLocks noChangeArrowheads="1"/>
              </p:cNvSpPr>
              <p:nvPr/>
            </p:nvSpPr>
            <p:spPr bwMode="auto">
              <a:xfrm>
                <a:off x="3832232" y="8408661"/>
                <a:ext cx="73025" cy="30321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3" name="Rectangle 103"/>
              <p:cNvSpPr>
                <a:spLocks noChangeArrowheads="1"/>
              </p:cNvSpPr>
              <p:nvPr/>
            </p:nvSpPr>
            <p:spPr bwMode="auto">
              <a:xfrm>
                <a:off x="3832232" y="8408661"/>
                <a:ext cx="73025" cy="30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4" name="Rectangle 104"/>
              <p:cNvSpPr>
                <a:spLocks noChangeArrowheads="1"/>
              </p:cNvSpPr>
              <p:nvPr/>
            </p:nvSpPr>
            <p:spPr bwMode="auto">
              <a:xfrm>
                <a:off x="3668720" y="8403898"/>
                <a:ext cx="73025" cy="3079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5" name="Rectangle 105"/>
              <p:cNvSpPr>
                <a:spLocks noChangeArrowheads="1"/>
              </p:cNvSpPr>
              <p:nvPr/>
            </p:nvSpPr>
            <p:spPr bwMode="auto">
              <a:xfrm>
                <a:off x="3668720" y="8403898"/>
                <a:ext cx="730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6" name="Rectangle 106"/>
              <p:cNvSpPr>
                <a:spLocks noChangeArrowheads="1"/>
              </p:cNvSpPr>
              <p:nvPr/>
            </p:nvSpPr>
            <p:spPr bwMode="auto">
              <a:xfrm>
                <a:off x="3549657" y="8392786"/>
                <a:ext cx="355600" cy="714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7" name="Rectangle 107"/>
              <p:cNvSpPr>
                <a:spLocks noChangeArrowheads="1"/>
              </p:cNvSpPr>
              <p:nvPr/>
            </p:nvSpPr>
            <p:spPr bwMode="auto">
              <a:xfrm>
                <a:off x="3549657" y="8392786"/>
                <a:ext cx="355600"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Freeform 108"/>
              <p:cNvSpPr>
                <a:spLocks/>
              </p:cNvSpPr>
              <p:nvPr/>
            </p:nvSpPr>
            <p:spPr bwMode="auto">
              <a:xfrm>
                <a:off x="3924307" y="7222798"/>
                <a:ext cx="50800" cy="52388"/>
              </a:xfrm>
              <a:custGeom>
                <a:avLst/>
                <a:gdLst>
                  <a:gd name="T0" fmla="*/ 65 w 68"/>
                  <a:gd name="T1" fmla="*/ 32 h 71"/>
                  <a:gd name="T2" fmla="*/ 65 w 68"/>
                  <a:gd name="T3" fmla="*/ 30 h 71"/>
                  <a:gd name="T4" fmla="*/ 30 w 68"/>
                  <a:gd name="T5" fmla="*/ 1 h 71"/>
                  <a:gd name="T6" fmla="*/ 1 w 68"/>
                  <a:gd name="T7" fmla="*/ 36 h 71"/>
                  <a:gd name="T8" fmla="*/ 1 w 68"/>
                  <a:gd name="T9" fmla="*/ 37 h 71"/>
                  <a:gd name="T10" fmla="*/ 1 w 68"/>
                  <a:gd name="T11" fmla="*/ 37 h 71"/>
                  <a:gd name="T12" fmla="*/ 4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4" y="31"/>
                      <a:pt x="65" y="31"/>
                      <a:pt x="65" y="30"/>
                    </a:cubicBezTo>
                    <a:cubicBezTo>
                      <a:pt x="63" y="13"/>
                      <a:pt x="47" y="0"/>
                      <a:pt x="30" y="1"/>
                    </a:cubicBezTo>
                    <a:cubicBezTo>
                      <a:pt x="12" y="3"/>
                      <a:pt x="0" y="18"/>
                      <a:pt x="1" y="36"/>
                    </a:cubicBezTo>
                    <a:cubicBezTo>
                      <a:pt x="1" y="37"/>
                      <a:pt x="1" y="37"/>
                      <a:pt x="1" y="37"/>
                    </a:cubicBezTo>
                    <a:cubicBezTo>
                      <a:pt x="1" y="37"/>
                      <a:pt x="1" y="37"/>
                      <a:pt x="1" y="37"/>
                    </a:cubicBezTo>
                    <a:cubicBezTo>
                      <a:pt x="4" y="71"/>
                      <a:pt x="4" y="71"/>
                      <a:pt x="4" y="71"/>
                    </a:cubicBezTo>
                    <a:cubicBezTo>
                      <a:pt x="68" y="65"/>
                      <a:pt x="68" y="65"/>
                      <a:pt x="68" y="65"/>
                    </a:cubicBezTo>
                    <a:cubicBezTo>
                      <a:pt x="65" y="32"/>
                      <a:pt x="65" y="32"/>
                      <a:pt x="65" y="32"/>
                    </a:cubicBezTo>
                    <a:close/>
                  </a:path>
                </a:pathLst>
              </a:custGeom>
              <a:solidFill>
                <a:srgbClr val="D7C9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Freeform 109"/>
              <p:cNvSpPr>
                <a:spLocks/>
              </p:cNvSpPr>
              <p:nvPr/>
            </p:nvSpPr>
            <p:spPr bwMode="auto">
              <a:xfrm>
                <a:off x="3924307" y="7222798"/>
                <a:ext cx="50800" cy="52388"/>
              </a:xfrm>
              <a:custGeom>
                <a:avLst/>
                <a:gdLst>
                  <a:gd name="T0" fmla="*/ 65 w 68"/>
                  <a:gd name="T1" fmla="*/ 32 h 71"/>
                  <a:gd name="T2" fmla="*/ 65 w 68"/>
                  <a:gd name="T3" fmla="*/ 30 h 71"/>
                  <a:gd name="T4" fmla="*/ 30 w 68"/>
                  <a:gd name="T5" fmla="*/ 1 h 71"/>
                  <a:gd name="T6" fmla="*/ 1 w 68"/>
                  <a:gd name="T7" fmla="*/ 36 h 71"/>
                  <a:gd name="T8" fmla="*/ 1 w 68"/>
                  <a:gd name="T9" fmla="*/ 37 h 71"/>
                  <a:gd name="T10" fmla="*/ 1 w 68"/>
                  <a:gd name="T11" fmla="*/ 37 h 71"/>
                  <a:gd name="T12" fmla="*/ 4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4" y="31"/>
                      <a:pt x="65" y="31"/>
                      <a:pt x="65" y="30"/>
                    </a:cubicBezTo>
                    <a:cubicBezTo>
                      <a:pt x="63" y="13"/>
                      <a:pt x="47" y="0"/>
                      <a:pt x="30" y="1"/>
                    </a:cubicBezTo>
                    <a:cubicBezTo>
                      <a:pt x="12" y="3"/>
                      <a:pt x="0" y="18"/>
                      <a:pt x="1" y="36"/>
                    </a:cubicBezTo>
                    <a:cubicBezTo>
                      <a:pt x="1" y="37"/>
                      <a:pt x="1" y="37"/>
                      <a:pt x="1" y="37"/>
                    </a:cubicBezTo>
                    <a:cubicBezTo>
                      <a:pt x="1" y="37"/>
                      <a:pt x="1" y="37"/>
                      <a:pt x="1" y="37"/>
                    </a:cubicBezTo>
                    <a:cubicBezTo>
                      <a:pt x="4" y="71"/>
                      <a:pt x="4" y="71"/>
                      <a:pt x="4" y="71"/>
                    </a:cubicBezTo>
                    <a:cubicBezTo>
                      <a:pt x="68" y="65"/>
                      <a:pt x="68" y="65"/>
                      <a:pt x="68" y="65"/>
                    </a:cubicBezTo>
                    <a:cubicBezTo>
                      <a:pt x="65" y="32"/>
                      <a:pt x="65" y="32"/>
                      <a:pt x="65" y="32"/>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110"/>
              <p:cNvSpPr>
                <a:spLocks/>
              </p:cNvSpPr>
              <p:nvPr/>
            </p:nvSpPr>
            <p:spPr bwMode="auto">
              <a:xfrm>
                <a:off x="3559182" y="7352973"/>
                <a:ext cx="182563" cy="107950"/>
              </a:xfrm>
              <a:custGeom>
                <a:avLst/>
                <a:gdLst>
                  <a:gd name="T0" fmla="*/ 219 w 243"/>
                  <a:gd name="T1" fmla="*/ 72 h 145"/>
                  <a:gd name="T2" fmla="*/ 179 w 243"/>
                  <a:gd name="T3" fmla="*/ 41 h 145"/>
                  <a:gd name="T4" fmla="*/ 178 w 243"/>
                  <a:gd name="T5" fmla="*/ 41 h 145"/>
                  <a:gd name="T6" fmla="*/ 178 w 243"/>
                  <a:gd name="T7" fmla="*/ 41 h 145"/>
                  <a:gd name="T8" fmla="*/ 137 w 243"/>
                  <a:gd name="T9" fmla="*/ 0 h 145"/>
                  <a:gd name="T10" fmla="*/ 101 w 243"/>
                  <a:gd name="T11" fmla="*/ 22 h 145"/>
                  <a:gd name="T12" fmla="*/ 88 w 243"/>
                  <a:gd name="T13" fmla="*/ 19 h 145"/>
                  <a:gd name="T14" fmla="*/ 50 w 243"/>
                  <a:gd name="T15" fmla="*/ 58 h 145"/>
                  <a:gd name="T16" fmla="*/ 50 w 243"/>
                  <a:gd name="T17" fmla="*/ 58 h 145"/>
                  <a:gd name="T18" fmla="*/ 44 w 243"/>
                  <a:gd name="T19" fmla="*/ 58 h 145"/>
                  <a:gd name="T20" fmla="*/ 0 w 243"/>
                  <a:gd name="T21" fmla="*/ 102 h 145"/>
                  <a:gd name="T22" fmla="*/ 44 w 243"/>
                  <a:gd name="T23" fmla="*/ 145 h 145"/>
                  <a:gd name="T24" fmla="*/ 205 w 243"/>
                  <a:gd name="T25" fmla="*/ 145 h 145"/>
                  <a:gd name="T26" fmla="*/ 243 w 243"/>
                  <a:gd name="T27" fmla="*/ 108 h 145"/>
                  <a:gd name="T28" fmla="*/ 219 w 243"/>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3" h="145">
                    <a:moveTo>
                      <a:pt x="219" y="72"/>
                    </a:moveTo>
                    <a:cubicBezTo>
                      <a:pt x="214" y="54"/>
                      <a:pt x="198" y="41"/>
                      <a:pt x="179" y="41"/>
                    </a:cubicBezTo>
                    <a:cubicBezTo>
                      <a:pt x="178" y="41"/>
                      <a:pt x="178" y="41"/>
                      <a:pt x="178" y="41"/>
                    </a:cubicBezTo>
                    <a:cubicBezTo>
                      <a:pt x="178" y="41"/>
                      <a:pt x="178" y="41"/>
                      <a:pt x="178" y="41"/>
                    </a:cubicBezTo>
                    <a:cubicBezTo>
                      <a:pt x="178" y="18"/>
                      <a:pt x="160" y="0"/>
                      <a:pt x="137" y="0"/>
                    </a:cubicBezTo>
                    <a:cubicBezTo>
                      <a:pt x="122" y="0"/>
                      <a:pt x="108" y="9"/>
                      <a:pt x="101" y="22"/>
                    </a:cubicBezTo>
                    <a:cubicBezTo>
                      <a:pt x="97" y="20"/>
                      <a:pt x="93" y="19"/>
                      <a:pt x="88" y="19"/>
                    </a:cubicBezTo>
                    <a:cubicBezTo>
                      <a:pt x="67" y="19"/>
                      <a:pt x="50" y="37"/>
                      <a:pt x="50" y="58"/>
                    </a:cubicBezTo>
                    <a:cubicBezTo>
                      <a:pt x="50" y="58"/>
                      <a:pt x="50" y="58"/>
                      <a:pt x="50" y="58"/>
                    </a:cubicBezTo>
                    <a:cubicBezTo>
                      <a:pt x="48" y="58"/>
                      <a:pt x="46" y="58"/>
                      <a:pt x="44" y="58"/>
                    </a:cubicBezTo>
                    <a:cubicBezTo>
                      <a:pt x="20" y="58"/>
                      <a:pt x="0" y="77"/>
                      <a:pt x="0" y="102"/>
                    </a:cubicBezTo>
                    <a:cubicBezTo>
                      <a:pt x="0" y="126"/>
                      <a:pt x="20" y="145"/>
                      <a:pt x="44" y="145"/>
                    </a:cubicBezTo>
                    <a:cubicBezTo>
                      <a:pt x="205" y="145"/>
                      <a:pt x="205" y="145"/>
                      <a:pt x="205" y="145"/>
                    </a:cubicBezTo>
                    <a:cubicBezTo>
                      <a:pt x="226" y="145"/>
                      <a:pt x="243" y="128"/>
                      <a:pt x="243" y="108"/>
                    </a:cubicBezTo>
                    <a:cubicBezTo>
                      <a:pt x="243" y="92"/>
                      <a:pt x="233" y="78"/>
                      <a:pt x="219"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1" name="Freeform 111"/>
              <p:cNvSpPr>
                <a:spLocks/>
              </p:cNvSpPr>
              <p:nvPr/>
            </p:nvSpPr>
            <p:spPr bwMode="auto">
              <a:xfrm>
                <a:off x="4275145" y="7014836"/>
                <a:ext cx="155575" cy="55563"/>
              </a:xfrm>
              <a:custGeom>
                <a:avLst/>
                <a:gdLst>
                  <a:gd name="T0" fmla="*/ 21 w 209"/>
                  <a:gd name="T1" fmla="*/ 38 h 76"/>
                  <a:gd name="T2" fmla="*/ 55 w 209"/>
                  <a:gd name="T3" fmla="*/ 21 h 76"/>
                  <a:gd name="T4" fmla="*/ 56 w 209"/>
                  <a:gd name="T5" fmla="*/ 21 h 76"/>
                  <a:gd name="T6" fmla="*/ 56 w 209"/>
                  <a:gd name="T7" fmla="*/ 21 h 76"/>
                  <a:gd name="T8" fmla="*/ 91 w 209"/>
                  <a:gd name="T9" fmla="*/ 0 h 76"/>
                  <a:gd name="T10" fmla="*/ 123 w 209"/>
                  <a:gd name="T11" fmla="*/ 11 h 76"/>
                  <a:gd name="T12" fmla="*/ 134 w 209"/>
                  <a:gd name="T13" fmla="*/ 10 h 76"/>
                  <a:gd name="T14" fmla="*/ 167 w 209"/>
                  <a:gd name="T15" fmla="*/ 30 h 76"/>
                  <a:gd name="T16" fmla="*/ 167 w 209"/>
                  <a:gd name="T17" fmla="*/ 30 h 76"/>
                  <a:gd name="T18" fmla="*/ 172 w 209"/>
                  <a:gd name="T19" fmla="*/ 30 h 76"/>
                  <a:gd name="T20" fmla="*/ 209 w 209"/>
                  <a:gd name="T21" fmla="*/ 53 h 76"/>
                  <a:gd name="T22" fmla="*/ 172 w 209"/>
                  <a:gd name="T23" fmla="*/ 76 h 76"/>
                  <a:gd name="T24" fmla="*/ 33 w 209"/>
                  <a:gd name="T25" fmla="*/ 76 h 76"/>
                  <a:gd name="T26" fmla="*/ 0 w 209"/>
                  <a:gd name="T27" fmla="*/ 56 h 76"/>
                  <a:gd name="T28" fmla="*/ 21 w 209"/>
                  <a:gd name="T29" fmla="*/ 3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9" h="76">
                    <a:moveTo>
                      <a:pt x="21" y="38"/>
                    </a:moveTo>
                    <a:cubicBezTo>
                      <a:pt x="25" y="28"/>
                      <a:pt x="39" y="21"/>
                      <a:pt x="55" y="21"/>
                    </a:cubicBezTo>
                    <a:cubicBezTo>
                      <a:pt x="56" y="21"/>
                      <a:pt x="56" y="21"/>
                      <a:pt x="56" y="21"/>
                    </a:cubicBezTo>
                    <a:cubicBezTo>
                      <a:pt x="56" y="21"/>
                      <a:pt x="56" y="21"/>
                      <a:pt x="56" y="21"/>
                    </a:cubicBezTo>
                    <a:cubicBezTo>
                      <a:pt x="56" y="9"/>
                      <a:pt x="72" y="0"/>
                      <a:pt x="91" y="0"/>
                    </a:cubicBezTo>
                    <a:cubicBezTo>
                      <a:pt x="105" y="0"/>
                      <a:pt x="117" y="4"/>
                      <a:pt x="123" y="11"/>
                    </a:cubicBezTo>
                    <a:cubicBezTo>
                      <a:pt x="126" y="10"/>
                      <a:pt x="130" y="10"/>
                      <a:pt x="134" y="10"/>
                    </a:cubicBezTo>
                    <a:cubicBezTo>
                      <a:pt x="152" y="10"/>
                      <a:pt x="167" y="19"/>
                      <a:pt x="167" y="30"/>
                    </a:cubicBezTo>
                    <a:cubicBezTo>
                      <a:pt x="167" y="30"/>
                      <a:pt x="167" y="30"/>
                      <a:pt x="167" y="30"/>
                    </a:cubicBezTo>
                    <a:cubicBezTo>
                      <a:pt x="169" y="30"/>
                      <a:pt x="170" y="30"/>
                      <a:pt x="172" y="30"/>
                    </a:cubicBezTo>
                    <a:cubicBezTo>
                      <a:pt x="193" y="30"/>
                      <a:pt x="209" y="41"/>
                      <a:pt x="209" y="53"/>
                    </a:cubicBezTo>
                    <a:cubicBezTo>
                      <a:pt x="209" y="66"/>
                      <a:pt x="193" y="76"/>
                      <a:pt x="172" y="76"/>
                    </a:cubicBezTo>
                    <a:cubicBezTo>
                      <a:pt x="33" y="76"/>
                      <a:pt x="33" y="76"/>
                      <a:pt x="33" y="76"/>
                    </a:cubicBezTo>
                    <a:cubicBezTo>
                      <a:pt x="15" y="76"/>
                      <a:pt x="0" y="67"/>
                      <a:pt x="0" y="56"/>
                    </a:cubicBezTo>
                    <a:cubicBezTo>
                      <a:pt x="0" y="48"/>
                      <a:pt x="9" y="41"/>
                      <a:pt x="2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2" name="Freeform 112"/>
              <p:cNvSpPr>
                <a:spLocks/>
              </p:cNvSpPr>
              <p:nvPr/>
            </p:nvSpPr>
            <p:spPr bwMode="auto">
              <a:xfrm>
                <a:off x="3813182" y="8218161"/>
                <a:ext cx="61913" cy="61913"/>
              </a:xfrm>
              <a:custGeom>
                <a:avLst/>
                <a:gdLst>
                  <a:gd name="T0" fmla="*/ 30 w 83"/>
                  <a:gd name="T1" fmla="*/ 73 h 82"/>
                  <a:gd name="T2" fmla="*/ 74 w 83"/>
                  <a:gd name="T3" fmla="*/ 62 h 82"/>
                  <a:gd name="T4" fmla="*/ 62 w 83"/>
                  <a:gd name="T5" fmla="*/ 18 h 82"/>
                  <a:gd name="T6" fmla="*/ 32 w 83"/>
                  <a:gd name="T7" fmla="*/ 0 h 82"/>
                  <a:gd name="T8" fmla="*/ 0 w 83"/>
                  <a:gd name="T9" fmla="*/ 55 h 82"/>
                  <a:gd name="T10" fmla="*/ 30 w 83"/>
                  <a:gd name="T11" fmla="*/ 73 h 82"/>
                </a:gdLst>
                <a:ahLst/>
                <a:cxnLst>
                  <a:cxn ang="0">
                    <a:pos x="T0" y="T1"/>
                  </a:cxn>
                  <a:cxn ang="0">
                    <a:pos x="T2" y="T3"/>
                  </a:cxn>
                  <a:cxn ang="0">
                    <a:pos x="T4" y="T5"/>
                  </a:cxn>
                  <a:cxn ang="0">
                    <a:pos x="T6" y="T7"/>
                  </a:cxn>
                  <a:cxn ang="0">
                    <a:pos x="T8" y="T9"/>
                  </a:cxn>
                  <a:cxn ang="0">
                    <a:pos x="T10" y="T11"/>
                  </a:cxn>
                </a:cxnLst>
                <a:rect l="0" t="0" r="r" b="b"/>
                <a:pathLst>
                  <a:path w="83" h="82">
                    <a:moveTo>
                      <a:pt x="30" y="73"/>
                    </a:moveTo>
                    <a:cubicBezTo>
                      <a:pt x="45" y="82"/>
                      <a:pt x="65" y="77"/>
                      <a:pt x="74" y="62"/>
                    </a:cubicBezTo>
                    <a:cubicBezTo>
                      <a:pt x="83" y="47"/>
                      <a:pt x="78" y="27"/>
                      <a:pt x="62" y="18"/>
                    </a:cubicBezTo>
                    <a:cubicBezTo>
                      <a:pt x="62" y="18"/>
                      <a:pt x="32" y="0"/>
                      <a:pt x="32" y="0"/>
                    </a:cubicBezTo>
                    <a:cubicBezTo>
                      <a:pt x="0" y="55"/>
                      <a:pt x="0" y="55"/>
                      <a:pt x="0" y="55"/>
                    </a:cubicBezTo>
                    <a:cubicBezTo>
                      <a:pt x="0" y="55"/>
                      <a:pt x="29" y="73"/>
                      <a:pt x="30" y="7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3" name="Freeform 113"/>
              <p:cNvSpPr>
                <a:spLocks/>
              </p:cNvSpPr>
              <p:nvPr/>
            </p:nvSpPr>
            <p:spPr bwMode="auto">
              <a:xfrm>
                <a:off x="3832232" y="8711873"/>
                <a:ext cx="128588" cy="71438"/>
              </a:xfrm>
              <a:custGeom>
                <a:avLst/>
                <a:gdLst>
                  <a:gd name="T0" fmla="*/ 81 w 81"/>
                  <a:gd name="T1" fmla="*/ 35 h 45"/>
                  <a:gd name="T2" fmla="*/ 47 w 81"/>
                  <a:gd name="T3" fmla="*/ 0 h 45"/>
                  <a:gd name="T4" fmla="*/ 0 w 81"/>
                  <a:gd name="T5" fmla="*/ 0 h 45"/>
                  <a:gd name="T6" fmla="*/ 0 w 81"/>
                  <a:gd name="T7" fmla="*/ 45 h 45"/>
                  <a:gd name="T8" fmla="*/ 81 w 81"/>
                  <a:gd name="T9" fmla="*/ 45 h 45"/>
                  <a:gd name="T10" fmla="*/ 81 w 81"/>
                  <a:gd name="T11" fmla="*/ 35 h 45"/>
                </a:gdLst>
                <a:ahLst/>
                <a:cxnLst>
                  <a:cxn ang="0">
                    <a:pos x="T0" y="T1"/>
                  </a:cxn>
                  <a:cxn ang="0">
                    <a:pos x="T2" y="T3"/>
                  </a:cxn>
                  <a:cxn ang="0">
                    <a:pos x="T4" y="T5"/>
                  </a:cxn>
                  <a:cxn ang="0">
                    <a:pos x="T6" y="T7"/>
                  </a:cxn>
                  <a:cxn ang="0">
                    <a:pos x="T8" y="T9"/>
                  </a:cxn>
                  <a:cxn ang="0">
                    <a:pos x="T10" y="T11"/>
                  </a:cxn>
                </a:cxnLst>
                <a:rect l="0" t="0" r="r" b="b"/>
                <a:pathLst>
                  <a:path w="81" h="45">
                    <a:moveTo>
                      <a:pt x="81" y="35"/>
                    </a:moveTo>
                    <a:lnTo>
                      <a:pt x="47" y="0"/>
                    </a:lnTo>
                    <a:lnTo>
                      <a:pt x="0" y="0"/>
                    </a:lnTo>
                    <a:lnTo>
                      <a:pt x="0" y="45"/>
                    </a:lnTo>
                    <a:lnTo>
                      <a:pt x="81" y="45"/>
                    </a:lnTo>
                    <a:lnTo>
                      <a:pt x="81" y="3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4" name="Freeform 114"/>
              <p:cNvSpPr>
                <a:spLocks/>
              </p:cNvSpPr>
              <p:nvPr/>
            </p:nvSpPr>
            <p:spPr bwMode="auto">
              <a:xfrm>
                <a:off x="3832232" y="8711873"/>
                <a:ext cx="128588" cy="71438"/>
              </a:xfrm>
              <a:custGeom>
                <a:avLst/>
                <a:gdLst>
                  <a:gd name="T0" fmla="*/ 81 w 81"/>
                  <a:gd name="T1" fmla="*/ 35 h 45"/>
                  <a:gd name="T2" fmla="*/ 47 w 81"/>
                  <a:gd name="T3" fmla="*/ 0 h 45"/>
                  <a:gd name="T4" fmla="*/ 0 w 81"/>
                  <a:gd name="T5" fmla="*/ 0 h 45"/>
                  <a:gd name="T6" fmla="*/ 0 w 81"/>
                  <a:gd name="T7" fmla="*/ 45 h 45"/>
                  <a:gd name="T8" fmla="*/ 81 w 81"/>
                  <a:gd name="T9" fmla="*/ 45 h 45"/>
                  <a:gd name="T10" fmla="*/ 81 w 81"/>
                  <a:gd name="T11" fmla="*/ 35 h 45"/>
                </a:gdLst>
                <a:ahLst/>
                <a:cxnLst>
                  <a:cxn ang="0">
                    <a:pos x="T0" y="T1"/>
                  </a:cxn>
                  <a:cxn ang="0">
                    <a:pos x="T2" y="T3"/>
                  </a:cxn>
                  <a:cxn ang="0">
                    <a:pos x="T4" y="T5"/>
                  </a:cxn>
                  <a:cxn ang="0">
                    <a:pos x="T6" y="T7"/>
                  </a:cxn>
                  <a:cxn ang="0">
                    <a:pos x="T8" y="T9"/>
                  </a:cxn>
                  <a:cxn ang="0">
                    <a:pos x="T10" y="T11"/>
                  </a:cxn>
                </a:cxnLst>
                <a:rect l="0" t="0" r="r" b="b"/>
                <a:pathLst>
                  <a:path w="81" h="45">
                    <a:moveTo>
                      <a:pt x="81" y="35"/>
                    </a:moveTo>
                    <a:lnTo>
                      <a:pt x="47" y="0"/>
                    </a:lnTo>
                    <a:lnTo>
                      <a:pt x="0" y="0"/>
                    </a:lnTo>
                    <a:lnTo>
                      <a:pt x="0" y="45"/>
                    </a:lnTo>
                    <a:lnTo>
                      <a:pt x="81" y="45"/>
                    </a:lnTo>
                    <a:lnTo>
                      <a:pt x="81"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5" name="Rectangle 115"/>
              <p:cNvSpPr>
                <a:spLocks noChangeArrowheads="1"/>
              </p:cNvSpPr>
              <p:nvPr/>
            </p:nvSpPr>
            <p:spPr bwMode="auto">
              <a:xfrm>
                <a:off x="3795720" y="8278486"/>
                <a:ext cx="290513" cy="34925"/>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6" name="Rectangle 116"/>
              <p:cNvSpPr>
                <a:spLocks noChangeArrowheads="1"/>
              </p:cNvSpPr>
              <p:nvPr/>
            </p:nvSpPr>
            <p:spPr bwMode="auto">
              <a:xfrm>
                <a:off x="3795720" y="8278486"/>
                <a:ext cx="290513" cy="3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7" name="Rectangle 117"/>
              <p:cNvSpPr>
                <a:spLocks noChangeArrowheads="1"/>
              </p:cNvSpPr>
              <p:nvPr/>
            </p:nvSpPr>
            <p:spPr bwMode="auto">
              <a:xfrm>
                <a:off x="3962407" y="8278486"/>
                <a:ext cx="123825" cy="34925"/>
              </a:xfrm>
              <a:prstGeom prst="rect">
                <a:avLst/>
              </a:prstGeom>
              <a:solidFill>
                <a:srgbClr val="5DA5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8" name="Rectangle 118"/>
              <p:cNvSpPr>
                <a:spLocks noChangeArrowheads="1"/>
              </p:cNvSpPr>
              <p:nvPr/>
            </p:nvSpPr>
            <p:spPr bwMode="auto">
              <a:xfrm>
                <a:off x="3962407" y="8278486"/>
                <a:ext cx="123825" cy="3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9" name="Freeform 119"/>
              <p:cNvSpPr>
                <a:spLocks/>
              </p:cNvSpPr>
              <p:nvPr/>
            </p:nvSpPr>
            <p:spPr bwMode="auto">
              <a:xfrm>
                <a:off x="3470282" y="8108623"/>
                <a:ext cx="300038" cy="239713"/>
              </a:xfrm>
              <a:custGeom>
                <a:avLst/>
                <a:gdLst>
                  <a:gd name="T0" fmla="*/ 0 w 402"/>
                  <a:gd name="T1" fmla="*/ 21 h 322"/>
                  <a:gd name="T2" fmla="*/ 0 w 402"/>
                  <a:gd name="T3" fmla="*/ 302 h 322"/>
                  <a:gd name="T4" fmla="*/ 20 w 402"/>
                  <a:gd name="T5" fmla="*/ 322 h 322"/>
                  <a:gd name="T6" fmla="*/ 382 w 402"/>
                  <a:gd name="T7" fmla="*/ 322 h 322"/>
                  <a:gd name="T8" fmla="*/ 402 w 402"/>
                  <a:gd name="T9" fmla="*/ 302 h 322"/>
                  <a:gd name="T10" fmla="*/ 402 w 402"/>
                  <a:gd name="T11" fmla="*/ 21 h 322"/>
                  <a:gd name="T12" fmla="*/ 382 w 402"/>
                  <a:gd name="T13" fmla="*/ 0 h 322"/>
                  <a:gd name="T14" fmla="*/ 20 w 402"/>
                  <a:gd name="T15" fmla="*/ 0 h 322"/>
                  <a:gd name="T16" fmla="*/ 0 w 402"/>
                  <a:gd name="T17" fmla="*/ 21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322">
                    <a:moveTo>
                      <a:pt x="0" y="21"/>
                    </a:moveTo>
                    <a:cubicBezTo>
                      <a:pt x="0" y="302"/>
                      <a:pt x="0" y="302"/>
                      <a:pt x="0" y="302"/>
                    </a:cubicBezTo>
                    <a:cubicBezTo>
                      <a:pt x="0" y="302"/>
                      <a:pt x="0" y="322"/>
                      <a:pt x="20" y="322"/>
                    </a:cubicBezTo>
                    <a:cubicBezTo>
                      <a:pt x="382" y="322"/>
                      <a:pt x="382" y="322"/>
                      <a:pt x="382" y="322"/>
                    </a:cubicBezTo>
                    <a:cubicBezTo>
                      <a:pt x="382" y="322"/>
                      <a:pt x="402" y="322"/>
                      <a:pt x="402" y="302"/>
                    </a:cubicBezTo>
                    <a:cubicBezTo>
                      <a:pt x="402" y="21"/>
                      <a:pt x="402" y="21"/>
                      <a:pt x="402" y="21"/>
                    </a:cubicBezTo>
                    <a:cubicBezTo>
                      <a:pt x="402" y="21"/>
                      <a:pt x="402" y="0"/>
                      <a:pt x="382" y="0"/>
                    </a:cubicBezTo>
                    <a:cubicBezTo>
                      <a:pt x="20" y="0"/>
                      <a:pt x="20" y="0"/>
                      <a:pt x="20" y="0"/>
                    </a:cubicBezTo>
                    <a:cubicBezTo>
                      <a:pt x="20" y="0"/>
                      <a:pt x="0" y="0"/>
                      <a:pt x="0" y="2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0" name="Freeform 120"/>
              <p:cNvSpPr>
                <a:spLocks/>
              </p:cNvSpPr>
              <p:nvPr/>
            </p:nvSpPr>
            <p:spPr bwMode="auto">
              <a:xfrm>
                <a:off x="3470282" y="8108623"/>
                <a:ext cx="263525" cy="239713"/>
              </a:xfrm>
              <a:custGeom>
                <a:avLst/>
                <a:gdLst>
                  <a:gd name="T0" fmla="*/ 0 w 354"/>
                  <a:gd name="T1" fmla="*/ 21 h 322"/>
                  <a:gd name="T2" fmla="*/ 0 w 354"/>
                  <a:gd name="T3" fmla="*/ 302 h 322"/>
                  <a:gd name="T4" fmla="*/ 20 w 354"/>
                  <a:gd name="T5" fmla="*/ 322 h 322"/>
                  <a:gd name="T6" fmla="*/ 334 w 354"/>
                  <a:gd name="T7" fmla="*/ 322 h 322"/>
                  <a:gd name="T8" fmla="*/ 354 w 354"/>
                  <a:gd name="T9" fmla="*/ 302 h 322"/>
                  <a:gd name="T10" fmla="*/ 354 w 354"/>
                  <a:gd name="T11" fmla="*/ 21 h 322"/>
                  <a:gd name="T12" fmla="*/ 334 w 354"/>
                  <a:gd name="T13" fmla="*/ 0 h 322"/>
                  <a:gd name="T14" fmla="*/ 20 w 354"/>
                  <a:gd name="T15" fmla="*/ 0 h 322"/>
                  <a:gd name="T16" fmla="*/ 0 w 354"/>
                  <a:gd name="T17" fmla="*/ 21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4" h="322">
                    <a:moveTo>
                      <a:pt x="0" y="21"/>
                    </a:moveTo>
                    <a:cubicBezTo>
                      <a:pt x="0" y="302"/>
                      <a:pt x="0" y="302"/>
                      <a:pt x="0" y="302"/>
                    </a:cubicBezTo>
                    <a:cubicBezTo>
                      <a:pt x="0" y="302"/>
                      <a:pt x="0" y="322"/>
                      <a:pt x="20" y="322"/>
                    </a:cubicBezTo>
                    <a:cubicBezTo>
                      <a:pt x="334" y="322"/>
                      <a:pt x="334" y="322"/>
                      <a:pt x="334" y="322"/>
                    </a:cubicBezTo>
                    <a:cubicBezTo>
                      <a:pt x="334" y="322"/>
                      <a:pt x="354" y="322"/>
                      <a:pt x="354" y="302"/>
                    </a:cubicBezTo>
                    <a:cubicBezTo>
                      <a:pt x="354" y="21"/>
                      <a:pt x="354" y="21"/>
                      <a:pt x="354" y="21"/>
                    </a:cubicBezTo>
                    <a:cubicBezTo>
                      <a:pt x="354" y="21"/>
                      <a:pt x="354" y="0"/>
                      <a:pt x="334" y="0"/>
                    </a:cubicBezTo>
                    <a:cubicBezTo>
                      <a:pt x="20" y="0"/>
                      <a:pt x="20" y="0"/>
                      <a:pt x="20" y="0"/>
                    </a:cubicBezTo>
                    <a:cubicBezTo>
                      <a:pt x="20" y="0"/>
                      <a:pt x="0" y="0"/>
                      <a:pt x="0" y="2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1" name="Rectangle 121"/>
              <p:cNvSpPr>
                <a:spLocks noChangeArrowheads="1"/>
              </p:cNvSpPr>
              <p:nvPr/>
            </p:nvSpPr>
            <p:spPr bwMode="auto">
              <a:xfrm>
                <a:off x="3517907" y="8697586"/>
                <a:ext cx="268288" cy="34925"/>
              </a:xfrm>
              <a:prstGeom prst="rect">
                <a:avLst/>
              </a:prstGeom>
              <a:solidFill>
                <a:srgbClr val="672B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2" name="Rectangle 122"/>
              <p:cNvSpPr>
                <a:spLocks noChangeArrowheads="1"/>
              </p:cNvSpPr>
              <p:nvPr/>
            </p:nvSpPr>
            <p:spPr bwMode="auto">
              <a:xfrm>
                <a:off x="3832232" y="8711873"/>
                <a:ext cx="30163" cy="1588"/>
              </a:xfrm>
              <a:prstGeom prst="rect">
                <a:avLst/>
              </a:prstGeom>
              <a:solidFill>
                <a:srgbClr val="C63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3" name="Rectangle 123"/>
              <p:cNvSpPr>
                <a:spLocks noChangeArrowheads="1"/>
              </p:cNvSpPr>
              <p:nvPr/>
            </p:nvSpPr>
            <p:spPr bwMode="auto">
              <a:xfrm>
                <a:off x="3832232" y="8711873"/>
                <a:ext cx="30163"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4" name="Rectangle 124"/>
              <p:cNvSpPr>
                <a:spLocks noChangeArrowheads="1"/>
              </p:cNvSpPr>
              <p:nvPr/>
            </p:nvSpPr>
            <p:spPr bwMode="auto">
              <a:xfrm>
                <a:off x="3832232" y="8464223"/>
                <a:ext cx="30163" cy="247650"/>
              </a:xfrm>
              <a:prstGeom prst="rect">
                <a:avLst/>
              </a:prstGeom>
              <a:solidFill>
                <a:srgbClr val="0066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5" name="Rectangle 125"/>
              <p:cNvSpPr>
                <a:spLocks noChangeArrowheads="1"/>
              </p:cNvSpPr>
              <p:nvPr/>
            </p:nvSpPr>
            <p:spPr bwMode="auto">
              <a:xfrm>
                <a:off x="3832232" y="8464223"/>
                <a:ext cx="30163"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6" name="Rectangle 126"/>
              <p:cNvSpPr>
                <a:spLocks noChangeArrowheads="1"/>
              </p:cNvSpPr>
              <p:nvPr/>
            </p:nvSpPr>
            <p:spPr bwMode="auto">
              <a:xfrm>
                <a:off x="3832232" y="8711873"/>
                <a:ext cx="30163" cy="71438"/>
              </a:xfrm>
              <a:prstGeom prst="rect">
                <a:avLst/>
              </a:prstGeom>
              <a:solidFill>
                <a:srgbClr val="001D4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7" name="Rectangle 127"/>
              <p:cNvSpPr>
                <a:spLocks noChangeArrowheads="1"/>
              </p:cNvSpPr>
              <p:nvPr/>
            </p:nvSpPr>
            <p:spPr bwMode="auto">
              <a:xfrm>
                <a:off x="3832232" y="8711873"/>
                <a:ext cx="30163"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8" name="Rectangle 128"/>
              <p:cNvSpPr>
                <a:spLocks noChangeArrowheads="1"/>
              </p:cNvSpPr>
              <p:nvPr/>
            </p:nvSpPr>
            <p:spPr bwMode="auto">
              <a:xfrm>
                <a:off x="3668720" y="8549948"/>
                <a:ext cx="30163" cy="139700"/>
              </a:xfrm>
              <a:prstGeom prst="rect">
                <a:avLst/>
              </a:prstGeom>
              <a:solidFill>
                <a:srgbClr val="0066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9" name="Rectangle 129"/>
              <p:cNvSpPr>
                <a:spLocks noChangeArrowheads="1"/>
              </p:cNvSpPr>
              <p:nvPr/>
            </p:nvSpPr>
            <p:spPr bwMode="auto">
              <a:xfrm>
                <a:off x="3668720" y="8549948"/>
                <a:ext cx="30163"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0" name="Freeform 130"/>
              <p:cNvSpPr>
                <a:spLocks/>
              </p:cNvSpPr>
              <p:nvPr/>
            </p:nvSpPr>
            <p:spPr bwMode="auto">
              <a:xfrm>
                <a:off x="3619507" y="8515023"/>
                <a:ext cx="66675" cy="196850"/>
              </a:xfrm>
              <a:custGeom>
                <a:avLst/>
                <a:gdLst>
                  <a:gd name="T0" fmla="*/ 31 w 42"/>
                  <a:gd name="T1" fmla="*/ 80 h 124"/>
                  <a:gd name="T2" fmla="*/ 31 w 42"/>
                  <a:gd name="T3" fmla="*/ 0 h 124"/>
                  <a:gd name="T4" fmla="*/ 10 w 42"/>
                  <a:gd name="T5" fmla="*/ 0 h 124"/>
                  <a:gd name="T6" fmla="*/ 10 w 42"/>
                  <a:gd name="T7" fmla="*/ 80 h 124"/>
                  <a:gd name="T8" fmla="*/ 0 w 42"/>
                  <a:gd name="T9" fmla="*/ 80 h 124"/>
                  <a:gd name="T10" fmla="*/ 0 w 42"/>
                  <a:gd name="T11" fmla="*/ 124 h 124"/>
                  <a:gd name="T12" fmla="*/ 42 w 42"/>
                  <a:gd name="T13" fmla="*/ 124 h 124"/>
                  <a:gd name="T14" fmla="*/ 42 w 42"/>
                  <a:gd name="T15" fmla="*/ 80 h 124"/>
                  <a:gd name="T16" fmla="*/ 31 w 42"/>
                  <a:gd name="T17" fmla="*/ 8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24">
                    <a:moveTo>
                      <a:pt x="31" y="80"/>
                    </a:moveTo>
                    <a:lnTo>
                      <a:pt x="31" y="0"/>
                    </a:lnTo>
                    <a:lnTo>
                      <a:pt x="10" y="0"/>
                    </a:lnTo>
                    <a:lnTo>
                      <a:pt x="10" y="80"/>
                    </a:lnTo>
                    <a:lnTo>
                      <a:pt x="0" y="80"/>
                    </a:lnTo>
                    <a:lnTo>
                      <a:pt x="0" y="124"/>
                    </a:lnTo>
                    <a:lnTo>
                      <a:pt x="42" y="124"/>
                    </a:lnTo>
                    <a:lnTo>
                      <a:pt x="42" y="80"/>
                    </a:lnTo>
                    <a:lnTo>
                      <a:pt x="31" y="8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1" name="Freeform 131"/>
              <p:cNvSpPr>
                <a:spLocks/>
              </p:cNvSpPr>
              <p:nvPr/>
            </p:nvSpPr>
            <p:spPr bwMode="auto">
              <a:xfrm>
                <a:off x="3470282" y="8689648"/>
                <a:ext cx="354013" cy="42863"/>
              </a:xfrm>
              <a:custGeom>
                <a:avLst/>
                <a:gdLst>
                  <a:gd name="T0" fmla="*/ 0 w 475"/>
                  <a:gd name="T1" fmla="*/ 20 h 58"/>
                  <a:gd name="T2" fmla="*/ 0 w 475"/>
                  <a:gd name="T3" fmla="*/ 38 h 58"/>
                  <a:gd name="T4" fmla="*/ 20 w 475"/>
                  <a:gd name="T5" fmla="*/ 58 h 58"/>
                  <a:gd name="T6" fmla="*/ 455 w 475"/>
                  <a:gd name="T7" fmla="*/ 58 h 58"/>
                  <a:gd name="T8" fmla="*/ 475 w 475"/>
                  <a:gd name="T9" fmla="*/ 38 h 58"/>
                  <a:gd name="T10" fmla="*/ 475 w 475"/>
                  <a:gd name="T11" fmla="*/ 20 h 58"/>
                  <a:gd name="T12" fmla="*/ 455 w 475"/>
                  <a:gd name="T13" fmla="*/ 0 h 58"/>
                  <a:gd name="T14" fmla="*/ 20 w 475"/>
                  <a:gd name="T15" fmla="*/ 0 h 58"/>
                  <a:gd name="T16" fmla="*/ 0 w 475"/>
                  <a:gd name="T17"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5" h="58">
                    <a:moveTo>
                      <a:pt x="0" y="20"/>
                    </a:moveTo>
                    <a:cubicBezTo>
                      <a:pt x="0" y="38"/>
                      <a:pt x="0" y="38"/>
                      <a:pt x="0" y="38"/>
                    </a:cubicBezTo>
                    <a:cubicBezTo>
                      <a:pt x="0" y="38"/>
                      <a:pt x="0" y="58"/>
                      <a:pt x="20" y="58"/>
                    </a:cubicBezTo>
                    <a:cubicBezTo>
                      <a:pt x="455" y="58"/>
                      <a:pt x="455" y="58"/>
                      <a:pt x="455" y="58"/>
                    </a:cubicBezTo>
                    <a:cubicBezTo>
                      <a:pt x="455" y="58"/>
                      <a:pt x="475" y="58"/>
                      <a:pt x="475" y="38"/>
                    </a:cubicBezTo>
                    <a:cubicBezTo>
                      <a:pt x="475" y="20"/>
                      <a:pt x="475" y="20"/>
                      <a:pt x="475" y="20"/>
                    </a:cubicBezTo>
                    <a:cubicBezTo>
                      <a:pt x="475" y="20"/>
                      <a:pt x="475" y="0"/>
                      <a:pt x="455" y="0"/>
                    </a:cubicBezTo>
                    <a:cubicBezTo>
                      <a:pt x="20" y="0"/>
                      <a:pt x="20" y="0"/>
                      <a:pt x="20" y="0"/>
                    </a:cubicBezTo>
                    <a:cubicBezTo>
                      <a:pt x="20" y="0"/>
                      <a:pt x="0" y="0"/>
                      <a:pt x="0" y="2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2" name="Freeform 132"/>
              <p:cNvSpPr>
                <a:spLocks/>
              </p:cNvSpPr>
              <p:nvPr/>
            </p:nvSpPr>
            <p:spPr bwMode="auto">
              <a:xfrm>
                <a:off x="3611570" y="7811761"/>
                <a:ext cx="60325" cy="30163"/>
              </a:xfrm>
              <a:custGeom>
                <a:avLst/>
                <a:gdLst>
                  <a:gd name="T0" fmla="*/ 0 w 81"/>
                  <a:gd name="T1" fmla="*/ 41 h 41"/>
                  <a:gd name="T2" fmla="*/ 81 w 81"/>
                  <a:gd name="T3" fmla="*/ 0 h 41"/>
                  <a:gd name="T4" fmla="*/ 77 w 81"/>
                  <a:gd name="T5" fmla="*/ 41 h 41"/>
                  <a:gd name="T6" fmla="*/ 0 w 81"/>
                  <a:gd name="T7" fmla="*/ 41 h 41"/>
                </a:gdLst>
                <a:ahLst/>
                <a:cxnLst>
                  <a:cxn ang="0">
                    <a:pos x="T0" y="T1"/>
                  </a:cxn>
                  <a:cxn ang="0">
                    <a:pos x="T2" y="T3"/>
                  </a:cxn>
                  <a:cxn ang="0">
                    <a:pos x="T4" y="T5"/>
                  </a:cxn>
                  <a:cxn ang="0">
                    <a:pos x="T6" y="T7"/>
                  </a:cxn>
                </a:cxnLst>
                <a:rect l="0" t="0" r="r" b="b"/>
                <a:pathLst>
                  <a:path w="81" h="41">
                    <a:moveTo>
                      <a:pt x="0" y="41"/>
                    </a:moveTo>
                    <a:cubicBezTo>
                      <a:pt x="0" y="41"/>
                      <a:pt x="16" y="0"/>
                      <a:pt x="81" y="0"/>
                    </a:cubicBezTo>
                    <a:cubicBezTo>
                      <a:pt x="77" y="41"/>
                      <a:pt x="77" y="41"/>
                      <a:pt x="77" y="41"/>
                    </a:cubicBezTo>
                    <a:lnTo>
                      <a:pt x="0" y="4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3" name="Freeform 133"/>
              <p:cNvSpPr>
                <a:spLocks/>
              </p:cNvSpPr>
              <p:nvPr/>
            </p:nvSpPr>
            <p:spPr bwMode="auto">
              <a:xfrm>
                <a:off x="3505207" y="7827636"/>
                <a:ext cx="77788" cy="128588"/>
              </a:xfrm>
              <a:custGeom>
                <a:avLst/>
                <a:gdLst>
                  <a:gd name="T0" fmla="*/ 78 w 104"/>
                  <a:gd name="T1" fmla="*/ 1 h 173"/>
                  <a:gd name="T2" fmla="*/ 21 w 104"/>
                  <a:gd name="T3" fmla="*/ 93 h 173"/>
                  <a:gd name="T4" fmla="*/ 30 w 104"/>
                  <a:gd name="T5" fmla="*/ 125 h 173"/>
                  <a:gd name="T6" fmla="*/ 36 w 104"/>
                  <a:gd name="T7" fmla="*/ 153 h 173"/>
                  <a:gd name="T8" fmla="*/ 86 w 104"/>
                  <a:gd name="T9" fmla="*/ 162 h 173"/>
                  <a:gd name="T10" fmla="*/ 104 w 104"/>
                  <a:gd name="T11" fmla="*/ 110 h 173"/>
                </a:gdLst>
                <a:ahLst/>
                <a:cxnLst>
                  <a:cxn ang="0">
                    <a:pos x="T0" y="T1"/>
                  </a:cxn>
                  <a:cxn ang="0">
                    <a:pos x="T2" y="T3"/>
                  </a:cxn>
                  <a:cxn ang="0">
                    <a:pos x="T4" y="T5"/>
                  </a:cxn>
                  <a:cxn ang="0">
                    <a:pos x="T6" y="T7"/>
                  </a:cxn>
                  <a:cxn ang="0">
                    <a:pos x="T8" y="T9"/>
                  </a:cxn>
                  <a:cxn ang="0">
                    <a:pos x="T10" y="T11"/>
                  </a:cxn>
                </a:cxnLst>
                <a:rect l="0" t="0" r="r" b="b"/>
                <a:pathLst>
                  <a:path w="104" h="173">
                    <a:moveTo>
                      <a:pt x="78" y="1"/>
                    </a:moveTo>
                    <a:cubicBezTo>
                      <a:pt x="34" y="0"/>
                      <a:pt x="0" y="58"/>
                      <a:pt x="21" y="93"/>
                    </a:cubicBezTo>
                    <a:cubicBezTo>
                      <a:pt x="27" y="104"/>
                      <a:pt x="30" y="112"/>
                      <a:pt x="30" y="125"/>
                    </a:cubicBezTo>
                    <a:cubicBezTo>
                      <a:pt x="30" y="136"/>
                      <a:pt x="31" y="144"/>
                      <a:pt x="36" y="153"/>
                    </a:cubicBezTo>
                    <a:cubicBezTo>
                      <a:pt x="43" y="166"/>
                      <a:pt x="74" y="173"/>
                      <a:pt x="86" y="162"/>
                    </a:cubicBezTo>
                    <a:cubicBezTo>
                      <a:pt x="101" y="150"/>
                      <a:pt x="104" y="128"/>
                      <a:pt x="104" y="110"/>
                    </a:cubicBezTo>
                  </a:path>
                </a:pathLst>
              </a:custGeom>
              <a:solidFill>
                <a:srgbClr val="544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4" name="Freeform 134"/>
              <p:cNvSpPr>
                <a:spLocks/>
              </p:cNvSpPr>
              <p:nvPr/>
            </p:nvSpPr>
            <p:spPr bwMode="auto">
              <a:xfrm>
                <a:off x="3625857" y="7929236"/>
                <a:ext cx="69850" cy="84138"/>
              </a:xfrm>
              <a:custGeom>
                <a:avLst/>
                <a:gdLst>
                  <a:gd name="T0" fmla="*/ 93 w 93"/>
                  <a:gd name="T1" fmla="*/ 10 h 111"/>
                  <a:gd name="T2" fmla="*/ 63 w 93"/>
                  <a:gd name="T3" fmla="*/ 0 h 111"/>
                  <a:gd name="T4" fmla="*/ 54 w 93"/>
                  <a:gd name="T5" fmla="*/ 24 h 111"/>
                  <a:gd name="T6" fmla="*/ 0 w 93"/>
                  <a:gd name="T7" fmla="*/ 24 h 111"/>
                  <a:gd name="T8" fmla="*/ 0 w 93"/>
                  <a:gd name="T9" fmla="*/ 111 h 111"/>
                  <a:gd name="T10" fmla="*/ 64 w 93"/>
                  <a:gd name="T11" fmla="*/ 111 h 111"/>
                  <a:gd name="T12" fmla="*/ 64 w 93"/>
                  <a:gd name="T13" fmla="*/ 62 h 111"/>
                  <a:gd name="T14" fmla="*/ 93 w 93"/>
                  <a:gd name="T15" fmla="*/ 1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11">
                    <a:moveTo>
                      <a:pt x="93" y="10"/>
                    </a:moveTo>
                    <a:cubicBezTo>
                      <a:pt x="63" y="0"/>
                      <a:pt x="63" y="0"/>
                      <a:pt x="63" y="0"/>
                    </a:cubicBezTo>
                    <a:cubicBezTo>
                      <a:pt x="54" y="24"/>
                      <a:pt x="54" y="24"/>
                      <a:pt x="54" y="24"/>
                    </a:cubicBezTo>
                    <a:cubicBezTo>
                      <a:pt x="0" y="24"/>
                      <a:pt x="0" y="24"/>
                      <a:pt x="0" y="24"/>
                    </a:cubicBezTo>
                    <a:cubicBezTo>
                      <a:pt x="0" y="111"/>
                      <a:pt x="0" y="111"/>
                      <a:pt x="0" y="111"/>
                    </a:cubicBezTo>
                    <a:cubicBezTo>
                      <a:pt x="64" y="111"/>
                      <a:pt x="64" y="111"/>
                      <a:pt x="64" y="111"/>
                    </a:cubicBezTo>
                    <a:cubicBezTo>
                      <a:pt x="64" y="62"/>
                      <a:pt x="64" y="62"/>
                      <a:pt x="64" y="62"/>
                    </a:cubicBezTo>
                    <a:cubicBezTo>
                      <a:pt x="65" y="45"/>
                      <a:pt x="70" y="17"/>
                      <a:pt x="93" y="1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5" name="Freeform 135"/>
              <p:cNvSpPr>
                <a:spLocks/>
              </p:cNvSpPr>
              <p:nvPr/>
            </p:nvSpPr>
            <p:spPr bwMode="auto">
              <a:xfrm>
                <a:off x="3563945" y="7827636"/>
                <a:ext cx="173038" cy="125413"/>
              </a:xfrm>
              <a:custGeom>
                <a:avLst/>
                <a:gdLst>
                  <a:gd name="T0" fmla="*/ 0 w 233"/>
                  <a:gd name="T1" fmla="*/ 167 h 167"/>
                  <a:gd name="T2" fmla="*/ 118 w 233"/>
                  <a:gd name="T3" fmla="*/ 167 h 167"/>
                  <a:gd name="T4" fmla="*/ 118 w 233"/>
                  <a:gd name="T5" fmla="*/ 167 h 167"/>
                  <a:gd name="T6" fmla="*/ 233 w 233"/>
                  <a:gd name="T7" fmla="*/ 0 h 167"/>
                  <a:gd name="T8" fmla="*/ 225 w 233"/>
                  <a:gd name="T9" fmla="*/ 0 h 167"/>
                  <a:gd name="T10" fmla="*/ 158 w 233"/>
                  <a:gd name="T11" fmla="*/ 0 h 167"/>
                  <a:gd name="T12" fmla="*/ 74 w 233"/>
                  <a:gd name="T13" fmla="*/ 0 h 167"/>
                  <a:gd name="T14" fmla="*/ 0 w 233"/>
                  <a:gd name="T15" fmla="*/ 0 h 167"/>
                  <a:gd name="T16" fmla="*/ 0 w 233"/>
                  <a:gd name="T17"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7">
                    <a:moveTo>
                      <a:pt x="0" y="167"/>
                    </a:moveTo>
                    <a:cubicBezTo>
                      <a:pt x="118" y="167"/>
                      <a:pt x="118" y="167"/>
                      <a:pt x="118" y="167"/>
                    </a:cubicBezTo>
                    <a:cubicBezTo>
                      <a:pt x="118" y="167"/>
                      <a:pt x="118" y="167"/>
                      <a:pt x="118" y="167"/>
                    </a:cubicBezTo>
                    <a:cubicBezTo>
                      <a:pt x="206" y="162"/>
                      <a:pt x="233" y="89"/>
                      <a:pt x="233" y="0"/>
                    </a:cubicBezTo>
                    <a:cubicBezTo>
                      <a:pt x="225" y="0"/>
                      <a:pt x="225" y="0"/>
                      <a:pt x="225" y="0"/>
                    </a:cubicBezTo>
                    <a:cubicBezTo>
                      <a:pt x="158" y="0"/>
                      <a:pt x="158" y="0"/>
                      <a:pt x="158" y="0"/>
                    </a:cubicBezTo>
                    <a:cubicBezTo>
                      <a:pt x="74" y="0"/>
                      <a:pt x="74" y="0"/>
                      <a:pt x="74" y="0"/>
                    </a:cubicBezTo>
                    <a:cubicBezTo>
                      <a:pt x="0" y="0"/>
                      <a:pt x="0" y="0"/>
                      <a:pt x="0" y="0"/>
                    </a:cubicBezTo>
                    <a:cubicBezTo>
                      <a:pt x="0" y="167"/>
                      <a:pt x="0" y="167"/>
                      <a:pt x="0" y="167"/>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6" name="Oval 136"/>
              <p:cNvSpPr>
                <a:spLocks noChangeArrowheads="1"/>
              </p:cNvSpPr>
              <p:nvPr/>
            </p:nvSpPr>
            <p:spPr bwMode="auto">
              <a:xfrm>
                <a:off x="3624270" y="7856211"/>
                <a:ext cx="9525" cy="952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7" name="Freeform 137"/>
              <p:cNvSpPr>
                <a:spLocks/>
              </p:cNvSpPr>
              <p:nvPr/>
            </p:nvSpPr>
            <p:spPr bwMode="auto">
              <a:xfrm>
                <a:off x="3563945" y="7827636"/>
                <a:ext cx="50800" cy="125413"/>
              </a:xfrm>
              <a:custGeom>
                <a:avLst/>
                <a:gdLst>
                  <a:gd name="T0" fmla="*/ 0 w 68"/>
                  <a:gd name="T1" fmla="*/ 167 h 167"/>
                  <a:gd name="T2" fmla="*/ 64 w 68"/>
                  <a:gd name="T3" fmla="*/ 167 h 167"/>
                  <a:gd name="T4" fmla="*/ 53 w 68"/>
                  <a:gd name="T5" fmla="*/ 113 h 167"/>
                  <a:gd name="T6" fmla="*/ 42 w 68"/>
                  <a:gd name="T7" fmla="*/ 70 h 167"/>
                  <a:gd name="T8" fmla="*/ 0 w 68"/>
                  <a:gd name="T9" fmla="*/ 0 h 167"/>
                  <a:gd name="T10" fmla="*/ 0 w 68"/>
                  <a:gd name="T11" fmla="*/ 167 h 167"/>
                </a:gdLst>
                <a:ahLst/>
                <a:cxnLst>
                  <a:cxn ang="0">
                    <a:pos x="T0" y="T1"/>
                  </a:cxn>
                  <a:cxn ang="0">
                    <a:pos x="T2" y="T3"/>
                  </a:cxn>
                  <a:cxn ang="0">
                    <a:pos x="T4" y="T5"/>
                  </a:cxn>
                  <a:cxn ang="0">
                    <a:pos x="T6" y="T7"/>
                  </a:cxn>
                  <a:cxn ang="0">
                    <a:pos x="T8" y="T9"/>
                  </a:cxn>
                  <a:cxn ang="0">
                    <a:pos x="T10" y="T11"/>
                  </a:cxn>
                </a:cxnLst>
                <a:rect l="0" t="0" r="r" b="b"/>
                <a:pathLst>
                  <a:path w="68" h="167">
                    <a:moveTo>
                      <a:pt x="0" y="167"/>
                    </a:moveTo>
                    <a:cubicBezTo>
                      <a:pt x="64" y="167"/>
                      <a:pt x="64" y="167"/>
                      <a:pt x="64" y="167"/>
                    </a:cubicBezTo>
                    <a:cubicBezTo>
                      <a:pt x="64" y="146"/>
                      <a:pt x="68" y="129"/>
                      <a:pt x="53" y="113"/>
                    </a:cubicBezTo>
                    <a:cubicBezTo>
                      <a:pt x="39" y="99"/>
                      <a:pt x="43" y="89"/>
                      <a:pt x="42" y="70"/>
                    </a:cubicBezTo>
                    <a:cubicBezTo>
                      <a:pt x="41" y="46"/>
                      <a:pt x="25" y="7"/>
                      <a:pt x="0" y="0"/>
                    </a:cubicBezTo>
                    <a:lnTo>
                      <a:pt x="0" y="167"/>
                    </a:lnTo>
                    <a:close/>
                  </a:path>
                </a:pathLst>
              </a:custGeom>
              <a:solidFill>
                <a:srgbClr val="544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8" name="Freeform 138"/>
              <p:cNvSpPr>
                <a:spLocks/>
              </p:cNvSpPr>
              <p:nvPr/>
            </p:nvSpPr>
            <p:spPr bwMode="auto">
              <a:xfrm>
                <a:off x="3582995" y="7914948"/>
                <a:ext cx="95250" cy="38100"/>
              </a:xfrm>
              <a:custGeom>
                <a:avLst/>
                <a:gdLst>
                  <a:gd name="T0" fmla="*/ 29 w 127"/>
                  <a:gd name="T1" fmla="*/ 1 h 50"/>
                  <a:gd name="T2" fmla="*/ 0 w 127"/>
                  <a:gd name="T3" fmla="*/ 29 h 50"/>
                  <a:gd name="T4" fmla="*/ 8 w 127"/>
                  <a:gd name="T5" fmla="*/ 50 h 50"/>
                  <a:gd name="T6" fmla="*/ 91 w 127"/>
                  <a:gd name="T7" fmla="*/ 50 h 50"/>
                  <a:gd name="T8" fmla="*/ 91 w 127"/>
                  <a:gd name="T9" fmla="*/ 50 h 50"/>
                  <a:gd name="T10" fmla="*/ 127 w 127"/>
                  <a:gd name="T11" fmla="*/ 44 h 50"/>
                  <a:gd name="T12" fmla="*/ 29 w 127"/>
                  <a:gd name="T13" fmla="*/ 1 h 50"/>
                </a:gdLst>
                <a:ahLst/>
                <a:cxnLst>
                  <a:cxn ang="0">
                    <a:pos x="T0" y="T1"/>
                  </a:cxn>
                  <a:cxn ang="0">
                    <a:pos x="T2" y="T3"/>
                  </a:cxn>
                  <a:cxn ang="0">
                    <a:pos x="T4" y="T5"/>
                  </a:cxn>
                  <a:cxn ang="0">
                    <a:pos x="T6" y="T7"/>
                  </a:cxn>
                  <a:cxn ang="0">
                    <a:pos x="T8" y="T9"/>
                  </a:cxn>
                  <a:cxn ang="0">
                    <a:pos x="T10" y="T11"/>
                  </a:cxn>
                  <a:cxn ang="0">
                    <a:pos x="T12" y="T13"/>
                  </a:cxn>
                </a:cxnLst>
                <a:rect l="0" t="0" r="r" b="b"/>
                <a:pathLst>
                  <a:path w="127" h="50">
                    <a:moveTo>
                      <a:pt x="29" y="1"/>
                    </a:moveTo>
                    <a:cubicBezTo>
                      <a:pt x="0" y="29"/>
                      <a:pt x="0" y="29"/>
                      <a:pt x="0" y="29"/>
                    </a:cubicBezTo>
                    <a:cubicBezTo>
                      <a:pt x="8" y="50"/>
                      <a:pt x="8" y="50"/>
                      <a:pt x="8" y="50"/>
                    </a:cubicBezTo>
                    <a:cubicBezTo>
                      <a:pt x="91" y="50"/>
                      <a:pt x="91" y="50"/>
                      <a:pt x="91" y="50"/>
                    </a:cubicBezTo>
                    <a:cubicBezTo>
                      <a:pt x="91" y="50"/>
                      <a:pt x="91" y="50"/>
                      <a:pt x="91" y="50"/>
                    </a:cubicBezTo>
                    <a:cubicBezTo>
                      <a:pt x="104" y="49"/>
                      <a:pt x="116" y="47"/>
                      <a:pt x="127" y="44"/>
                    </a:cubicBezTo>
                    <a:cubicBezTo>
                      <a:pt x="99" y="0"/>
                      <a:pt x="29" y="1"/>
                      <a:pt x="29" y="1"/>
                    </a:cubicBezTo>
                  </a:path>
                </a:pathLst>
              </a:custGeom>
              <a:solidFill>
                <a:srgbClr val="544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9" name="Oval 139"/>
              <p:cNvSpPr>
                <a:spLocks noChangeArrowheads="1"/>
              </p:cNvSpPr>
              <p:nvPr/>
            </p:nvSpPr>
            <p:spPr bwMode="auto">
              <a:xfrm>
                <a:off x="3624270" y="7856211"/>
                <a:ext cx="9525" cy="952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0" name="Freeform 140"/>
              <p:cNvSpPr>
                <a:spLocks/>
              </p:cNvSpPr>
              <p:nvPr/>
            </p:nvSpPr>
            <p:spPr bwMode="auto">
              <a:xfrm>
                <a:off x="3505207" y="7827636"/>
                <a:ext cx="173038" cy="157163"/>
              </a:xfrm>
              <a:custGeom>
                <a:avLst/>
                <a:gdLst>
                  <a:gd name="T0" fmla="*/ 134 w 232"/>
                  <a:gd name="T1" fmla="*/ 119 h 212"/>
                  <a:gd name="T2" fmla="*/ 131 w 232"/>
                  <a:gd name="T3" fmla="*/ 114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4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4" y="119"/>
                    </a:moveTo>
                    <a:cubicBezTo>
                      <a:pt x="133" y="117"/>
                      <a:pt x="132" y="116"/>
                      <a:pt x="131" y="114"/>
                    </a:cubicBezTo>
                    <a:cubicBezTo>
                      <a:pt x="117" y="100"/>
                      <a:pt x="121" y="90"/>
                      <a:pt x="120" y="71"/>
                    </a:cubicBezTo>
                    <a:cubicBezTo>
                      <a:pt x="119" y="47"/>
                      <a:pt x="103" y="8"/>
                      <a:pt x="78" y="1"/>
                    </a:cubicBezTo>
                    <a:cubicBezTo>
                      <a:pt x="78" y="3"/>
                      <a:pt x="78" y="3"/>
                      <a:pt x="78" y="3"/>
                    </a:cubicBezTo>
                    <a:cubicBezTo>
                      <a:pt x="78" y="1"/>
                      <a:pt x="78" y="1"/>
                      <a:pt x="78" y="1"/>
                    </a:cubicBezTo>
                    <a:cubicBezTo>
                      <a:pt x="34" y="0"/>
                      <a:pt x="0" y="58"/>
                      <a:pt x="21" y="93"/>
                    </a:cubicBezTo>
                    <a:cubicBezTo>
                      <a:pt x="27"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4" y="119"/>
                      <a:pt x="134" y="11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1" name="Oval 141"/>
              <p:cNvSpPr>
                <a:spLocks noChangeArrowheads="1"/>
              </p:cNvSpPr>
              <p:nvPr/>
            </p:nvSpPr>
            <p:spPr bwMode="auto">
              <a:xfrm>
                <a:off x="3478220" y="8732511"/>
                <a:ext cx="50800" cy="50800"/>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2" name="Oval 142"/>
              <p:cNvSpPr>
                <a:spLocks noChangeArrowheads="1"/>
              </p:cNvSpPr>
              <p:nvPr/>
            </p:nvSpPr>
            <p:spPr bwMode="auto">
              <a:xfrm>
                <a:off x="3765557" y="8732511"/>
                <a:ext cx="50800" cy="50800"/>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3" name="Oval 143"/>
              <p:cNvSpPr>
                <a:spLocks noChangeArrowheads="1"/>
              </p:cNvSpPr>
              <p:nvPr/>
            </p:nvSpPr>
            <p:spPr bwMode="auto">
              <a:xfrm>
                <a:off x="3602045" y="8732511"/>
                <a:ext cx="49213" cy="50800"/>
              </a:xfrm>
              <a:prstGeom prst="ellipse">
                <a:avLst/>
              </a:pr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4" name="Freeform 144"/>
              <p:cNvSpPr>
                <a:spLocks/>
              </p:cNvSpPr>
              <p:nvPr/>
            </p:nvSpPr>
            <p:spPr bwMode="auto">
              <a:xfrm>
                <a:off x="3605220" y="7913361"/>
                <a:ext cx="57150" cy="28575"/>
              </a:xfrm>
              <a:custGeom>
                <a:avLst/>
                <a:gdLst>
                  <a:gd name="T0" fmla="*/ 0 w 76"/>
                  <a:gd name="T1" fmla="*/ 0 h 38"/>
                  <a:gd name="T2" fmla="*/ 38 w 76"/>
                  <a:gd name="T3" fmla="*/ 38 h 38"/>
                  <a:gd name="T4" fmla="*/ 76 w 76"/>
                  <a:gd name="T5" fmla="*/ 0 h 38"/>
                  <a:gd name="T6" fmla="*/ 0 w 76"/>
                  <a:gd name="T7" fmla="*/ 0 h 38"/>
                </a:gdLst>
                <a:ahLst/>
                <a:cxnLst>
                  <a:cxn ang="0">
                    <a:pos x="T0" y="T1"/>
                  </a:cxn>
                  <a:cxn ang="0">
                    <a:pos x="T2" y="T3"/>
                  </a:cxn>
                  <a:cxn ang="0">
                    <a:pos x="T4" y="T5"/>
                  </a:cxn>
                  <a:cxn ang="0">
                    <a:pos x="T6" y="T7"/>
                  </a:cxn>
                </a:cxnLst>
                <a:rect l="0" t="0" r="r" b="b"/>
                <a:pathLst>
                  <a:path w="76" h="38">
                    <a:moveTo>
                      <a:pt x="0" y="0"/>
                    </a:moveTo>
                    <a:cubicBezTo>
                      <a:pt x="0" y="21"/>
                      <a:pt x="17" y="38"/>
                      <a:pt x="38" y="38"/>
                    </a:cubicBezTo>
                    <a:cubicBezTo>
                      <a:pt x="59" y="38"/>
                      <a:pt x="76" y="21"/>
                      <a:pt x="76" y="0"/>
                    </a:cubicBezTo>
                    <a:cubicBezTo>
                      <a:pt x="0" y="0"/>
                      <a:pt x="0" y="0"/>
                      <a:pt x="0" y="0"/>
                    </a:cubicBezTo>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5" name="Freeform 145"/>
              <p:cNvSpPr>
                <a:spLocks/>
              </p:cNvSpPr>
              <p:nvPr/>
            </p:nvSpPr>
            <p:spPr bwMode="auto">
              <a:xfrm>
                <a:off x="3619507" y="7913361"/>
                <a:ext cx="28575" cy="14288"/>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1"/>
                      <a:pt x="9" y="19"/>
                      <a:pt x="19" y="19"/>
                    </a:cubicBezTo>
                    <a:cubicBezTo>
                      <a:pt x="19" y="19"/>
                      <a:pt x="19" y="19"/>
                      <a:pt x="19" y="19"/>
                    </a:cubicBezTo>
                    <a:cubicBezTo>
                      <a:pt x="29" y="19"/>
                      <a:pt x="38" y="11"/>
                      <a:pt x="38" y="0"/>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6" name="Freeform 146"/>
              <p:cNvSpPr>
                <a:spLocks/>
              </p:cNvSpPr>
              <p:nvPr/>
            </p:nvSpPr>
            <p:spPr bwMode="auto">
              <a:xfrm>
                <a:off x="3470282" y="8464223"/>
                <a:ext cx="328613" cy="85725"/>
              </a:xfrm>
              <a:custGeom>
                <a:avLst/>
                <a:gdLst>
                  <a:gd name="T0" fmla="*/ 0 w 441"/>
                  <a:gd name="T1" fmla="*/ 20 h 113"/>
                  <a:gd name="T2" fmla="*/ 0 w 441"/>
                  <a:gd name="T3" fmla="*/ 93 h 113"/>
                  <a:gd name="T4" fmla="*/ 20 w 441"/>
                  <a:gd name="T5" fmla="*/ 113 h 113"/>
                  <a:gd name="T6" fmla="*/ 420 w 441"/>
                  <a:gd name="T7" fmla="*/ 113 h 113"/>
                  <a:gd name="T8" fmla="*/ 441 w 441"/>
                  <a:gd name="T9" fmla="*/ 93 h 113"/>
                  <a:gd name="T10" fmla="*/ 441 w 441"/>
                  <a:gd name="T11" fmla="*/ 20 h 113"/>
                  <a:gd name="T12" fmla="*/ 420 w 441"/>
                  <a:gd name="T13" fmla="*/ 0 h 113"/>
                  <a:gd name="T14" fmla="*/ 20 w 441"/>
                  <a:gd name="T15" fmla="*/ 0 h 113"/>
                  <a:gd name="T16" fmla="*/ 0 w 441"/>
                  <a:gd name="T17" fmla="*/ 2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1" h="113">
                    <a:moveTo>
                      <a:pt x="0" y="20"/>
                    </a:moveTo>
                    <a:cubicBezTo>
                      <a:pt x="0" y="93"/>
                      <a:pt x="0" y="93"/>
                      <a:pt x="0" y="93"/>
                    </a:cubicBezTo>
                    <a:cubicBezTo>
                      <a:pt x="0" y="93"/>
                      <a:pt x="0" y="113"/>
                      <a:pt x="20" y="113"/>
                    </a:cubicBezTo>
                    <a:cubicBezTo>
                      <a:pt x="420" y="113"/>
                      <a:pt x="420" y="113"/>
                      <a:pt x="420" y="113"/>
                    </a:cubicBezTo>
                    <a:cubicBezTo>
                      <a:pt x="420" y="113"/>
                      <a:pt x="441" y="113"/>
                      <a:pt x="441" y="93"/>
                    </a:cubicBezTo>
                    <a:cubicBezTo>
                      <a:pt x="441" y="20"/>
                      <a:pt x="441" y="20"/>
                      <a:pt x="441" y="20"/>
                    </a:cubicBezTo>
                    <a:cubicBezTo>
                      <a:pt x="441" y="20"/>
                      <a:pt x="441" y="0"/>
                      <a:pt x="420" y="0"/>
                    </a:cubicBezTo>
                    <a:cubicBezTo>
                      <a:pt x="20" y="0"/>
                      <a:pt x="20" y="0"/>
                      <a:pt x="20" y="0"/>
                    </a:cubicBezTo>
                    <a:cubicBezTo>
                      <a:pt x="20" y="0"/>
                      <a:pt x="0" y="0"/>
                      <a:pt x="0" y="2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7" name="Freeform 147"/>
              <p:cNvSpPr>
                <a:spLocks/>
              </p:cNvSpPr>
              <p:nvPr/>
            </p:nvSpPr>
            <p:spPr bwMode="auto">
              <a:xfrm>
                <a:off x="3540132" y="8194348"/>
                <a:ext cx="87313" cy="327025"/>
              </a:xfrm>
              <a:custGeom>
                <a:avLst/>
                <a:gdLst>
                  <a:gd name="T0" fmla="*/ 0 w 116"/>
                  <a:gd name="T1" fmla="*/ 20 h 438"/>
                  <a:gd name="T2" fmla="*/ 0 w 116"/>
                  <a:gd name="T3" fmla="*/ 418 h 438"/>
                  <a:gd name="T4" fmla="*/ 21 w 116"/>
                  <a:gd name="T5" fmla="*/ 438 h 438"/>
                  <a:gd name="T6" fmla="*/ 96 w 116"/>
                  <a:gd name="T7" fmla="*/ 438 h 438"/>
                  <a:gd name="T8" fmla="*/ 116 w 116"/>
                  <a:gd name="T9" fmla="*/ 418 h 438"/>
                  <a:gd name="T10" fmla="*/ 116 w 116"/>
                  <a:gd name="T11" fmla="*/ 20 h 438"/>
                  <a:gd name="T12" fmla="*/ 96 w 116"/>
                  <a:gd name="T13" fmla="*/ 0 h 438"/>
                  <a:gd name="T14" fmla="*/ 21 w 116"/>
                  <a:gd name="T15" fmla="*/ 0 h 438"/>
                  <a:gd name="T16" fmla="*/ 0 w 116"/>
                  <a:gd name="T17" fmla="*/ 2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438">
                    <a:moveTo>
                      <a:pt x="0" y="20"/>
                    </a:moveTo>
                    <a:cubicBezTo>
                      <a:pt x="0" y="418"/>
                      <a:pt x="0" y="418"/>
                      <a:pt x="0" y="418"/>
                    </a:cubicBezTo>
                    <a:cubicBezTo>
                      <a:pt x="0" y="418"/>
                      <a:pt x="0" y="438"/>
                      <a:pt x="21" y="438"/>
                    </a:cubicBezTo>
                    <a:cubicBezTo>
                      <a:pt x="96" y="438"/>
                      <a:pt x="96" y="438"/>
                      <a:pt x="96" y="438"/>
                    </a:cubicBezTo>
                    <a:cubicBezTo>
                      <a:pt x="96" y="438"/>
                      <a:pt x="116" y="438"/>
                      <a:pt x="116" y="418"/>
                    </a:cubicBezTo>
                    <a:cubicBezTo>
                      <a:pt x="116" y="20"/>
                      <a:pt x="116" y="20"/>
                      <a:pt x="116" y="20"/>
                    </a:cubicBezTo>
                    <a:cubicBezTo>
                      <a:pt x="116" y="20"/>
                      <a:pt x="116" y="0"/>
                      <a:pt x="96" y="0"/>
                    </a:cubicBezTo>
                    <a:cubicBezTo>
                      <a:pt x="21" y="0"/>
                      <a:pt x="21" y="0"/>
                      <a:pt x="21" y="0"/>
                    </a:cubicBezTo>
                    <a:cubicBezTo>
                      <a:pt x="21" y="0"/>
                      <a:pt x="0" y="0"/>
                      <a:pt x="0" y="2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nvGrpSpPr>
            <p:cNvPr id="386" name="Group 385"/>
            <p:cNvGrpSpPr/>
            <p:nvPr/>
          </p:nvGrpSpPr>
          <p:grpSpPr>
            <a:xfrm>
              <a:off x="948326" y="5987624"/>
              <a:ext cx="691589" cy="808530"/>
              <a:chOff x="2025537" y="6852701"/>
              <a:chExt cx="691589" cy="808530"/>
            </a:xfrm>
          </p:grpSpPr>
          <p:sp>
            <p:nvSpPr>
              <p:cNvPr id="286" name="Rectangle 261"/>
              <p:cNvSpPr>
                <a:spLocks noChangeArrowheads="1"/>
              </p:cNvSpPr>
              <p:nvPr/>
            </p:nvSpPr>
            <p:spPr bwMode="auto">
              <a:xfrm>
                <a:off x="2025537" y="7322116"/>
                <a:ext cx="340783" cy="33911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8" name="Rectangle 263"/>
              <p:cNvSpPr>
                <a:spLocks noChangeArrowheads="1"/>
              </p:cNvSpPr>
              <p:nvPr/>
            </p:nvSpPr>
            <p:spPr bwMode="auto">
              <a:xfrm>
                <a:off x="2125767" y="6852701"/>
                <a:ext cx="591359" cy="5913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9" name="Freeform 264"/>
              <p:cNvSpPr>
                <a:spLocks/>
              </p:cNvSpPr>
              <p:nvPr/>
            </p:nvSpPr>
            <p:spPr bwMode="auto">
              <a:xfrm>
                <a:off x="2229339" y="6959614"/>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5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3" y="10"/>
                      <a:pt x="3" y="11"/>
                      <a:pt x="2" y="11"/>
                    </a:cubicBezTo>
                    <a:cubicBezTo>
                      <a:pt x="1" y="11"/>
                      <a:pt x="1" y="11"/>
                      <a:pt x="0" y="11"/>
                    </a:cubicBezTo>
                    <a:cubicBezTo>
                      <a:pt x="0" y="5"/>
                      <a:pt x="0" y="5"/>
                      <a:pt x="0" y="5"/>
                    </a:cubicBezTo>
                    <a:cubicBezTo>
                      <a:pt x="2" y="4"/>
                      <a:pt x="4" y="4"/>
                      <a:pt x="5"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 name="Freeform 265"/>
              <p:cNvSpPr>
                <a:spLocks noEditPoints="1"/>
              </p:cNvSpPr>
              <p:nvPr/>
            </p:nvSpPr>
            <p:spPr bwMode="auto">
              <a:xfrm>
                <a:off x="2306182" y="6959614"/>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1" name="Freeform 266"/>
              <p:cNvSpPr>
                <a:spLocks/>
              </p:cNvSpPr>
              <p:nvPr/>
            </p:nvSpPr>
            <p:spPr bwMode="auto">
              <a:xfrm>
                <a:off x="2394719" y="6959614"/>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6" y="9"/>
                      <a:pt x="6" y="9"/>
                    </a:cubicBezTo>
                    <a:cubicBezTo>
                      <a:pt x="5" y="10"/>
                      <a:pt x="5" y="10"/>
                      <a:pt x="4" y="10"/>
                    </a:cubicBezTo>
                    <a:cubicBezTo>
                      <a:pt x="4" y="10"/>
                      <a:pt x="3" y="11"/>
                      <a:pt x="2" y="11"/>
                    </a:cubicBezTo>
                    <a:cubicBezTo>
                      <a:pt x="1"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2" name="Freeform 267"/>
              <p:cNvSpPr>
                <a:spLocks noEditPoints="1"/>
              </p:cNvSpPr>
              <p:nvPr/>
            </p:nvSpPr>
            <p:spPr bwMode="auto">
              <a:xfrm>
                <a:off x="2219316" y="7098267"/>
                <a:ext cx="68491" cy="100231"/>
              </a:xfrm>
              <a:custGeom>
                <a:avLst/>
                <a:gdLst>
                  <a:gd name="T0" fmla="*/ 12 w 24"/>
                  <a:gd name="T1" fmla="*/ 35 h 35"/>
                  <a:gd name="T2" fmla="*/ 0 w 24"/>
                  <a:gd name="T3" fmla="*/ 18 h 35"/>
                  <a:gd name="T4" fmla="*/ 3 w 24"/>
                  <a:gd name="T5" fmla="*/ 4 h 35"/>
                  <a:gd name="T6" fmla="*/ 12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2" y="0"/>
                    </a:cubicBezTo>
                    <a:cubicBezTo>
                      <a:pt x="20"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3" name="Freeform 268"/>
              <p:cNvSpPr>
                <a:spLocks/>
              </p:cNvSpPr>
              <p:nvPr/>
            </p:nvSpPr>
            <p:spPr bwMode="auto">
              <a:xfrm>
                <a:off x="2314534" y="7096596"/>
                <a:ext cx="4176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4" name="Freeform 269"/>
              <p:cNvSpPr>
                <a:spLocks noEditPoints="1"/>
              </p:cNvSpPr>
              <p:nvPr/>
            </p:nvSpPr>
            <p:spPr bwMode="auto">
              <a:xfrm>
                <a:off x="2386366" y="7098267"/>
                <a:ext cx="68491" cy="100231"/>
              </a:xfrm>
              <a:custGeom>
                <a:avLst/>
                <a:gdLst>
                  <a:gd name="T0" fmla="*/ 12 w 24"/>
                  <a:gd name="T1" fmla="*/ 35 h 35"/>
                  <a:gd name="T2" fmla="*/ 0 w 24"/>
                  <a:gd name="T3" fmla="*/ 18 h 35"/>
                  <a:gd name="T4" fmla="*/ 3 w 24"/>
                  <a:gd name="T5" fmla="*/ 4 h 35"/>
                  <a:gd name="T6" fmla="*/ 13 w 24"/>
                  <a:gd name="T7" fmla="*/ 0 h 35"/>
                  <a:gd name="T8" fmla="*/ 24 w 24"/>
                  <a:gd name="T9" fmla="*/ 17 h 35"/>
                  <a:gd name="T10" fmla="*/ 21 w 24"/>
                  <a:gd name="T11" fmla="*/ 30 h 35"/>
                  <a:gd name="T12" fmla="*/ 12 w 24"/>
                  <a:gd name="T13" fmla="*/ 35 h 35"/>
                  <a:gd name="T14" fmla="*/ 12 w 24"/>
                  <a:gd name="T15" fmla="*/ 5 h 35"/>
                  <a:gd name="T16" fmla="*/ 7 w 24"/>
                  <a:gd name="T17" fmla="*/ 18 h 35"/>
                  <a:gd name="T18" fmla="*/ 12 w 24"/>
                  <a:gd name="T19" fmla="*/ 29 h 35"/>
                  <a:gd name="T20" fmla="*/ 17 w 24"/>
                  <a:gd name="T21" fmla="*/ 17 h 35"/>
                  <a:gd name="T22" fmla="*/ 12 w 24"/>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29"/>
                      <a:pt x="0" y="18"/>
                    </a:cubicBezTo>
                    <a:cubicBezTo>
                      <a:pt x="0" y="12"/>
                      <a:pt x="1" y="7"/>
                      <a:pt x="3" y="4"/>
                    </a:cubicBezTo>
                    <a:cubicBezTo>
                      <a:pt x="5" y="1"/>
                      <a:pt x="8" y="0"/>
                      <a:pt x="13" y="0"/>
                    </a:cubicBezTo>
                    <a:cubicBezTo>
                      <a:pt x="21" y="0"/>
                      <a:pt x="24" y="5"/>
                      <a:pt x="24" y="17"/>
                    </a:cubicBezTo>
                    <a:cubicBezTo>
                      <a:pt x="24"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 name="Freeform 270"/>
              <p:cNvSpPr>
                <a:spLocks noEditPoints="1"/>
              </p:cNvSpPr>
              <p:nvPr/>
            </p:nvSpPr>
            <p:spPr bwMode="auto">
              <a:xfrm>
                <a:off x="2219316" y="7235249"/>
                <a:ext cx="68491" cy="103572"/>
              </a:xfrm>
              <a:custGeom>
                <a:avLst/>
                <a:gdLst>
                  <a:gd name="T0" fmla="*/ 12 w 24"/>
                  <a:gd name="T1" fmla="*/ 36 h 36"/>
                  <a:gd name="T2" fmla="*/ 0 w 24"/>
                  <a:gd name="T3" fmla="*/ 19 h 36"/>
                  <a:gd name="T4" fmla="*/ 3 w 24"/>
                  <a:gd name="T5" fmla="*/ 5 h 36"/>
                  <a:gd name="T6" fmla="*/ 12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2"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 name="Freeform 271"/>
              <p:cNvSpPr>
                <a:spLocks noEditPoints="1"/>
              </p:cNvSpPr>
              <p:nvPr/>
            </p:nvSpPr>
            <p:spPr bwMode="auto">
              <a:xfrm>
                <a:off x="2306182" y="7235249"/>
                <a:ext cx="68491" cy="10357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7" name="Freeform 272"/>
              <p:cNvSpPr>
                <a:spLocks/>
              </p:cNvSpPr>
              <p:nvPr/>
            </p:nvSpPr>
            <p:spPr bwMode="auto">
              <a:xfrm>
                <a:off x="2394719" y="7235249"/>
                <a:ext cx="41763" cy="100231"/>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1 h 35"/>
                  <a:gd name="T14" fmla="*/ 0 w 15"/>
                  <a:gd name="T15" fmla="*/ 12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9"/>
                      <a:pt x="6" y="10"/>
                    </a:cubicBezTo>
                    <a:cubicBezTo>
                      <a:pt x="5" y="10"/>
                      <a:pt x="5" y="10"/>
                      <a:pt x="4" y="11"/>
                    </a:cubicBezTo>
                    <a:cubicBezTo>
                      <a:pt x="4" y="11"/>
                      <a:pt x="3" y="11"/>
                      <a:pt x="2" y="11"/>
                    </a:cubicBezTo>
                    <a:cubicBezTo>
                      <a:pt x="1" y="11"/>
                      <a:pt x="1" y="12"/>
                      <a:pt x="0" y="12"/>
                    </a:cubicBezTo>
                    <a:cubicBezTo>
                      <a:pt x="0" y="5"/>
                      <a:pt x="0" y="5"/>
                      <a:pt x="0" y="5"/>
                    </a:cubicBezTo>
                    <a:cubicBezTo>
                      <a:pt x="2" y="5"/>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8" name="Freeform 273"/>
              <p:cNvSpPr>
                <a:spLocks/>
              </p:cNvSpPr>
              <p:nvPr/>
            </p:nvSpPr>
            <p:spPr bwMode="auto">
              <a:xfrm>
                <a:off x="2563440" y="6959614"/>
                <a:ext cx="41763" cy="98560"/>
              </a:xfrm>
              <a:custGeom>
                <a:avLst/>
                <a:gdLst>
                  <a:gd name="T0" fmla="*/ 15 w 15"/>
                  <a:gd name="T1" fmla="*/ 0 h 35"/>
                  <a:gd name="T2" fmla="*/ 15 w 15"/>
                  <a:gd name="T3" fmla="*/ 35 h 35"/>
                  <a:gd name="T4" fmla="*/ 7 w 15"/>
                  <a:gd name="T5" fmla="*/ 35 h 35"/>
                  <a:gd name="T6" fmla="*/ 7 w 15"/>
                  <a:gd name="T7" fmla="*/ 8 h 35"/>
                  <a:gd name="T8" fmla="*/ 6 w 15"/>
                  <a:gd name="T9" fmla="*/ 9 h 35"/>
                  <a:gd name="T10" fmla="*/ 4 w 15"/>
                  <a:gd name="T11" fmla="*/ 10 h 35"/>
                  <a:gd name="T12" fmla="*/ 2 w 15"/>
                  <a:gd name="T13" fmla="*/ 11 h 35"/>
                  <a:gd name="T14" fmla="*/ 0 w 15"/>
                  <a:gd name="T15" fmla="*/ 11 h 35"/>
                  <a:gd name="T16" fmla="*/ 0 w 15"/>
                  <a:gd name="T17" fmla="*/ 5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8"/>
                      <a:pt x="7" y="8"/>
                      <a:pt x="7" y="8"/>
                    </a:cubicBezTo>
                    <a:cubicBezTo>
                      <a:pt x="7" y="9"/>
                      <a:pt x="7" y="9"/>
                      <a:pt x="6" y="9"/>
                    </a:cubicBezTo>
                    <a:cubicBezTo>
                      <a:pt x="5" y="10"/>
                      <a:pt x="5" y="10"/>
                      <a:pt x="4" y="10"/>
                    </a:cubicBezTo>
                    <a:cubicBezTo>
                      <a:pt x="4" y="10"/>
                      <a:pt x="3" y="11"/>
                      <a:pt x="2" y="11"/>
                    </a:cubicBezTo>
                    <a:cubicBezTo>
                      <a:pt x="2" y="11"/>
                      <a:pt x="1" y="11"/>
                      <a:pt x="0" y="11"/>
                    </a:cubicBezTo>
                    <a:cubicBezTo>
                      <a:pt x="0" y="5"/>
                      <a:pt x="0" y="5"/>
                      <a:pt x="0" y="5"/>
                    </a:cubicBezTo>
                    <a:cubicBezTo>
                      <a:pt x="2" y="4"/>
                      <a:pt x="4" y="4"/>
                      <a:pt x="6" y="3"/>
                    </a:cubicBezTo>
                    <a:cubicBezTo>
                      <a:pt x="7" y="2"/>
                      <a:pt x="9" y="1"/>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9" name="Freeform 274"/>
              <p:cNvSpPr>
                <a:spLocks noEditPoints="1"/>
              </p:cNvSpPr>
              <p:nvPr/>
            </p:nvSpPr>
            <p:spPr bwMode="auto">
              <a:xfrm>
                <a:off x="2553417" y="7098267"/>
                <a:ext cx="71832" cy="100231"/>
              </a:xfrm>
              <a:custGeom>
                <a:avLst/>
                <a:gdLst>
                  <a:gd name="T0" fmla="*/ 12 w 25"/>
                  <a:gd name="T1" fmla="*/ 35 h 35"/>
                  <a:gd name="T2" fmla="*/ 0 w 25"/>
                  <a:gd name="T3" fmla="*/ 18 h 35"/>
                  <a:gd name="T4" fmla="*/ 3 w 25"/>
                  <a:gd name="T5" fmla="*/ 4 h 35"/>
                  <a:gd name="T6" fmla="*/ 13 w 25"/>
                  <a:gd name="T7" fmla="*/ 0 h 35"/>
                  <a:gd name="T8" fmla="*/ 25 w 25"/>
                  <a:gd name="T9" fmla="*/ 17 h 35"/>
                  <a:gd name="T10" fmla="*/ 21 w 25"/>
                  <a:gd name="T11" fmla="*/ 30 h 35"/>
                  <a:gd name="T12" fmla="*/ 12 w 25"/>
                  <a:gd name="T13" fmla="*/ 35 h 35"/>
                  <a:gd name="T14" fmla="*/ 12 w 25"/>
                  <a:gd name="T15" fmla="*/ 5 h 35"/>
                  <a:gd name="T16" fmla="*/ 7 w 25"/>
                  <a:gd name="T17" fmla="*/ 18 h 35"/>
                  <a:gd name="T18" fmla="*/ 12 w 25"/>
                  <a:gd name="T19" fmla="*/ 29 h 35"/>
                  <a:gd name="T20" fmla="*/ 17 w 25"/>
                  <a:gd name="T21" fmla="*/ 17 h 35"/>
                  <a:gd name="T22" fmla="*/ 12 w 25"/>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5">
                    <a:moveTo>
                      <a:pt x="12" y="35"/>
                    </a:moveTo>
                    <a:cubicBezTo>
                      <a:pt x="4" y="35"/>
                      <a:pt x="0" y="29"/>
                      <a:pt x="0" y="18"/>
                    </a:cubicBezTo>
                    <a:cubicBezTo>
                      <a:pt x="0" y="12"/>
                      <a:pt x="1" y="7"/>
                      <a:pt x="3" y="4"/>
                    </a:cubicBezTo>
                    <a:cubicBezTo>
                      <a:pt x="5" y="1"/>
                      <a:pt x="8" y="0"/>
                      <a:pt x="13" y="0"/>
                    </a:cubicBezTo>
                    <a:cubicBezTo>
                      <a:pt x="21" y="0"/>
                      <a:pt x="25" y="5"/>
                      <a:pt x="25" y="17"/>
                    </a:cubicBezTo>
                    <a:cubicBezTo>
                      <a:pt x="25" y="23"/>
                      <a:pt x="23" y="27"/>
                      <a:pt x="21" y="30"/>
                    </a:cubicBezTo>
                    <a:cubicBezTo>
                      <a:pt x="19" y="33"/>
                      <a:pt x="16" y="35"/>
                      <a:pt x="12" y="35"/>
                    </a:cubicBezTo>
                    <a:close/>
                    <a:moveTo>
                      <a:pt x="12" y="5"/>
                    </a:moveTo>
                    <a:cubicBezTo>
                      <a:pt x="9" y="5"/>
                      <a:pt x="7" y="10"/>
                      <a:pt x="7" y="18"/>
                    </a:cubicBezTo>
                    <a:cubicBezTo>
                      <a:pt x="7" y="25"/>
                      <a:pt x="9" y="29"/>
                      <a:pt x="12" y="29"/>
                    </a:cubicBezTo>
                    <a:cubicBezTo>
                      <a:pt x="15" y="29"/>
                      <a:pt x="17" y="25"/>
                      <a:pt x="17" y="17"/>
                    </a:cubicBezTo>
                    <a:cubicBezTo>
                      <a:pt x="17" y="9"/>
                      <a:pt x="15" y="5"/>
                      <a:pt x="12" y="5"/>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0" name="Freeform 275"/>
              <p:cNvSpPr>
                <a:spLocks noEditPoints="1"/>
              </p:cNvSpPr>
              <p:nvPr/>
            </p:nvSpPr>
            <p:spPr bwMode="auto">
              <a:xfrm>
                <a:off x="2553417" y="7235249"/>
                <a:ext cx="71832" cy="103572"/>
              </a:xfrm>
              <a:custGeom>
                <a:avLst/>
                <a:gdLst>
                  <a:gd name="T0" fmla="*/ 12 w 25"/>
                  <a:gd name="T1" fmla="*/ 36 h 36"/>
                  <a:gd name="T2" fmla="*/ 0 w 25"/>
                  <a:gd name="T3" fmla="*/ 19 h 36"/>
                  <a:gd name="T4" fmla="*/ 3 w 25"/>
                  <a:gd name="T5" fmla="*/ 5 h 36"/>
                  <a:gd name="T6" fmla="*/ 13 w 25"/>
                  <a:gd name="T7" fmla="*/ 0 h 36"/>
                  <a:gd name="T8" fmla="*/ 25 w 25"/>
                  <a:gd name="T9" fmla="*/ 18 h 36"/>
                  <a:gd name="T10" fmla="*/ 21 w 25"/>
                  <a:gd name="T11" fmla="*/ 31 h 36"/>
                  <a:gd name="T12" fmla="*/ 12 w 25"/>
                  <a:gd name="T13" fmla="*/ 36 h 36"/>
                  <a:gd name="T14" fmla="*/ 12 w 25"/>
                  <a:gd name="T15" fmla="*/ 6 h 36"/>
                  <a:gd name="T16" fmla="*/ 7 w 25"/>
                  <a:gd name="T17" fmla="*/ 18 h 36"/>
                  <a:gd name="T18" fmla="*/ 12 w 25"/>
                  <a:gd name="T19" fmla="*/ 30 h 36"/>
                  <a:gd name="T20" fmla="*/ 17 w 25"/>
                  <a:gd name="T21" fmla="*/ 18 h 36"/>
                  <a:gd name="T22" fmla="*/ 12 w 25"/>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6">
                    <a:moveTo>
                      <a:pt x="12" y="36"/>
                    </a:moveTo>
                    <a:cubicBezTo>
                      <a:pt x="4" y="36"/>
                      <a:pt x="0" y="30"/>
                      <a:pt x="0" y="19"/>
                    </a:cubicBezTo>
                    <a:cubicBezTo>
                      <a:pt x="0" y="13"/>
                      <a:pt x="1" y="8"/>
                      <a:pt x="3" y="5"/>
                    </a:cubicBezTo>
                    <a:cubicBezTo>
                      <a:pt x="5" y="2"/>
                      <a:pt x="8" y="0"/>
                      <a:pt x="13" y="0"/>
                    </a:cubicBezTo>
                    <a:cubicBezTo>
                      <a:pt x="21" y="0"/>
                      <a:pt x="25" y="6"/>
                      <a:pt x="25" y="18"/>
                    </a:cubicBezTo>
                    <a:cubicBezTo>
                      <a:pt x="25"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1" name="Freeform 276"/>
              <p:cNvSpPr>
                <a:spLocks noEditPoints="1"/>
              </p:cNvSpPr>
              <p:nvPr/>
            </p:nvSpPr>
            <p:spPr bwMode="auto">
              <a:xfrm>
                <a:off x="2468221" y="6959614"/>
                <a:ext cx="68491" cy="98560"/>
              </a:xfrm>
              <a:custGeom>
                <a:avLst/>
                <a:gdLst>
                  <a:gd name="T0" fmla="*/ 12 w 24"/>
                  <a:gd name="T1" fmla="*/ 35 h 35"/>
                  <a:gd name="T2" fmla="*/ 0 w 24"/>
                  <a:gd name="T3" fmla="*/ 18 h 35"/>
                  <a:gd name="T4" fmla="*/ 3 w 24"/>
                  <a:gd name="T5" fmla="*/ 5 h 35"/>
                  <a:gd name="T6" fmla="*/ 13 w 24"/>
                  <a:gd name="T7" fmla="*/ 0 h 35"/>
                  <a:gd name="T8" fmla="*/ 24 w 24"/>
                  <a:gd name="T9" fmla="*/ 17 h 35"/>
                  <a:gd name="T10" fmla="*/ 21 w 24"/>
                  <a:gd name="T11" fmla="*/ 31 h 35"/>
                  <a:gd name="T12" fmla="*/ 12 w 24"/>
                  <a:gd name="T13" fmla="*/ 35 h 35"/>
                  <a:gd name="T14" fmla="*/ 12 w 24"/>
                  <a:gd name="T15" fmla="*/ 6 h 35"/>
                  <a:gd name="T16" fmla="*/ 7 w 24"/>
                  <a:gd name="T17" fmla="*/ 18 h 35"/>
                  <a:gd name="T18" fmla="*/ 12 w 24"/>
                  <a:gd name="T19" fmla="*/ 29 h 35"/>
                  <a:gd name="T20" fmla="*/ 17 w 24"/>
                  <a:gd name="T21" fmla="*/ 18 h 35"/>
                  <a:gd name="T22" fmla="*/ 12 w 24"/>
                  <a:gd name="T23"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5">
                    <a:moveTo>
                      <a:pt x="12" y="35"/>
                    </a:moveTo>
                    <a:cubicBezTo>
                      <a:pt x="4" y="35"/>
                      <a:pt x="0" y="30"/>
                      <a:pt x="0" y="18"/>
                    </a:cubicBezTo>
                    <a:cubicBezTo>
                      <a:pt x="0" y="12"/>
                      <a:pt x="1" y="8"/>
                      <a:pt x="3" y="5"/>
                    </a:cubicBezTo>
                    <a:cubicBezTo>
                      <a:pt x="5" y="1"/>
                      <a:pt x="8" y="0"/>
                      <a:pt x="13" y="0"/>
                    </a:cubicBezTo>
                    <a:cubicBezTo>
                      <a:pt x="20" y="0"/>
                      <a:pt x="24" y="6"/>
                      <a:pt x="24" y="17"/>
                    </a:cubicBezTo>
                    <a:cubicBezTo>
                      <a:pt x="24" y="23"/>
                      <a:pt x="23" y="28"/>
                      <a:pt x="21" y="31"/>
                    </a:cubicBezTo>
                    <a:cubicBezTo>
                      <a:pt x="19" y="34"/>
                      <a:pt x="16" y="35"/>
                      <a:pt x="12" y="35"/>
                    </a:cubicBezTo>
                    <a:close/>
                    <a:moveTo>
                      <a:pt x="12" y="6"/>
                    </a:moveTo>
                    <a:cubicBezTo>
                      <a:pt x="9" y="6"/>
                      <a:pt x="7" y="10"/>
                      <a:pt x="7" y="18"/>
                    </a:cubicBezTo>
                    <a:cubicBezTo>
                      <a:pt x="7" y="26"/>
                      <a:pt x="9" y="29"/>
                      <a:pt x="12" y="29"/>
                    </a:cubicBezTo>
                    <a:cubicBezTo>
                      <a:pt x="15" y="29"/>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2" name="Freeform 277"/>
              <p:cNvSpPr>
                <a:spLocks/>
              </p:cNvSpPr>
              <p:nvPr/>
            </p:nvSpPr>
            <p:spPr bwMode="auto">
              <a:xfrm>
                <a:off x="2476573" y="7096596"/>
                <a:ext cx="43433" cy="98560"/>
              </a:xfrm>
              <a:custGeom>
                <a:avLst/>
                <a:gdLst>
                  <a:gd name="T0" fmla="*/ 15 w 15"/>
                  <a:gd name="T1" fmla="*/ 0 h 35"/>
                  <a:gd name="T2" fmla="*/ 15 w 15"/>
                  <a:gd name="T3" fmla="*/ 35 h 35"/>
                  <a:gd name="T4" fmla="*/ 7 w 15"/>
                  <a:gd name="T5" fmla="*/ 35 h 35"/>
                  <a:gd name="T6" fmla="*/ 7 w 15"/>
                  <a:gd name="T7" fmla="*/ 9 h 35"/>
                  <a:gd name="T8" fmla="*/ 6 w 15"/>
                  <a:gd name="T9" fmla="*/ 10 h 35"/>
                  <a:gd name="T10" fmla="*/ 4 w 15"/>
                  <a:gd name="T11" fmla="*/ 11 h 35"/>
                  <a:gd name="T12" fmla="*/ 2 w 15"/>
                  <a:gd name="T13" fmla="*/ 12 h 35"/>
                  <a:gd name="T14" fmla="*/ 0 w 15"/>
                  <a:gd name="T15" fmla="*/ 12 h 35"/>
                  <a:gd name="T16" fmla="*/ 0 w 15"/>
                  <a:gd name="T17" fmla="*/ 6 h 35"/>
                  <a:gd name="T18" fmla="*/ 6 w 15"/>
                  <a:gd name="T19" fmla="*/ 3 h 35"/>
                  <a:gd name="T20" fmla="*/ 10 w 15"/>
                  <a:gd name="T21" fmla="*/ 0 h 35"/>
                  <a:gd name="T22" fmla="*/ 15 w 15"/>
                  <a:gd name="T2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15" y="0"/>
                    </a:moveTo>
                    <a:cubicBezTo>
                      <a:pt x="15" y="35"/>
                      <a:pt x="15" y="35"/>
                      <a:pt x="15" y="35"/>
                    </a:cubicBezTo>
                    <a:cubicBezTo>
                      <a:pt x="7" y="35"/>
                      <a:pt x="7" y="35"/>
                      <a:pt x="7" y="35"/>
                    </a:cubicBezTo>
                    <a:cubicBezTo>
                      <a:pt x="7" y="9"/>
                      <a:pt x="7" y="9"/>
                      <a:pt x="7" y="9"/>
                    </a:cubicBezTo>
                    <a:cubicBezTo>
                      <a:pt x="7" y="9"/>
                      <a:pt x="6" y="10"/>
                      <a:pt x="6" y="10"/>
                    </a:cubicBezTo>
                    <a:cubicBezTo>
                      <a:pt x="5" y="10"/>
                      <a:pt x="5" y="11"/>
                      <a:pt x="4" y="11"/>
                    </a:cubicBezTo>
                    <a:cubicBezTo>
                      <a:pt x="3" y="11"/>
                      <a:pt x="3" y="11"/>
                      <a:pt x="2" y="12"/>
                    </a:cubicBezTo>
                    <a:cubicBezTo>
                      <a:pt x="1" y="12"/>
                      <a:pt x="1" y="12"/>
                      <a:pt x="0" y="12"/>
                    </a:cubicBezTo>
                    <a:cubicBezTo>
                      <a:pt x="0" y="6"/>
                      <a:pt x="0" y="6"/>
                      <a:pt x="0" y="6"/>
                    </a:cubicBezTo>
                    <a:cubicBezTo>
                      <a:pt x="2" y="5"/>
                      <a:pt x="4" y="4"/>
                      <a:pt x="6" y="3"/>
                    </a:cubicBezTo>
                    <a:cubicBezTo>
                      <a:pt x="7" y="3"/>
                      <a:pt x="9" y="2"/>
                      <a:pt x="10" y="0"/>
                    </a:cubicBezTo>
                    <a:lnTo>
                      <a:pt x="15"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 name="Freeform 278"/>
              <p:cNvSpPr>
                <a:spLocks noEditPoints="1"/>
              </p:cNvSpPr>
              <p:nvPr/>
            </p:nvSpPr>
            <p:spPr bwMode="auto">
              <a:xfrm>
                <a:off x="2468221" y="7235249"/>
                <a:ext cx="68491" cy="103572"/>
              </a:xfrm>
              <a:custGeom>
                <a:avLst/>
                <a:gdLst>
                  <a:gd name="T0" fmla="*/ 12 w 24"/>
                  <a:gd name="T1" fmla="*/ 36 h 36"/>
                  <a:gd name="T2" fmla="*/ 0 w 24"/>
                  <a:gd name="T3" fmla="*/ 19 h 36"/>
                  <a:gd name="T4" fmla="*/ 3 w 24"/>
                  <a:gd name="T5" fmla="*/ 5 h 36"/>
                  <a:gd name="T6" fmla="*/ 13 w 24"/>
                  <a:gd name="T7" fmla="*/ 0 h 36"/>
                  <a:gd name="T8" fmla="*/ 24 w 24"/>
                  <a:gd name="T9" fmla="*/ 18 h 36"/>
                  <a:gd name="T10" fmla="*/ 21 w 24"/>
                  <a:gd name="T11" fmla="*/ 31 h 36"/>
                  <a:gd name="T12" fmla="*/ 12 w 24"/>
                  <a:gd name="T13" fmla="*/ 36 h 36"/>
                  <a:gd name="T14" fmla="*/ 12 w 24"/>
                  <a:gd name="T15" fmla="*/ 6 h 36"/>
                  <a:gd name="T16" fmla="*/ 7 w 24"/>
                  <a:gd name="T17" fmla="*/ 18 h 36"/>
                  <a:gd name="T18" fmla="*/ 12 w 24"/>
                  <a:gd name="T19" fmla="*/ 30 h 36"/>
                  <a:gd name="T20" fmla="*/ 17 w 24"/>
                  <a:gd name="T21" fmla="*/ 18 h 36"/>
                  <a:gd name="T22" fmla="*/ 12 w 24"/>
                  <a:gd name="T23"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6">
                    <a:moveTo>
                      <a:pt x="12" y="36"/>
                    </a:moveTo>
                    <a:cubicBezTo>
                      <a:pt x="4" y="36"/>
                      <a:pt x="0" y="30"/>
                      <a:pt x="0" y="19"/>
                    </a:cubicBezTo>
                    <a:cubicBezTo>
                      <a:pt x="0" y="13"/>
                      <a:pt x="1" y="8"/>
                      <a:pt x="3" y="5"/>
                    </a:cubicBezTo>
                    <a:cubicBezTo>
                      <a:pt x="5" y="2"/>
                      <a:pt x="8" y="0"/>
                      <a:pt x="13" y="0"/>
                    </a:cubicBezTo>
                    <a:cubicBezTo>
                      <a:pt x="20" y="0"/>
                      <a:pt x="24" y="6"/>
                      <a:pt x="24" y="18"/>
                    </a:cubicBezTo>
                    <a:cubicBezTo>
                      <a:pt x="24" y="24"/>
                      <a:pt x="23" y="28"/>
                      <a:pt x="21" y="31"/>
                    </a:cubicBezTo>
                    <a:cubicBezTo>
                      <a:pt x="19" y="34"/>
                      <a:pt x="16" y="36"/>
                      <a:pt x="12" y="36"/>
                    </a:cubicBezTo>
                    <a:close/>
                    <a:moveTo>
                      <a:pt x="12" y="6"/>
                    </a:moveTo>
                    <a:cubicBezTo>
                      <a:pt x="9" y="6"/>
                      <a:pt x="7" y="10"/>
                      <a:pt x="7" y="18"/>
                    </a:cubicBezTo>
                    <a:cubicBezTo>
                      <a:pt x="7" y="26"/>
                      <a:pt x="9" y="30"/>
                      <a:pt x="12" y="30"/>
                    </a:cubicBezTo>
                    <a:cubicBezTo>
                      <a:pt x="15" y="30"/>
                      <a:pt x="17" y="26"/>
                      <a:pt x="17" y="18"/>
                    </a:cubicBezTo>
                    <a:cubicBezTo>
                      <a:pt x="17" y="10"/>
                      <a:pt x="15" y="6"/>
                      <a:pt x="12" y="6"/>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5" name="Group 384"/>
            <p:cNvGrpSpPr/>
            <p:nvPr/>
          </p:nvGrpSpPr>
          <p:grpSpPr>
            <a:xfrm>
              <a:off x="2295672" y="6459673"/>
              <a:ext cx="471082" cy="534565"/>
              <a:chOff x="2484926" y="7532601"/>
              <a:chExt cx="471082" cy="534565"/>
            </a:xfrm>
          </p:grpSpPr>
          <p:sp>
            <p:nvSpPr>
              <p:cNvPr id="287" name="Rectangle 262"/>
              <p:cNvSpPr>
                <a:spLocks noChangeArrowheads="1"/>
              </p:cNvSpPr>
              <p:nvPr/>
            </p:nvSpPr>
            <p:spPr bwMode="auto">
              <a:xfrm>
                <a:off x="2484926" y="7726381"/>
                <a:ext cx="340783" cy="3407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0" name="Rectangle 295"/>
              <p:cNvSpPr>
                <a:spLocks noChangeArrowheads="1"/>
              </p:cNvSpPr>
              <p:nvPr/>
            </p:nvSpPr>
            <p:spPr bwMode="auto">
              <a:xfrm>
                <a:off x="2591838" y="7532601"/>
                <a:ext cx="364170" cy="365843"/>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1" name="Freeform 296"/>
              <p:cNvSpPr>
                <a:spLocks/>
              </p:cNvSpPr>
              <p:nvPr/>
            </p:nvSpPr>
            <p:spPr bwMode="auto">
              <a:xfrm>
                <a:off x="2656988" y="7597751"/>
                <a:ext cx="25058" cy="60139"/>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3" y="6"/>
                      <a:pt x="2" y="6"/>
                    </a:cubicBezTo>
                    <a:cubicBezTo>
                      <a:pt x="2" y="6"/>
                      <a:pt x="1" y="7"/>
                      <a:pt x="1" y="7"/>
                    </a:cubicBezTo>
                    <a:cubicBezTo>
                      <a:pt x="1"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2" name="Freeform 297"/>
              <p:cNvSpPr>
                <a:spLocks noEditPoints="1"/>
              </p:cNvSpPr>
              <p:nvPr/>
            </p:nvSpPr>
            <p:spPr bwMode="auto">
              <a:xfrm>
                <a:off x="2702091" y="7597751"/>
                <a:ext cx="43433" cy="63480"/>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3" name="Freeform 298"/>
              <p:cNvSpPr>
                <a:spLocks/>
              </p:cNvSpPr>
              <p:nvPr/>
            </p:nvSpPr>
            <p:spPr bwMode="auto">
              <a:xfrm>
                <a:off x="2758889" y="7597751"/>
                <a:ext cx="26728" cy="60139"/>
              </a:xfrm>
              <a:custGeom>
                <a:avLst/>
                <a:gdLst>
                  <a:gd name="T0" fmla="*/ 9 w 9"/>
                  <a:gd name="T1" fmla="*/ 0 h 21"/>
                  <a:gd name="T2" fmla="*/ 9 w 9"/>
                  <a:gd name="T3" fmla="*/ 21 h 21"/>
                  <a:gd name="T4" fmla="*/ 4 w 9"/>
                  <a:gd name="T5" fmla="*/ 21 h 21"/>
                  <a:gd name="T6" fmla="*/ 4 w 9"/>
                  <a:gd name="T7" fmla="*/ 5 h 21"/>
                  <a:gd name="T8" fmla="*/ 3 w 9"/>
                  <a:gd name="T9" fmla="*/ 6 h 21"/>
                  <a:gd name="T10" fmla="*/ 2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6"/>
                      <a:pt x="3" y="6"/>
                    </a:cubicBezTo>
                    <a:cubicBezTo>
                      <a:pt x="3" y="6"/>
                      <a:pt x="2" y="6"/>
                      <a:pt x="2" y="6"/>
                    </a:cubicBezTo>
                    <a:cubicBezTo>
                      <a:pt x="2" y="6"/>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4" name="Freeform 299"/>
              <p:cNvSpPr>
                <a:spLocks noEditPoints="1"/>
              </p:cNvSpPr>
              <p:nvPr/>
            </p:nvSpPr>
            <p:spPr bwMode="auto">
              <a:xfrm>
                <a:off x="2651976" y="76846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5" name="Freeform 300"/>
              <p:cNvSpPr>
                <a:spLocks/>
              </p:cNvSpPr>
              <p:nvPr/>
            </p:nvSpPr>
            <p:spPr bwMode="auto">
              <a:xfrm>
                <a:off x="2708774" y="7684618"/>
                <a:ext cx="25058" cy="61809"/>
              </a:xfrm>
              <a:custGeom>
                <a:avLst/>
                <a:gdLst>
                  <a:gd name="T0" fmla="*/ 9 w 9"/>
                  <a:gd name="T1" fmla="*/ 0 h 22"/>
                  <a:gd name="T2" fmla="*/ 9 w 9"/>
                  <a:gd name="T3" fmla="*/ 22 h 22"/>
                  <a:gd name="T4" fmla="*/ 5 w 9"/>
                  <a:gd name="T5" fmla="*/ 22 h 22"/>
                  <a:gd name="T6" fmla="*/ 5 w 9"/>
                  <a:gd name="T7" fmla="*/ 5 h 22"/>
                  <a:gd name="T8" fmla="*/ 4 w 9"/>
                  <a:gd name="T9" fmla="*/ 6 h 22"/>
                  <a:gd name="T10" fmla="*/ 3 w 9"/>
                  <a:gd name="T11" fmla="*/ 6 h 22"/>
                  <a:gd name="T12" fmla="*/ 2 w 9"/>
                  <a:gd name="T13" fmla="*/ 7 h 22"/>
                  <a:gd name="T14" fmla="*/ 0 w 9"/>
                  <a:gd name="T15" fmla="*/ 7 h 22"/>
                  <a:gd name="T16" fmla="*/ 0 w 9"/>
                  <a:gd name="T17" fmla="*/ 3 h 22"/>
                  <a:gd name="T18" fmla="*/ 4 w 9"/>
                  <a:gd name="T19" fmla="*/ 2 h 22"/>
                  <a:gd name="T20" fmla="*/ 7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5" y="22"/>
                      <a:pt x="5" y="22"/>
                      <a:pt x="5" y="22"/>
                    </a:cubicBezTo>
                    <a:cubicBezTo>
                      <a:pt x="5" y="5"/>
                      <a:pt x="5" y="5"/>
                      <a:pt x="5" y="5"/>
                    </a:cubicBezTo>
                    <a:cubicBezTo>
                      <a:pt x="5" y="5"/>
                      <a:pt x="4" y="6"/>
                      <a:pt x="4" y="6"/>
                    </a:cubicBezTo>
                    <a:cubicBezTo>
                      <a:pt x="4" y="6"/>
                      <a:pt x="3" y="6"/>
                      <a:pt x="3" y="6"/>
                    </a:cubicBezTo>
                    <a:cubicBezTo>
                      <a:pt x="2" y="7"/>
                      <a:pt x="2" y="7"/>
                      <a:pt x="2" y="7"/>
                    </a:cubicBezTo>
                    <a:cubicBezTo>
                      <a:pt x="1" y="7"/>
                      <a:pt x="1" y="7"/>
                      <a:pt x="0" y="7"/>
                    </a:cubicBezTo>
                    <a:cubicBezTo>
                      <a:pt x="0" y="3"/>
                      <a:pt x="0" y="3"/>
                      <a:pt x="0" y="3"/>
                    </a:cubicBezTo>
                    <a:cubicBezTo>
                      <a:pt x="2" y="3"/>
                      <a:pt x="3" y="2"/>
                      <a:pt x="4" y="2"/>
                    </a:cubicBezTo>
                    <a:cubicBezTo>
                      <a:pt x="5" y="1"/>
                      <a:pt x="6" y="1"/>
                      <a:pt x="7"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6" name="Freeform 301"/>
              <p:cNvSpPr>
                <a:spLocks noEditPoints="1"/>
              </p:cNvSpPr>
              <p:nvPr/>
            </p:nvSpPr>
            <p:spPr bwMode="auto">
              <a:xfrm>
                <a:off x="2753877" y="7684618"/>
                <a:ext cx="43433" cy="61809"/>
              </a:xfrm>
              <a:custGeom>
                <a:avLst/>
                <a:gdLst>
                  <a:gd name="T0" fmla="*/ 7 w 15"/>
                  <a:gd name="T1" fmla="*/ 22 h 22"/>
                  <a:gd name="T2" fmla="*/ 0 w 15"/>
                  <a:gd name="T3" fmla="*/ 11 h 22"/>
                  <a:gd name="T4" fmla="*/ 2 w 15"/>
                  <a:gd name="T5" fmla="*/ 3 h 22"/>
                  <a:gd name="T6" fmla="*/ 7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7" y="0"/>
                    </a:cubicBezTo>
                    <a:cubicBezTo>
                      <a:pt x="12" y="0"/>
                      <a:pt x="15" y="4"/>
                      <a:pt x="15" y="11"/>
                    </a:cubicBezTo>
                    <a:cubicBezTo>
                      <a:pt x="15" y="14"/>
                      <a:pt x="14" y="17"/>
                      <a:pt x="13" y="19"/>
                    </a:cubicBezTo>
                    <a:cubicBezTo>
                      <a:pt x="11"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7" name="Freeform 302"/>
              <p:cNvSpPr>
                <a:spLocks noEditPoints="1"/>
              </p:cNvSpPr>
              <p:nvPr/>
            </p:nvSpPr>
            <p:spPr bwMode="auto">
              <a:xfrm>
                <a:off x="2651976" y="77698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4 h 22"/>
                  <a:gd name="T16" fmla="*/ 4 w 15"/>
                  <a:gd name="T17" fmla="*/ 11 h 22"/>
                  <a:gd name="T18" fmla="*/ 7 w 15"/>
                  <a:gd name="T19" fmla="*/ 18 h 22"/>
                  <a:gd name="T20" fmla="*/ 10 w 15"/>
                  <a:gd name="T21" fmla="*/ 11 h 22"/>
                  <a:gd name="T22" fmla="*/ 7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0" y="5"/>
                      <a:pt x="2" y="3"/>
                    </a:cubicBezTo>
                    <a:cubicBezTo>
                      <a:pt x="3" y="1"/>
                      <a:pt x="5" y="0"/>
                      <a:pt x="8" y="0"/>
                    </a:cubicBezTo>
                    <a:cubicBezTo>
                      <a:pt x="12" y="0"/>
                      <a:pt x="15" y="4"/>
                      <a:pt x="15" y="11"/>
                    </a:cubicBezTo>
                    <a:cubicBezTo>
                      <a:pt x="15" y="14"/>
                      <a:pt x="14" y="17"/>
                      <a:pt x="13" y="19"/>
                    </a:cubicBezTo>
                    <a:cubicBezTo>
                      <a:pt x="12" y="21"/>
                      <a:pt x="10" y="22"/>
                      <a:pt x="7" y="22"/>
                    </a:cubicBezTo>
                    <a:close/>
                    <a:moveTo>
                      <a:pt x="7" y="4"/>
                    </a:moveTo>
                    <a:cubicBezTo>
                      <a:pt x="5" y="4"/>
                      <a:pt x="4" y="6"/>
                      <a:pt x="4" y="11"/>
                    </a:cubicBezTo>
                    <a:cubicBezTo>
                      <a:pt x="4" y="16"/>
                      <a:pt x="5" y="18"/>
                      <a:pt x="7" y="18"/>
                    </a:cubicBezTo>
                    <a:cubicBezTo>
                      <a:pt x="9" y="18"/>
                      <a:pt x="10" y="16"/>
                      <a:pt x="10" y="11"/>
                    </a:cubicBezTo>
                    <a:cubicBezTo>
                      <a:pt x="10" y="6"/>
                      <a:pt x="9" y="4"/>
                      <a:pt x="7"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8" name="Freeform 303"/>
              <p:cNvSpPr>
                <a:spLocks noEditPoints="1"/>
              </p:cNvSpPr>
              <p:nvPr/>
            </p:nvSpPr>
            <p:spPr bwMode="auto">
              <a:xfrm>
                <a:off x="2702091" y="7769814"/>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8"/>
                      <a:pt x="1" y="5"/>
                      <a:pt x="2" y="3"/>
                    </a:cubicBezTo>
                    <a:cubicBezTo>
                      <a:pt x="4" y="1"/>
                      <a:pt x="6" y="0"/>
                      <a:pt x="8" y="0"/>
                    </a:cubicBezTo>
                    <a:cubicBezTo>
                      <a:pt x="13" y="0"/>
                      <a:pt x="15" y="4"/>
                      <a:pt x="15" y="11"/>
                    </a:cubicBezTo>
                    <a:cubicBezTo>
                      <a:pt x="15" y="14"/>
                      <a:pt x="15" y="17"/>
                      <a:pt x="13"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9" name="Freeform 304"/>
              <p:cNvSpPr>
                <a:spLocks/>
              </p:cNvSpPr>
              <p:nvPr/>
            </p:nvSpPr>
            <p:spPr bwMode="auto">
              <a:xfrm>
                <a:off x="2758889" y="7769814"/>
                <a:ext cx="26728" cy="61809"/>
              </a:xfrm>
              <a:custGeom>
                <a:avLst/>
                <a:gdLst>
                  <a:gd name="T0" fmla="*/ 9 w 9"/>
                  <a:gd name="T1" fmla="*/ 0 h 22"/>
                  <a:gd name="T2" fmla="*/ 9 w 9"/>
                  <a:gd name="T3" fmla="*/ 22 h 22"/>
                  <a:gd name="T4" fmla="*/ 4 w 9"/>
                  <a:gd name="T5" fmla="*/ 22 h 22"/>
                  <a:gd name="T6" fmla="*/ 4 w 9"/>
                  <a:gd name="T7" fmla="*/ 5 h 22"/>
                  <a:gd name="T8" fmla="*/ 3 w 9"/>
                  <a:gd name="T9" fmla="*/ 6 h 22"/>
                  <a:gd name="T10" fmla="*/ 2 w 9"/>
                  <a:gd name="T11" fmla="*/ 6 h 22"/>
                  <a:gd name="T12" fmla="*/ 1 w 9"/>
                  <a:gd name="T13" fmla="*/ 7 h 22"/>
                  <a:gd name="T14" fmla="*/ 0 w 9"/>
                  <a:gd name="T15" fmla="*/ 7 h 22"/>
                  <a:gd name="T16" fmla="*/ 0 w 9"/>
                  <a:gd name="T17" fmla="*/ 3 h 22"/>
                  <a:gd name="T18" fmla="*/ 3 w 9"/>
                  <a:gd name="T19" fmla="*/ 2 h 22"/>
                  <a:gd name="T20" fmla="*/ 6 w 9"/>
                  <a:gd name="T21" fmla="*/ 0 h 22"/>
                  <a:gd name="T22" fmla="*/ 9 w 9"/>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2">
                    <a:moveTo>
                      <a:pt x="9" y="0"/>
                    </a:moveTo>
                    <a:cubicBezTo>
                      <a:pt x="9" y="22"/>
                      <a:pt x="9" y="22"/>
                      <a:pt x="9" y="22"/>
                    </a:cubicBezTo>
                    <a:cubicBezTo>
                      <a:pt x="4" y="22"/>
                      <a:pt x="4" y="22"/>
                      <a:pt x="4" y="22"/>
                    </a:cubicBezTo>
                    <a:cubicBezTo>
                      <a:pt x="4" y="5"/>
                      <a:pt x="4" y="5"/>
                      <a:pt x="4" y="5"/>
                    </a:cubicBezTo>
                    <a:cubicBezTo>
                      <a:pt x="4" y="6"/>
                      <a:pt x="4" y="6"/>
                      <a:pt x="3" y="6"/>
                    </a:cubicBezTo>
                    <a:cubicBezTo>
                      <a:pt x="3" y="6"/>
                      <a:pt x="2" y="6"/>
                      <a:pt x="2" y="6"/>
                    </a:cubicBezTo>
                    <a:cubicBezTo>
                      <a:pt x="2" y="7"/>
                      <a:pt x="1" y="7"/>
                      <a:pt x="1" y="7"/>
                    </a:cubicBezTo>
                    <a:cubicBezTo>
                      <a:pt x="0" y="7"/>
                      <a:pt x="0" y="7"/>
                      <a:pt x="0" y="7"/>
                    </a:cubicBezTo>
                    <a:cubicBezTo>
                      <a:pt x="0" y="3"/>
                      <a:pt x="0" y="3"/>
                      <a:pt x="0" y="3"/>
                    </a:cubicBezTo>
                    <a:cubicBezTo>
                      <a:pt x="1" y="3"/>
                      <a:pt x="2" y="2"/>
                      <a:pt x="3" y="2"/>
                    </a:cubicBezTo>
                    <a:cubicBezTo>
                      <a:pt x="4" y="1"/>
                      <a:pt x="5"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0" name="Freeform 305"/>
              <p:cNvSpPr>
                <a:spLocks/>
              </p:cNvSpPr>
              <p:nvPr/>
            </p:nvSpPr>
            <p:spPr bwMode="auto">
              <a:xfrm>
                <a:off x="2862460" y="7597751"/>
                <a:ext cx="25058" cy="60139"/>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1 w 9"/>
                  <a:gd name="T13" fmla="*/ 7 h 21"/>
                  <a:gd name="T14" fmla="*/ 0 w 9"/>
                  <a:gd name="T15" fmla="*/ 7 h 21"/>
                  <a:gd name="T16" fmla="*/ 0 w 9"/>
                  <a:gd name="T17" fmla="*/ 3 h 21"/>
                  <a:gd name="T18" fmla="*/ 3 w 9"/>
                  <a:gd name="T19" fmla="*/ 2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6"/>
                      <a:pt x="4" y="6"/>
                    </a:cubicBezTo>
                    <a:cubicBezTo>
                      <a:pt x="3" y="6"/>
                      <a:pt x="3" y="6"/>
                      <a:pt x="3" y="6"/>
                    </a:cubicBezTo>
                    <a:cubicBezTo>
                      <a:pt x="2" y="6"/>
                      <a:pt x="2" y="7"/>
                      <a:pt x="1" y="7"/>
                    </a:cubicBezTo>
                    <a:cubicBezTo>
                      <a:pt x="1" y="7"/>
                      <a:pt x="0" y="7"/>
                      <a:pt x="0" y="7"/>
                    </a:cubicBezTo>
                    <a:cubicBezTo>
                      <a:pt x="0" y="3"/>
                      <a:pt x="0" y="3"/>
                      <a:pt x="0" y="3"/>
                    </a:cubicBezTo>
                    <a:cubicBezTo>
                      <a:pt x="1" y="3"/>
                      <a:pt x="2" y="2"/>
                      <a:pt x="3" y="2"/>
                    </a:cubicBezTo>
                    <a:cubicBezTo>
                      <a:pt x="5" y="1"/>
                      <a:pt x="6" y="1"/>
                      <a:pt x="6" y="0"/>
                    </a:cubicBezTo>
                    <a:lnTo>
                      <a:pt x="9"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1" name="Freeform 306"/>
              <p:cNvSpPr>
                <a:spLocks noEditPoints="1"/>
              </p:cNvSpPr>
              <p:nvPr/>
            </p:nvSpPr>
            <p:spPr bwMode="auto">
              <a:xfrm>
                <a:off x="2857448" y="7684618"/>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2" name="Freeform 307"/>
              <p:cNvSpPr>
                <a:spLocks noEditPoints="1"/>
              </p:cNvSpPr>
              <p:nvPr/>
            </p:nvSpPr>
            <p:spPr bwMode="auto">
              <a:xfrm>
                <a:off x="2857448" y="7769814"/>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4 h 22"/>
                  <a:gd name="T16" fmla="*/ 5 w 15"/>
                  <a:gd name="T17" fmla="*/ 11 h 22"/>
                  <a:gd name="T18" fmla="*/ 8 w 15"/>
                  <a:gd name="T19" fmla="*/ 18 h 22"/>
                  <a:gd name="T20" fmla="*/ 11 w 15"/>
                  <a:gd name="T21" fmla="*/ 11 h 22"/>
                  <a:gd name="T22" fmla="*/ 8 w 15"/>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8"/>
                      <a:pt x="1" y="5"/>
                      <a:pt x="2" y="3"/>
                    </a:cubicBezTo>
                    <a:cubicBezTo>
                      <a:pt x="3" y="1"/>
                      <a:pt x="5" y="0"/>
                      <a:pt x="8" y="0"/>
                    </a:cubicBezTo>
                    <a:cubicBezTo>
                      <a:pt x="13" y="0"/>
                      <a:pt x="15" y="4"/>
                      <a:pt x="15" y="11"/>
                    </a:cubicBezTo>
                    <a:cubicBezTo>
                      <a:pt x="15" y="14"/>
                      <a:pt x="15" y="17"/>
                      <a:pt x="13" y="19"/>
                    </a:cubicBezTo>
                    <a:cubicBezTo>
                      <a:pt x="12" y="21"/>
                      <a:pt x="10" y="22"/>
                      <a:pt x="7"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3" name="Freeform 308"/>
              <p:cNvSpPr>
                <a:spLocks noEditPoints="1"/>
              </p:cNvSpPr>
              <p:nvPr/>
            </p:nvSpPr>
            <p:spPr bwMode="auto">
              <a:xfrm>
                <a:off x="2802322" y="7597751"/>
                <a:ext cx="45104" cy="63480"/>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4" name="Freeform 309"/>
              <p:cNvSpPr>
                <a:spLocks/>
              </p:cNvSpPr>
              <p:nvPr/>
            </p:nvSpPr>
            <p:spPr bwMode="auto">
              <a:xfrm>
                <a:off x="2809004" y="7684618"/>
                <a:ext cx="28399" cy="61809"/>
              </a:xfrm>
              <a:custGeom>
                <a:avLst/>
                <a:gdLst>
                  <a:gd name="T0" fmla="*/ 10 w 10"/>
                  <a:gd name="T1" fmla="*/ 0 h 22"/>
                  <a:gd name="T2" fmla="*/ 10 w 10"/>
                  <a:gd name="T3" fmla="*/ 22 h 22"/>
                  <a:gd name="T4" fmla="*/ 5 w 10"/>
                  <a:gd name="T5" fmla="*/ 22 h 22"/>
                  <a:gd name="T6" fmla="*/ 5 w 10"/>
                  <a:gd name="T7" fmla="*/ 5 h 22"/>
                  <a:gd name="T8" fmla="*/ 4 w 10"/>
                  <a:gd name="T9" fmla="*/ 6 h 22"/>
                  <a:gd name="T10" fmla="*/ 3 w 10"/>
                  <a:gd name="T11" fmla="*/ 6 h 22"/>
                  <a:gd name="T12" fmla="*/ 2 w 10"/>
                  <a:gd name="T13" fmla="*/ 7 h 22"/>
                  <a:gd name="T14" fmla="*/ 0 w 10"/>
                  <a:gd name="T15" fmla="*/ 7 h 22"/>
                  <a:gd name="T16" fmla="*/ 0 w 10"/>
                  <a:gd name="T17" fmla="*/ 3 h 22"/>
                  <a:gd name="T18" fmla="*/ 4 w 10"/>
                  <a:gd name="T19" fmla="*/ 2 h 22"/>
                  <a:gd name="T20" fmla="*/ 7 w 10"/>
                  <a:gd name="T21" fmla="*/ 0 h 22"/>
                  <a:gd name="T22" fmla="*/ 10 w 1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2">
                    <a:moveTo>
                      <a:pt x="10" y="0"/>
                    </a:moveTo>
                    <a:cubicBezTo>
                      <a:pt x="10" y="22"/>
                      <a:pt x="10" y="22"/>
                      <a:pt x="10" y="22"/>
                    </a:cubicBezTo>
                    <a:cubicBezTo>
                      <a:pt x="5" y="22"/>
                      <a:pt x="5" y="22"/>
                      <a:pt x="5" y="22"/>
                    </a:cubicBezTo>
                    <a:cubicBezTo>
                      <a:pt x="5" y="5"/>
                      <a:pt x="5" y="5"/>
                      <a:pt x="5" y="5"/>
                    </a:cubicBezTo>
                    <a:cubicBezTo>
                      <a:pt x="5" y="5"/>
                      <a:pt x="4" y="6"/>
                      <a:pt x="4" y="6"/>
                    </a:cubicBezTo>
                    <a:cubicBezTo>
                      <a:pt x="4" y="6"/>
                      <a:pt x="3" y="6"/>
                      <a:pt x="3" y="6"/>
                    </a:cubicBezTo>
                    <a:cubicBezTo>
                      <a:pt x="3" y="7"/>
                      <a:pt x="2" y="7"/>
                      <a:pt x="2" y="7"/>
                    </a:cubicBezTo>
                    <a:cubicBezTo>
                      <a:pt x="1" y="7"/>
                      <a:pt x="1" y="7"/>
                      <a:pt x="0" y="7"/>
                    </a:cubicBezTo>
                    <a:cubicBezTo>
                      <a:pt x="0" y="3"/>
                      <a:pt x="0" y="3"/>
                      <a:pt x="0" y="3"/>
                    </a:cubicBezTo>
                    <a:cubicBezTo>
                      <a:pt x="2" y="3"/>
                      <a:pt x="3" y="2"/>
                      <a:pt x="4" y="2"/>
                    </a:cubicBezTo>
                    <a:cubicBezTo>
                      <a:pt x="5" y="1"/>
                      <a:pt x="6" y="1"/>
                      <a:pt x="7" y="0"/>
                    </a:cubicBezTo>
                    <a:lnTo>
                      <a:pt x="10" y="0"/>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5" name="Freeform 310"/>
              <p:cNvSpPr>
                <a:spLocks noEditPoints="1"/>
              </p:cNvSpPr>
              <p:nvPr/>
            </p:nvSpPr>
            <p:spPr bwMode="auto">
              <a:xfrm>
                <a:off x="2802322" y="7769814"/>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4 h 22"/>
                  <a:gd name="T16" fmla="*/ 5 w 16"/>
                  <a:gd name="T17" fmla="*/ 11 h 22"/>
                  <a:gd name="T18" fmla="*/ 8 w 16"/>
                  <a:gd name="T19" fmla="*/ 18 h 22"/>
                  <a:gd name="T20" fmla="*/ 11 w 16"/>
                  <a:gd name="T21" fmla="*/ 11 h 22"/>
                  <a:gd name="T22" fmla="*/ 8 w 16"/>
                  <a:gd name="T23"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8"/>
                      <a:pt x="1" y="5"/>
                      <a:pt x="2" y="3"/>
                    </a:cubicBezTo>
                    <a:cubicBezTo>
                      <a:pt x="4" y="1"/>
                      <a:pt x="6" y="0"/>
                      <a:pt x="8" y="0"/>
                    </a:cubicBezTo>
                    <a:cubicBezTo>
                      <a:pt x="13" y="0"/>
                      <a:pt x="16" y="4"/>
                      <a:pt x="16" y="11"/>
                    </a:cubicBezTo>
                    <a:cubicBezTo>
                      <a:pt x="16" y="14"/>
                      <a:pt x="15" y="17"/>
                      <a:pt x="14" y="19"/>
                    </a:cubicBezTo>
                    <a:cubicBezTo>
                      <a:pt x="12" y="21"/>
                      <a:pt x="10" y="22"/>
                      <a:pt x="8" y="22"/>
                    </a:cubicBezTo>
                    <a:close/>
                    <a:moveTo>
                      <a:pt x="8" y="4"/>
                    </a:moveTo>
                    <a:cubicBezTo>
                      <a:pt x="6" y="4"/>
                      <a:pt x="5" y="6"/>
                      <a:pt x="5" y="11"/>
                    </a:cubicBezTo>
                    <a:cubicBezTo>
                      <a:pt x="5" y="16"/>
                      <a:pt x="6" y="18"/>
                      <a:pt x="8" y="18"/>
                    </a:cubicBezTo>
                    <a:cubicBezTo>
                      <a:pt x="10" y="18"/>
                      <a:pt x="11" y="16"/>
                      <a:pt x="11" y="11"/>
                    </a:cubicBezTo>
                    <a:cubicBezTo>
                      <a:pt x="11" y="6"/>
                      <a:pt x="10" y="4"/>
                      <a:pt x="8" y="4"/>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7" name="Group 386"/>
            <p:cNvGrpSpPr/>
            <p:nvPr/>
          </p:nvGrpSpPr>
          <p:grpSpPr>
            <a:xfrm>
              <a:off x="3223929" y="6211486"/>
              <a:ext cx="795161" cy="801847"/>
              <a:chOff x="3738270" y="6863559"/>
              <a:chExt cx="795161" cy="801847"/>
            </a:xfrm>
          </p:grpSpPr>
          <p:sp>
            <p:nvSpPr>
              <p:cNvPr id="285" name="Rectangle 260"/>
              <p:cNvSpPr>
                <a:spLocks noChangeArrowheads="1"/>
              </p:cNvSpPr>
              <p:nvPr/>
            </p:nvSpPr>
            <p:spPr bwMode="auto">
              <a:xfrm>
                <a:off x="3738270" y="6863559"/>
                <a:ext cx="339112" cy="33911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6" name="Rectangle 311"/>
              <p:cNvSpPr>
                <a:spLocks noChangeArrowheads="1"/>
              </p:cNvSpPr>
              <p:nvPr/>
            </p:nvSpPr>
            <p:spPr bwMode="auto">
              <a:xfrm>
                <a:off x="4000540" y="7132512"/>
                <a:ext cx="532891" cy="5328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7" name="Freeform 312"/>
              <p:cNvSpPr>
                <a:spLocks/>
              </p:cNvSpPr>
              <p:nvPr/>
            </p:nvSpPr>
            <p:spPr bwMode="auto">
              <a:xfrm>
                <a:off x="4094088" y="7229402"/>
                <a:ext cx="38422" cy="88537"/>
              </a:xfrm>
              <a:custGeom>
                <a:avLst/>
                <a:gdLst>
                  <a:gd name="T0" fmla="*/ 13 w 13"/>
                  <a:gd name="T1" fmla="*/ 0 h 31"/>
                  <a:gd name="T2" fmla="*/ 13 w 13"/>
                  <a:gd name="T3" fmla="*/ 31 h 31"/>
                  <a:gd name="T4" fmla="*/ 6 w 13"/>
                  <a:gd name="T5" fmla="*/ 31 h 31"/>
                  <a:gd name="T6" fmla="*/ 6 w 13"/>
                  <a:gd name="T7" fmla="*/ 7 h 31"/>
                  <a:gd name="T8" fmla="*/ 5 w 13"/>
                  <a:gd name="T9" fmla="*/ 8 h 31"/>
                  <a:gd name="T10" fmla="*/ 3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7"/>
                      <a:pt x="6" y="7"/>
                      <a:pt x="6" y="7"/>
                    </a:cubicBezTo>
                    <a:cubicBezTo>
                      <a:pt x="6" y="8"/>
                      <a:pt x="6" y="8"/>
                      <a:pt x="5" y="8"/>
                    </a:cubicBezTo>
                    <a:cubicBezTo>
                      <a:pt x="5" y="8"/>
                      <a:pt x="4" y="9"/>
                      <a:pt x="3" y="9"/>
                    </a:cubicBezTo>
                    <a:cubicBezTo>
                      <a:pt x="3" y="9"/>
                      <a:pt x="2" y="9"/>
                      <a:pt x="2" y="10"/>
                    </a:cubicBezTo>
                    <a:cubicBezTo>
                      <a:pt x="1" y="10"/>
                      <a:pt x="0" y="10"/>
                      <a:pt x="0" y="10"/>
                    </a:cubicBezTo>
                    <a:cubicBezTo>
                      <a:pt x="0" y="4"/>
                      <a:pt x="0" y="4"/>
                      <a:pt x="0" y="4"/>
                    </a:cubicBezTo>
                    <a:cubicBezTo>
                      <a:pt x="2" y="4"/>
                      <a:pt x="3" y="3"/>
                      <a:pt x="5" y="2"/>
                    </a:cubicBezTo>
                    <a:cubicBezTo>
                      <a:pt x="6"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8" name="Freeform 313"/>
              <p:cNvSpPr>
                <a:spLocks noEditPoints="1"/>
              </p:cNvSpPr>
              <p:nvPr/>
            </p:nvSpPr>
            <p:spPr bwMode="auto">
              <a:xfrm>
                <a:off x="4162579" y="7229402"/>
                <a:ext cx="63479" cy="90208"/>
              </a:xfrm>
              <a:custGeom>
                <a:avLst/>
                <a:gdLst>
                  <a:gd name="T0" fmla="*/ 11 w 22"/>
                  <a:gd name="T1" fmla="*/ 32 h 32"/>
                  <a:gd name="T2" fmla="*/ 0 w 22"/>
                  <a:gd name="T3" fmla="*/ 16 h 32"/>
                  <a:gd name="T4" fmla="*/ 3 w 22"/>
                  <a:gd name="T5" fmla="*/ 4 h 32"/>
                  <a:gd name="T6" fmla="*/ 11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1" y="0"/>
                    </a:cubicBezTo>
                    <a:cubicBezTo>
                      <a:pt x="19" y="0"/>
                      <a:pt x="22" y="5"/>
                      <a:pt x="22" y="15"/>
                    </a:cubicBezTo>
                    <a:cubicBezTo>
                      <a:pt x="22" y="21"/>
                      <a:pt x="21" y="25"/>
                      <a:pt x="19" y="27"/>
                    </a:cubicBezTo>
                    <a:cubicBezTo>
                      <a:pt x="17" y="30"/>
                      <a:pt x="14"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9" name="Freeform 314"/>
              <p:cNvSpPr>
                <a:spLocks/>
              </p:cNvSpPr>
              <p:nvPr/>
            </p:nvSpPr>
            <p:spPr bwMode="auto">
              <a:xfrm>
                <a:off x="4242763" y="7229402"/>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0" name="Freeform 315"/>
              <p:cNvSpPr>
                <a:spLocks noEditPoints="1"/>
              </p:cNvSpPr>
              <p:nvPr/>
            </p:nvSpPr>
            <p:spPr bwMode="auto">
              <a:xfrm>
                <a:off x="4085735" y="7354690"/>
                <a:ext cx="63479" cy="88537"/>
              </a:xfrm>
              <a:custGeom>
                <a:avLst/>
                <a:gdLst>
                  <a:gd name="T0" fmla="*/ 11 w 22"/>
                  <a:gd name="T1" fmla="*/ 31 h 31"/>
                  <a:gd name="T2" fmla="*/ 0 w 22"/>
                  <a:gd name="T3" fmla="*/ 16 h 31"/>
                  <a:gd name="T4" fmla="*/ 3 w 22"/>
                  <a:gd name="T5" fmla="*/ 4 h 31"/>
                  <a:gd name="T6" fmla="*/ 11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3" y="31"/>
                      <a:pt x="0" y="26"/>
                      <a:pt x="0" y="16"/>
                    </a:cubicBezTo>
                    <a:cubicBezTo>
                      <a:pt x="0" y="11"/>
                      <a:pt x="1" y="7"/>
                      <a:pt x="3" y="4"/>
                    </a:cubicBezTo>
                    <a:cubicBezTo>
                      <a:pt x="5" y="1"/>
                      <a:pt x="8" y="0"/>
                      <a:pt x="11" y="0"/>
                    </a:cubicBezTo>
                    <a:cubicBezTo>
                      <a:pt x="18" y="0"/>
                      <a:pt x="22" y="5"/>
                      <a:pt x="22" y="15"/>
                    </a:cubicBezTo>
                    <a:cubicBezTo>
                      <a:pt x="22" y="20"/>
                      <a:pt x="21" y="24"/>
                      <a:pt x="19" y="27"/>
                    </a:cubicBezTo>
                    <a:cubicBezTo>
                      <a:pt x="17" y="30"/>
                      <a:pt x="14"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1" name="Freeform 316"/>
              <p:cNvSpPr>
                <a:spLocks/>
              </p:cNvSpPr>
              <p:nvPr/>
            </p:nvSpPr>
            <p:spPr bwMode="auto">
              <a:xfrm>
                <a:off x="4170931" y="7351349"/>
                <a:ext cx="38422" cy="9187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9"/>
                      <a:pt x="5" y="9"/>
                    </a:cubicBezTo>
                    <a:cubicBezTo>
                      <a:pt x="5" y="9"/>
                      <a:pt x="4" y="10"/>
                      <a:pt x="4" y="10"/>
                    </a:cubicBezTo>
                    <a:cubicBezTo>
                      <a:pt x="3" y="10"/>
                      <a:pt x="2" y="10"/>
                      <a:pt x="2" y="10"/>
                    </a:cubicBezTo>
                    <a:cubicBezTo>
                      <a:pt x="1" y="11"/>
                      <a:pt x="1" y="11"/>
                      <a:pt x="0" y="11"/>
                    </a:cubicBezTo>
                    <a:cubicBezTo>
                      <a:pt x="0" y="5"/>
                      <a:pt x="0" y="5"/>
                      <a:pt x="0" y="5"/>
                    </a:cubicBezTo>
                    <a:cubicBezTo>
                      <a:pt x="2" y="5"/>
                      <a:pt x="3" y="4"/>
                      <a:pt x="5" y="3"/>
                    </a:cubicBezTo>
                    <a:cubicBezTo>
                      <a:pt x="6"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2" name="Freeform 317"/>
              <p:cNvSpPr>
                <a:spLocks noEditPoints="1"/>
              </p:cNvSpPr>
              <p:nvPr/>
            </p:nvSpPr>
            <p:spPr bwMode="auto">
              <a:xfrm>
                <a:off x="4234410" y="7354690"/>
                <a:ext cx="6347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19 w 22"/>
                  <a:gd name="T11" fmla="*/ 27 h 31"/>
                  <a:gd name="T12" fmla="*/ 11 w 22"/>
                  <a:gd name="T13" fmla="*/ 31 h 31"/>
                  <a:gd name="T14" fmla="*/ 11 w 22"/>
                  <a:gd name="T15" fmla="*/ 5 h 31"/>
                  <a:gd name="T16" fmla="*/ 7 w 22"/>
                  <a:gd name="T17" fmla="*/ 16 h 31"/>
                  <a:gd name="T18" fmla="*/ 11 w 22"/>
                  <a:gd name="T19" fmla="*/ 26 h 31"/>
                  <a:gd name="T20" fmla="*/ 15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1" y="24"/>
                      <a:pt x="19" y="27"/>
                    </a:cubicBezTo>
                    <a:cubicBezTo>
                      <a:pt x="17" y="30"/>
                      <a:pt x="15" y="31"/>
                      <a:pt x="11" y="31"/>
                    </a:cubicBezTo>
                    <a:close/>
                    <a:moveTo>
                      <a:pt x="11" y="5"/>
                    </a:moveTo>
                    <a:cubicBezTo>
                      <a:pt x="8" y="5"/>
                      <a:pt x="7" y="8"/>
                      <a:pt x="7" y="16"/>
                    </a:cubicBezTo>
                    <a:cubicBezTo>
                      <a:pt x="7" y="23"/>
                      <a:pt x="8" y="26"/>
                      <a:pt x="11" y="26"/>
                    </a:cubicBezTo>
                    <a:cubicBezTo>
                      <a:pt x="14" y="26"/>
                      <a:pt x="15" y="23"/>
                      <a:pt x="15" y="15"/>
                    </a:cubicBezTo>
                    <a:cubicBezTo>
                      <a:pt x="15"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3" name="Freeform 318"/>
              <p:cNvSpPr>
                <a:spLocks noEditPoints="1"/>
              </p:cNvSpPr>
              <p:nvPr/>
            </p:nvSpPr>
            <p:spPr bwMode="auto">
              <a:xfrm>
                <a:off x="4085735" y="7476638"/>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5"/>
                    </a:cubicBezTo>
                    <a:cubicBezTo>
                      <a:pt x="5" y="2"/>
                      <a:pt x="8" y="0"/>
                      <a:pt x="11" y="0"/>
                    </a:cubicBezTo>
                    <a:cubicBezTo>
                      <a:pt x="18"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4" name="Freeform 319"/>
              <p:cNvSpPr>
                <a:spLocks noEditPoints="1"/>
              </p:cNvSpPr>
              <p:nvPr/>
            </p:nvSpPr>
            <p:spPr bwMode="auto">
              <a:xfrm>
                <a:off x="4162579" y="7476638"/>
                <a:ext cx="63479" cy="9187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5" name="Freeform 320"/>
              <p:cNvSpPr>
                <a:spLocks/>
              </p:cNvSpPr>
              <p:nvPr/>
            </p:nvSpPr>
            <p:spPr bwMode="auto">
              <a:xfrm>
                <a:off x="4242763" y="7476638"/>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9"/>
                      <a:pt x="4" y="10"/>
                    </a:cubicBezTo>
                    <a:cubicBezTo>
                      <a:pt x="3" y="10"/>
                      <a:pt x="3" y="10"/>
                      <a:pt x="2" y="10"/>
                    </a:cubicBezTo>
                    <a:cubicBezTo>
                      <a:pt x="1" y="10"/>
                      <a:pt x="1" y="11"/>
                      <a:pt x="0" y="11"/>
                    </a:cubicBezTo>
                    <a:cubicBezTo>
                      <a:pt x="0" y="5"/>
                      <a:pt x="0" y="5"/>
                      <a:pt x="0" y="5"/>
                    </a:cubicBezTo>
                    <a:cubicBezTo>
                      <a:pt x="2" y="4"/>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6" name="Freeform 321"/>
              <p:cNvSpPr>
                <a:spLocks/>
              </p:cNvSpPr>
              <p:nvPr/>
            </p:nvSpPr>
            <p:spPr bwMode="auto">
              <a:xfrm>
                <a:off x="4394779" y="7229402"/>
                <a:ext cx="40092" cy="88537"/>
              </a:xfrm>
              <a:custGeom>
                <a:avLst/>
                <a:gdLst>
                  <a:gd name="T0" fmla="*/ 14 w 14"/>
                  <a:gd name="T1" fmla="*/ 0 h 31"/>
                  <a:gd name="T2" fmla="*/ 14 w 14"/>
                  <a:gd name="T3" fmla="*/ 31 h 31"/>
                  <a:gd name="T4" fmla="*/ 7 w 14"/>
                  <a:gd name="T5" fmla="*/ 31 h 31"/>
                  <a:gd name="T6" fmla="*/ 7 w 14"/>
                  <a:gd name="T7" fmla="*/ 7 h 31"/>
                  <a:gd name="T8" fmla="*/ 5 w 14"/>
                  <a:gd name="T9" fmla="*/ 8 h 31"/>
                  <a:gd name="T10" fmla="*/ 4 w 14"/>
                  <a:gd name="T11" fmla="*/ 9 h 31"/>
                  <a:gd name="T12" fmla="*/ 2 w 14"/>
                  <a:gd name="T13" fmla="*/ 10 h 31"/>
                  <a:gd name="T14" fmla="*/ 0 w 14"/>
                  <a:gd name="T15" fmla="*/ 10 h 31"/>
                  <a:gd name="T16" fmla="*/ 0 w 14"/>
                  <a:gd name="T17" fmla="*/ 4 h 31"/>
                  <a:gd name="T18" fmla="*/ 5 w 14"/>
                  <a:gd name="T19" fmla="*/ 2 h 31"/>
                  <a:gd name="T20" fmla="*/ 9 w 14"/>
                  <a:gd name="T21" fmla="*/ 0 h 31"/>
                  <a:gd name="T22" fmla="*/ 14 w 14"/>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1">
                    <a:moveTo>
                      <a:pt x="14" y="0"/>
                    </a:moveTo>
                    <a:cubicBezTo>
                      <a:pt x="14" y="31"/>
                      <a:pt x="14" y="31"/>
                      <a:pt x="14" y="31"/>
                    </a:cubicBezTo>
                    <a:cubicBezTo>
                      <a:pt x="7" y="31"/>
                      <a:pt x="7" y="31"/>
                      <a:pt x="7" y="31"/>
                    </a:cubicBezTo>
                    <a:cubicBezTo>
                      <a:pt x="7" y="7"/>
                      <a:pt x="7" y="7"/>
                      <a:pt x="7" y="7"/>
                    </a:cubicBezTo>
                    <a:cubicBezTo>
                      <a:pt x="6" y="8"/>
                      <a:pt x="6" y="8"/>
                      <a:pt x="5" y="8"/>
                    </a:cubicBezTo>
                    <a:cubicBezTo>
                      <a:pt x="5" y="8"/>
                      <a:pt x="4" y="9"/>
                      <a:pt x="4" y="9"/>
                    </a:cubicBezTo>
                    <a:cubicBezTo>
                      <a:pt x="3" y="9"/>
                      <a:pt x="3" y="9"/>
                      <a:pt x="2" y="10"/>
                    </a:cubicBezTo>
                    <a:cubicBezTo>
                      <a:pt x="1" y="10"/>
                      <a:pt x="1" y="10"/>
                      <a:pt x="0" y="10"/>
                    </a:cubicBezTo>
                    <a:cubicBezTo>
                      <a:pt x="0" y="4"/>
                      <a:pt x="0" y="4"/>
                      <a:pt x="0" y="4"/>
                    </a:cubicBezTo>
                    <a:cubicBezTo>
                      <a:pt x="2" y="4"/>
                      <a:pt x="4" y="3"/>
                      <a:pt x="5" y="2"/>
                    </a:cubicBezTo>
                    <a:cubicBezTo>
                      <a:pt x="7" y="1"/>
                      <a:pt x="8" y="1"/>
                      <a:pt x="9" y="0"/>
                    </a:cubicBezTo>
                    <a:lnTo>
                      <a:pt x="1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7" name="Freeform 322"/>
              <p:cNvSpPr>
                <a:spLocks noEditPoints="1"/>
              </p:cNvSpPr>
              <p:nvPr/>
            </p:nvSpPr>
            <p:spPr bwMode="auto">
              <a:xfrm>
                <a:off x="4386426" y="7354690"/>
                <a:ext cx="61809" cy="88537"/>
              </a:xfrm>
              <a:custGeom>
                <a:avLst/>
                <a:gdLst>
                  <a:gd name="T0" fmla="*/ 11 w 22"/>
                  <a:gd name="T1" fmla="*/ 31 h 31"/>
                  <a:gd name="T2" fmla="*/ 0 w 22"/>
                  <a:gd name="T3" fmla="*/ 16 h 31"/>
                  <a:gd name="T4" fmla="*/ 3 w 22"/>
                  <a:gd name="T5" fmla="*/ 4 h 31"/>
                  <a:gd name="T6" fmla="*/ 12 w 22"/>
                  <a:gd name="T7" fmla="*/ 0 h 31"/>
                  <a:gd name="T8" fmla="*/ 22 w 22"/>
                  <a:gd name="T9" fmla="*/ 15 h 31"/>
                  <a:gd name="T10" fmla="*/ 20 w 22"/>
                  <a:gd name="T11" fmla="*/ 27 h 31"/>
                  <a:gd name="T12" fmla="*/ 11 w 22"/>
                  <a:gd name="T13" fmla="*/ 31 h 31"/>
                  <a:gd name="T14" fmla="*/ 11 w 22"/>
                  <a:gd name="T15" fmla="*/ 5 h 31"/>
                  <a:gd name="T16" fmla="*/ 7 w 22"/>
                  <a:gd name="T17" fmla="*/ 16 h 31"/>
                  <a:gd name="T18" fmla="*/ 11 w 22"/>
                  <a:gd name="T19" fmla="*/ 26 h 31"/>
                  <a:gd name="T20" fmla="*/ 16 w 22"/>
                  <a:gd name="T21" fmla="*/ 15 h 31"/>
                  <a:gd name="T22" fmla="*/ 11 w 22"/>
                  <a:gd name="T23"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1">
                    <a:moveTo>
                      <a:pt x="11" y="31"/>
                    </a:moveTo>
                    <a:cubicBezTo>
                      <a:pt x="4" y="31"/>
                      <a:pt x="0" y="26"/>
                      <a:pt x="0" y="16"/>
                    </a:cubicBezTo>
                    <a:cubicBezTo>
                      <a:pt x="0" y="11"/>
                      <a:pt x="1" y="7"/>
                      <a:pt x="3" y="4"/>
                    </a:cubicBezTo>
                    <a:cubicBezTo>
                      <a:pt x="5" y="1"/>
                      <a:pt x="8" y="0"/>
                      <a:pt x="12" y="0"/>
                    </a:cubicBezTo>
                    <a:cubicBezTo>
                      <a:pt x="19" y="0"/>
                      <a:pt x="22" y="5"/>
                      <a:pt x="22" y="15"/>
                    </a:cubicBezTo>
                    <a:cubicBezTo>
                      <a:pt x="22" y="20"/>
                      <a:pt x="22" y="24"/>
                      <a:pt x="20" y="27"/>
                    </a:cubicBezTo>
                    <a:cubicBezTo>
                      <a:pt x="18" y="30"/>
                      <a:pt x="15" y="31"/>
                      <a:pt x="11" y="31"/>
                    </a:cubicBezTo>
                    <a:close/>
                    <a:moveTo>
                      <a:pt x="11" y="5"/>
                    </a:moveTo>
                    <a:cubicBezTo>
                      <a:pt x="9" y="5"/>
                      <a:pt x="7" y="8"/>
                      <a:pt x="7" y="16"/>
                    </a:cubicBezTo>
                    <a:cubicBezTo>
                      <a:pt x="7" y="23"/>
                      <a:pt x="9" y="26"/>
                      <a:pt x="11" y="26"/>
                    </a:cubicBezTo>
                    <a:cubicBezTo>
                      <a:pt x="14" y="26"/>
                      <a:pt x="16" y="23"/>
                      <a:pt x="16" y="15"/>
                    </a:cubicBezTo>
                    <a:cubicBezTo>
                      <a:pt x="16" y="8"/>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8" name="Freeform 323"/>
              <p:cNvSpPr>
                <a:spLocks noEditPoints="1"/>
              </p:cNvSpPr>
              <p:nvPr/>
            </p:nvSpPr>
            <p:spPr bwMode="auto">
              <a:xfrm>
                <a:off x="4386426" y="7476638"/>
                <a:ext cx="6180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20 w 22"/>
                  <a:gd name="T11" fmla="*/ 28 h 32"/>
                  <a:gd name="T12" fmla="*/ 11 w 22"/>
                  <a:gd name="T13" fmla="*/ 32 h 32"/>
                  <a:gd name="T14" fmla="*/ 11 w 22"/>
                  <a:gd name="T15" fmla="*/ 6 h 32"/>
                  <a:gd name="T16" fmla="*/ 7 w 22"/>
                  <a:gd name="T17" fmla="*/ 17 h 32"/>
                  <a:gd name="T18" fmla="*/ 11 w 22"/>
                  <a:gd name="T19" fmla="*/ 27 h 32"/>
                  <a:gd name="T20" fmla="*/ 16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2" y="25"/>
                      <a:pt x="20" y="28"/>
                    </a:cubicBezTo>
                    <a:cubicBezTo>
                      <a:pt x="18" y="31"/>
                      <a:pt x="15" y="32"/>
                      <a:pt x="11" y="32"/>
                    </a:cubicBezTo>
                    <a:close/>
                    <a:moveTo>
                      <a:pt x="11" y="6"/>
                    </a:moveTo>
                    <a:cubicBezTo>
                      <a:pt x="9" y="6"/>
                      <a:pt x="7" y="9"/>
                      <a:pt x="7" y="17"/>
                    </a:cubicBezTo>
                    <a:cubicBezTo>
                      <a:pt x="7" y="24"/>
                      <a:pt x="9" y="27"/>
                      <a:pt x="11" y="27"/>
                    </a:cubicBezTo>
                    <a:cubicBezTo>
                      <a:pt x="14" y="27"/>
                      <a:pt x="16" y="23"/>
                      <a:pt x="16" y="16"/>
                    </a:cubicBezTo>
                    <a:cubicBezTo>
                      <a:pt x="16"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9" name="Freeform 324"/>
              <p:cNvSpPr>
                <a:spLocks noEditPoints="1"/>
              </p:cNvSpPr>
              <p:nvPr/>
            </p:nvSpPr>
            <p:spPr bwMode="auto">
              <a:xfrm>
                <a:off x="4307913" y="7229402"/>
                <a:ext cx="63479" cy="90208"/>
              </a:xfrm>
              <a:custGeom>
                <a:avLst/>
                <a:gdLst>
                  <a:gd name="T0" fmla="*/ 11 w 22"/>
                  <a:gd name="T1" fmla="*/ 32 h 32"/>
                  <a:gd name="T2" fmla="*/ 0 w 22"/>
                  <a:gd name="T3" fmla="*/ 16 h 32"/>
                  <a:gd name="T4" fmla="*/ 3 w 22"/>
                  <a:gd name="T5" fmla="*/ 4 h 32"/>
                  <a:gd name="T6" fmla="*/ 12 w 22"/>
                  <a:gd name="T7" fmla="*/ 0 h 32"/>
                  <a:gd name="T8" fmla="*/ 22 w 22"/>
                  <a:gd name="T9" fmla="*/ 15 h 32"/>
                  <a:gd name="T10" fmla="*/ 19 w 22"/>
                  <a:gd name="T11" fmla="*/ 27 h 32"/>
                  <a:gd name="T12" fmla="*/ 11 w 22"/>
                  <a:gd name="T13" fmla="*/ 32 h 32"/>
                  <a:gd name="T14" fmla="*/ 11 w 22"/>
                  <a:gd name="T15" fmla="*/ 5 h 32"/>
                  <a:gd name="T16" fmla="*/ 7 w 22"/>
                  <a:gd name="T17" fmla="*/ 16 h 32"/>
                  <a:gd name="T18" fmla="*/ 11 w 22"/>
                  <a:gd name="T19" fmla="*/ 26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6"/>
                      <a:pt x="0" y="16"/>
                    </a:cubicBezTo>
                    <a:cubicBezTo>
                      <a:pt x="0" y="11"/>
                      <a:pt x="1" y="7"/>
                      <a:pt x="3" y="4"/>
                    </a:cubicBezTo>
                    <a:cubicBezTo>
                      <a:pt x="5" y="1"/>
                      <a:pt x="8" y="0"/>
                      <a:pt x="12" y="0"/>
                    </a:cubicBezTo>
                    <a:cubicBezTo>
                      <a:pt x="19" y="0"/>
                      <a:pt x="22" y="5"/>
                      <a:pt x="22" y="15"/>
                    </a:cubicBezTo>
                    <a:cubicBezTo>
                      <a:pt x="22" y="21"/>
                      <a:pt x="21" y="25"/>
                      <a:pt x="19" y="27"/>
                    </a:cubicBezTo>
                    <a:cubicBezTo>
                      <a:pt x="18" y="30"/>
                      <a:pt x="15" y="32"/>
                      <a:pt x="11" y="32"/>
                    </a:cubicBezTo>
                    <a:close/>
                    <a:moveTo>
                      <a:pt x="11" y="5"/>
                    </a:moveTo>
                    <a:cubicBezTo>
                      <a:pt x="8" y="5"/>
                      <a:pt x="7" y="9"/>
                      <a:pt x="7" y="16"/>
                    </a:cubicBezTo>
                    <a:cubicBezTo>
                      <a:pt x="7" y="23"/>
                      <a:pt x="8" y="26"/>
                      <a:pt x="11" y="26"/>
                    </a:cubicBezTo>
                    <a:cubicBezTo>
                      <a:pt x="14" y="26"/>
                      <a:pt x="15" y="23"/>
                      <a:pt x="15" y="16"/>
                    </a:cubicBezTo>
                    <a:cubicBezTo>
                      <a:pt x="15" y="9"/>
                      <a:pt x="14" y="5"/>
                      <a:pt x="11" y="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0" name="Freeform 325"/>
              <p:cNvSpPr>
                <a:spLocks/>
              </p:cNvSpPr>
              <p:nvPr/>
            </p:nvSpPr>
            <p:spPr bwMode="auto">
              <a:xfrm>
                <a:off x="4317936" y="7351349"/>
                <a:ext cx="36751" cy="9187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1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9"/>
                      <a:pt x="5" y="9"/>
                    </a:cubicBezTo>
                    <a:cubicBezTo>
                      <a:pt x="5" y="9"/>
                      <a:pt x="4" y="10"/>
                      <a:pt x="4" y="10"/>
                    </a:cubicBezTo>
                    <a:cubicBezTo>
                      <a:pt x="3" y="10"/>
                      <a:pt x="3" y="10"/>
                      <a:pt x="2" y="10"/>
                    </a:cubicBezTo>
                    <a:cubicBezTo>
                      <a:pt x="1" y="11"/>
                      <a:pt x="1" y="11"/>
                      <a:pt x="0" y="11"/>
                    </a:cubicBezTo>
                    <a:cubicBezTo>
                      <a:pt x="0" y="5"/>
                      <a:pt x="0" y="5"/>
                      <a:pt x="0" y="5"/>
                    </a:cubicBezTo>
                    <a:cubicBezTo>
                      <a:pt x="2" y="5"/>
                      <a:pt x="4" y="4"/>
                      <a:pt x="5" y="3"/>
                    </a:cubicBezTo>
                    <a:cubicBezTo>
                      <a:pt x="7" y="2"/>
                      <a:pt x="8" y="1"/>
                      <a:pt x="9" y="0"/>
                    </a:cubicBezTo>
                    <a:lnTo>
                      <a:pt x="13"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1" name="Freeform 326"/>
              <p:cNvSpPr>
                <a:spLocks noEditPoints="1"/>
              </p:cNvSpPr>
              <p:nvPr/>
            </p:nvSpPr>
            <p:spPr bwMode="auto">
              <a:xfrm>
                <a:off x="4307913" y="7476638"/>
                <a:ext cx="63479" cy="9187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4"/>
                      <a:pt x="8" y="27"/>
                      <a:pt x="11" y="27"/>
                    </a:cubicBezTo>
                    <a:cubicBezTo>
                      <a:pt x="14" y="27"/>
                      <a:pt x="15" y="23"/>
                      <a:pt x="15" y="16"/>
                    </a:cubicBezTo>
                    <a:cubicBezTo>
                      <a:pt x="15" y="9"/>
                      <a:pt x="14" y="6"/>
                      <a:pt x="11" y="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4" name="Group 383"/>
            <p:cNvGrpSpPr/>
            <p:nvPr/>
          </p:nvGrpSpPr>
          <p:grpSpPr>
            <a:xfrm>
              <a:off x="1793309" y="6471792"/>
              <a:ext cx="532891" cy="531224"/>
              <a:chOff x="2451516" y="8149021"/>
              <a:chExt cx="532891" cy="531224"/>
            </a:xfrm>
          </p:grpSpPr>
          <p:sp>
            <p:nvSpPr>
              <p:cNvPr id="352" name="Rectangle 327"/>
              <p:cNvSpPr>
                <a:spLocks noChangeArrowheads="1"/>
              </p:cNvSpPr>
              <p:nvPr/>
            </p:nvSpPr>
            <p:spPr bwMode="auto">
              <a:xfrm>
                <a:off x="2451516" y="8149021"/>
                <a:ext cx="532891" cy="531224"/>
              </a:xfrm>
              <a:prstGeom prst="rect">
                <a:avLst/>
              </a:prstGeom>
              <a:solidFill>
                <a:srgbClr val="00B2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3" name="Freeform 328"/>
              <p:cNvSpPr>
                <a:spLocks/>
              </p:cNvSpPr>
              <p:nvPr/>
            </p:nvSpPr>
            <p:spPr bwMode="auto">
              <a:xfrm>
                <a:off x="2545064" y="8244240"/>
                <a:ext cx="38422" cy="90208"/>
              </a:xfrm>
              <a:custGeom>
                <a:avLst/>
                <a:gdLst>
                  <a:gd name="T0" fmla="*/ 13 w 13"/>
                  <a:gd name="T1" fmla="*/ 0 h 32"/>
                  <a:gd name="T2" fmla="*/ 13 w 13"/>
                  <a:gd name="T3" fmla="*/ 32 h 32"/>
                  <a:gd name="T4" fmla="*/ 6 w 13"/>
                  <a:gd name="T5" fmla="*/ 32 h 32"/>
                  <a:gd name="T6" fmla="*/ 6 w 13"/>
                  <a:gd name="T7" fmla="*/ 8 h 32"/>
                  <a:gd name="T8" fmla="*/ 5 w 13"/>
                  <a:gd name="T9" fmla="*/ 9 h 32"/>
                  <a:gd name="T10" fmla="*/ 3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6" y="32"/>
                      <a:pt x="6" y="32"/>
                      <a:pt x="6" y="32"/>
                    </a:cubicBezTo>
                    <a:cubicBezTo>
                      <a:pt x="6" y="8"/>
                      <a:pt x="6" y="8"/>
                      <a:pt x="6" y="8"/>
                    </a:cubicBezTo>
                    <a:cubicBezTo>
                      <a:pt x="6" y="8"/>
                      <a:pt x="6" y="8"/>
                      <a:pt x="5" y="9"/>
                    </a:cubicBezTo>
                    <a:cubicBezTo>
                      <a:pt x="5" y="9"/>
                      <a:pt x="4" y="9"/>
                      <a:pt x="3" y="10"/>
                    </a:cubicBezTo>
                    <a:cubicBezTo>
                      <a:pt x="3" y="10"/>
                      <a:pt x="2" y="10"/>
                      <a:pt x="2" y="10"/>
                    </a:cubicBezTo>
                    <a:cubicBezTo>
                      <a:pt x="1" y="10"/>
                      <a:pt x="0" y="10"/>
                      <a:pt x="0" y="10"/>
                    </a:cubicBezTo>
                    <a:cubicBezTo>
                      <a:pt x="0" y="5"/>
                      <a:pt x="0" y="5"/>
                      <a:pt x="0" y="5"/>
                    </a:cubicBezTo>
                    <a:cubicBezTo>
                      <a:pt x="2" y="4"/>
                      <a:pt x="3" y="4"/>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4" name="Freeform 329"/>
              <p:cNvSpPr>
                <a:spLocks noEditPoints="1"/>
              </p:cNvSpPr>
              <p:nvPr/>
            </p:nvSpPr>
            <p:spPr bwMode="auto">
              <a:xfrm>
                <a:off x="2613555" y="8244240"/>
                <a:ext cx="63479" cy="90208"/>
              </a:xfrm>
              <a:custGeom>
                <a:avLst/>
                <a:gdLst>
                  <a:gd name="T0" fmla="*/ 11 w 22"/>
                  <a:gd name="T1" fmla="*/ 32 h 32"/>
                  <a:gd name="T2" fmla="*/ 0 w 22"/>
                  <a:gd name="T3" fmla="*/ 17 h 32"/>
                  <a:gd name="T4" fmla="*/ 3 w 22"/>
                  <a:gd name="T5" fmla="*/ 5 h 32"/>
                  <a:gd name="T6" fmla="*/ 11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1" y="0"/>
                    </a:cubicBezTo>
                    <a:cubicBezTo>
                      <a:pt x="19" y="0"/>
                      <a:pt x="22" y="6"/>
                      <a:pt x="22" y="16"/>
                    </a:cubicBezTo>
                    <a:cubicBezTo>
                      <a:pt x="22" y="21"/>
                      <a:pt x="21" y="25"/>
                      <a:pt x="19" y="28"/>
                    </a:cubicBezTo>
                    <a:cubicBezTo>
                      <a:pt x="17" y="31"/>
                      <a:pt x="14"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5" name="Freeform 330"/>
              <p:cNvSpPr>
                <a:spLocks/>
              </p:cNvSpPr>
              <p:nvPr/>
            </p:nvSpPr>
            <p:spPr bwMode="auto">
              <a:xfrm>
                <a:off x="2693739" y="8244240"/>
                <a:ext cx="36751" cy="90208"/>
              </a:xfrm>
              <a:custGeom>
                <a:avLst/>
                <a:gdLst>
                  <a:gd name="T0" fmla="*/ 13 w 13"/>
                  <a:gd name="T1" fmla="*/ 0 h 32"/>
                  <a:gd name="T2" fmla="*/ 13 w 13"/>
                  <a:gd name="T3" fmla="*/ 32 h 32"/>
                  <a:gd name="T4" fmla="*/ 7 w 13"/>
                  <a:gd name="T5" fmla="*/ 32 h 32"/>
                  <a:gd name="T6" fmla="*/ 7 w 13"/>
                  <a:gd name="T7" fmla="*/ 8 h 32"/>
                  <a:gd name="T8" fmla="*/ 5 w 13"/>
                  <a:gd name="T9" fmla="*/ 9 h 32"/>
                  <a:gd name="T10" fmla="*/ 4 w 13"/>
                  <a:gd name="T11" fmla="*/ 10 h 32"/>
                  <a:gd name="T12" fmla="*/ 2 w 13"/>
                  <a:gd name="T13" fmla="*/ 10 h 32"/>
                  <a:gd name="T14" fmla="*/ 0 w 13"/>
                  <a:gd name="T15" fmla="*/ 10 h 32"/>
                  <a:gd name="T16" fmla="*/ 0 w 13"/>
                  <a:gd name="T17" fmla="*/ 5 h 32"/>
                  <a:gd name="T18" fmla="*/ 5 w 13"/>
                  <a:gd name="T19" fmla="*/ 3 h 32"/>
                  <a:gd name="T20" fmla="*/ 9 w 13"/>
                  <a:gd name="T21" fmla="*/ 0 h 32"/>
                  <a:gd name="T22" fmla="*/ 13 w 1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2">
                    <a:moveTo>
                      <a:pt x="13" y="0"/>
                    </a:moveTo>
                    <a:cubicBezTo>
                      <a:pt x="13" y="32"/>
                      <a:pt x="13" y="32"/>
                      <a:pt x="13"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6" name="Freeform 331"/>
              <p:cNvSpPr>
                <a:spLocks noEditPoints="1"/>
              </p:cNvSpPr>
              <p:nvPr/>
            </p:nvSpPr>
            <p:spPr bwMode="auto">
              <a:xfrm>
                <a:off x="2536711" y="8369529"/>
                <a:ext cx="63479" cy="90208"/>
              </a:xfrm>
              <a:custGeom>
                <a:avLst/>
                <a:gdLst>
                  <a:gd name="T0" fmla="*/ 11 w 22"/>
                  <a:gd name="T1" fmla="*/ 32 h 32"/>
                  <a:gd name="T2" fmla="*/ 0 w 22"/>
                  <a:gd name="T3" fmla="*/ 17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7"/>
                    </a:cubicBezTo>
                    <a:cubicBezTo>
                      <a:pt x="0" y="11"/>
                      <a:pt x="1" y="7"/>
                      <a:pt x="3" y="4"/>
                    </a:cubicBezTo>
                    <a:cubicBezTo>
                      <a:pt x="5" y="2"/>
                      <a:pt x="8" y="0"/>
                      <a:pt x="11" y="0"/>
                    </a:cubicBezTo>
                    <a:cubicBezTo>
                      <a:pt x="18" y="0"/>
                      <a:pt x="22" y="5"/>
                      <a:pt x="22" y="16"/>
                    </a:cubicBezTo>
                    <a:cubicBezTo>
                      <a:pt x="22" y="21"/>
                      <a:pt x="21" y="25"/>
                      <a:pt x="19" y="28"/>
                    </a:cubicBezTo>
                    <a:cubicBezTo>
                      <a:pt x="17" y="31"/>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7" name="Freeform 332"/>
              <p:cNvSpPr>
                <a:spLocks/>
              </p:cNvSpPr>
              <p:nvPr/>
            </p:nvSpPr>
            <p:spPr bwMode="auto">
              <a:xfrm>
                <a:off x="2621907" y="8369529"/>
                <a:ext cx="38422" cy="88537"/>
              </a:xfrm>
              <a:custGeom>
                <a:avLst/>
                <a:gdLst>
                  <a:gd name="T0" fmla="*/ 13 w 13"/>
                  <a:gd name="T1" fmla="*/ 0 h 31"/>
                  <a:gd name="T2" fmla="*/ 13 w 13"/>
                  <a:gd name="T3" fmla="*/ 31 h 31"/>
                  <a:gd name="T4" fmla="*/ 6 w 13"/>
                  <a:gd name="T5" fmla="*/ 31 h 31"/>
                  <a:gd name="T6" fmla="*/ 6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6" y="31"/>
                      <a:pt x="6" y="31"/>
                      <a:pt x="6" y="31"/>
                    </a:cubicBezTo>
                    <a:cubicBezTo>
                      <a:pt x="6" y="8"/>
                      <a:pt x="6" y="8"/>
                      <a:pt x="6" y="8"/>
                    </a:cubicBezTo>
                    <a:cubicBezTo>
                      <a:pt x="6" y="8"/>
                      <a:pt x="6" y="8"/>
                      <a:pt x="5" y="9"/>
                    </a:cubicBezTo>
                    <a:cubicBezTo>
                      <a:pt x="5" y="9"/>
                      <a:pt x="4" y="9"/>
                      <a:pt x="4" y="9"/>
                    </a:cubicBezTo>
                    <a:cubicBezTo>
                      <a:pt x="3" y="10"/>
                      <a:pt x="2" y="10"/>
                      <a:pt x="2" y="10"/>
                    </a:cubicBezTo>
                    <a:cubicBezTo>
                      <a:pt x="1" y="10"/>
                      <a:pt x="1" y="10"/>
                      <a:pt x="0" y="10"/>
                    </a:cubicBezTo>
                    <a:cubicBezTo>
                      <a:pt x="0" y="5"/>
                      <a:pt x="0" y="5"/>
                      <a:pt x="0" y="5"/>
                    </a:cubicBezTo>
                    <a:cubicBezTo>
                      <a:pt x="2" y="4"/>
                      <a:pt x="3" y="3"/>
                      <a:pt x="5" y="3"/>
                    </a:cubicBezTo>
                    <a:cubicBezTo>
                      <a:pt x="6"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8" name="Freeform 333"/>
              <p:cNvSpPr>
                <a:spLocks noEditPoints="1"/>
              </p:cNvSpPr>
              <p:nvPr/>
            </p:nvSpPr>
            <p:spPr bwMode="auto">
              <a:xfrm>
                <a:off x="2685386" y="8369529"/>
                <a:ext cx="63479" cy="90208"/>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1" y="25"/>
                      <a:pt x="19" y="28"/>
                    </a:cubicBezTo>
                    <a:cubicBezTo>
                      <a:pt x="17" y="31"/>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9" name="Freeform 334"/>
              <p:cNvSpPr>
                <a:spLocks noEditPoints="1"/>
              </p:cNvSpPr>
              <p:nvPr/>
            </p:nvSpPr>
            <p:spPr bwMode="auto">
              <a:xfrm>
                <a:off x="2536711" y="8494818"/>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3" y="32"/>
                      <a:pt x="0" y="27"/>
                      <a:pt x="0" y="16"/>
                    </a:cubicBezTo>
                    <a:cubicBezTo>
                      <a:pt x="0" y="11"/>
                      <a:pt x="1" y="7"/>
                      <a:pt x="3" y="4"/>
                    </a:cubicBezTo>
                    <a:cubicBezTo>
                      <a:pt x="5" y="1"/>
                      <a:pt x="8" y="0"/>
                      <a:pt x="11" y="0"/>
                    </a:cubicBezTo>
                    <a:cubicBezTo>
                      <a:pt x="18"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0" name="Freeform 335"/>
              <p:cNvSpPr>
                <a:spLocks noEditPoints="1"/>
              </p:cNvSpPr>
              <p:nvPr/>
            </p:nvSpPr>
            <p:spPr bwMode="auto">
              <a:xfrm>
                <a:off x="2613555" y="8494818"/>
                <a:ext cx="63479" cy="91878"/>
              </a:xfrm>
              <a:custGeom>
                <a:avLst/>
                <a:gdLst>
                  <a:gd name="T0" fmla="*/ 11 w 22"/>
                  <a:gd name="T1" fmla="*/ 32 h 32"/>
                  <a:gd name="T2" fmla="*/ 0 w 22"/>
                  <a:gd name="T3" fmla="*/ 16 h 32"/>
                  <a:gd name="T4" fmla="*/ 3 w 22"/>
                  <a:gd name="T5" fmla="*/ 4 h 32"/>
                  <a:gd name="T6" fmla="*/ 11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1" y="0"/>
                    </a:cubicBezTo>
                    <a:cubicBezTo>
                      <a:pt x="19" y="0"/>
                      <a:pt x="22" y="5"/>
                      <a:pt x="22" y="16"/>
                    </a:cubicBezTo>
                    <a:cubicBezTo>
                      <a:pt x="22" y="21"/>
                      <a:pt x="21" y="25"/>
                      <a:pt x="19" y="28"/>
                    </a:cubicBezTo>
                    <a:cubicBezTo>
                      <a:pt x="17" y="30"/>
                      <a:pt x="14"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1" name="Freeform 336"/>
              <p:cNvSpPr>
                <a:spLocks/>
              </p:cNvSpPr>
              <p:nvPr/>
            </p:nvSpPr>
            <p:spPr bwMode="auto">
              <a:xfrm>
                <a:off x="2693739" y="8494818"/>
                <a:ext cx="36751" cy="88537"/>
              </a:xfrm>
              <a:custGeom>
                <a:avLst/>
                <a:gdLst>
                  <a:gd name="T0" fmla="*/ 13 w 13"/>
                  <a:gd name="T1" fmla="*/ 0 h 31"/>
                  <a:gd name="T2" fmla="*/ 13 w 13"/>
                  <a:gd name="T3" fmla="*/ 31 h 31"/>
                  <a:gd name="T4" fmla="*/ 7 w 13"/>
                  <a:gd name="T5" fmla="*/ 31 h 31"/>
                  <a:gd name="T6" fmla="*/ 7 w 13"/>
                  <a:gd name="T7" fmla="*/ 7 h 31"/>
                  <a:gd name="T8" fmla="*/ 5 w 13"/>
                  <a:gd name="T9" fmla="*/ 8 h 31"/>
                  <a:gd name="T10" fmla="*/ 4 w 13"/>
                  <a:gd name="T11" fmla="*/ 9 h 31"/>
                  <a:gd name="T12" fmla="*/ 2 w 13"/>
                  <a:gd name="T13" fmla="*/ 10 h 31"/>
                  <a:gd name="T14" fmla="*/ 0 w 13"/>
                  <a:gd name="T15" fmla="*/ 10 h 31"/>
                  <a:gd name="T16" fmla="*/ 0 w 13"/>
                  <a:gd name="T17" fmla="*/ 4 h 31"/>
                  <a:gd name="T18" fmla="*/ 5 w 13"/>
                  <a:gd name="T19" fmla="*/ 2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7"/>
                      <a:pt x="7" y="7"/>
                      <a:pt x="7" y="7"/>
                    </a:cubicBezTo>
                    <a:cubicBezTo>
                      <a:pt x="6" y="8"/>
                      <a:pt x="6" y="8"/>
                      <a:pt x="5" y="8"/>
                    </a:cubicBezTo>
                    <a:cubicBezTo>
                      <a:pt x="5" y="9"/>
                      <a:pt x="4" y="9"/>
                      <a:pt x="4" y="9"/>
                    </a:cubicBezTo>
                    <a:cubicBezTo>
                      <a:pt x="3" y="9"/>
                      <a:pt x="3" y="10"/>
                      <a:pt x="2" y="10"/>
                    </a:cubicBezTo>
                    <a:cubicBezTo>
                      <a:pt x="1" y="10"/>
                      <a:pt x="1" y="10"/>
                      <a:pt x="0" y="10"/>
                    </a:cubicBezTo>
                    <a:cubicBezTo>
                      <a:pt x="0" y="4"/>
                      <a:pt x="0" y="4"/>
                      <a:pt x="0" y="4"/>
                    </a:cubicBezTo>
                    <a:cubicBezTo>
                      <a:pt x="2" y="4"/>
                      <a:pt x="4" y="3"/>
                      <a:pt x="5" y="2"/>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2" name="Freeform 337"/>
              <p:cNvSpPr>
                <a:spLocks/>
              </p:cNvSpPr>
              <p:nvPr/>
            </p:nvSpPr>
            <p:spPr bwMode="auto">
              <a:xfrm>
                <a:off x="2845755" y="8244240"/>
                <a:ext cx="40092" cy="90208"/>
              </a:xfrm>
              <a:custGeom>
                <a:avLst/>
                <a:gdLst>
                  <a:gd name="T0" fmla="*/ 14 w 14"/>
                  <a:gd name="T1" fmla="*/ 0 h 32"/>
                  <a:gd name="T2" fmla="*/ 14 w 14"/>
                  <a:gd name="T3" fmla="*/ 32 h 32"/>
                  <a:gd name="T4" fmla="*/ 7 w 14"/>
                  <a:gd name="T5" fmla="*/ 32 h 32"/>
                  <a:gd name="T6" fmla="*/ 7 w 14"/>
                  <a:gd name="T7" fmla="*/ 8 h 32"/>
                  <a:gd name="T8" fmla="*/ 5 w 14"/>
                  <a:gd name="T9" fmla="*/ 9 h 32"/>
                  <a:gd name="T10" fmla="*/ 4 w 14"/>
                  <a:gd name="T11" fmla="*/ 10 h 32"/>
                  <a:gd name="T12" fmla="*/ 2 w 14"/>
                  <a:gd name="T13" fmla="*/ 10 h 32"/>
                  <a:gd name="T14" fmla="*/ 0 w 14"/>
                  <a:gd name="T15" fmla="*/ 10 h 32"/>
                  <a:gd name="T16" fmla="*/ 0 w 14"/>
                  <a:gd name="T17" fmla="*/ 5 h 32"/>
                  <a:gd name="T18" fmla="*/ 5 w 14"/>
                  <a:gd name="T19" fmla="*/ 3 h 32"/>
                  <a:gd name="T20" fmla="*/ 9 w 14"/>
                  <a:gd name="T21" fmla="*/ 0 h 32"/>
                  <a:gd name="T22" fmla="*/ 14 w 14"/>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2">
                    <a:moveTo>
                      <a:pt x="14" y="0"/>
                    </a:moveTo>
                    <a:cubicBezTo>
                      <a:pt x="14" y="32"/>
                      <a:pt x="14" y="32"/>
                      <a:pt x="14" y="32"/>
                    </a:cubicBezTo>
                    <a:cubicBezTo>
                      <a:pt x="7" y="32"/>
                      <a:pt x="7" y="32"/>
                      <a:pt x="7" y="32"/>
                    </a:cubicBezTo>
                    <a:cubicBezTo>
                      <a:pt x="7" y="8"/>
                      <a:pt x="7" y="8"/>
                      <a:pt x="7" y="8"/>
                    </a:cubicBezTo>
                    <a:cubicBezTo>
                      <a:pt x="6" y="8"/>
                      <a:pt x="6" y="8"/>
                      <a:pt x="5" y="9"/>
                    </a:cubicBezTo>
                    <a:cubicBezTo>
                      <a:pt x="5" y="9"/>
                      <a:pt x="4" y="9"/>
                      <a:pt x="4" y="10"/>
                    </a:cubicBezTo>
                    <a:cubicBezTo>
                      <a:pt x="3" y="10"/>
                      <a:pt x="3" y="10"/>
                      <a:pt x="2" y="10"/>
                    </a:cubicBezTo>
                    <a:cubicBezTo>
                      <a:pt x="1" y="10"/>
                      <a:pt x="1" y="10"/>
                      <a:pt x="0" y="10"/>
                    </a:cubicBezTo>
                    <a:cubicBezTo>
                      <a:pt x="0" y="5"/>
                      <a:pt x="0" y="5"/>
                      <a:pt x="0" y="5"/>
                    </a:cubicBezTo>
                    <a:cubicBezTo>
                      <a:pt x="2" y="4"/>
                      <a:pt x="4" y="4"/>
                      <a:pt x="5" y="3"/>
                    </a:cubicBezTo>
                    <a:cubicBezTo>
                      <a:pt x="7" y="2"/>
                      <a:pt x="8" y="1"/>
                      <a:pt x="9" y="0"/>
                    </a:cubicBezTo>
                    <a:lnTo>
                      <a:pt x="14"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3" name="Freeform 338"/>
              <p:cNvSpPr>
                <a:spLocks noEditPoints="1"/>
              </p:cNvSpPr>
              <p:nvPr/>
            </p:nvSpPr>
            <p:spPr bwMode="auto">
              <a:xfrm>
                <a:off x="2837402" y="8369529"/>
                <a:ext cx="61809" cy="90208"/>
              </a:xfrm>
              <a:custGeom>
                <a:avLst/>
                <a:gdLst>
                  <a:gd name="T0" fmla="*/ 11 w 22"/>
                  <a:gd name="T1" fmla="*/ 32 h 32"/>
                  <a:gd name="T2" fmla="*/ 0 w 22"/>
                  <a:gd name="T3" fmla="*/ 17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4"/>
                    </a:cubicBezTo>
                    <a:cubicBezTo>
                      <a:pt x="5" y="2"/>
                      <a:pt x="8" y="0"/>
                      <a:pt x="12" y="0"/>
                    </a:cubicBezTo>
                    <a:cubicBezTo>
                      <a:pt x="19" y="0"/>
                      <a:pt x="22" y="5"/>
                      <a:pt x="22" y="16"/>
                    </a:cubicBezTo>
                    <a:cubicBezTo>
                      <a:pt x="22" y="21"/>
                      <a:pt x="22" y="25"/>
                      <a:pt x="20" y="28"/>
                    </a:cubicBezTo>
                    <a:cubicBezTo>
                      <a:pt x="18" y="31"/>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4" name="Freeform 339"/>
              <p:cNvSpPr>
                <a:spLocks noEditPoints="1"/>
              </p:cNvSpPr>
              <p:nvPr/>
            </p:nvSpPr>
            <p:spPr bwMode="auto">
              <a:xfrm>
                <a:off x="2837402" y="8494818"/>
                <a:ext cx="6180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20 w 22"/>
                  <a:gd name="T11" fmla="*/ 28 h 32"/>
                  <a:gd name="T12" fmla="*/ 11 w 22"/>
                  <a:gd name="T13" fmla="*/ 32 h 32"/>
                  <a:gd name="T14" fmla="*/ 11 w 22"/>
                  <a:gd name="T15" fmla="*/ 5 h 32"/>
                  <a:gd name="T16" fmla="*/ 7 w 22"/>
                  <a:gd name="T17" fmla="*/ 16 h 32"/>
                  <a:gd name="T18" fmla="*/ 11 w 22"/>
                  <a:gd name="T19" fmla="*/ 27 h 32"/>
                  <a:gd name="T20" fmla="*/ 16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2" y="25"/>
                      <a:pt x="20" y="28"/>
                    </a:cubicBezTo>
                    <a:cubicBezTo>
                      <a:pt x="18" y="30"/>
                      <a:pt x="15" y="32"/>
                      <a:pt x="11" y="32"/>
                    </a:cubicBezTo>
                    <a:close/>
                    <a:moveTo>
                      <a:pt x="11" y="5"/>
                    </a:moveTo>
                    <a:cubicBezTo>
                      <a:pt x="9" y="5"/>
                      <a:pt x="7" y="9"/>
                      <a:pt x="7" y="16"/>
                    </a:cubicBezTo>
                    <a:cubicBezTo>
                      <a:pt x="7" y="23"/>
                      <a:pt x="9" y="27"/>
                      <a:pt x="11" y="27"/>
                    </a:cubicBezTo>
                    <a:cubicBezTo>
                      <a:pt x="14" y="27"/>
                      <a:pt x="16" y="23"/>
                      <a:pt x="16" y="16"/>
                    </a:cubicBezTo>
                    <a:cubicBezTo>
                      <a:pt x="16"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5" name="Freeform 340"/>
              <p:cNvSpPr>
                <a:spLocks noEditPoints="1"/>
              </p:cNvSpPr>
              <p:nvPr/>
            </p:nvSpPr>
            <p:spPr bwMode="auto">
              <a:xfrm>
                <a:off x="2758889" y="8244240"/>
                <a:ext cx="63479" cy="90208"/>
              </a:xfrm>
              <a:custGeom>
                <a:avLst/>
                <a:gdLst>
                  <a:gd name="T0" fmla="*/ 11 w 22"/>
                  <a:gd name="T1" fmla="*/ 32 h 32"/>
                  <a:gd name="T2" fmla="*/ 0 w 22"/>
                  <a:gd name="T3" fmla="*/ 17 h 32"/>
                  <a:gd name="T4" fmla="*/ 3 w 22"/>
                  <a:gd name="T5" fmla="*/ 5 h 32"/>
                  <a:gd name="T6" fmla="*/ 12 w 22"/>
                  <a:gd name="T7" fmla="*/ 0 h 32"/>
                  <a:gd name="T8" fmla="*/ 22 w 22"/>
                  <a:gd name="T9" fmla="*/ 16 h 32"/>
                  <a:gd name="T10" fmla="*/ 19 w 22"/>
                  <a:gd name="T11" fmla="*/ 28 h 32"/>
                  <a:gd name="T12" fmla="*/ 11 w 22"/>
                  <a:gd name="T13" fmla="*/ 32 h 32"/>
                  <a:gd name="T14" fmla="*/ 11 w 22"/>
                  <a:gd name="T15" fmla="*/ 6 h 32"/>
                  <a:gd name="T16" fmla="*/ 7 w 22"/>
                  <a:gd name="T17" fmla="*/ 17 h 32"/>
                  <a:gd name="T18" fmla="*/ 11 w 22"/>
                  <a:gd name="T19" fmla="*/ 27 h 32"/>
                  <a:gd name="T20" fmla="*/ 15 w 22"/>
                  <a:gd name="T21" fmla="*/ 16 h 32"/>
                  <a:gd name="T22" fmla="*/ 11 w 22"/>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7"/>
                    </a:cubicBezTo>
                    <a:cubicBezTo>
                      <a:pt x="0" y="11"/>
                      <a:pt x="1" y="7"/>
                      <a:pt x="3" y="5"/>
                    </a:cubicBezTo>
                    <a:cubicBezTo>
                      <a:pt x="5" y="2"/>
                      <a:pt x="8" y="0"/>
                      <a:pt x="12" y="0"/>
                    </a:cubicBezTo>
                    <a:cubicBezTo>
                      <a:pt x="19" y="0"/>
                      <a:pt x="22" y="6"/>
                      <a:pt x="22" y="16"/>
                    </a:cubicBezTo>
                    <a:cubicBezTo>
                      <a:pt x="22" y="21"/>
                      <a:pt x="21" y="25"/>
                      <a:pt x="19" y="28"/>
                    </a:cubicBezTo>
                    <a:cubicBezTo>
                      <a:pt x="18" y="31"/>
                      <a:pt x="15" y="32"/>
                      <a:pt x="11" y="32"/>
                    </a:cubicBezTo>
                    <a:close/>
                    <a:moveTo>
                      <a:pt x="11" y="6"/>
                    </a:moveTo>
                    <a:cubicBezTo>
                      <a:pt x="8" y="6"/>
                      <a:pt x="7" y="9"/>
                      <a:pt x="7" y="17"/>
                    </a:cubicBezTo>
                    <a:cubicBezTo>
                      <a:pt x="7" y="23"/>
                      <a:pt x="8" y="27"/>
                      <a:pt x="11" y="27"/>
                    </a:cubicBezTo>
                    <a:cubicBezTo>
                      <a:pt x="14" y="27"/>
                      <a:pt x="15" y="23"/>
                      <a:pt x="15" y="16"/>
                    </a:cubicBezTo>
                    <a:cubicBezTo>
                      <a:pt x="15" y="9"/>
                      <a:pt x="14" y="6"/>
                      <a:pt x="11" y="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6" name="Freeform 341"/>
              <p:cNvSpPr>
                <a:spLocks/>
              </p:cNvSpPr>
              <p:nvPr/>
            </p:nvSpPr>
            <p:spPr bwMode="auto">
              <a:xfrm>
                <a:off x="2768912" y="8369529"/>
                <a:ext cx="36751" cy="88537"/>
              </a:xfrm>
              <a:custGeom>
                <a:avLst/>
                <a:gdLst>
                  <a:gd name="T0" fmla="*/ 13 w 13"/>
                  <a:gd name="T1" fmla="*/ 0 h 31"/>
                  <a:gd name="T2" fmla="*/ 13 w 13"/>
                  <a:gd name="T3" fmla="*/ 31 h 31"/>
                  <a:gd name="T4" fmla="*/ 7 w 13"/>
                  <a:gd name="T5" fmla="*/ 31 h 31"/>
                  <a:gd name="T6" fmla="*/ 7 w 13"/>
                  <a:gd name="T7" fmla="*/ 8 h 31"/>
                  <a:gd name="T8" fmla="*/ 5 w 13"/>
                  <a:gd name="T9" fmla="*/ 9 h 31"/>
                  <a:gd name="T10" fmla="*/ 4 w 13"/>
                  <a:gd name="T11" fmla="*/ 9 h 31"/>
                  <a:gd name="T12" fmla="*/ 2 w 13"/>
                  <a:gd name="T13" fmla="*/ 10 h 31"/>
                  <a:gd name="T14" fmla="*/ 0 w 13"/>
                  <a:gd name="T15" fmla="*/ 10 h 31"/>
                  <a:gd name="T16" fmla="*/ 0 w 13"/>
                  <a:gd name="T17" fmla="*/ 5 h 31"/>
                  <a:gd name="T18" fmla="*/ 5 w 13"/>
                  <a:gd name="T19" fmla="*/ 3 h 31"/>
                  <a:gd name="T20" fmla="*/ 9 w 13"/>
                  <a:gd name="T21" fmla="*/ 0 h 31"/>
                  <a:gd name="T22" fmla="*/ 13 w 1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31">
                    <a:moveTo>
                      <a:pt x="13" y="0"/>
                    </a:moveTo>
                    <a:cubicBezTo>
                      <a:pt x="13" y="31"/>
                      <a:pt x="13" y="31"/>
                      <a:pt x="13" y="31"/>
                    </a:cubicBezTo>
                    <a:cubicBezTo>
                      <a:pt x="7" y="31"/>
                      <a:pt x="7" y="31"/>
                      <a:pt x="7" y="31"/>
                    </a:cubicBezTo>
                    <a:cubicBezTo>
                      <a:pt x="7" y="8"/>
                      <a:pt x="7" y="8"/>
                      <a:pt x="7" y="8"/>
                    </a:cubicBezTo>
                    <a:cubicBezTo>
                      <a:pt x="6" y="8"/>
                      <a:pt x="6" y="8"/>
                      <a:pt x="5" y="9"/>
                    </a:cubicBezTo>
                    <a:cubicBezTo>
                      <a:pt x="5" y="9"/>
                      <a:pt x="4" y="9"/>
                      <a:pt x="4" y="9"/>
                    </a:cubicBezTo>
                    <a:cubicBezTo>
                      <a:pt x="3" y="10"/>
                      <a:pt x="3" y="10"/>
                      <a:pt x="2" y="10"/>
                    </a:cubicBezTo>
                    <a:cubicBezTo>
                      <a:pt x="1" y="10"/>
                      <a:pt x="1" y="10"/>
                      <a:pt x="0" y="10"/>
                    </a:cubicBezTo>
                    <a:cubicBezTo>
                      <a:pt x="0" y="5"/>
                      <a:pt x="0" y="5"/>
                      <a:pt x="0" y="5"/>
                    </a:cubicBezTo>
                    <a:cubicBezTo>
                      <a:pt x="2" y="4"/>
                      <a:pt x="4" y="3"/>
                      <a:pt x="5" y="3"/>
                    </a:cubicBezTo>
                    <a:cubicBezTo>
                      <a:pt x="7" y="2"/>
                      <a:pt x="8" y="1"/>
                      <a:pt x="9" y="0"/>
                    </a:cubicBezTo>
                    <a:lnTo>
                      <a:pt x="13" y="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7" name="Freeform 342"/>
              <p:cNvSpPr>
                <a:spLocks noEditPoints="1"/>
              </p:cNvSpPr>
              <p:nvPr/>
            </p:nvSpPr>
            <p:spPr bwMode="auto">
              <a:xfrm>
                <a:off x="2758889" y="8494818"/>
                <a:ext cx="63479" cy="91878"/>
              </a:xfrm>
              <a:custGeom>
                <a:avLst/>
                <a:gdLst>
                  <a:gd name="T0" fmla="*/ 11 w 22"/>
                  <a:gd name="T1" fmla="*/ 32 h 32"/>
                  <a:gd name="T2" fmla="*/ 0 w 22"/>
                  <a:gd name="T3" fmla="*/ 16 h 32"/>
                  <a:gd name="T4" fmla="*/ 3 w 22"/>
                  <a:gd name="T5" fmla="*/ 4 h 32"/>
                  <a:gd name="T6" fmla="*/ 12 w 22"/>
                  <a:gd name="T7" fmla="*/ 0 h 32"/>
                  <a:gd name="T8" fmla="*/ 22 w 22"/>
                  <a:gd name="T9" fmla="*/ 16 h 32"/>
                  <a:gd name="T10" fmla="*/ 19 w 22"/>
                  <a:gd name="T11" fmla="*/ 28 h 32"/>
                  <a:gd name="T12" fmla="*/ 11 w 22"/>
                  <a:gd name="T13" fmla="*/ 32 h 32"/>
                  <a:gd name="T14" fmla="*/ 11 w 22"/>
                  <a:gd name="T15" fmla="*/ 5 h 32"/>
                  <a:gd name="T16" fmla="*/ 7 w 22"/>
                  <a:gd name="T17" fmla="*/ 16 h 32"/>
                  <a:gd name="T18" fmla="*/ 11 w 22"/>
                  <a:gd name="T19" fmla="*/ 27 h 32"/>
                  <a:gd name="T20" fmla="*/ 15 w 22"/>
                  <a:gd name="T21" fmla="*/ 16 h 32"/>
                  <a:gd name="T22" fmla="*/ 11 w 22"/>
                  <a:gd name="T23"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2">
                    <a:moveTo>
                      <a:pt x="11" y="32"/>
                    </a:moveTo>
                    <a:cubicBezTo>
                      <a:pt x="4" y="32"/>
                      <a:pt x="0" y="27"/>
                      <a:pt x="0" y="16"/>
                    </a:cubicBezTo>
                    <a:cubicBezTo>
                      <a:pt x="0" y="11"/>
                      <a:pt x="1" y="7"/>
                      <a:pt x="3" y="4"/>
                    </a:cubicBezTo>
                    <a:cubicBezTo>
                      <a:pt x="5" y="1"/>
                      <a:pt x="8" y="0"/>
                      <a:pt x="12" y="0"/>
                    </a:cubicBezTo>
                    <a:cubicBezTo>
                      <a:pt x="19" y="0"/>
                      <a:pt x="22" y="5"/>
                      <a:pt x="22" y="16"/>
                    </a:cubicBezTo>
                    <a:cubicBezTo>
                      <a:pt x="22" y="21"/>
                      <a:pt x="21" y="25"/>
                      <a:pt x="19" y="28"/>
                    </a:cubicBezTo>
                    <a:cubicBezTo>
                      <a:pt x="18" y="30"/>
                      <a:pt x="15" y="32"/>
                      <a:pt x="11" y="32"/>
                    </a:cubicBezTo>
                    <a:close/>
                    <a:moveTo>
                      <a:pt x="11" y="5"/>
                    </a:moveTo>
                    <a:cubicBezTo>
                      <a:pt x="8" y="5"/>
                      <a:pt x="7" y="9"/>
                      <a:pt x="7" y="16"/>
                    </a:cubicBezTo>
                    <a:cubicBezTo>
                      <a:pt x="7" y="23"/>
                      <a:pt x="8" y="27"/>
                      <a:pt x="11" y="27"/>
                    </a:cubicBezTo>
                    <a:cubicBezTo>
                      <a:pt x="14" y="27"/>
                      <a:pt x="15" y="23"/>
                      <a:pt x="15" y="16"/>
                    </a:cubicBezTo>
                    <a:cubicBezTo>
                      <a:pt x="15" y="9"/>
                      <a:pt x="14" y="5"/>
                      <a:pt x="11" y="5"/>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8" name="Group 387"/>
            <p:cNvGrpSpPr/>
            <p:nvPr/>
          </p:nvGrpSpPr>
          <p:grpSpPr>
            <a:xfrm>
              <a:off x="2034" y="6278696"/>
              <a:ext cx="729486" cy="749409"/>
              <a:chOff x="2065629" y="5454479"/>
              <a:chExt cx="978916" cy="1005651"/>
            </a:xfrm>
          </p:grpSpPr>
          <p:sp>
            <p:nvSpPr>
              <p:cNvPr id="304" name="Rectangle 279"/>
              <p:cNvSpPr>
                <a:spLocks noChangeArrowheads="1"/>
              </p:cNvSpPr>
              <p:nvPr/>
            </p:nvSpPr>
            <p:spPr bwMode="auto">
              <a:xfrm>
                <a:off x="2065629" y="5636566"/>
                <a:ext cx="821888" cy="823564"/>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 name="Freeform 280"/>
              <p:cNvSpPr>
                <a:spLocks/>
              </p:cNvSpPr>
              <p:nvPr/>
            </p:nvSpPr>
            <p:spPr bwMode="auto">
              <a:xfrm>
                <a:off x="2209293" y="5783571"/>
                <a:ext cx="60138" cy="13865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6" name="Freeform 281"/>
              <p:cNvSpPr>
                <a:spLocks noEditPoints="1"/>
              </p:cNvSpPr>
              <p:nvPr/>
            </p:nvSpPr>
            <p:spPr bwMode="auto">
              <a:xfrm>
                <a:off x="2317875" y="5783571"/>
                <a:ext cx="96889" cy="13865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 name="Freeform 282"/>
              <p:cNvSpPr>
                <a:spLocks/>
              </p:cNvSpPr>
              <p:nvPr/>
            </p:nvSpPr>
            <p:spPr bwMode="auto">
              <a:xfrm>
                <a:off x="2439822" y="5783571"/>
                <a:ext cx="60138" cy="13865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8" name="Freeform 283"/>
              <p:cNvSpPr>
                <a:spLocks noEditPoints="1"/>
              </p:cNvSpPr>
              <p:nvPr/>
            </p:nvSpPr>
            <p:spPr bwMode="auto">
              <a:xfrm>
                <a:off x="2197599" y="5977351"/>
                <a:ext cx="96889" cy="140323"/>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9" name="Freeform 284"/>
              <p:cNvSpPr>
                <a:spLocks/>
              </p:cNvSpPr>
              <p:nvPr/>
            </p:nvSpPr>
            <p:spPr bwMode="auto">
              <a:xfrm>
                <a:off x="2327898" y="5977351"/>
                <a:ext cx="60138" cy="136982"/>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0" name="Freeform 285"/>
              <p:cNvSpPr>
                <a:spLocks noEditPoints="1"/>
              </p:cNvSpPr>
              <p:nvPr/>
            </p:nvSpPr>
            <p:spPr bwMode="auto">
              <a:xfrm>
                <a:off x="2428129" y="5977351"/>
                <a:ext cx="96889" cy="140323"/>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1" name="Freeform 286"/>
              <p:cNvSpPr>
                <a:spLocks noEditPoints="1"/>
              </p:cNvSpPr>
              <p:nvPr/>
            </p:nvSpPr>
            <p:spPr bwMode="auto">
              <a:xfrm>
                <a:off x="2197599" y="6171131"/>
                <a:ext cx="96889" cy="140323"/>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2" name="Freeform 287"/>
              <p:cNvSpPr>
                <a:spLocks noEditPoints="1"/>
              </p:cNvSpPr>
              <p:nvPr/>
            </p:nvSpPr>
            <p:spPr bwMode="auto">
              <a:xfrm>
                <a:off x="2317875" y="6171131"/>
                <a:ext cx="96889" cy="140323"/>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 name="Freeform 288"/>
              <p:cNvSpPr>
                <a:spLocks/>
              </p:cNvSpPr>
              <p:nvPr/>
            </p:nvSpPr>
            <p:spPr bwMode="auto">
              <a:xfrm>
                <a:off x="2439822" y="6171131"/>
                <a:ext cx="60138" cy="136982"/>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 name="Freeform 289"/>
              <p:cNvSpPr>
                <a:spLocks/>
              </p:cNvSpPr>
              <p:nvPr/>
            </p:nvSpPr>
            <p:spPr bwMode="auto">
              <a:xfrm>
                <a:off x="2673693" y="5783571"/>
                <a:ext cx="60138" cy="13865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 name="Freeform 290"/>
              <p:cNvSpPr>
                <a:spLocks noEditPoints="1"/>
              </p:cNvSpPr>
              <p:nvPr/>
            </p:nvSpPr>
            <p:spPr bwMode="auto">
              <a:xfrm>
                <a:off x="2661999" y="5977351"/>
                <a:ext cx="96889" cy="140323"/>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 name="Freeform 291"/>
              <p:cNvSpPr>
                <a:spLocks noEditPoints="1"/>
              </p:cNvSpPr>
              <p:nvPr/>
            </p:nvSpPr>
            <p:spPr bwMode="auto">
              <a:xfrm>
                <a:off x="2661999" y="6171131"/>
                <a:ext cx="96889" cy="140323"/>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 name="Freeform 292"/>
              <p:cNvSpPr>
                <a:spLocks noEditPoints="1"/>
              </p:cNvSpPr>
              <p:nvPr/>
            </p:nvSpPr>
            <p:spPr bwMode="auto">
              <a:xfrm>
                <a:off x="2543394" y="5783571"/>
                <a:ext cx="96889" cy="13865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 name="Freeform 293"/>
              <p:cNvSpPr>
                <a:spLocks/>
              </p:cNvSpPr>
              <p:nvPr/>
            </p:nvSpPr>
            <p:spPr bwMode="auto">
              <a:xfrm>
                <a:off x="2553417" y="5977351"/>
                <a:ext cx="60138" cy="136982"/>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9" name="Freeform 294"/>
              <p:cNvSpPr>
                <a:spLocks noEditPoints="1"/>
              </p:cNvSpPr>
              <p:nvPr/>
            </p:nvSpPr>
            <p:spPr bwMode="auto">
              <a:xfrm>
                <a:off x="2543394" y="6171131"/>
                <a:ext cx="96889" cy="140323"/>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8" name="Rectangle 343"/>
              <p:cNvSpPr>
                <a:spLocks noChangeArrowheads="1"/>
              </p:cNvSpPr>
              <p:nvPr/>
            </p:nvSpPr>
            <p:spPr bwMode="auto">
              <a:xfrm>
                <a:off x="2680375" y="5454479"/>
                <a:ext cx="364170" cy="36584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9" name="Freeform 344"/>
              <p:cNvSpPr>
                <a:spLocks/>
              </p:cNvSpPr>
              <p:nvPr/>
            </p:nvSpPr>
            <p:spPr bwMode="auto">
              <a:xfrm>
                <a:off x="2742184" y="5519629"/>
                <a:ext cx="28399" cy="60139"/>
              </a:xfrm>
              <a:custGeom>
                <a:avLst/>
                <a:gdLst>
                  <a:gd name="T0" fmla="*/ 10 w 10"/>
                  <a:gd name="T1" fmla="*/ 0 h 21"/>
                  <a:gd name="T2" fmla="*/ 10 w 10"/>
                  <a:gd name="T3" fmla="*/ 21 h 21"/>
                  <a:gd name="T4" fmla="*/ 5 w 10"/>
                  <a:gd name="T5" fmla="*/ 21 h 21"/>
                  <a:gd name="T6" fmla="*/ 5 w 10"/>
                  <a:gd name="T7" fmla="*/ 5 h 21"/>
                  <a:gd name="T8" fmla="*/ 4 w 10"/>
                  <a:gd name="T9" fmla="*/ 5 h 21"/>
                  <a:gd name="T10" fmla="*/ 3 w 10"/>
                  <a:gd name="T11" fmla="*/ 6 h 21"/>
                  <a:gd name="T12" fmla="*/ 2 w 10"/>
                  <a:gd name="T13" fmla="*/ 6 h 21"/>
                  <a:gd name="T14" fmla="*/ 0 w 10"/>
                  <a:gd name="T15" fmla="*/ 7 h 21"/>
                  <a:gd name="T16" fmla="*/ 0 w 10"/>
                  <a:gd name="T17" fmla="*/ 3 h 21"/>
                  <a:gd name="T18" fmla="*/ 4 w 10"/>
                  <a:gd name="T19" fmla="*/ 1 h 21"/>
                  <a:gd name="T20" fmla="*/ 7 w 10"/>
                  <a:gd name="T21" fmla="*/ 0 h 21"/>
                  <a:gd name="T22" fmla="*/ 10 w 10"/>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1">
                    <a:moveTo>
                      <a:pt x="10" y="0"/>
                    </a:moveTo>
                    <a:cubicBezTo>
                      <a:pt x="10" y="21"/>
                      <a:pt x="10" y="21"/>
                      <a:pt x="10"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0" name="Freeform 345"/>
              <p:cNvSpPr>
                <a:spLocks noEditPoints="1"/>
              </p:cNvSpPr>
              <p:nvPr/>
            </p:nvSpPr>
            <p:spPr bwMode="auto">
              <a:xfrm>
                <a:off x="2790628" y="5519629"/>
                <a:ext cx="43433" cy="60139"/>
              </a:xfrm>
              <a:custGeom>
                <a:avLst/>
                <a:gdLst>
                  <a:gd name="T0" fmla="*/ 7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7 w 15"/>
                  <a:gd name="T13" fmla="*/ 21 h 21"/>
                  <a:gd name="T14" fmla="*/ 8 w 15"/>
                  <a:gd name="T15" fmla="*/ 3 h 21"/>
                  <a:gd name="T16" fmla="*/ 5 w 15"/>
                  <a:gd name="T17" fmla="*/ 11 h 21"/>
                  <a:gd name="T18" fmla="*/ 8 w 15"/>
                  <a:gd name="T19" fmla="*/ 18 h 21"/>
                  <a:gd name="T20" fmla="*/ 10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7" y="21"/>
                    </a:moveTo>
                    <a:cubicBezTo>
                      <a:pt x="2"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7" y="21"/>
                    </a:cubicBezTo>
                    <a:close/>
                    <a:moveTo>
                      <a:pt x="8" y="3"/>
                    </a:moveTo>
                    <a:cubicBezTo>
                      <a:pt x="6" y="3"/>
                      <a:pt x="5" y="6"/>
                      <a:pt x="5" y="11"/>
                    </a:cubicBezTo>
                    <a:cubicBezTo>
                      <a:pt x="5" y="15"/>
                      <a:pt x="6" y="18"/>
                      <a:pt x="8" y="18"/>
                    </a:cubicBezTo>
                    <a:cubicBezTo>
                      <a:pt x="10" y="18"/>
                      <a:pt x="10" y="15"/>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1" name="Freeform 346"/>
              <p:cNvSpPr>
                <a:spLocks/>
              </p:cNvSpPr>
              <p:nvPr/>
            </p:nvSpPr>
            <p:spPr bwMode="auto">
              <a:xfrm>
                <a:off x="2845755" y="5519629"/>
                <a:ext cx="25058" cy="60139"/>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2 w 9"/>
                  <a:gd name="T13" fmla="*/ 6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5"/>
                    </a:cubicBezTo>
                    <a:cubicBezTo>
                      <a:pt x="4" y="6"/>
                      <a:pt x="3" y="6"/>
                      <a:pt x="3" y="6"/>
                    </a:cubicBezTo>
                    <a:cubicBezTo>
                      <a:pt x="2" y="6"/>
                      <a:pt x="2" y="6"/>
                      <a:pt x="2" y="6"/>
                    </a:cubicBezTo>
                    <a:cubicBezTo>
                      <a:pt x="1" y="6"/>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2" name="Freeform 347"/>
              <p:cNvSpPr>
                <a:spLocks noEditPoints="1"/>
              </p:cNvSpPr>
              <p:nvPr/>
            </p:nvSpPr>
            <p:spPr bwMode="auto">
              <a:xfrm>
                <a:off x="2737172" y="5606496"/>
                <a:ext cx="45104" cy="61809"/>
              </a:xfrm>
              <a:custGeom>
                <a:avLst/>
                <a:gdLst>
                  <a:gd name="T0" fmla="*/ 8 w 16"/>
                  <a:gd name="T1" fmla="*/ 22 h 22"/>
                  <a:gd name="T2" fmla="*/ 0 w 16"/>
                  <a:gd name="T3" fmla="*/ 11 h 22"/>
                  <a:gd name="T4" fmla="*/ 2 w 16"/>
                  <a:gd name="T5" fmla="*/ 3 h 22"/>
                  <a:gd name="T6" fmla="*/ 8 w 16"/>
                  <a:gd name="T7" fmla="*/ 0 h 22"/>
                  <a:gd name="T8" fmla="*/ 16 w 16"/>
                  <a:gd name="T9" fmla="*/ 10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0"/>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3" name="Freeform 348"/>
              <p:cNvSpPr>
                <a:spLocks/>
              </p:cNvSpPr>
              <p:nvPr/>
            </p:nvSpPr>
            <p:spPr bwMode="auto">
              <a:xfrm>
                <a:off x="2797310" y="5606496"/>
                <a:ext cx="25058" cy="60139"/>
              </a:xfrm>
              <a:custGeom>
                <a:avLst/>
                <a:gdLst>
                  <a:gd name="T0" fmla="*/ 9 w 9"/>
                  <a:gd name="T1" fmla="*/ 0 h 21"/>
                  <a:gd name="T2" fmla="*/ 9 w 9"/>
                  <a:gd name="T3" fmla="*/ 21 h 21"/>
                  <a:gd name="T4" fmla="*/ 4 w 9"/>
                  <a:gd name="T5" fmla="*/ 21 h 21"/>
                  <a:gd name="T6" fmla="*/ 4 w 9"/>
                  <a:gd name="T7" fmla="*/ 5 h 21"/>
                  <a:gd name="T8" fmla="*/ 4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4" y="5"/>
                    </a:cubicBezTo>
                    <a:cubicBezTo>
                      <a:pt x="3" y="6"/>
                      <a:pt x="3" y="6"/>
                      <a:pt x="2" y="6"/>
                    </a:cubicBezTo>
                    <a:cubicBezTo>
                      <a:pt x="2" y="6"/>
                      <a:pt x="2" y="6"/>
                      <a:pt x="1" y="6"/>
                    </a:cubicBezTo>
                    <a:cubicBezTo>
                      <a:pt x="1" y="7"/>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4" name="Freeform 349"/>
              <p:cNvSpPr>
                <a:spLocks noEditPoints="1"/>
              </p:cNvSpPr>
              <p:nvPr/>
            </p:nvSpPr>
            <p:spPr bwMode="auto">
              <a:xfrm>
                <a:off x="2839073" y="5606496"/>
                <a:ext cx="43433" cy="61809"/>
              </a:xfrm>
              <a:custGeom>
                <a:avLst/>
                <a:gdLst>
                  <a:gd name="T0" fmla="*/ 8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4" y="1"/>
                      <a:pt x="6" y="0"/>
                      <a:pt x="8" y="0"/>
                    </a:cubicBezTo>
                    <a:cubicBezTo>
                      <a:pt x="13" y="0"/>
                      <a:pt x="15" y="3"/>
                      <a:pt x="15" y="10"/>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5" name="Freeform 350"/>
              <p:cNvSpPr>
                <a:spLocks noEditPoints="1"/>
              </p:cNvSpPr>
              <p:nvPr/>
            </p:nvSpPr>
            <p:spPr bwMode="auto">
              <a:xfrm>
                <a:off x="2737172" y="5691693"/>
                <a:ext cx="45104" cy="61809"/>
              </a:xfrm>
              <a:custGeom>
                <a:avLst/>
                <a:gdLst>
                  <a:gd name="T0" fmla="*/ 8 w 16"/>
                  <a:gd name="T1" fmla="*/ 22 h 22"/>
                  <a:gd name="T2" fmla="*/ 0 w 16"/>
                  <a:gd name="T3" fmla="*/ 11 h 22"/>
                  <a:gd name="T4" fmla="*/ 2 w 16"/>
                  <a:gd name="T5" fmla="*/ 3 h 22"/>
                  <a:gd name="T6" fmla="*/ 8 w 16"/>
                  <a:gd name="T7" fmla="*/ 0 h 22"/>
                  <a:gd name="T8" fmla="*/ 16 w 16"/>
                  <a:gd name="T9" fmla="*/ 11 h 22"/>
                  <a:gd name="T10" fmla="*/ 14 w 16"/>
                  <a:gd name="T11" fmla="*/ 19 h 22"/>
                  <a:gd name="T12" fmla="*/ 8 w 16"/>
                  <a:gd name="T13" fmla="*/ 22 h 22"/>
                  <a:gd name="T14" fmla="*/ 8 w 16"/>
                  <a:gd name="T15" fmla="*/ 3 h 22"/>
                  <a:gd name="T16" fmla="*/ 5 w 16"/>
                  <a:gd name="T17" fmla="*/ 11 h 22"/>
                  <a:gd name="T18" fmla="*/ 8 w 16"/>
                  <a:gd name="T19" fmla="*/ 18 h 22"/>
                  <a:gd name="T20" fmla="*/ 11 w 16"/>
                  <a:gd name="T21" fmla="*/ 11 h 22"/>
                  <a:gd name="T22" fmla="*/ 8 w 16"/>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2">
                    <a:moveTo>
                      <a:pt x="8" y="22"/>
                    </a:moveTo>
                    <a:cubicBezTo>
                      <a:pt x="3" y="22"/>
                      <a:pt x="0" y="18"/>
                      <a:pt x="0" y="11"/>
                    </a:cubicBezTo>
                    <a:cubicBezTo>
                      <a:pt x="0" y="7"/>
                      <a:pt x="1" y="5"/>
                      <a:pt x="2" y="3"/>
                    </a:cubicBezTo>
                    <a:cubicBezTo>
                      <a:pt x="4" y="1"/>
                      <a:pt x="6" y="0"/>
                      <a:pt x="8" y="0"/>
                    </a:cubicBezTo>
                    <a:cubicBezTo>
                      <a:pt x="13" y="0"/>
                      <a:pt x="16" y="3"/>
                      <a:pt x="16" y="11"/>
                    </a:cubicBezTo>
                    <a:cubicBezTo>
                      <a:pt x="16" y="14"/>
                      <a:pt x="15" y="17"/>
                      <a:pt x="14"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6" name="Freeform 351"/>
              <p:cNvSpPr>
                <a:spLocks noEditPoints="1"/>
              </p:cNvSpPr>
              <p:nvPr/>
            </p:nvSpPr>
            <p:spPr bwMode="auto">
              <a:xfrm>
                <a:off x="2790628" y="5691693"/>
                <a:ext cx="4343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8 w 15"/>
                  <a:gd name="T15" fmla="*/ 3 h 22"/>
                  <a:gd name="T16" fmla="*/ 5 w 15"/>
                  <a:gd name="T17" fmla="*/ 11 h 22"/>
                  <a:gd name="T18" fmla="*/ 8 w 15"/>
                  <a:gd name="T19" fmla="*/ 18 h 22"/>
                  <a:gd name="T20" fmla="*/ 10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7" y="22"/>
                    </a:cubicBezTo>
                    <a:close/>
                    <a:moveTo>
                      <a:pt x="8" y="3"/>
                    </a:moveTo>
                    <a:cubicBezTo>
                      <a:pt x="6" y="3"/>
                      <a:pt x="5" y="6"/>
                      <a:pt x="5" y="11"/>
                    </a:cubicBezTo>
                    <a:cubicBezTo>
                      <a:pt x="5" y="16"/>
                      <a:pt x="6" y="18"/>
                      <a:pt x="8" y="18"/>
                    </a:cubicBezTo>
                    <a:cubicBezTo>
                      <a:pt x="10" y="18"/>
                      <a:pt x="10" y="16"/>
                      <a:pt x="10" y="11"/>
                    </a:cubicBezTo>
                    <a:cubicBezTo>
                      <a:pt x="10"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7" name="Freeform 352"/>
              <p:cNvSpPr>
                <a:spLocks/>
              </p:cNvSpPr>
              <p:nvPr/>
            </p:nvSpPr>
            <p:spPr bwMode="auto">
              <a:xfrm>
                <a:off x="2845755" y="5691693"/>
                <a:ext cx="25058" cy="60139"/>
              </a:xfrm>
              <a:custGeom>
                <a:avLst/>
                <a:gdLst>
                  <a:gd name="T0" fmla="*/ 9 w 9"/>
                  <a:gd name="T1" fmla="*/ 0 h 21"/>
                  <a:gd name="T2" fmla="*/ 9 w 9"/>
                  <a:gd name="T3" fmla="*/ 21 h 21"/>
                  <a:gd name="T4" fmla="*/ 5 w 9"/>
                  <a:gd name="T5" fmla="*/ 21 h 21"/>
                  <a:gd name="T6" fmla="*/ 5 w 9"/>
                  <a:gd name="T7" fmla="*/ 5 h 21"/>
                  <a:gd name="T8" fmla="*/ 4 w 9"/>
                  <a:gd name="T9" fmla="*/ 6 h 21"/>
                  <a:gd name="T10" fmla="*/ 3 w 9"/>
                  <a:gd name="T11" fmla="*/ 6 h 21"/>
                  <a:gd name="T12" fmla="*/ 2 w 9"/>
                  <a:gd name="T13" fmla="*/ 7 h 21"/>
                  <a:gd name="T14" fmla="*/ 0 w 9"/>
                  <a:gd name="T15" fmla="*/ 7 h 21"/>
                  <a:gd name="T16" fmla="*/ 0 w 9"/>
                  <a:gd name="T17" fmla="*/ 3 h 21"/>
                  <a:gd name="T18" fmla="*/ 4 w 9"/>
                  <a:gd name="T19" fmla="*/ 1 h 21"/>
                  <a:gd name="T20" fmla="*/ 7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5" y="5"/>
                      <a:pt x="4" y="5"/>
                      <a:pt x="4" y="6"/>
                    </a:cubicBezTo>
                    <a:cubicBezTo>
                      <a:pt x="4" y="6"/>
                      <a:pt x="3" y="6"/>
                      <a:pt x="3" y="6"/>
                    </a:cubicBezTo>
                    <a:cubicBezTo>
                      <a:pt x="2" y="6"/>
                      <a:pt x="2" y="6"/>
                      <a:pt x="2" y="7"/>
                    </a:cubicBezTo>
                    <a:cubicBezTo>
                      <a:pt x="1" y="7"/>
                      <a:pt x="1" y="7"/>
                      <a:pt x="0" y="7"/>
                    </a:cubicBezTo>
                    <a:cubicBezTo>
                      <a:pt x="0" y="3"/>
                      <a:pt x="0" y="3"/>
                      <a:pt x="0" y="3"/>
                    </a:cubicBezTo>
                    <a:cubicBezTo>
                      <a:pt x="2" y="2"/>
                      <a:pt x="3" y="2"/>
                      <a:pt x="4" y="1"/>
                    </a:cubicBezTo>
                    <a:cubicBezTo>
                      <a:pt x="5" y="1"/>
                      <a:pt x="6" y="0"/>
                      <a:pt x="7"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8" name="Freeform 353"/>
              <p:cNvSpPr>
                <a:spLocks/>
              </p:cNvSpPr>
              <p:nvPr/>
            </p:nvSpPr>
            <p:spPr bwMode="auto">
              <a:xfrm>
                <a:off x="2950997" y="5519629"/>
                <a:ext cx="25058" cy="60139"/>
              </a:xfrm>
              <a:custGeom>
                <a:avLst/>
                <a:gdLst>
                  <a:gd name="T0" fmla="*/ 9 w 9"/>
                  <a:gd name="T1" fmla="*/ 0 h 21"/>
                  <a:gd name="T2" fmla="*/ 9 w 9"/>
                  <a:gd name="T3" fmla="*/ 21 h 21"/>
                  <a:gd name="T4" fmla="*/ 4 w 9"/>
                  <a:gd name="T5" fmla="*/ 21 h 21"/>
                  <a:gd name="T6" fmla="*/ 4 w 9"/>
                  <a:gd name="T7" fmla="*/ 5 h 21"/>
                  <a:gd name="T8" fmla="*/ 3 w 9"/>
                  <a:gd name="T9" fmla="*/ 5 h 21"/>
                  <a:gd name="T10" fmla="*/ 2 w 9"/>
                  <a:gd name="T11" fmla="*/ 6 h 21"/>
                  <a:gd name="T12" fmla="*/ 1 w 9"/>
                  <a:gd name="T13" fmla="*/ 6 h 21"/>
                  <a:gd name="T14" fmla="*/ 0 w 9"/>
                  <a:gd name="T15" fmla="*/ 7 h 21"/>
                  <a:gd name="T16" fmla="*/ 0 w 9"/>
                  <a:gd name="T17" fmla="*/ 3 h 21"/>
                  <a:gd name="T18" fmla="*/ 3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4" y="21"/>
                      <a:pt x="4" y="21"/>
                      <a:pt x="4" y="21"/>
                    </a:cubicBezTo>
                    <a:cubicBezTo>
                      <a:pt x="4" y="5"/>
                      <a:pt x="4" y="5"/>
                      <a:pt x="4" y="5"/>
                    </a:cubicBezTo>
                    <a:cubicBezTo>
                      <a:pt x="4" y="5"/>
                      <a:pt x="4" y="5"/>
                      <a:pt x="3" y="5"/>
                    </a:cubicBezTo>
                    <a:cubicBezTo>
                      <a:pt x="3" y="6"/>
                      <a:pt x="3" y="6"/>
                      <a:pt x="2" y="6"/>
                    </a:cubicBezTo>
                    <a:cubicBezTo>
                      <a:pt x="2" y="6"/>
                      <a:pt x="1" y="6"/>
                      <a:pt x="1" y="6"/>
                    </a:cubicBezTo>
                    <a:cubicBezTo>
                      <a:pt x="1" y="6"/>
                      <a:pt x="0" y="7"/>
                      <a:pt x="0" y="7"/>
                    </a:cubicBezTo>
                    <a:cubicBezTo>
                      <a:pt x="0" y="3"/>
                      <a:pt x="0" y="3"/>
                      <a:pt x="0" y="3"/>
                    </a:cubicBezTo>
                    <a:cubicBezTo>
                      <a:pt x="1" y="2"/>
                      <a:pt x="2" y="2"/>
                      <a:pt x="3" y="1"/>
                    </a:cubicBezTo>
                    <a:cubicBezTo>
                      <a:pt x="4" y="1"/>
                      <a:pt x="5"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9" name="Freeform 354"/>
              <p:cNvSpPr>
                <a:spLocks noEditPoints="1"/>
              </p:cNvSpPr>
              <p:nvPr/>
            </p:nvSpPr>
            <p:spPr bwMode="auto">
              <a:xfrm>
                <a:off x="2945985" y="5606496"/>
                <a:ext cx="41763" cy="61809"/>
              </a:xfrm>
              <a:custGeom>
                <a:avLst/>
                <a:gdLst>
                  <a:gd name="T0" fmla="*/ 7 w 15"/>
                  <a:gd name="T1" fmla="*/ 22 h 22"/>
                  <a:gd name="T2" fmla="*/ 0 w 15"/>
                  <a:gd name="T3" fmla="*/ 11 h 22"/>
                  <a:gd name="T4" fmla="*/ 2 w 15"/>
                  <a:gd name="T5" fmla="*/ 3 h 22"/>
                  <a:gd name="T6" fmla="*/ 8 w 15"/>
                  <a:gd name="T7" fmla="*/ 0 h 22"/>
                  <a:gd name="T8" fmla="*/ 15 w 15"/>
                  <a:gd name="T9" fmla="*/ 10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0"/>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0" name="Freeform 355"/>
              <p:cNvSpPr>
                <a:spLocks noEditPoints="1"/>
              </p:cNvSpPr>
              <p:nvPr/>
            </p:nvSpPr>
            <p:spPr bwMode="auto">
              <a:xfrm>
                <a:off x="2945985" y="5691693"/>
                <a:ext cx="41763" cy="61809"/>
              </a:xfrm>
              <a:custGeom>
                <a:avLst/>
                <a:gdLst>
                  <a:gd name="T0" fmla="*/ 7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7 w 15"/>
                  <a:gd name="T13" fmla="*/ 22 h 22"/>
                  <a:gd name="T14" fmla="*/ 7 w 15"/>
                  <a:gd name="T15" fmla="*/ 3 h 22"/>
                  <a:gd name="T16" fmla="*/ 4 w 15"/>
                  <a:gd name="T17" fmla="*/ 11 h 22"/>
                  <a:gd name="T18" fmla="*/ 7 w 15"/>
                  <a:gd name="T19" fmla="*/ 18 h 22"/>
                  <a:gd name="T20" fmla="*/ 10 w 15"/>
                  <a:gd name="T21" fmla="*/ 11 h 22"/>
                  <a:gd name="T22" fmla="*/ 7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7" y="22"/>
                    </a:moveTo>
                    <a:cubicBezTo>
                      <a:pt x="2" y="22"/>
                      <a:pt x="0" y="18"/>
                      <a:pt x="0" y="11"/>
                    </a:cubicBezTo>
                    <a:cubicBezTo>
                      <a:pt x="0" y="7"/>
                      <a:pt x="0" y="5"/>
                      <a:pt x="2" y="3"/>
                    </a:cubicBezTo>
                    <a:cubicBezTo>
                      <a:pt x="3" y="1"/>
                      <a:pt x="5" y="0"/>
                      <a:pt x="8" y="0"/>
                    </a:cubicBezTo>
                    <a:cubicBezTo>
                      <a:pt x="13" y="0"/>
                      <a:pt x="15" y="3"/>
                      <a:pt x="15" y="11"/>
                    </a:cubicBezTo>
                    <a:cubicBezTo>
                      <a:pt x="15" y="14"/>
                      <a:pt x="14" y="17"/>
                      <a:pt x="13" y="19"/>
                    </a:cubicBezTo>
                    <a:cubicBezTo>
                      <a:pt x="12" y="21"/>
                      <a:pt x="10" y="22"/>
                      <a:pt x="7" y="22"/>
                    </a:cubicBezTo>
                    <a:close/>
                    <a:moveTo>
                      <a:pt x="7" y="3"/>
                    </a:moveTo>
                    <a:cubicBezTo>
                      <a:pt x="5" y="3"/>
                      <a:pt x="4" y="6"/>
                      <a:pt x="4" y="11"/>
                    </a:cubicBezTo>
                    <a:cubicBezTo>
                      <a:pt x="4" y="16"/>
                      <a:pt x="5" y="18"/>
                      <a:pt x="7" y="18"/>
                    </a:cubicBezTo>
                    <a:cubicBezTo>
                      <a:pt x="9" y="18"/>
                      <a:pt x="10" y="16"/>
                      <a:pt x="10" y="11"/>
                    </a:cubicBezTo>
                    <a:cubicBezTo>
                      <a:pt x="10" y="6"/>
                      <a:pt x="9" y="3"/>
                      <a:pt x="7"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1" name="Freeform 356"/>
              <p:cNvSpPr>
                <a:spLocks noEditPoints="1"/>
              </p:cNvSpPr>
              <p:nvPr/>
            </p:nvSpPr>
            <p:spPr bwMode="auto">
              <a:xfrm>
                <a:off x="2890859" y="5519629"/>
                <a:ext cx="43433" cy="60139"/>
              </a:xfrm>
              <a:custGeom>
                <a:avLst/>
                <a:gdLst>
                  <a:gd name="T0" fmla="*/ 8 w 15"/>
                  <a:gd name="T1" fmla="*/ 21 h 21"/>
                  <a:gd name="T2" fmla="*/ 0 w 15"/>
                  <a:gd name="T3" fmla="*/ 11 h 21"/>
                  <a:gd name="T4" fmla="*/ 2 w 15"/>
                  <a:gd name="T5" fmla="*/ 3 h 21"/>
                  <a:gd name="T6" fmla="*/ 8 w 15"/>
                  <a:gd name="T7" fmla="*/ 0 h 21"/>
                  <a:gd name="T8" fmla="*/ 15 w 15"/>
                  <a:gd name="T9" fmla="*/ 10 h 21"/>
                  <a:gd name="T10" fmla="*/ 13 w 15"/>
                  <a:gd name="T11" fmla="*/ 19 h 21"/>
                  <a:gd name="T12" fmla="*/ 8 w 15"/>
                  <a:gd name="T13" fmla="*/ 21 h 21"/>
                  <a:gd name="T14" fmla="*/ 8 w 15"/>
                  <a:gd name="T15" fmla="*/ 3 h 21"/>
                  <a:gd name="T16" fmla="*/ 5 w 15"/>
                  <a:gd name="T17" fmla="*/ 11 h 21"/>
                  <a:gd name="T18" fmla="*/ 8 w 15"/>
                  <a:gd name="T19" fmla="*/ 18 h 21"/>
                  <a:gd name="T20" fmla="*/ 11 w 15"/>
                  <a:gd name="T21" fmla="*/ 11 h 21"/>
                  <a:gd name="T22" fmla="*/ 8 w 15"/>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1">
                    <a:moveTo>
                      <a:pt x="8" y="21"/>
                    </a:moveTo>
                    <a:cubicBezTo>
                      <a:pt x="3" y="21"/>
                      <a:pt x="0" y="18"/>
                      <a:pt x="0" y="11"/>
                    </a:cubicBezTo>
                    <a:cubicBezTo>
                      <a:pt x="0" y="7"/>
                      <a:pt x="1" y="4"/>
                      <a:pt x="2" y="3"/>
                    </a:cubicBezTo>
                    <a:cubicBezTo>
                      <a:pt x="3" y="1"/>
                      <a:pt x="5" y="0"/>
                      <a:pt x="8" y="0"/>
                    </a:cubicBezTo>
                    <a:cubicBezTo>
                      <a:pt x="13" y="0"/>
                      <a:pt x="15" y="3"/>
                      <a:pt x="15" y="10"/>
                    </a:cubicBezTo>
                    <a:cubicBezTo>
                      <a:pt x="15" y="14"/>
                      <a:pt x="15" y="17"/>
                      <a:pt x="13" y="19"/>
                    </a:cubicBezTo>
                    <a:cubicBezTo>
                      <a:pt x="12" y="20"/>
                      <a:pt x="10" y="21"/>
                      <a:pt x="8" y="21"/>
                    </a:cubicBezTo>
                    <a:close/>
                    <a:moveTo>
                      <a:pt x="8" y="3"/>
                    </a:moveTo>
                    <a:cubicBezTo>
                      <a:pt x="6" y="3"/>
                      <a:pt x="5" y="6"/>
                      <a:pt x="5" y="11"/>
                    </a:cubicBezTo>
                    <a:cubicBezTo>
                      <a:pt x="5" y="15"/>
                      <a:pt x="6" y="18"/>
                      <a:pt x="8" y="18"/>
                    </a:cubicBezTo>
                    <a:cubicBezTo>
                      <a:pt x="10" y="18"/>
                      <a:pt x="11" y="15"/>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2" name="Freeform 357"/>
              <p:cNvSpPr>
                <a:spLocks/>
              </p:cNvSpPr>
              <p:nvPr/>
            </p:nvSpPr>
            <p:spPr bwMode="auto">
              <a:xfrm>
                <a:off x="2897541" y="5606496"/>
                <a:ext cx="25058" cy="60139"/>
              </a:xfrm>
              <a:custGeom>
                <a:avLst/>
                <a:gdLst>
                  <a:gd name="T0" fmla="*/ 9 w 9"/>
                  <a:gd name="T1" fmla="*/ 0 h 21"/>
                  <a:gd name="T2" fmla="*/ 9 w 9"/>
                  <a:gd name="T3" fmla="*/ 21 h 21"/>
                  <a:gd name="T4" fmla="*/ 5 w 9"/>
                  <a:gd name="T5" fmla="*/ 21 h 21"/>
                  <a:gd name="T6" fmla="*/ 5 w 9"/>
                  <a:gd name="T7" fmla="*/ 5 h 21"/>
                  <a:gd name="T8" fmla="*/ 4 w 9"/>
                  <a:gd name="T9" fmla="*/ 5 h 21"/>
                  <a:gd name="T10" fmla="*/ 3 w 9"/>
                  <a:gd name="T11" fmla="*/ 6 h 21"/>
                  <a:gd name="T12" fmla="*/ 1 w 9"/>
                  <a:gd name="T13" fmla="*/ 6 h 21"/>
                  <a:gd name="T14" fmla="*/ 0 w 9"/>
                  <a:gd name="T15" fmla="*/ 7 h 21"/>
                  <a:gd name="T16" fmla="*/ 0 w 9"/>
                  <a:gd name="T17" fmla="*/ 3 h 21"/>
                  <a:gd name="T18" fmla="*/ 4 w 9"/>
                  <a:gd name="T19" fmla="*/ 1 h 21"/>
                  <a:gd name="T20" fmla="*/ 6 w 9"/>
                  <a:gd name="T21" fmla="*/ 0 h 21"/>
                  <a:gd name="T22" fmla="*/ 9 w 9"/>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21">
                    <a:moveTo>
                      <a:pt x="9" y="0"/>
                    </a:moveTo>
                    <a:cubicBezTo>
                      <a:pt x="9" y="21"/>
                      <a:pt x="9" y="21"/>
                      <a:pt x="9" y="21"/>
                    </a:cubicBezTo>
                    <a:cubicBezTo>
                      <a:pt x="5" y="21"/>
                      <a:pt x="5" y="21"/>
                      <a:pt x="5" y="21"/>
                    </a:cubicBezTo>
                    <a:cubicBezTo>
                      <a:pt x="5" y="5"/>
                      <a:pt x="5" y="5"/>
                      <a:pt x="5" y="5"/>
                    </a:cubicBezTo>
                    <a:cubicBezTo>
                      <a:pt x="4" y="5"/>
                      <a:pt x="4" y="5"/>
                      <a:pt x="4" y="5"/>
                    </a:cubicBezTo>
                    <a:cubicBezTo>
                      <a:pt x="3" y="6"/>
                      <a:pt x="3" y="6"/>
                      <a:pt x="3" y="6"/>
                    </a:cubicBezTo>
                    <a:cubicBezTo>
                      <a:pt x="2" y="6"/>
                      <a:pt x="2" y="6"/>
                      <a:pt x="1" y="6"/>
                    </a:cubicBezTo>
                    <a:cubicBezTo>
                      <a:pt x="1" y="7"/>
                      <a:pt x="1" y="7"/>
                      <a:pt x="0" y="7"/>
                    </a:cubicBezTo>
                    <a:cubicBezTo>
                      <a:pt x="0" y="3"/>
                      <a:pt x="0" y="3"/>
                      <a:pt x="0" y="3"/>
                    </a:cubicBezTo>
                    <a:cubicBezTo>
                      <a:pt x="1" y="2"/>
                      <a:pt x="3" y="2"/>
                      <a:pt x="4" y="1"/>
                    </a:cubicBezTo>
                    <a:cubicBezTo>
                      <a:pt x="5" y="1"/>
                      <a:pt x="6" y="0"/>
                      <a:pt x="6"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3" name="Freeform 358"/>
              <p:cNvSpPr>
                <a:spLocks noEditPoints="1"/>
              </p:cNvSpPr>
              <p:nvPr/>
            </p:nvSpPr>
            <p:spPr bwMode="auto">
              <a:xfrm>
                <a:off x="2890859" y="5691693"/>
                <a:ext cx="43433" cy="61809"/>
              </a:xfrm>
              <a:custGeom>
                <a:avLst/>
                <a:gdLst>
                  <a:gd name="T0" fmla="*/ 8 w 15"/>
                  <a:gd name="T1" fmla="*/ 22 h 22"/>
                  <a:gd name="T2" fmla="*/ 0 w 15"/>
                  <a:gd name="T3" fmla="*/ 11 h 22"/>
                  <a:gd name="T4" fmla="*/ 2 w 15"/>
                  <a:gd name="T5" fmla="*/ 3 h 22"/>
                  <a:gd name="T6" fmla="*/ 8 w 15"/>
                  <a:gd name="T7" fmla="*/ 0 h 22"/>
                  <a:gd name="T8" fmla="*/ 15 w 15"/>
                  <a:gd name="T9" fmla="*/ 11 h 22"/>
                  <a:gd name="T10" fmla="*/ 13 w 15"/>
                  <a:gd name="T11" fmla="*/ 19 h 22"/>
                  <a:gd name="T12" fmla="*/ 8 w 15"/>
                  <a:gd name="T13" fmla="*/ 22 h 22"/>
                  <a:gd name="T14" fmla="*/ 8 w 15"/>
                  <a:gd name="T15" fmla="*/ 3 h 22"/>
                  <a:gd name="T16" fmla="*/ 5 w 15"/>
                  <a:gd name="T17" fmla="*/ 11 h 22"/>
                  <a:gd name="T18" fmla="*/ 8 w 15"/>
                  <a:gd name="T19" fmla="*/ 18 h 22"/>
                  <a:gd name="T20" fmla="*/ 11 w 15"/>
                  <a:gd name="T21" fmla="*/ 11 h 22"/>
                  <a:gd name="T22" fmla="*/ 8 w 15"/>
                  <a:gd name="T2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2">
                    <a:moveTo>
                      <a:pt x="8" y="22"/>
                    </a:moveTo>
                    <a:cubicBezTo>
                      <a:pt x="3" y="22"/>
                      <a:pt x="0" y="18"/>
                      <a:pt x="0" y="11"/>
                    </a:cubicBezTo>
                    <a:cubicBezTo>
                      <a:pt x="0" y="7"/>
                      <a:pt x="1" y="5"/>
                      <a:pt x="2" y="3"/>
                    </a:cubicBezTo>
                    <a:cubicBezTo>
                      <a:pt x="3" y="1"/>
                      <a:pt x="5" y="0"/>
                      <a:pt x="8" y="0"/>
                    </a:cubicBezTo>
                    <a:cubicBezTo>
                      <a:pt x="13" y="0"/>
                      <a:pt x="15" y="3"/>
                      <a:pt x="15" y="11"/>
                    </a:cubicBezTo>
                    <a:cubicBezTo>
                      <a:pt x="15" y="14"/>
                      <a:pt x="15" y="17"/>
                      <a:pt x="13" y="19"/>
                    </a:cubicBezTo>
                    <a:cubicBezTo>
                      <a:pt x="12" y="21"/>
                      <a:pt x="10" y="22"/>
                      <a:pt x="8" y="22"/>
                    </a:cubicBezTo>
                    <a:close/>
                    <a:moveTo>
                      <a:pt x="8" y="3"/>
                    </a:moveTo>
                    <a:cubicBezTo>
                      <a:pt x="6" y="3"/>
                      <a:pt x="5" y="6"/>
                      <a:pt x="5" y="11"/>
                    </a:cubicBezTo>
                    <a:cubicBezTo>
                      <a:pt x="5" y="16"/>
                      <a:pt x="6" y="18"/>
                      <a:pt x="8" y="18"/>
                    </a:cubicBezTo>
                    <a:cubicBezTo>
                      <a:pt x="10" y="18"/>
                      <a:pt x="11" y="16"/>
                      <a:pt x="11" y="11"/>
                    </a:cubicBezTo>
                    <a:cubicBezTo>
                      <a:pt x="11" y="6"/>
                      <a:pt x="10" y="3"/>
                      <a:pt x="8" y="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35" name="Group 234"/>
          <p:cNvGrpSpPr/>
          <p:nvPr/>
        </p:nvGrpSpPr>
        <p:grpSpPr>
          <a:xfrm>
            <a:off x="11070579" y="297389"/>
            <a:ext cx="932340" cy="913874"/>
            <a:chOff x="11070579" y="297389"/>
            <a:chExt cx="932340" cy="913874"/>
          </a:xfrm>
        </p:grpSpPr>
        <p:sp>
          <p:nvSpPr>
            <p:cNvPr id="236" name="Rectangle 235"/>
            <p:cNvSpPr/>
            <p:nvPr/>
          </p:nvSpPr>
          <p:spPr bwMode="auto">
            <a:xfrm>
              <a:off x="11070579" y="297389"/>
              <a:ext cx="932340" cy="913874"/>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p>
              <a:pPr algn="l" defTabSz="932563" fontAlgn="auto">
                <a:spcAft>
                  <a:spcPts val="587"/>
                </a:spcAft>
              </a:pPr>
              <a:endParaRPr lang="en-US" sz="2200" dirty="0">
                <a:solidFill>
                  <a:schemeClr val="bg1"/>
                </a:solidFill>
                <a:latin typeface="+mj-lt"/>
                <a:cs typeface="Segoe UI Semibold" panose="020B0702040204020203" pitchFamily="34" charset="0"/>
              </a:endParaRPr>
            </a:p>
          </p:txBody>
        </p:sp>
        <p:sp>
          <p:nvSpPr>
            <p:cNvPr id="237" name="Rectangle 236"/>
            <p:cNvSpPr/>
            <p:nvPr/>
          </p:nvSpPr>
          <p:spPr>
            <a:xfrm>
              <a:off x="11070579" y="1137623"/>
              <a:ext cx="932340" cy="73640"/>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grpSp>
          <p:nvGrpSpPr>
            <p:cNvPr id="253" name="Group 252"/>
            <p:cNvGrpSpPr/>
            <p:nvPr/>
          </p:nvGrpSpPr>
          <p:grpSpPr>
            <a:xfrm>
              <a:off x="11241857" y="470429"/>
              <a:ext cx="589786" cy="567796"/>
              <a:chOff x="11677282" y="2098248"/>
              <a:chExt cx="398821" cy="383953"/>
            </a:xfrm>
          </p:grpSpPr>
          <p:sp>
            <p:nvSpPr>
              <p:cNvPr id="254" name="Rounded Rectangle 10"/>
              <p:cNvSpPr/>
              <p:nvPr/>
            </p:nvSpPr>
            <p:spPr bwMode="auto">
              <a:xfrm>
                <a:off x="11824146" y="2098248"/>
                <a:ext cx="251957" cy="286218"/>
              </a:xfrm>
              <a:custGeom>
                <a:avLst/>
                <a:gdLst/>
                <a:ahLst/>
                <a:cxnLst/>
                <a:rect l="l" t="t" r="r" b="b"/>
                <a:pathLst>
                  <a:path w="457200" h="457200">
                    <a:moveTo>
                      <a:pt x="76202" y="0"/>
                    </a:moveTo>
                    <a:lnTo>
                      <a:pt x="380998" y="0"/>
                    </a:lnTo>
                    <a:cubicBezTo>
                      <a:pt x="423083" y="0"/>
                      <a:pt x="457200" y="34117"/>
                      <a:pt x="457200" y="76202"/>
                    </a:cubicBezTo>
                    <a:lnTo>
                      <a:pt x="457200" y="380998"/>
                    </a:lnTo>
                    <a:cubicBezTo>
                      <a:pt x="457200" y="423083"/>
                      <a:pt x="423083" y="457200"/>
                      <a:pt x="380998" y="457200"/>
                    </a:cubicBezTo>
                    <a:lnTo>
                      <a:pt x="190701" y="457200"/>
                    </a:lnTo>
                    <a:lnTo>
                      <a:pt x="190701" y="232559"/>
                    </a:lnTo>
                    <a:cubicBezTo>
                      <a:pt x="190701" y="190474"/>
                      <a:pt x="156584" y="156357"/>
                      <a:pt x="114499" y="156357"/>
                    </a:cubicBezTo>
                    <a:lnTo>
                      <a:pt x="0" y="156357"/>
                    </a:lnTo>
                    <a:lnTo>
                      <a:pt x="0" y="76202"/>
                    </a:lnTo>
                    <a:cubicBezTo>
                      <a:pt x="0" y="34117"/>
                      <a:pt x="34117" y="0"/>
                      <a:pt x="76202" y="0"/>
                    </a:cubicBezTo>
                    <a:close/>
                  </a:path>
                </a:pathLst>
              </a:custGeom>
              <a:noFill/>
              <a:ln w="9525">
                <a:solidFill>
                  <a:schemeClr val="bg1">
                    <a:alpha val="23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Rounded Rectangle 11"/>
              <p:cNvSpPr/>
              <p:nvPr/>
            </p:nvSpPr>
            <p:spPr bwMode="auto">
              <a:xfrm>
                <a:off x="11677282" y="2195983"/>
                <a:ext cx="251957" cy="286218"/>
              </a:xfrm>
              <a:custGeom>
                <a:avLst/>
                <a:gdLst/>
                <a:ahLst/>
                <a:cxnLst/>
                <a:rect l="l" t="t" r="r" b="b"/>
                <a:pathLst>
                  <a:path w="457200" h="457200">
                    <a:moveTo>
                      <a:pt x="76202" y="0"/>
                    </a:moveTo>
                    <a:lnTo>
                      <a:pt x="266499" y="0"/>
                    </a:lnTo>
                    <a:lnTo>
                      <a:pt x="266499" y="224641"/>
                    </a:lnTo>
                    <a:cubicBezTo>
                      <a:pt x="266499" y="266726"/>
                      <a:pt x="300616" y="300843"/>
                      <a:pt x="342701" y="300843"/>
                    </a:cubicBezTo>
                    <a:lnTo>
                      <a:pt x="457200" y="300843"/>
                    </a:lnTo>
                    <a:lnTo>
                      <a:pt x="457200" y="380998"/>
                    </a:lnTo>
                    <a:cubicBezTo>
                      <a:pt x="457200" y="423083"/>
                      <a:pt x="423083" y="457200"/>
                      <a:pt x="380998" y="457200"/>
                    </a:cubicBezTo>
                    <a:lnTo>
                      <a:pt x="76202" y="457200"/>
                    </a:lnTo>
                    <a:cubicBezTo>
                      <a:pt x="34117" y="457200"/>
                      <a:pt x="0" y="423083"/>
                      <a:pt x="0" y="380998"/>
                    </a:cubicBezTo>
                    <a:lnTo>
                      <a:pt x="0" y="76202"/>
                    </a:lnTo>
                    <a:cubicBezTo>
                      <a:pt x="0" y="34117"/>
                      <a:pt x="34117" y="0"/>
                      <a:pt x="76202" y="0"/>
                    </a:cubicBezTo>
                    <a:close/>
                  </a:path>
                </a:pathLst>
              </a:custGeom>
              <a:noFill/>
              <a:ln w="9525">
                <a:solidFill>
                  <a:schemeClr val="bg1">
                    <a:alpha val="23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97337076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50" fill="hold"/>
                                        <p:tgtEl>
                                          <p:spTgt spid="4"/>
                                        </p:tgtEl>
                                        <p:attrNameLst>
                                          <p:attrName>ppt_x</p:attrName>
                                        </p:attrNameLst>
                                      </p:cBhvr>
                                      <p:tavLst>
                                        <p:tav tm="0">
                                          <p:val>
                                            <p:strVal val="0-#ppt_w/2"/>
                                          </p:val>
                                        </p:tav>
                                        <p:tav tm="100000">
                                          <p:val>
                                            <p:strVal val="#ppt_x"/>
                                          </p:val>
                                        </p:tav>
                                      </p:tavLst>
                                    </p:anim>
                                    <p:anim calcmode="lin" valueType="num">
                                      <p:cBhvr additive="base">
                                        <p:cTn id="8" dur="75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2" presetClass="entr" presetSubtype="4" decel="100000" fill="hold" nodeType="after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750" fill="hold"/>
                                        <p:tgtEl>
                                          <p:spTgt spid="6"/>
                                        </p:tgtEl>
                                        <p:attrNameLst>
                                          <p:attrName>ppt_x</p:attrName>
                                        </p:attrNameLst>
                                      </p:cBhvr>
                                      <p:tavLst>
                                        <p:tav tm="0">
                                          <p:val>
                                            <p:strVal val="#ppt_x"/>
                                          </p:val>
                                        </p:tav>
                                        <p:tav tm="100000">
                                          <p:val>
                                            <p:strVal val="#ppt_x"/>
                                          </p:val>
                                        </p:tav>
                                      </p:tavLst>
                                    </p:anim>
                                    <p:anim calcmode="lin" valueType="num">
                                      <p:cBhvr additive="base">
                                        <p:cTn id="13" dur="75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1268328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1753"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IN" dirty="0" smtClean="0"/>
              <a:t>Security practices</a:t>
            </a:r>
            <a:endParaRPr lang="en-IN" dirty="0"/>
          </a:p>
        </p:txBody>
      </p:sp>
      <p:sp>
        <p:nvSpPr>
          <p:cNvPr id="15" name="Rectangle 14"/>
          <p:cNvSpPr/>
          <p:nvPr/>
        </p:nvSpPr>
        <p:spPr>
          <a:xfrm flipH="1">
            <a:off x="8408404" y="1430530"/>
            <a:ext cx="1055555" cy="4572000"/>
          </a:xfrm>
          <a:custGeom>
            <a:avLst/>
            <a:gdLst/>
            <a:ahLst/>
            <a:cxnLst/>
            <a:rect l="l" t="t" r="r" b="b"/>
            <a:pathLst>
              <a:path w="1055555" h="5177917">
                <a:moveTo>
                  <a:pt x="0" y="0"/>
                </a:moveTo>
                <a:lnTo>
                  <a:pt x="353208" y="0"/>
                </a:lnTo>
                <a:cubicBezTo>
                  <a:pt x="788716" y="669822"/>
                  <a:pt x="1055555" y="1582852"/>
                  <a:pt x="1055555" y="2588959"/>
                </a:cubicBezTo>
                <a:cubicBezTo>
                  <a:pt x="1055555" y="3595065"/>
                  <a:pt x="788716" y="4508095"/>
                  <a:pt x="353208" y="5177917"/>
                </a:cubicBezTo>
                <a:lnTo>
                  <a:pt x="0" y="5177917"/>
                </a:lnTo>
                <a:cubicBezTo>
                  <a:pt x="453737" y="4508095"/>
                  <a:pt x="731744" y="3595065"/>
                  <a:pt x="731744" y="2588959"/>
                </a:cubicBezTo>
                <a:cubicBezTo>
                  <a:pt x="731744" y="1582852"/>
                  <a:pt x="453737" y="669822"/>
                  <a:pt x="0" y="0"/>
                </a:cubicBezTo>
                <a:close/>
              </a:path>
            </a:pathLst>
          </a:custGeom>
          <a:solidFill>
            <a:schemeClr val="bg1">
              <a:alpha val="25000"/>
            </a:schemeClr>
          </a:solidFill>
        </p:spPr>
        <p:txBody>
          <a:bodyPr wrap="square" rtlCol="0" anchor="ctr">
            <a:noAutofit/>
          </a:bodyPr>
          <a:lstStyle/>
          <a:p>
            <a:pPr algn="l"/>
            <a:endParaRPr lang="en-US" sz="2000" dirty="0">
              <a:solidFill>
                <a:srgbClr val="FFFFFF"/>
              </a:solidFill>
              <a:cs typeface="Segoe UI Light"/>
            </a:endParaRPr>
          </a:p>
        </p:txBody>
      </p:sp>
      <p:grpSp>
        <p:nvGrpSpPr>
          <p:cNvPr id="20" name="Group 19"/>
          <p:cNvGrpSpPr/>
          <p:nvPr/>
        </p:nvGrpSpPr>
        <p:grpSpPr>
          <a:xfrm>
            <a:off x="11070579" y="297389"/>
            <a:ext cx="932340" cy="913874"/>
            <a:chOff x="11070579" y="297389"/>
            <a:chExt cx="932340" cy="913874"/>
          </a:xfrm>
        </p:grpSpPr>
        <p:sp>
          <p:nvSpPr>
            <p:cNvPr id="28" name="Rectangle 27"/>
            <p:cNvSpPr/>
            <p:nvPr/>
          </p:nvSpPr>
          <p:spPr bwMode="auto">
            <a:xfrm>
              <a:off x="11070579" y="297389"/>
              <a:ext cx="932340" cy="913874"/>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p>
              <a:pPr algn="l" defTabSz="932563" fontAlgn="auto">
                <a:spcAft>
                  <a:spcPts val="587"/>
                </a:spcAft>
              </a:pPr>
              <a:endParaRPr lang="en-US" sz="2200" dirty="0">
                <a:solidFill>
                  <a:schemeClr val="bg1"/>
                </a:solidFill>
                <a:latin typeface="+mj-lt"/>
                <a:cs typeface="Segoe UI Semibold" panose="020B0702040204020203" pitchFamily="34" charset="0"/>
              </a:endParaRPr>
            </a:p>
          </p:txBody>
        </p:sp>
        <p:sp>
          <p:nvSpPr>
            <p:cNvPr id="29" name="Rectangle 28"/>
            <p:cNvSpPr/>
            <p:nvPr/>
          </p:nvSpPr>
          <p:spPr>
            <a:xfrm>
              <a:off x="11070579" y="1137623"/>
              <a:ext cx="932340" cy="73640"/>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grpSp>
          <p:nvGrpSpPr>
            <p:cNvPr id="30" name="Group 29"/>
            <p:cNvGrpSpPr/>
            <p:nvPr/>
          </p:nvGrpSpPr>
          <p:grpSpPr>
            <a:xfrm>
              <a:off x="11241857" y="470429"/>
              <a:ext cx="589786" cy="567796"/>
              <a:chOff x="11677282" y="2098248"/>
              <a:chExt cx="398821" cy="383953"/>
            </a:xfrm>
          </p:grpSpPr>
          <p:sp>
            <p:nvSpPr>
              <p:cNvPr id="31" name="Rounded Rectangle 10"/>
              <p:cNvSpPr/>
              <p:nvPr/>
            </p:nvSpPr>
            <p:spPr bwMode="auto">
              <a:xfrm>
                <a:off x="11824146" y="2098248"/>
                <a:ext cx="251957" cy="286218"/>
              </a:xfrm>
              <a:custGeom>
                <a:avLst/>
                <a:gdLst/>
                <a:ahLst/>
                <a:cxnLst/>
                <a:rect l="l" t="t" r="r" b="b"/>
                <a:pathLst>
                  <a:path w="457200" h="457200">
                    <a:moveTo>
                      <a:pt x="76202" y="0"/>
                    </a:moveTo>
                    <a:lnTo>
                      <a:pt x="380998" y="0"/>
                    </a:lnTo>
                    <a:cubicBezTo>
                      <a:pt x="423083" y="0"/>
                      <a:pt x="457200" y="34117"/>
                      <a:pt x="457200" y="76202"/>
                    </a:cubicBezTo>
                    <a:lnTo>
                      <a:pt x="457200" y="380998"/>
                    </a:lnTo>
                    <a:cubicBezTo>
                      <a:pt x="457200" y="423083"/>
                      <a:pt x="423083" y="457200"/>
                      <a:pt x="380998" y="457200"/>
                    </a:cubicBezTo>
                    <a:lnTo>
                      <a:pt x="190701" y="457200"/>
                    </a:lnTo>
                    <a:lnTo>
                      <a:pt x="190701" y="232559"/>
                    </a:lnTo>
                    <a:cubicBezTo>
                      <a:pt x="190701" y="190474"/>
                      <a:pt x="156584" y="156357"/>
                      <a:pt x="114499" y="156357"/>
                    </a:cubicBezTo>
                    <a:lnTo>
                      <a:pt x="0" y="156357"/>
                    </a:lnTo>
                    <a:lnTo>
                      <a:pt x="0" y="76202"/>
                    </a:lnTo>
                    <a:cubicBezTo>
                      <a:pt x="0" y="34117"/>
                      <a:pt x="34117" y="0"/>
                      <a:pt x="76202" y="0"/>
                    </a:cubicBezTo>
                    <a:close/>
                  </a:path>
                </a:pathLst>
              </a:custGeom>
              <a:noFill/>
              <a:ln w="9525">
                <a:solidFill>
                  <a:schemeClr val="bg1">
                    <a:alpha val="23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Rounded Rectangle 11"/>
              <p:cNvSpPr/>
              <p:nvPr/>
            </p:nvSpPr>
            <p:spPr bwMode="auto">
              <a:xfrm>
                <a:off x="11677282" y="2195983"/>
                <a:ext cx="251957" cy="286218"/>
              </a:xfrm>
              <a:custGeom>
                <a:avLst/>
                <a:gdLst/>
                <a:ahLst/>
                <a:cxnLst/>
                <a:rect l="l" t="t" r="r" b="b"/>
                <a:pathLst>
                  <a:path w="457200" h="457200">
                    <a:moveTo>
                      <a:pt x="76202" y="0"/>
                    </a:moveTo>
                    <a:lnTo>
                      <a:pt x="266499" y="0"/>
                    </a:lnTo>
                    <a:lnTo>
                      <a:pt x="266499" y="224641"/>
                    </a:lnTo>
                    <a:cubicBezTo>
                      <a:pt x="266499" y="266726"/>
                      <a:pt x="300616" y="300843"/>
                      <a:pt x="342701" y="300843"/>
                    </a:cubicBezTo>
                    <a:lnTo>
                      <a:pt x="457200" y="300843"/>
                    </a:lnTo>
                    <a:lnTo>
                      <a:pt x="457200" y="380998"/>
                    </a:lnTo>
                    <a:cubicBezTo>
                      <a:pt x="457200" y="423083"/>
                      <a:pt x="423083" y="457200"/>
                      <a:pt x="380998" y="457200"/>
                    </a:cubicBezTo>
                    <a:lnTo>
                      <a:pt x="76202" y="457200"/>
                    </a:lnTo>
                    <a:cubicBezTo>
                      <a:pt x="34117" y="457200"/>
                      <a:pt x="0" y="423083"/>
                      <a:pt x="0" y="380998"/>
                    </a:cubicBezTo>
                    <a:lnTo>
                      <a:pt x="0" y="76202"/>
                    </a:lnTo>
                    <a:cubicBezTo>
                      <a:pt x="0" y="34117"/>
                      <a:pt x="34117" y="0"/>
                      <a:pt x="76202" y="0"/>
                    </a:cubicBezTo>
                    <a:close/>
                  </a:path>
                </a:pathLst>
              </a:custGeom>
              <a:noFill/>
              <a:ln w="9525">
                <a:solidFill>
                  <a:schemeClr val="bg1">
                    <a:alpha val="23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7" name="Group 6"/>
          <p:cNvGrpSpPr/>
          <p:nvPr/>
        </p:nvGrpSpPr>
        <p:grpSpPr>
          <a:xfrm>
            <a:off x="-1" y="1401763"/>
            <a:ext cx="7869476" cy="5067300"/>
            <a:chOff x="-2" y="1401763"/>
            <a:chExt cx="12436477" cy="5067300"/>
          </a:xfrm>
        </p:grpSpPr>
        <p:sp>
          <p:nvSpPr>
            <p:cNvPr id="21" name="Rectangle 20"/>
            <p:cNvSpPr/>
            <p:nvPr/>
          </p:nvSpPr>
          <p:spPr bwMode="auto">
            <a:xfrm flipH="1">
              <a:off x="1669143" y="1407912"/>
              <a:ext cx="10767332" cy="1188720"/>
            </a:xfrm>
            <a:prstGeom prst="rect">
              <a:avLst/>
            </a:prstGeom>
            <a:solidFill>
              <a:schemeClr val="bg1">
                <a:lumMod val="95000"/>
              </a:schemeClr>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0" tIns="91440" rIns="91440" bIns="91440" numCol="1" spcCol="0" rtlCol="0" fromWordArt="0" anchor="ctr" anchorCtr="0" forceAA="0" compatLnSpc="1">
              <a:prstTxWarp prst="textNoShape">
                <a:avLst/>
              </a:prstTxWarp>
              <a:noAutofit/>
            </a:bodyPr>
            <a:lstStyle/>
            <a:p>
              <a:pPr defTabSz="932472">
                <a:spcBef>
                  <a:spcPct val="0"/>
                </a:spcBef>
                <a:spcAft>
                  <a:spcPct val="0"/>
                </a:spcAft>
              </a:pPr>
              <a:r>
                <a:rPr lang="en-GB" sz="2000" dirty="0">
                  <a:solidFill>
                    <a:schemeClr val="tx2"/>
                  </a:solidFill>
                  <a:cs typeface="Segoe UI" panose="020B0502040204020203" pitchFamily="34" charset="0"/>
                </a:rPr>
                <a:t>Build security into software code (SDL)</a:t>
              </a:r>
            </a:p>
          </p:txBody>
        </p:sp>
        <p:sp>
          <p:nvSpPr>
            <p:cNvPr id="23" name="Rectangle 22"/>
            <p:cNvSpPr/>
            <p:nvPr/>
          </p:nvSpPr>
          <p:spPr bwMode="auto">
            <a:xfrm flipH="1">
              <a:off x="1669143" y="2698722"/>
              <a:ext cx="10767332" cy="1188720"/>
            </a:xfrm>
            <a:prstGeom prst="rect">
              <a:avLst/>
            </a:prstGeom>
            <a:solidFill>
              <a:schemeClr val="bg1">
                <a:lumMod val="95000"/>
              </a:schemeClr>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0" tIns="91440" rIns="91440" bIns="91440" numCol="1" spcCol="0" rtlCol="0" fromWordArt="0" anchor="ctr" anchorCtr="0" forceAA="0" compatLnSpc="1">
              <a:prstTxWarp prst="textNoShape">
                <a:avLst/>
              </a:prstTxWarp>
              <a:noAutofit/>
            </a:bodyPr>
            <a:lstStyle/>
            <a:p>
              <a:pPr defTabSz="932472">
                <a:spcBef>
                  <a:spcPct val="0"/>
                </a:spcBef>
                <a:spcAft>
                  <a:spcPct val="0"/>
                </a:spcAft>
              </a:pPr>
              <a:r>
                <a:rPr lang="en-GB" sz="2000" dirty="0">
                  <a:solidFill>
                    <a:schemeClr val="tx2"/>
                  </a:solidFill>
                  <a:cs typeface="Segoe UI" panose="020B0502040204020203" pitchFamily="34" charset="0"/>
                </a:rPr>
                <a:t>Ensure Azure infrastructure is resilient to attack</a:t>
              </a:r>
            </a:p>
          </p:txBody>
        </p:sp>
        <p:sp>
          <p:nvSpPr>
            <p:cNvPr id="24" name="Rectangle 23"/>
            <p:cNvSpPr/>
            <p:nvPr/>
          </p:nvSpPr>
          <p:spPr bwMode="auto">
            <a:xfrm flipH="1">
              <a:off x="1669143" y="3989532"/>
              <a:ext cx="10767332" cy="1188720"/>
            </a:xfrm>
            <a:prstGeom prst="rect">
              <a:avLst/>
            </a:prstGeom>
            <a:solidFill>
              <a:schemeClr val="bg1">
                <a:lumMod val="95000"/>
              </a:schemeClr>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0" tIns="91440" rIns="91440" bIns="91440" numCol="1" spcCol="0" rtlCol="0" fromWordArt="0" anchor="ctr" anchorCtr="0" forceAA="0" compatLnSpc="1">
              <a:prstTxWarp prst="textNoShape">
                <a:avLst/>
              </a:prstTxWarp>
              <a:noAutofit/>
            </a:bodyPr>
            <a:lstStyle/>
            <a:p>
              <a:pPr defTabSz="932472">
                <a:spcBef>
                  <a:spcPct val="0"/>
                </a:spcBef>
                <a:spcAft>
                  <a:spcPct val="0"/>
                </a:spcAft>
              </a:pPr>
              <a:r>
                <a:rPr lang="en-GB" sz="2000" dirty="0">
                  <a:solidFill>
                    <a:schemeClr val="tx2"/>
                  </a:solidFill>
                  <a:cs typeface="Segoe UI" panose="020B0502040204020203" pitchFamily="34" charset="0"/>
                </a:rPr>
                <a:t>Safeguard user access to Azure environment</a:t>
              </a:r>
            </a:p>
          </p:txBody>
        </p:sp>
        <p:sp>
          <p:nvSpPr>
            <p:cNvPr id="25" name="Rectangle 24"/>
            <p:cNvSpPr/>
            <p:nvPr/>
          </p:nvSpPr>
          <p:spPr bwMode="auto">
            <a:xfrm flipH="1">
              <a:off x="1669143" y="5280343"/>
              <a:ext cx="10767332" cy="1188720"/>
            </a:xfrm>
            <a:prstGeom prst="rect">
              <a:avLst/>
            </a:prstGeom>
            <a:solidFill>
              <a:schemeClr val="bg1">
                <a:lumMod val="95000"/>
              </a:schemeClr>
            </a:solidFill>
            <a:ln>
              <a:noFill/>
              <a:headEnd type="none" w="med" len="med"/>
              <a:tailEnd type="none" w="med" len="med"/>
            </a:ln>
            <a:effectLst>
              <a:outerShdw blurRad="50800" dist="38100" dir="5400000" algn="t" rotWithShape="0">
                <a:schemeClr val="tx1">
                  <a:lumMod val="95000"/>
                  <a:lumOff val="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0" tIns="91440" rIns="91440" bIns="91440" numCol="1" spcCol="0" rtlCol="0" fromWordArt="0" anchor="ctr" anchorCtr="0" forceAA="0" compatLnSpc="1">
              <a:prstTxWarp prst="textNoShape">
                <a:avLst/>
              </a:prstTxWarp>
              <a:noAutofit/>
            </a:bodyPr>
            <a:lstStyle/>
            <a:p>
              <a:pPr defTabSz="932472">
                <a:spcBef>
                  <a:spcPct val="0"/>
                </a:spcBef>
                <a:spcAft>
                  <a:spcPct val="0"/>
                </a:spcAft>
              </a:pPr>
              <a:r>
                <a:rPr lang="en-GB" sz="2000" dirty="0">
                  <a:solidFill>
                    <a:schemeClr val="tx2"/>
                  </a:solidFill>
                  <a:cs typeface="Segoe UI" panose="020B0502040204020203" pitchFamily="34" charset="0"/>
                </a:rPr>
                <a:t>Keep customer data secure through encrypted communications</a:t>
              </a:r>
            </a:p>
          </p:txBody>
        </p:sp>
        <p:sp>
          <p:nvSpPr>
            <p:cNvPr id="26" name="Freeform 25"/>
            <p:cNvSpPr/>
            <p:nvPr/>
          </p:nvSpPr>
          <p:spPr>
            <a:xfrm>
              <a:off x="-2" y="1401763"/>
              <a:ext cx="4266386" cy="5067300"/>
            </a:xfrm>
            <a:custGeom>
              <a:avLst/>
              <a:gdLst>
                <a:gd name="connsiteX0" fmla="*/ 0 w 3283476"/>
                <a:gd name="connsiteY0" fmla="*/ 0 h 5067300"/>
                <a:gd name="connsiteX1" fmla="*/ 1801956 w 3283476"/>
                <a:gd name="connsiteY1" fmla="*/ 0 h 5067300"/>
                <a:gd name="connsiteX2" fmla="*/ 2000467 w 3283476"/>
                <a:gd name="connsiteY2" fmla="*/ 120599 h 5067300"/>
                <a:gd name="connsiteX3" fmla="*/ 3283476 w 3283476"/>
                <a:gd name="connsiteY3" fmla="*/ 2533650 h 5067300"/>
                <a:gd name="connsiteX4" fmla="*/ 2000467 w 3283476"/>
                <a:gd name="connsiteY4" fmla="*/ 4946702 h 5067300"/>
                <a:gd name="connsiteX5" fmla="*/ 1801956 w 3283476"/>
                <a:gd name="connsiteY5" fmla="*/ 5067300 h 5067300"/>
                <a:gd name="connsiteX6" fmla="*/ 0 w 3283476"/>
                <a:gd name="connsiteY6" fmla="*/ 5067300 h 506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3476" h="5067300">
                  <a:moveTo>
                    <a:pt x="0" y="0"/>
                  </a:moveTo>
                  <a:lnTo>
                    <a:pt x="1801956" y="0"/>
                  </a:lnTo>
                  <a:lnTo>
                    <a:pt x="2000467" y="120599"/>
                  </a:lnTo>
                  <a:cubicBezTo>
                    <a:pt x="2774543" y="643554"/>
                    <a:pt x="3283476" y="1529168"/>
                    <a:pt x="3283476" y="2533650"/>
                  </a:cubicBezTo>
                  <a:cubicBezTo>
                    <a:pt x="3283476" y="3538132"/>
                    <a:pt x="2774543" y="4423746"/>
                    <a:pt x="2000467" y="4946702"/>
                  </a:cubicBezTo>
                  <a:lnTo>
                    <a:pt x="1801956" y="5067300"/>
                  </a:lnTo>
                  <a:lnTo>
                    <a:pt x="0" y="5067300"/>
                  </a:lnTo>
                  <a:close/>
                </a:path>
              </a:pathLst>
            </a:custGeom>
            <a:solidFill>
              <a:schemeClr val="accent3"/>
            </a:solidFill>
            <a:ln w="107950">
              <a:noFill/>
              <a:miter lim="800000"/>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a:spcAft>
                  <a:spcPts val="1200"/>
                </a:spcAft>
              </a:pPr>
              <a:r>
                <a:rPr lang="en-GB" sz="3200" dirty="0">
                  <a:solidFill>
                    <a:schemeClr val="bg1"/>
                  </a:solidFill>
                  <a:latin typeface="Segoe UI Light"/>
                </a:rPr>
                <a:t>Customer knows how we help secure your data </a:t>
              </a:r>
            </a:p>
          </p:txBody>
        </p:sp>
      </p:grpSp>
      <p:grpSp>
        <p:nvGrpSpPr>
          <p:cNvPr id="4" name="Group 3"/>
          <p:cNvGrpSpPr/>
          <p:nvPr/>
        </p:nvGrpSpPr>
        <p:grpSpPr>
          <a:xfrm>
            <a:off x="0" y="1591582"/>
            <a:ext cx="12436475" cy="5402943"/>
            <a:chOff x="0" y="1591582"/>
            <a:chExt cx="12436475" cy="5402943"/>
          </a:xfrm>
        </p:grpSpPr>
        <p:grpSp>
          <p:nvGrpSpPr>
            <p:cNvPr id="3" name="Group 2"/>
            <p:cNvGrpSpPr/>
            <p:nvPr/>
          </p:nvGrpSpPr>
          <p:grpSpPr>
            <a:xfrm>
              <a:off x="0" y="6192059"/>
              <a:ext cx="12436475" cy="802466"/>
              <a:chOff x="0" y="6192059"/>
              <a:chExt cx="12436475" cy="802466"/>
            </a:xfrm>
          </p:grpSpPr>
          <p:sp>
            <p:nvSpPr>
              <p:cNvPr id="27" name="Rectangle 26"/>
              <p:cNvSpPr>
                <a:spLocks noChangeArrowheads="1"/>
              </p:cNvSpPr>
              <p:nvPr/>
            </p:nvSpPr>
            <p:spPr bwMode="auto">
              <a:xfrm>
                <a:off x="0" y="6938891"/>
                <a:ext cx="12435840" cy="55634"/>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7" name="Freeform 8"/>
              <p:cNvSpPr>
                <a:spLocks/>
              </p:cNvSpPr>
              <p:nvPr/>
            </p:nvSpPr>
            <p:spPr bwMode="auto">
              <a:xfrm>
                <a:off x="7702101" y="6455555"/>
                <a:ext cx="2309868" cy="53897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9"/>
              <p:cNvSpPr>
                <a:spLocks/>
              </p:cNvSpPr>
              <p:nvPr/>
            </p:nvSpPr>
            <p:spPr bwMode="auto">
              <a:xfrm>
                <a:off x="8920342" y="6192059"/>
                <a:ext cx="3516133" cy="802466"/>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17"/>
              <p:cNvSpPr>
                <a:spLocks/>
              </p:cNvSpPr>
              <p:nvPr/>
            </p:nvSpPr>
            <p:spPr bwMode="auto">
              <a:xfrm>
                <a:off x="10100942" y="6578748"/>
                <a:ext cx="1926601" cy="415777"/>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 name="Group 10"/>
            <p:cNvGrpSpPr/>
            <p:nvPr/>
          </p:nvGrpSpPr>
          <p:grpSpPr>
            <a:xfrm>
              <a:off x="8710281" y="1591582"/>
              <a:ext cx="2603375" cy="3783013"/>
              <a:chOff x="8982075" y="1211263"/>
              <a:chExt cx="2603375" cy="3783013"/>
            </a:xfrm>
          </p:grpSpPr>
          <p:sp>
            <p:nvSpPr>
              <p:cNvPr id="69" name="Rectangle 7"/>
              <p:cNvSpPr>
                <a:spLocks noChangeArrowheads="1"/>
              </p:cNvSpPr>
              <p:nvPr/>
            </p:nvSpPr>
            <p:spPr bwMode="auto">
              <a:xfrm>
                <a:off x="10326982" y="2367107"/>
                <a:ext cx="10802" cy="1018116"/>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IN"/>
              </a:p>
            </p:txBody>
          </p:sp>
          <p:sp>
            <p:nvSpPr>
              <p:cNvPr id="70" name="Rectangle 10"/>
              <p:cNvSpPr>
                <a:spLocks noChangeArrowheads="1"/>
              </p:cNvSpPr>
              <p:nvPr/>
            </p:nvSpPr>
            <p:spPr bwMode="auto">
              <a:xfrm>
                <a:off x="10953514" y="2831606"/>
                <a:ext cx="10802" cy="1533924"/>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IN"/>
              </a:p>
            </p:txBody>
          </p:sp>
          <p:sp>
            <p:nvSpPr>
              <p:cNvPr id="71" name="Rectangle 14"/>
              <p:cNvSpPr>
                <a:spLocks noChangeArrowheads="1"/>
              </p:cNvSpPr>
              <p:nvPr/>
            </p:nvSpPr>
            <p:spPr bwMode="auto">
              <a:xfrm>
                <a:off x="11288385" y="2553448"/>
                <a:ext cx="10802" cy="77236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IN"/>
              </a:p>
            </p:txBody>
          </p:sp>
          <p:sp>
            <p:nvSpPr>
              <p:cNvPr id="72" name="Rectangle 18"/>
              <p:cNvSpPr>
                <a:spLocks noChangeArrowheads="1"/>
              </p:cNvSpPr>
              <p:nvPr/>
            </p:nvSpPr>
            <p:spPr bwMode="auto">
              <a:xfrm>
                <a:off x="9365578" y="2847809"/>
                <a:ext cx="10802" cy="116394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IN"/>
              </a:p>
            </p:txBody>
          </p:sp>
          <p:sp>
            <p:nvSpPr>
              <p:cNvPr id="73" name="Rectangle 22"/>
              <p:cNvSpPr>
                <a:spLocks noChangeArrowheads="1"/>
              </p:cNvSpPr>
              <p:nvPr/>
            </p:nvSpPr>
            <p:spPr bwMode="auto">
              <a:xfrm>
                <a:off x="9700449" y="2569651"/>
                <a:ext cx="10802" cy="702148"/>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IN"/>
              </a:p>
            </p:txBody>
          </p:sp>
          <p:sp>
            <p:nvSpPr>
              <p:cNvPr id="74" name="Freeform 25"/>
              <p:cNvSpPr>
                <a:spLocks/>
              </p:cNvSpPr>
              <p:nvPr/>
            </p:nvSpPr>
            <p:spPr bwMode="auto">
              <a:xfrm>
                <a:off x="9808472" y="1497524"/>
                <a:ext cx="1401597" cy="920896"/>
              </a:xfrm>
              <a:custGeom>
                <a:avLst/>
                <a:gdLst>
                  <a:gd name="T0" fmla="*/ 903 w 1103"/>
                  <a:gd name="T1" fmla="*/ 412 h 724"/>
                  <a:gd name="T2" fmla="*/ 1103 w 1103"/>
                  <a:gd name="T3" fmla="*/ 156 h 724"/>
                  <a:gd name="T4" fmla="*/ 848 w 1103"/>
                  <a:gd name="T5" fmla="*/ 0 h 724"/>
                  <a:gd name="T6" fmla="*/ 696 w 1103"/>
                  <a:gd name="T7" fmla="*/ 277 h 724"/>
                  <a:gd name="T8" fmla="*/ 268 w 1103"/>
                  <a:gd name="T9" fmla="*/ 277 h 724"/>
                  <a:gd name="T10" fmla="*/ 268 w 1103"/>
                  <a:gd name="T11" fmla="*/ 277 h 724"/>
                  <a:gd name="T12" fmla="*/ 268 w 1103"/>
                  <a:gd name="T13" fmla="*/ 277 h 724"/>
                  <a:gd name="T14" fmla="*/ 79 w 1103"/>
                  <a:gd name="T15" fmla="*/ 400 h 724"/>
                  <a:gd name="T16" fmla="*/ 167 w 1103"/>
                  <a:gd name="T17" fmla="*/ 419 h 724"/>
                  <a:gd name="T18" fmla="*/ 274 w 1103"/>
                  <a:gd name="T19" fmla="*/ 348 h 724"/>
                  <a:gd name="T20" fmla="*/ 347 w 1103"/>
                  <a:gd name="T21" fmla="*/ 348 h 724"/>
                  <a:gd name="T22" fmla="*/ 232 w 1103"/>
                  <a:gd name="T23" fmla="*/ 393 h 724"/>
                  <a:gd name="T24" fmla="*/ 232 w 1103"/>
                  <a:gd name="T25" fmla="*/ 393 h 724"/>
                  <a:gd name="T26" fmla="*/ 0 w 1103"/>
                  <a:gd name="T27" fmla="*/ 590 h 724"/>
                  <a:gd name="T28" fmla="*/ 89 w 1103"/>
                  <a:gd name="T29" fmla="*/ 597 h 724"/>
                  <a:gd name="T30" fmla="*/ 262 w 1103"/>
                  <a:gd name="T31" fmla="*/ 451 h 724"/>
                  <a:gd name="T32" fmla="*/ 386 w 1103"/>
                  <a:gd name="T33" fmla="*/ 399 h 724"/>
                  <a:gd name="T34" fmla="*/ 244 w 1103"/>
                  <a:gd name="T35" fmla="*/ 480 h 724"/>
                  <a:gd name="T36" fmla="*/ 54 w 1103"/>
                  <a:gd name="T37" fmla="*/ 701 h 724"/>
                  <a:gd name="T38" fmla="*/ 143 w 1103"/>
                  <a:gd name="T39" fmla="*/ 694 h 724"/>
                  <a:gd name="T40" fmla="*/ 279 w 1103"/>
                  <a:gd name="T41" fmla="*/ 536 h 724"/>
                  <a:gd name="T42" fmla="*/ 413 w 1103"/>
                  <a:gd name="T43" fmla="*/ 448 h 724"/>
                  <a:gd name="T44" fmla="*/ 266 w 1103"/>
                  <a:gd name="T45" fmla="*/ 567 h 724"/>
                  <a:gd name="T46" fmla="*/ 383 w 1103"/>
                  <a:gd name="T47" fmla="*/ 703 h 724"/>
                  <a:gd name="T48" fmla="*/ 389 w 1103"/>
                  <a:gd name="T49" fmla="*/ 614 h 724"/>
                  <a:gd name="T50" fmla="*/ 351 w 1103"/>
                  <a:gd name="T51" fmla="*/ 569 h 724"/>
                  <a:gd name="T52" fmla="*/ 520 w 1103"/>
                  <a:gd name="T53" fmla="*/ 480 h 724"/>
                  <a:gd name="T54" fmla="*/ 672 w 1103"/>
                  <a:gd name="T55" fmla="*/ 488 h 724"/>
                  <a:gd name="T56" fmla="*/ 648 w 1103"/>
                  <a:gd name="T57" fmla="*/ 574 h 724"/>
                  <a:gd name="T58" fmla="*/ 480 w 1103"/>
                  <a:gd name="T59" fmla="*/ 621 h 724"/>
                  <a:gd name="T60" fmla="*/ 434 w 1103"/>
                  <a:gd name="T61" fmla="*/ 703 h 724"/>
                  <a:gd name="T62" fmla="*/ 562 w 1103"/>
                  <a:gd name="T63" fmla="*/ 667 h 724"/>
                  <a:gd name="T64" fmla="*/ 671 w 1103"/>
                  <a:gd name="T65" fmla="*/ 636 h 724"/>
                  <a:gd name="T66" fmla="*/ 746 w 1103"/>
                  <a:gd name="T67" fmla="*/ 615 h 724"/>
                  <a:gd name="T68" fmla="*/ 746 w 1103"/>
                  <a:gd name="T69" fmla="*/ 615 h 724"/>
                  <a:gd name="T70" fmla="*/ 746 w 1103"/>
                  <a:gd name="T71" fmla="*/ 615 h 724"/>
                  <a:gd name="T72" fmla="*/ 903 w 1103"/>
                  <a:gd name="T73" fmla="*/ 412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03" h="724">
                    <a:moveTo>
                      <a:pt x="903" y="412"/>
                    </a:moveTo>
                    <a:cubicBezTo>
                      <a:pt x="1103" y="156"/>
                      <a:pt x="1103" y="156"/>
                      <a:pt x="1103" y="156"/>
                    </a:cubicBezTo>
                    <a:cubicBezTo>
                      <a:pt x="848" y="0"/>
                      <a:pt x="848" y="0"/>
                      <a:pt x="848" y="0"/>
                    </a:cubicBezTo>
                    <a:cubicBezTo>
                      <a:pt x="696" y="277"/>
                      <a:pt x="696" y="277"/>
                      <a:pt x="696" y="277"/>
                    </a:cubicBezTo>
                    <a:cubicBezTo>
                      <a:pt x="268" y="277"/>
                      <a:pt x="268" y="277"/>
                      <a:pt x="268" y="277"/>
                    </a:cubicBezTo>
                    <a:cubicBezTo>
                      <a:pt x="268" y="277"/>
                      <a:pt x="268" y="277"/>
                      <a:pt x="268" y="277"/>
                    </a:cubicBezTo>
                    <a:cubicBezTo>
                      <a:pt x="268" y="277"/>
                      <a:pt x="268" y="277"/>
                      <a:pt x="268" y="277"/>
                    </a:cubicBezTo>
                    <a:cubicBezTo>
                      <a:pt x="79" y="400"/>
                      <a:pt x="79" y="400"/>
                      <a:pt x="79" y="400"/>
                    </a:cubicBezTo>
                    <a:cubicBezTo>
                      <a:pt x="98" y="430"/>
                      <a:pt x="137" y="438"/>
                      <a:pt x="167" y="419"/>
                    </a:cubicBezTo>
                    <a:cubicBezTo>
                      <a:pt x="274" y="348"/>
                      <a:pt x="274" y="348"/>
                      <a:pt x="274" y="348"/>
                    </a:cubicBezTo>
                    <a:cubicBezTo>
                      <a:pt x="347" y="348"/>
                      <a:pt x="347" y="348"/>
                      <a:pt x="347" y="348"/>
                    </a:cubicBezTo>
                    <a:cubicBezTo>
                      <a:pt x="232" y="393"/>
                      <a:pt x="232" y="393"/>
                      <a:pt x="232" y="393"/>
                    </a:cubicBezTo>
                    <a:cubicBezTo>
                      <a:pt x="232" y="393"/>
                      <a:pt x="232" y="393"/>
                      <a:pt x="232" y="393"/>
                    </a:cubicBezTo>
                    <a:cubicBezTo>
                      <a:pt x="0" y="590"/>
                      <a:pt x="0" y="590"/>
                      <a:pt x="0" y="590"/>
                    </a:cubicBezTo>
                    <a:cubicBezTo>
                      <a:pt x="23" y="617"/>
                      <a:pt x="63" y="620"/>
                      <a:pt x="89" y="597"/>
                    </a:cubicBezTo>
                    <a:cubicBezTo>
                      <a:pt x="262" y="451"/>
                      <a:pt x="262" y="451"/>
                      <a:pt x="262" y="451"/>
                    </a:cubicBezTo>
                    <a:cubicBezTo>
                      <a:pt x="386" y="399"/>
                      <a:pt x="386" y="399"/>
                      <a:pt x="386" y="399"/>
                    </a:cubicBezTo>
                    <a:cubicBezTo>
                      <a:pt x="244" y="480"/>
                      <a:pt x="244" y="480"/>
                      <a:pt x="244" y="480"/>
                    </a:cubicBezTo>
                    <a:cubicBezTo>
                      <a:pt x="54" y="701"/>
                      <a:pt x="54" y="701"/>
                      <a:pt x="54" y="701"/>
                    </a:cubicBezTo>
                    <a:cubicBezTo>
                      <a:pt x="80" y="724"/>
                      <a:pt x="120" y="721"/>
                      <a:pt x="143" y="694"/>
                    </a:cubicBezTo>
                    <a:cubicBezTo>
                      <a:pt x="279" y="536"/>
                      <a:pt x="279" y="536"/>
                      <a:pt x="279" y="536"/>
                    </a:cubicBezTo>
                    <a:cubicBezTo>
                      <a:pt x="413" y="448"/>
                      <a:pt x="413" y="448"/>
                      <a:pt x="413" y="448"/>
                    </a:cubicBezTo>
                    <a:cubicBezTo>
                      <a:pt x="266" y="567"/>
                      <a:pt x="266" y="567"/>
                      <a:pt x="266" y="567"/>
                    </a:cubicBezTo>
                    <a:cubicBezTo>
                      <a:pt x="383" y="703"/>
                      <a:pt x="383" y="703"/>
                      <a:pt x="383" y="703"/>
                    </a:cubicBezTo>
                    <a:cubicBezTo>
                      <a:pt x="409" y="680"/>
                      <a:pt x="412" y="640"/>
                      <a:pt x="389" y="614"/>
                    </a:cubicBezTo>
                    <a:cubicBezTo>
                      <a:pt x="351" y="569"/>
                      <a:pt x="351" y="569"/>
                      <a:pt x="351" y="569"/>
                    </a:cubicBezTo>
                    <a:cubicBezTo>
                      <a:pt x="520" y="480"/>
                      <a:pt x="520" y="480"/>
                      <a:pt x="520" y="480"/>
                    </a:cubicBezTo>
                    <a:cubicBezTo>
                      <a:pt x="520" y="480"/>
                      <a:pt x="614" y="416"/>
                      <a:pt x="672" y="488"/>
                    </a:cubicBezTo>
                    <a:cubicBezTo>
                      <a:pt x="698" y="522"/>
                      <a:pt x="693" y="558"/>
                      <a:pt x="648" y="574"/>
                    </a:cubicBezTo>
                    <a:cubicBezTo>
                      <a:pt x="480" y="621"/>
                      <a:pt x="480" y="621"/>
                      <a:pt x="480" y="621"/>
                    </a:cubicBezTo>
                    <a:cubicBezTo>
                      <a:pt x="444" y="631"/>
                      <a:pt x="424" y="668"/>
                      <a:pt x="434" y="703"/>
                    </a:cubicBezTo>
                    <a:cubicBezTo>
                      <a:pt x="562" y="667"/>
                      <a:pt x="562" y="667"/>
                      <a:pt x="562" y="667"/>
                    </a:cubicBezTo>
                    <a:cubicBezTo>
                      <a:pt x="671" y="636"/>
                      <a:pt x="671" y="636"/>
                      <a:pt x="671" y="636"/>
                    </a:cubicBezTo>
                    <a:cubicBezTo>
                      <a:pt x="746" y="615"/>
                      <a:pt x="746" y="615"/>
                      <a:pt x="746" y="615"/>
                    </a:cubicBezTo>
                    <a:cubicBezTo>
                      <a:pt x="746" y="615"/>
                      <a:pt x="746" y="615"/>
                      <a:pt x="746" y="615"/>
                    </a:cubicBezTo>
                    <a:cubicBezTo>
                      <a:pt x="746" y="615"/>
                      <a:pt x="746" y="615"/>
                      <a:pt x="746" y="615"/>
                    </a:cubicBezTo>
                    <a:lnTo>
                      <a:pt x="903" y="412"/>
                    </a:lnTo>
                    <a:close/>
                  </a:path>
                </a:pathLst>
              </a:custGeom>
              <a:solidFill>
                <a:srgbClr val="FE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5" name="Freeform 26"/>
              <p:cNvSpPr>
                <a:spLocks/>
              </p:cNvSpPr>
              <p:nvPr/>
            </p:nvSpPr>
            <p:spPr bwMode="auto">
              <a:xfrm>
                <a:off x="9316968" y="2496735"/>
                <a:ext cx="2030830" cy="372679"/>
              </a:xfrm>
              <a:custGeom>
                <a:avLst/>
                <a:gdLst>
                  <a:gd name="T0" fmla="*/ 0 w 752"/>
                  <a:gd name="T1" fmla="*/ 116 h 138"/>
                  <a:gd name="T2" fmla="*/ 4 w 752"/>
                  <a:gd name="T3" fmla="*/ 138 h 138"/>
                  <a:gd name="T4" fmla="*/ 752 w 752"/>
                  <a:gd name="T5" fmla="*/ 22 h 138"/>
                  <a:gd name="T6" fmla="*/ 748 w 752"/>
                  <a:gd name="T7" fmla="*/ 0 h 138"/>
                  <a:gd name="T8" fmla="*/ 0 w 752"/>
                  <a:gd name="T9" fmla="*/ 116 h 138"/>
                </a:gdLst>
                <a:ahLst/>
                <a:cxnLst>
                  <a:cxn ang="0">
                    <a:pos x="T0" y="T1"/>
                  </a:cxn>
                  <a:cxn ang="0">
                    <a:pos x="T2" y="T3"/>
                  </a:cxn>
                  <a:cxn ang="0">
                    <a:pos x="T4" y="T5"/>
                  </a:cxn>
                  <a:cxn ang="0">
                    <a:pos x="T6" y="T7"/>
                  </a:cxn>
                  <a:cxn ang="0">
                    <a:pos x="T8" y="T9"/>
                  </a:cxn>
                </a:cxnLst>
                <a:rect l="0" t="0" r="r" b="b"/>
                <a:pathLst>
                  <a:path w="752" h="138">
                    <a:moveTo>
                      <a:pt x="0" y="116"/>
                    </a:moveTo>
                    <a:lnTo>
                      <a:pt x="4" y="138"/>
                    </a:lnTo>
                    <a:lnTo>
                      <a:pt x="752" y="22"/>
                    </a:lnTo>
                    <a:lnTo>
                      <a:pt x="748" y="0"/>
                    </a:lnTo>
                    <a:lnTo>
                      <a:pt x="0" y="116"/>
                    </a:lnTo>
                    <a:close/>
                  </a:path>
                </a:pathLst>
              </a:custGeom>
              <a:solidFill>
                <a:schemeClr val="accent4">
                  <a:lumMod val="75000"/>
                </a:schemeClr>
              </a:solidFill>
              <a:ln>
                <a:noFill/>
              </a:ln>
              <a:extLst/>
            </p:spPr>
            <p:txBody>
              <a:bodyPr vert="horz" wrap="square" lIns="91440" tIns="45720" rIns="91440" bIns="45720" numCol="1" anchor="t" anchorCtr="0" compatLnSpc="1">
                <a:prstTxWarp prst="textNoShape">
                  <a:avLst/>
                </a:prstTxWarp>
              </a:bodyPr>
              <a:lstStyle/>
              <a:p>
                <a:endParaRPr lang="en-IN"/>
              </a:p>
            </p:txBody>
          </p:sp>
          <p:sp>
            <p:nvSpPr>
              <p:cNvPr id="76" name="Freeform 27"/>
              <p:cNvSpPr>
                <a:spLocks/>
              </p:cNvSpPr>
              <p:nvPr/>
            </p:nvSpPr>
            <p:spPr bwMode="auto">
              <a:xfrm>
                <a:off x="9657240" y="2523741"/>
                <a:ext cx="1350286" cy="334871"/>
              </a:xfrm>
              <a:custGeom>
                <a:avLst/>
                <a:gdLst>
                  <a:gd name="T0" fmla="*/ 4 w 500"/>
                  <a:gd name="T1" fmla="*/ 0 h 124"/>
                  <a:gd name="T2" fmla="*/ 0 w 500"/>
                  <a:gd name="T3" fmla="*/ 22 h 124"/>
                  <a:gd name="T4" fmla="*/ 496 w 500"/>
                  <a:gd name="T5" fmla="*/ 124 h 124"/>
                  <a:gd name="T6" fmla="*/ 500 w 500"/>
                  <a:gd name="T7" fmla="*/ 102 h 124"/>
                  <a:gd name="T8" fmla="*/ 4 w 500"/>
                  <a:gd name="T9" fmla="*/ 0 h 124"/>
                </a:gdLst>
                <a:ahLst/>
                <a:cxnLst>
                  <a:cxn ang="0">
                    <a:pos x="T0" y="T1"/>
                  </a:cxn>
                  <a:cxn ang="0">
                    <a:pos x="T2" y="T3"/>
                  </a:cxn>
                  <a:cxn ang="0">
                    <a:pos x="T4" y="T5"/>
                  </a:cxn>
                  <a:cxn ang="0">
                    <a:pos x="T6" y="T7"/>
                  </a:cxn>
                  <a:cxn ang="0">
                    <a:pos x="T8" y="T9"/>
                  </a:cxn>
                </a:cxnLst>
                <a:rect l="0" t="0" r="r" b="b"/>
                <a:pathLst>
                  <a:path w="500" h="124">
                    <a:moveTo>
                      <a:pt x="4" y="0"/>
                    </a:moveTo>
                    <a:lnTo>
                      <a:pt x="0" y="22"/>
                    </a:lnTo>
                    <a:lnTo>
                      <a:pt x="496" y="124"/>
                    </a:lnTo>
                    <a:lnTo>
                      <a:pt x="500" y="102"/>
                    </a:lnTo>
                    <a:lnTo>
                      <a:pt x="4" y="0"/>
                    </a:lnTo>
                    <a:close/>
                  </a:path>
                </a:pathLst>
              </a:custGeom>
              <a:solidFill>
                <a:schemeClr val="accent4">
                  <a:lumMod val="50000"/>
                </a:schemeClr>
              </a:solidFill>
              <a:ln>
                <a:noFill/>
              </a:ln>
              <a:extLst/>
            </p:spPr>
            <p:txBody>
              <a:bodyPr vert="horz" wrap="square" lIns="91440" tIns="45720" rIns="91440" bIns="45720" numCol="1" anchor="t" anchorCtr="0" compatLnSpc="1">
                <a:prstTxWarp prst="textNoShape">
                  <a:avLst/>
                </a:prstTxWarp>
              </a:bodyPr>
              <a:lstStyle/>
              <a:p>
                <a:endParaRPr lang="en-IN"/>
              </a:p>
            </p:txBody>
          </p:sp>
          <p:sp>
            <p:nvSpPr>
              <p:cNvPr id="77" name="Freeform 28"/>
              <p:cNvSpPr>
                <a:spLocks/>
              </p:cNvSpPr>
              <p:nvPr/>
            </p:nvSpPr>
            <p:spPr bwMode="auto">
              <a:xfrm>
                <a:off x="10886001" y="1211263"/>
                <a:ext cx="699449" cy="486103"/>
              </a:xfrm>
              <a:custGeom>
                <a:avLst/>
                <a:gdLst>
                  <a:gd name="T0" fmla="*/ 59 w 259"/>
                  <a:gd name="T1" fmla="*/ 0 h 180"/>
                  <a:gd name="T2" fmla="*/ 0 w 259"/>
                  <a:gd name="T3" fmla="*/ 106 h 180"/>
                  <a:gd name="T4" fmla="*/ 120 w 259"/>
                  <a:gd name="T5" fmla="*/ 180 h 180"/>
                  <a:gd name="T6" fmla="*/ 259 w 259"/>
                  <a:gd name="T7" fmla="*/ 0 h 180"/>
                  <a:gd name="T8" fmla="*/ 59 w 259"/>
                  <a:gd name="T9" fmla="*/ 0 h 180"/>
                </a:gdLst>
                <a:ahLst/>
                <a:cxnLst>
                  <a:cxn ang="0">
                    <a:pos x="T0" y="T1"/>
                  </a:cxn>
                  <a:cxn ang="0">
                    <a:pos x="T2" y="T3"/>
                  </a:cxn>
                  <a:cxn ang="0">
                    <a:pos x="T4" y="T5"/>
                  </a:cxn>
                  <a:cxn ang="0">
                    <a:pos x="T6" y="T7"/>
                  </a:cxn>
                  <a:cxn ang="0">
                    <a:pos x="T8" y="T9"/>
                  </a:cxn>
                </a:cxnLst>
                <a:rect l="0" t="0" r="r" b="b"/>
                <a:pathLst>
                  <a:path w="259" h="180">
                    <a:moveTo>
                      <a:pt x="59" y="0"/>
                    </a:moveTo>
                    <a:lnTo>
                      <a:pt x="0" y="106"/>
                    </a:lnTo>
                    <a:lnTo>
                      <a:pt x="120" y="180"/>
                    </a:lnTo>
                    <a:lnTo>
                      <a:pt x="259" y="0"/>
                    </a:lnTo>
                    <a:lnTo>
                      <a:pt x="59" y="0"/>
                    </a:lnTo>
                    <a:close/>
                  </a:path>
                </a:pathLst>
              </a:custGeom>
              <a:solidFill>
                <a:srgbClr val="EA1E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Oval 77"/>
              <p:cNvSpPr/>
              <p:nvPr/>
            </p:nvSpPr>
            <p:spPr bwMode="auto">
              <a:xfrm>
                <a:off x="8982075" y="4013200"/>
                <a:ext cx="762000" cy="7620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9" name="Oval 78"/>
              <p:cNvSpPr/>
              <p:nvPr/>
            </p:nvSpPr>
            <p:spPr bwMode="auto">
              <a:xfrm>
                <a:off x="10071100" y="3375025"/>
                <a:ext cx="511176" cy="511176"/>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Oval 79"/>
              <p:cNvSpPr/>
              <p:nvPr/>
            </p:nvSpPr>
            <p:spPr bwMode="auto">
              <a:xfrm>
                <a:off x="10633075" y="4337050"/>
                <a:ext cx="657226" cy="657226"/>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1" name="Oval 80"/>
              <p:cNvSpPr/>
              <p:nvPr/>
            </p:nvSpPr>
            <p:spPr bwMode="auto">
              <a:xfrm>
                <a:off x="9420225" y="3257550"/>
                <a:ext cx="555625" cy="555625"/>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2" name="Freeform 81"/>
              <p:cNvSpPr>
                <a:spLocks noEditPoints="1"/>
              </p:cNvSpPr>
              <p:nvPr/>
            </p:nvSpPr>
            <p:spPr bwMode="black">
              <a:xfrm flipH="1">
                <a:off x="9465035" y="3393131"/>
                <a:ext cx="466004" cy="284462"/>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bg1"/>
              </a:solidFill>
              <a:ln>
                <a:noFill/>
              </a:ln>
            </p:spPr>
            <p:txBody>
              <a:bodyPr vert="horz" wrap="square" lIns="80687" tIns="40344" rIns="80687" bIns="40344" numCol="1" anchor="t" anchorCtr="0" compatLnSpc="1">
                <a:prstTxWarp prst="textNoShape">
                  <a:avLst/>
                </a:prstTxWarp>
              </a:bodyPr>
              <a:lstStyle/>
              <a:p>
                <a:endParaRPr lang="en-US" sz="2157" dirty="0"/>
              </a:p>
            </p:txBody>
          </p:sp>
          <p:sp>
            <p:nvSpPr>
              <p:cNvPr id="83" name="Oval 82"/>
              <p:cNvSpPr/>
              <p:nvPr/>
            </p:nvSpPr>
            <p:spPr bwMode="auto">
              <a:xfrm>
                <a:off x="11026775" y="3321050"/>
                <a:ext cx="549275" cy="549275"/>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4" name="Rounded Rectangle 100"/>
              <p:cNvSpPr/>
              <p:nvPr/>
            </p:nvSpPr>
            <p:spPr bwMode="auto">
              <a:xfrm>
                <a:off x="10167448" y="3519543"/>
                <a:ext cx="318480" cy="222140"/>
              </a:xfrm>
              <a:custGeom>
                <a:avLst/>
                <a:gdLst/>
                <a:ahLst/>
                <a:cxnLst/>
                <a:rect l="l" t="t" r="r" b="b"/>
                <a:pathLst>
                  <a:path w="2489828" h="1736658">
                    <a:moveTo>
                      <a:pt x="1355416" y="1347324"/>
                    </a:moveTo>
                    <a:lnTo>
                      <a:pt x="1341361" y="1364359"/>
                    </a:lnTo>
                    <a:cubicBezTo>
                      <a:pt x="1338975" y="1363255"/>
                      <a:pt x="1337389" y="1362710"/>
                      <a:pt x="1338454" y="1359514"/>
                    </a:cubicBezTo>
                    <a:cubicBezTo>
                      <a:pt x="1339738" y="1355661"/>
                      <a:pt x="1343591" y="1353094"/>
                      <a:pt x="1347444" y="1350525"/>
                    </a:cubicBezTo>
                    <a:cubicBezTo>
                      <a:pt x="1350183" y="1349156"/>
                      <a:pt x="1352921" y="1348517"/>
                      <a:pt x="1355416" y="1347324"/>
                    </a:cubicBezTo>
                    <a:close/>
                    <a:moveTo>
                      <a:pt x="1367094" y="1326896"/>
                    </a:moveTo>
                    <a:lnTo>
                      <a:pt x="1367848" y="1327412"/>
                    </a:lnTo>
                    <a:cubicBezTo>
                      <a:pt x="1367397" y="1329533"/>
                      <a:pt x="1366290" y="1331232"/>
                      <a:pt x="1365170" y="1332923"/>
                    </a:cubicBezTo>
                    <a:cubicBezTo>
                      <a:pt x="1366081" y="1331614"/>
                      <a:pt x="1366343" y="1330154"/>
                      <a:pt x="1366708" y="1328694"/>
                    </a:cubicBezTo>
                    <a:close/>
                    <a:moveTo>
                      <a:pt x="1425858" y="1165049"/>
                    </a:moveTo>
                    <a:cubicBezTo>
                      <a:pt x="1426272" y="1184566"/>
                      <a:pt x="1422052" y="1203165"/>
                      <a:pt x="1416359" y="1221185"/>
                    </a:cubicBezTo>
                    <a:lnTo>
                      <a:pt x="1362623" y="1257938"/>
                    </a:lnTo>
                    <a:cubicBezTo>
                      <a:pt x="1362614" y="1257515"/>
                      <a:pt x="1362734" y="1257141"/>
                      <a:pt x="1362855" y="1256779"/>
                    </a:cubicBezTo>
                    <a:cubicBezTo>
                      <a:pt x="1364139" y="1254210"/>
                      <a:pt x="1366708" y="1254210"/>
                      <a:pt x="1367992" y="1251642"/>
                    </a:cubicBezTo>
                    <a:cubicBezTo>
                      <a:pt x="1369276" y="1250358"/>
                      <a:pt x="1369276" y="1247790"/>
                      <a:pt x="1370561" y="1246506"/>
                    </a:cubicBezTo>
                    <a:cubicBezTo>
                      <a:pt x="1373129" y="1242653"/>
                      <a:pt x="1376981" y="1240084"/>
                      <a:pt x="1380834" y="1236232"/>
                    </a:cubicBezTo>
                    <a:cubicBezTo>
                      <a:pt x="1384687" y="1232379"/>
                      <a:pt x="1388539" y="1227243"/>
                      <a:pt x="1392392" y="1222106"/>
                    </a:cubicBezTo>
                    <a:cubicBezTo>
                      <a:pt x="1393676" y="1219538"/>
                      <a:pt x="1393676" y="1216969"/>
                      <a:pt x="1394961" y="1215685"/>
                    </a:cubicBezTo>
                    <a:cubicBezTo>
                      <a:pt x="1398814" y="1209264"/>
                      <a:pt x="1406519" y="1206696"/>
                      <a:pt x="1411656" y="1201559"/>
                    </a:cubicBezTo>
                    <a:cubicBezTo>
                      <a:pt x="1414224" y="1197706"/>
                      <a:pt x="1414224" y="1195138"/>
                      <a:pt x="1414224" y="1191285"/>
                    </a:cubicBezTo>
                    <a:cubicBezTo>
                      <a:pt x="1414224" y="1186148"/>
                      <a:pt x="1415509" y="1183580"/>
                      <a:pt x="1418077" y="1178444"/>
                    </a:cubicBezTo>
                    <a:cubicBezTo>
                      <a:pt x="1419361" y="1175875"/>
                      <a:pt x="1421930" y="1173307"/>
                      <a:pt x="1423214" y="1169454"/>
                    </a:cubicBezTo>
                    <a:close/>
                    <a:moveTo>
                      <a:pt x="1427937" y="1152759"/>
                    </a:moveTo>
                    <a:lnTo>
                      <a:pt x="1428351" y="1152759"/>
                    </a:lnTo>
                    <a:lnTo>
                      <a:pt x="1427067" y="1163033"/>
                    </a:lnTo>
                    <a:cubicBezTo>
                      <a:pt x="1426714" y="1163740"/>
                      <a:pt x="1426360" y="1164446"/>
                      <a:pt x="1425858" y="1165049"/>
                    </a:cubicBezTo>
                    <a:close/>
                    <a:moveTo>
                      <a:pt x="799274" y="1104029"/>
                    </a:moveTo>
                    <a:cubicBezTo>
                      <a:pt x="796686" y="1103387"/>
                      <a:pt x="794098" y="1104029"/>
                      <a:pt x="792804" y="1106598"/>
                    </a:cubicBezTo>
                    <a:cubicBezTo>
                      <a:pt x="791510" y="1107884"/>
                      <a:pt x="792804" y="1109168"/>
                      <a:pt x="791510" y="1110453"/>
                    </a:cubicBezTo>
                    <a:lnTo>
                      <a:pt x="787628" y="1110453"/>
                    </a:lnTo>
                    <a:cubicBezTo>
                      <a:pt x="786334" y="1110453"/>
                      <a:pt x="785040" y="1109168"/>
                      <a:pt x="783745" y="1109168"/>
                    </a:cubicBezTo>
                    <a:lnTo>
                      <a:pt x="781158" y="1113022"/>
                    </a:lnTo>
                    <a:lnTo>
                      <a:pt x="786334" y="1114307"/>
                    </a:lnTo>
                    <a:cubicBezTo>
                      <a:pt x="788922" y="1114307"/>
                      <a:pt x="791510" y="1113022"/>
                      <a:pt x="795392" y="1113022"/>
                    </a:cubicBezTo>
                    <a:cubicBezTo>
                      <a:pt x="797980" y="1113022"/>
                      <a:pt x="801862" y="1115591"/>
                      <a:pt x="804450" y="1114307"/>
                    </a:cubicBezTo>
                    <a:cubicBezTo>
                      <a:pt x="807038" y="1113022"/>
                      <a:pt x="807038" y="1110453"/>
                      <a:pt x="805745" y="1109168"/>
                    </a:cubicBezTo>
                    <a:cubicBezTo>
                      <a:pt x="804450" y="1106598"/>
                      <a:pt x="801862" y="1104672"/>
                      <a:pt x="799274" y="1104029"/>
                    </a:cubicBezTo>
                    <a:close/>
                    <a:moveTo>
                      <a:pt x="737364" y="1082105"/>
                    </a:moveTo>
                    <a:cubicBezTo>
                      <a:pt x="734797" y="1082105"/>
                      <a:pt x="733514" y="1082105"/>
                      <a:pt x="733514" y="1083404"/>
                    </a:cubicBezTo>
                    <a:cubicBezTo>
                      <a:pt x="730947" y="1087299"/>
                      <a:pt x="737364" y="1086000"/>
                      <a:pt x="738647" y="1086000"/>
                    </a:cubicBezTo>
                    <a:cubicBezTo>
                      <a:pt x="741214" y="1086000"/>
                      <a:pt x="742497" y="1084702"/>
                      <a:pt x="745063" y="1084702"/>
                    </a:cubicBezTo>
                    <a:cubicBezTo>
                      <a:pt x="746347" y="1086000"/>
                      <a:pt x="748913" y="1087299"/>
                      <a:pt x="751480" y="1088597"/>
                    </a:cubicBezTo>
                    <a:cubicBezTo>
                      <a:pt x="755330" y="1092492"/>
                      <a:pt x="760463" y="1096388"/>
                      <a:pt x="764313" y="1100283"/>
                    </a:cubicBezTo>
                    <a:cubicBezTo>
                      <a:pt x="766879" y="1102879"/>
                      <a:pt x="769446" y="1104178"/>
                      <a:pt x="773295" y="1104178"/>
                    </a:cubicBezTo>
                    <a:cubicBezTo>
                      <a:pt x="775862" y="1104178"/>
                      <a:pt x="777145" y="1101581"/>
                      <a:pt x="775862" y="1098984"/>
                    </a:cubicBezTo>
                    <a:cubicBezTo>
                      <a:pt x="773295" y="1097686"/>
                      <a:pt x="770729" y="1096388"/>
                      <a:pt x="768163" y="1095089"/>
                    </a:cubicBezTo>
                    <a:cubicBezTo>
                      <a:pt x="761746" y="1092492"/>
                      <a:pt x="755330" y="1088597"/>
                      <a:pt x="750197" y="1084702"/>
                    </a:cubicBezTo>
                    <a:cubicBezTo>
                      <a:pt x="747630" y="1083404"/>
                      <a:pt x="745063" y="1082105"/>
                      <a:pt x="742497" y="1082105"/>
                    </a:cubicBezTo>
                    <a:close/>
                    <a:moveTo>
                      <a:pt x="1335565" y="1042800"/>
                    </a:moveTo>
                    <a:lnTo>
                      <a:pt x="1341023" y="1043603"/>
                    </a:lnTo>
                    <a:cubicBezTo>
                      <a:pt x="1343591" y="1046172"/>
                      <a:pt x="1347444" y="1050024"/>
                      <a:pt x="1348728" y="1053877"/>
                    </a:cubicBezTo>
                    <a:cubicBezTo>
                      <a:pt x="1350013" y="1056445"/>
                      <a:pt x="1350013" y="1059014"/>
                      <a:pt x="1352581" y="1062866"/>
                    </a:cubicBezTo>
                    <a:cubicBezTo>
                      <a:pt x="1353865" y="1065434"/>
                      <a:pt x="1355149" y="1066719"/>
                      <a:pt x="1356433" y="1071856"/>
                    </a:cubicBezTo>
                    <a:cubicBezTo>
                      <a:pt x="1357718" y="1075708"/>
                      <a:pt x="1359002" y="1078276"/>
                      <a:pt x="1361571" y="1080845"/>
                    </a:cubicBezTo>
                    <a:cubicBezTo>
                      <a:pt x="1364139" y="1084697"/>
                      <a:pt x="1364139" y="1088550"/>
                      <a:pt x="1365423" y="1092402"/>
                    </a:cubicBezTo>
                    <a:cubicBezTo>
                      <a:pt x="1365423" y="1096255"/>
                      <a:pt x="1367992" y="1096255"/>
                      <a:pt x="1369276" y="1100108"/>
                    </a:cubicBezTo>
                    <a:cubicBezTo>
                      <a:pt x="1370561" y="1102676"/>
                      <a:pt x="1370561" y="1106528"/>
                      <a:pt x="1373129" y="1110381"/>
                    </a:cubicBezTo>
                    <a:cubicBezTo>
                      <a:pt x="1374413" y="1114234"/>
                      <a:pt x="1378266" y="1114234"/>
                      <a:pt x="1380834" y="1116802"/>
                    </a:cubicBezTo>
                    <a:cubicBezTo>
                      <a:pt x="1383403" y="1120655"/>
                      <a:pt x="1382118" y="1125791"/>
                      <a:pt x="1382118" y="1129644"/>
                    </a:cubicBezTo>
                    <a:cubicBezTo>
                      <a:pt x="1380834" y="1137349"/>
                      <a:pt x="1384687" y="1142486"/>
                      <a:pt x="1392392" y="1143770"/>
                    </a:cubicBezTo>
                    <a:cubicBezTo>
                      <a:pt x="1397529" y="1145054"/>
                      <a:pt x="1401382" y="1142486"/>
                      <a:pt x="1405234" y="1142486"/>
                    </a:cubicBezTo>
                    <a:cubicBezTo>
                      <a:pt x="1409087" y="1141202"/>
                      <a:pt x="1412940" y="1142486"/>
                      <a:pt x="1416793" y="1141202"/>
                    </a:cubicBezTo>
                    <a:lnTo>
                      <a:pt x="1420646" y="1134781"/>
                    </a:lnTo>
                    <a:cubicBezTo>
                      <a:pt x="1423214" y="1133497"/>
                      <a:pt x="1427067" y="1136065"/>
                      <a:pt x="1429635" y="1132213"/>
                    </a:cubicBezTo>
                    <a:lnTo>
                      <a:pt x="1430919" y="1125791"/>
                    </a:lnTo>
                    <a:lnTo>
                      <a:pt x="1432822" y="1123889"/>
                    </a:lnTo>
                    <a:lnTo>
                      <a:pt x="1427937" y="1152759"/>
                    </a:lnTo>
                    <a:cubicBezTo>
                      <a:pt x="1426944" y="1150253"/>
                      <a:pt x="1424467" y="1151506"/>
                      <a:pt x="1423214" y="1152759"/>
                    </a:cubicBezTo>
                    <a:cubicBezTo>
                      <a:pt x="1420646" y="1155328"/>
                      <a:pt x="1419361" y="1155328"/>
                      <a:pt x="1415509" y="1156612"/>
                    </a:cubicBezTo>
                    <a:lnTo>
                      <a:pt x="1410372" y="1156612"/>
                    </a:lnTo>
                    <a:cubicBezTo>
                      <a:pt x="1409087" y="1156612"/>
                      <a:pt x="1409087" y="1157896"/>
                      <a:pt x="1407803" y="1159181"/>
                    </a:cubicBezTo>
                    <a:cubicBezTo>
                      <a:pt x="1403951" y="1160465"/>
                      <a:pt x="1400098" y="1159181"/>
                      <a:pt x="1396245" y="1159181"/>
                    </a:cubicBezTo>
                    <a:lnTo>
                      <a:pt x="1389824" y="1159181"/>
                    </a:lnTo>
                    <a:cubicBezTo>
                      <a:pt x="1387256" y="1157896"/>
                      <a:pt x="1387256" y="1156612"/>
                      <a:pt x="1385971" y="1154044"/>
                    </a:cubicBezTo>
                    <a:cubicBezTo>
                      <a:pt x="1383403" y="1146339"/>
                      <a:pt x="1376981" y="1142486"/>
                      <a:pt x="1373129" y="1136065"/>
                    </a:cubicBezTo>
                    <a:cubicBezTo>
                      <a:pt x="1369276" y="1128360"/>
                      <a:pt x="1362855" y="1120655"/>
                      <a:pt x="1361571" y="1112950"/>
                    </a:cubicBezTo>
                    <a:cubicBezTo>
                      <a:pt x="1360286" y="1107813"/>
                      <a:pt x="1360286" y="1102676"/>
                      <a:pt x="1357718" y="1097539"/>
                    </a:cubicBezTo>
                    <a:cubicBezTo>
                      <a:pt x="1353865" y="1091119"/>
                      <a:pt x="1347444" y="1084697"/>
                      <a:pt x="1344876" y="1076993"/>
                    </a:cubicBezTo>
                    <a:lnTo>
                      <a:pt x="1343591" y="1065434"/>
                    </a:lnTo>
                    <a:cubicBezTo>
                      <a:pt x="1342307" y="1062866"/>
                      <a:pt x="1339738" y="1059014"/>
                      <a:pt x="1338454" y="1055161"/>
                    </a:cubicBezTo>
                    <a:cubicBezTo>
                      <a:pt x="1337170" y="1053877"/>
                      <a:pt x="1330749" y="1047456"/>
                      <a:pt x="1332033" y="1044888"/>
                    </a:cubicBezTo>
                    <a:close/>
                    <a:moveTo>
                      <a:pt x="1419361" y="1034614"/>
                    </a:moveTo>
                    <a:cubicBezTo>
                      <a:pt x="1421930" y="1038466"/>
                      <a:pt x="1421930" y="1043603"/>
                      <a:pt x="1424498" y="1047456"/>
                    </a:cubicBezTo>
                    <a:cubicBezTo>
                      <a:pt x="1425962" y="1051116"/>
                      <a:pt x="1428261" y="1052690"/>
                      <a:pt x="1431200" y="1053177"/>
                    </a:cubicBezTo>
                    <a:lnTo>
                      <a:pt x="1433627" y="1077251"/>
                    </a:lnTo>
                    <a:lnTo>
                      <a:pt x="1423214" y="1071856"/>
                    </a:lnTo>
                    <a:cubicBezTo>
                      <a:pt x="1420646" y="1069287"/>
                      <a:pt x="1419361" y="1066719"/>
                      <a:pt x="1418077" y="1064150"/>
                    </a:cubicBezTo>
                    <a:cubicBezTo>
                      <a:pt x="1418077" y="1061582"/>
                      <a:pt x="1418077" y="1059014"/>
                      <a:pt x="1418077" y="1056445"/>
                    </a:cubicBezTo>
                    <a:cubicBezTo>
                      <a:pt x="1416793" y="1052593"/>
                      <a:pt x="1414224" y="1050024"/>
                      <a:pt x="1411656" y="1047456"/>
                    </a:cubicBezTo>
                    <a:cubicBezTo>
                      <a:pt x="1409087" y="1046172"/>
                      <a:pt x="1409087" y="1043603"/>
                      <a:pt x="1407803" y="1041035"/>
                    </a:cubicBezTo>
                    <a:cubicBezTo>
                      <a:pt x="1407803" y="1035898"/>
                      <a:pt x="1414224" y="1032046"/>
                      <a:pt x="1419361" y="1034614"/>
                    </a:cubicBezTo>
                    <a:close/>
                    <a:moveTo>
                      <a:pt x="586040" y="1028332"/>
                    </a:moveTo>
                    <a:cubicBezTo>
                      <a:pt x="588608" y="1030899"/>
                      <a:pt x="589892" y="1034750"/>
                      <a:pt x="591176" y="1037317"/>
                    </a:cubicBezTo>
                    <a:cubicBezTo>
                      <a:pt x="593743" y="1039884"/>
                      <a:pt x="596311" y="1043735"/>
                      <a:pt x="598879" y="1047586"/>
                    </a:cubicBezTo>
                    <a:cubicBezTo>
                      <a:pt x="604014" y="1056571"/>
                      <a:pt x="607866" y="1065556"/>
                      <a:pt x="613001" y="1074541"/>
                    </a:cubicBezTo>
                    <a:lnTo>
                      <a:pt x="618136" y="1079675"/>
                    </a:lnTo>
                    <a:cubicBezTo>
                      <a:pt x="619420" y="1082242"/>
                      <a:pt x="619420" y="1082242"/>
                      <a:pt x="620704" y="1084809"/>
                    </a:cubicBezTo>
                    <a:cubicBezTo>
                      <a:pt x="621987" y="1087376"/>
                      <a:pt x="623271" y="1088660"/>
                      <a:pt x="623271" y="1091227"/>
                    </a:cubicBezTo>
                    <a:cubicBezTo>
                      <a:pt x="624555" y="1095078"/>
                      <a:pt x="623271" y="1098929"/>
                      <a:pt x="623271" y="1102779"/>
                    </a:cubicBezTo>
                    <a:lnTo>
                      <a:pt x="628406" y="1113048"/>
                    </a:lnTo>
                    <a:cubicBezTo>
                      <a:pt x="630974" y="1115615"/>
                      <a:pt x="633542" y="1115615"/>
                      <a:pt x="637393" y="1116899"/>
                    </a:cubicBezTo>
                    <a:cubicBezTo>
                      <a:pt x="638677" y="1118182"/>
                      <a:pt x="639961" y="1120750"/>
                      <a:pt x="642528" y="1120750"/>
                    </a:cubicBezTo>
                    <a:cubicBezTo>
                      <a:pt x="643812" y="1122033"/>
                      <a:pt x="646380" y="1120750"/>
                      <a:pt x="647664" y="1122033"/>
                    </a:cubicBezTo>
                    <a:cubicBezTo>
                      <a:pt x="648948" y="1123317"/>
                      <a:pt x="648948" y="1124600"/>
                      <a:pt x="650231" y="1124600"/>
                    </a:cubicBezTo>
                    <a:cubicBezTo>
                      <a:pt x="652800" y="1127167"/>
                      <a:pt x="654083" y="1129735"/>
                      <a:pt x="657935" y="1131018"/>
                    </a:cubicBezTo>
                    <a:cubicBezTo>
                      <a:pt x="661786" y="1132302"/>
                      <a:pt x="668206" y="1132302"/>
                      <a:pt x="672057" y="1131018"/>
                    </a:cubicBezTo>
                    <a:cubicBezTo>
                      <a:pt x="675908" y="1129735"/>
                      <a:pt x="679760" y="1128451"/>
                      <a:pt x="683611" y="1129735"/>
                    </a:cubicBezTo>
                    <a:cubicBezTo>
                      <a:pt x="686179" y="1131018"/>
                      <a:pt x="687463" y="1133585"/>
                      <a:pt x="690030" y="1134869"/>
                    </a:cubicBezTo>
                    <a:cubicBezTo>
                      <a:pt x="693882" y="1137436"/>
                      <a:pt x="695165" y="1142570"/>
                      <a:pt x="699017" y="1143854"/>
                    </a:cubicBezTo>
                    <a:cubicBezTo>
                      <a:pt x="700301" y="1145138"/>
                      <a:pt x="701584" y="1145138"/>
                      <a:pt x="702868" y="1145138"/>
                    </a:cubicBezTo>
                    <a:cubicBezTo>
                      <a:pt x="708004" y="1146421"/>
                      <a:pt x="710571" y="1147705"/>
                      <a:pt x="713139" y="1150271"/>
                    </a:cubicBezTo>
                    <a:cubicBezTo>
                      <a:pt x="718274" y="1154123"/>
                      <a:pt x="716991" y="1161824"/>
                      <a:pt x="719558" y="1165674"/>
                    </a:cubicBezTo>
                    <a:cubicBezTo>
                      <a:pt x="722126" y="1168242"/>
                      <a:pt x="724694" y="1168242"/>
                      <a:pt x="727261" y="1169526"/>
                    </a:cubicBezTo>
                    <a:cubicBezTo>
                      <a:pt x="729829" y="1170809"/>
                      <a:pt x="729829" y="1174659"/>
                      <a:pt x="733680" y="1175943"/>
                    </a:cubicBezTo>
                    <a:lnTo>
                      <a:pt x="746519" y="1175943"/>
                    </a:lnTo>
                    <a:cubicBezTo>
                      <a:pt x="749087" y="1175943"/>
                      <a:pt x="752938" y="1174659"/>
                      <a:pt x="756789" y="1175943"/>
                    </a:cubicBezTo>
                    <a:lnTo>
                      <a:pt x="760641" y="1179794"/>
                    </a:lnTo>
                    <a:cubicBezTo>
                      <a:pt x="761925" y="1182361"/>
                      <a:pt x="760641" y="1183645"/>
                      <a:pt x="763208" y="1186212"/>
                    </a:cubicBezTo>
                    <a:cubicBezTo>
                      <a:pt x="768344" y="1190062"/>
                      <a:pt x="765776" y="1196480"/>
                      <a:pt x="764492" y="1202898"/>
                    </a:cubicBezTo>
                    <a:cubicBezTo>
                      <a:pt x="763208" y="1205465"/>
                      <a:pt x="763208" y="1208033"/>
                      <a:pt x="763208" y="1210600"/>
                    </a:cubicBezTo>
                    <a:cubicBezTo>
                      <a:pt x="763208" y="1213167"/>
                      <a:pt x="763208" y="1214450"/>
                      <a:pt x="764492" y="1217018"/>
                    </a:cubicBezTo>
                    <a:cubicBezTo>
                      <a:pt x="764492" y="1220868"/>
                      <a:pt x="763208" y="1222152"/>
                      <a:pt x="761925" y="1224719"/>
                    </a:cubicBezTo>
                    <a:cubicBezTo>
                      <a:pt x="758073" y="1232421"/>
                      <a:pt x="752938" y="1237554"/>
                      <a:pt x="749087" y="1243973"/>
                    </a:cubicBezTo>
                    <a:cubicBezTo>
                      <a:pt x="746519" y="1249107"/>
                      <a:pt x="746519" y="1256809"/>
                      <a:pt x="746519" y="1261942"/>
                    </a:cubicBezTo>
                    <a:cubicBezTo>
                      <a:pt x="747803" y="1270928"/>
                      <a:pt x="751654" y="1276062"/>
                      <a:pt x="758073" y="1282480"/>
                    </a:cubicBezTo>
                    <a:cubicBezTo>
                      <a:pt x="763208" y="1287614"/>
                      <a:pt x="763208" y="1294032"/>
                      <a:pt x="765776" y="1300450"/>
                    </a:cubicBezTo>
                    <a:cubicBezTo>
                      <a:pt x="765776" y="1303017"/>
                      <a:pt x="767060" y="1305584"/>
                      <a:pt x="768344" y="1308151"/>
                    </a:cubicBezTo>
                    <a:cubicBezTo>
                      <a:pt x="769627" y="1310718"/>
                      <a:pt x="772195" y="1312002"/>
                      <a:pt x="772195" y="1315853"/>
                    </a:cubicBezTo>
                    <a:cubicBezTo>
                      <a:pt x="772195" y="1317136"/>
                      <a:pt x="772195" y="1318420"/>
                      <a:pt x="772195" y="1320987"/>
                    </a:cubicBezTo>
                    <a:cubicBezTo>
                      <a:pt x="772195" y="1323554"/>
                      <a:pt x="773479" y="1329972"/>
                      <a:pt x="776046" y="1331256"/>
                    </a:cubicBezTo>
                    <a:cubicBezTo>
                      <a:pt x="777330" y="1332539"/>
                      <a:pt x="779898" y="1333823"/>
                      <a:pt x="782465" y="1333823"/>
                    </a:cubicBezTo>
                    <a:cubicBezTo>
                      <a:pt x="785033" y="1335106"/>
                      <a:pt x="788885" y="1336390"/>
                      <a:pt x="791452" y="1338957"/>
                    </a:cubicBezTo>
                    <a:cubicBezTo>
                      <a:pt x="794020" y="1341524"/>
                      <a:pt x="796588" y="1342808"/>
                      <a:pt x="799155" y="1345375"/>
                    </a:cubicBezTo>
                    <a:cubicBezTo>
                      <a:pt x="800439" y="1346659"/>
                      <a:pt x="800439" y="1349225"/>
                      <a:pt x="801723" y="1351793"/>
                    </a:cubicBezTo>
                    <a:cubicBezTo>
                      <a:pt x="803007" y="1354360"/>
                      <a:pt x="803007" y="1358211"/>
                      <a:pt x="803007" y="1362062"/>
                    </a:cubicBezTo>
                    <a:cubicBezTo>
                      <a:pt x="803007" y="1363345"/>
                      <a:pt x="801723" y="1364628"/>
                      <a:pt x="801723" y="1367196"/>
                    </a:cubicBezTo>
                    <a:cubicBezTo>
                      <a:pt x="801723" y="1368480"/>
                      <a:pt x="803007" y="1369763"/>
                      <a:pt x="801723" y="1371046"/>
                    </a:cubicBezTo>
                    <a:lnTo>
                      <a:pt x="801723" y="1376181"/>
                    </a:lnTo>
                    <a:cubicBezTo>
                      <a:pt x="801723" y="1380031"/>
                      <a:pt x="799155" y="1382599"/>
                      <a:pt x="799155" y="1386449"/>
                    </a:cubicBezTo>
                    <a:cubicBezTo>
                      <a:pt x="799155" y="1390300"/>
                      <a:pt x="800439" y="1392868"/>
                      <a:pt x="800439" y="1395434"/>
                    </a:cubicBezTo>
                    <a:cubicBezTo>
                      <a:pt x="799155" y="1398001"/>
                      <a:pt x="797872" y="1399285"/>
                      <a:pt x="799155" y="1403136"/>
                    </a:cubicBezTo>
                    <a:cubicBezTo>
                      <a:pt x="799155" y="1404419"/>
                      <a:pt x="799155" y="1405703"/>
                      <a:pt x="799155" y="1408270"/>
                    </a:cubicBezTo>
                    <a:cubicBezTo>
                      <a:pt x="799155" y="1409554"/>
                      <a:pt x="797872" y="1410837"/>
                      <a:pt x="797872" y="1413404"/>
                    </a:cubicBezTo>
                    <a:lnTo>
                      <a:pt x="796588" y="1418539"/>
                    </a:lnTo>
                    <a:lnTo>
                      <a:pt x="795304" y="1423673"/>
                    </a:lnTo>
                    <a:cubicBezTo>
                      <a:pt x="796588" y="1424957"/>
                      <a:pt x="796588" y="1426240"/>
                      <a:pt x="796588" y="1428807"/>
                    </a:cubicBezTo>
                    <a:cubicBezTo>
                      <a:pt x="796588" y="1430091"/>
                      <a:pt x="795304" y="1431375"/>
                      <a:pt x="795304" y="1433942"/>
                    </a:cubicBezTo>
                    <a:cubicBezTo>
                      <a:pt x="795304" y="1436509"/>
                      <a:pt x="796588" y="1437792"/>
                      <a:pt x="797872" y="1439076"/>
                    </a:cubicBezTo>
                    <a:cubicBezTo>
                      <a:pt x="800439" y="1444210"/>
                      <a:pt x="794020" y="1449345"/>
                      <a:pt x="792736" y="1454479"/>
                    </a:cubicBezTo>
                    <a:cubicBezTo>
                      <a:pt x="791452" y="1458330"/>
                      <a:pt x="790168" y="1462180"/>
                      <a:pt x="790168" y="1466031"/>
                    </a:cubicBezTo>
                    <a:lnTo>
                      <a:pt x="787732" y="1475775"/>
                    </a:lnTo>
                    <a:cubicBezTo>
                      <a:pt x="653361" y="1402919"/>
                      <a:pt x="563183" y="1260279"/>
                      <a:pt x="563183" y="1096578"/>
                    </a:cubicBezTo>
                    <a:lnTo>
                      <a:pt x="569630" y="1032630"/>
                    </a:lnTo>
                    <a:cubicBezTo>
                      <a:pt x="572113" y="1036233"/>
                      <a:pt x="574535" y="1038748"/>
                      <a:pt x="575770" y="1042452"/>
                    </a:cubicBezTo>
                    <a:cubicBezTo>
                      <a:pt x="578337" y="1045018"/>
                      <a:pt x="575770" y="1047586"/>
                      <a:pt x="575770" y="1050153"/>
                    </a:cubicBezTo>
                    <a:cubicBezTo>
                      <a:pt x="574486" y="1054003"/>
                      <a:pt x="579621" y="1056571"/>
                      <a:pt x="580905" y="1057855"/>
                    </a:cubicBezTo>
                    <a:cubicBezTo>
                      <a:pt x="583473" y="1060421"/>
                      <a:pt x="586040" y="1062988"/>
                      <a:pt x="587324" y="1065556"/>
                    </a:cubicBezTo>
                    <a:cubicBezTo>
                      <a:pt x="589892" y="1068123"/>
                      <a:pt x="591176" y="1071974"/>
                      <a:pt x="592460" y="1075824"/>
                    </a:cubicBezTo>
                    <a:lnTo>
                      <a:pt x="596311" y="1079675"/>
                    </a:lnTo>
                    <a:lnTo>
                      <a:pt x="598879" y="1075824"/>
                    </a:lnTo>
                    <a:lnTo>
                      <a:pt x="596311" y="1070690"/>
                    </a:lnTo>
                    <a:cubicBezTo>
                      <a:pt x="595027" y="1069406"/>
                      <a:pt x="593743" y="1066839"/>
                      <a:pt x="592460" y="1064272"/>
                    </a:cubicBezTo>
                    <a:cubicBezTo>
                      <a:pt x="591176" y="1062988"/>
                      <a:pt x="589892" y="1061705"/>
                      <a:pt x="588608" y="1059138"/>
                    </a:cubicBezTo>
                    <a:cubicBezTo>
                      <a:pt x="586040" y="1056571"/>
                      <a:pt x="584757" y="1054003"/>
                      <a:pt x="583473" y="1050153"/>
                    </a:cubicBezTo>
                    <a:cubicBezTo>
                      <a:pt x="582189" y="1046302"/>
                      <a:pt x="579621" y="1043735"/>
                      <a:pt x="579621" y="1039884"/>
                    </a:cubicBezTo>
                    <a:cubicBezTo>
                      <a:pt x="578337" y="1037317"/>
                      <a:pt x="578337" y="1034750"/>
                      <a:pt x="578337" y="1030899"/>
                    </a:cubicBezTo>
                    <a:cubicBezTo>
                      <a:pt x="578337" y="1027049"/>
                      <a:pt x="582189" y="1025765"/>
                      <a:pt x="586040" y="1028332"/>
                    </a:cubicBezTo>
                    <a:close/>
                    <a:moveTo>
                      <a:pt x="1769979" y="1006408"/>
                    </a:moveTo>
                    <a:lnTo>
                      <a:pt x="1769979" y="1206966"/>
                    </a:lnTo>
                    <a:lnTo>
                      <a:pt x="2103009" y="1206966"/>
                    </a:lnTo>
                    <a:lnTo>
                      <a:pt x="2103009" y="1378873"/>
                    </a:lnTo>
                    <a:lnTo>
                      <a:pt x="1769979" y="1378873"/>
                    </a:lnTo>
                    <a:lnTo>
                      <a:pt x="1769979" y="1579431"/>
                    </a:lnTo>
                    <a:lnTo>
                      <a:pt x="1341008" y="1292920"/>
                    </a:lnTo>
                    <a:close/>
                    <a:moveTo>
                      <a:pt x="874865" y="879164"/>
                    </a:moveTo>
                    <a:cubicBezTo>
                      <a:pt x="872278" y="879164"/>
                      <a:pt x="872278" y="884318"/>
                      <a:pt x="872278" y="886895"/>
                    </a:cubicBezTo>
                    <a:cubicBezTo>
                      <a:pt x="870986" y="893336"/>
                      <a:pt x="861933" y="897201"/>
                      <a:pt x="861933" y="902354"/>
                    </a:cubicBezTo>
                    <a:cubicBezTo>
                      <a:pt x="863226" y="910085"/>
                      <a:pt x="869692" y="911373"/>
                      <a:pt x="874865" y="911373"/>
                    </a:cubicBezTo>
                    <a:cubicBezTo>
                      <a:pt x="878745" y="910085"/>
                      <a:pt x="881331" y="910085"/>
                      <a:pt x="885210" y="911373"/>
                    </a:cubicBezTo>
                    <a:cubicBezTo>
                      <a:pt x="887797" y="911373"/>
                      <a:pt x="889090" y="913949"/>
                      <a:pt x="891677" y="913949"/>
                    </a:cubicBezTo>
                    <a:cubicBezTo>
                      <a:pt x="894263" y="913949"/>
                      <a:pt x="896849" y="913949"/>
                      <a:pt x="898142" y="911373"/>
                    </a:cubicBezTo>
                    <a:cubicBezTo>
                      <a:pt x="899435" y="907507"/>
                      <a:pt x="896849" y="906219"/>
                      <a:pt x="894263" y="903643"/>
                    </a:cubicBezTo>
                    <a:cubicBezTo>
                      <a:pt x="892970" y="902354"/>
                      <a:pt x="891677" y="901066"/>
                      <a:pt x="890383" y="899778"/>
                    </a:cubicBezTo>
                    <a:cubicBezTo>
                      <a:pt x="889090" y="897201"/>
                      <a:pt x="886504" y="893336"/>
                      <a:pt x="882624" y="894624"/>
                    </a:cubicBezTo>
                    <a:cubicBezTo>
                      <a:pt x="881331" y="894624"/>
                      <a:pt x="881331" y="895912"/>
                      <a:pt x="880038" y="895912"/>
                    </a:cubicBezTo>
                    <a:lnTo>
                      <a:pt x="876158" y="894624"/>
                    </a:lnTo>
                    <a:cubicBezTo>
                      <a:pt x="874865" y="893336"/>
                      <a:pt x="876158" y="892048"/>
                      <a:pt x="876158" y="889471"/>
                    </a:cubicBezTo>
                    <a:cubicBezTo>
                      <a:pt x="877451" y="888183"/>
                      <a:pt x="877451" y="885606"/>
                      <a:pt x="878745" y="883030"/>
                    </a:cubicBezTo>
                    <a:lnTo>
                      <a:pt x="877451" y="879164"/>
                    </a:lnTo>
                    <a:cubicBezTo>
                      <a:pt x="876158" y="879164"/>
                      <a:pt x="876158" y="879164"/>
                      <a:pt x="874865" y="879164"/>
                    </a:cubicBezTo>
                    <a:close/>
                    <a:moveTo>
                      <a:pt x="1125354" y="850902"/>
                    </a:moveTo>
                    <a:cubicBezTo>
                      <a:pt x="1124056" y="850902"/>
                      <a:pt x="1122757" y="852202"/>
                      <a:pt x="1121459" y="853502"/>
                    </a:cubicBezTo>
                    <a:cubicBezTo>
                      <a:pt x="1120160" y="854801"/>
                      <a:pt x="1118862" y="856101"/>
                      <a:pt x="1117564" y="856101"/>
                    </a:cubicBezTo>
                    <a:cubicBezTo>
                      <a:pt x="1116265" y="857401"/>
                      <a:pt x="1114967" y="856101"/>
                      <a:pt x="1113669" y="857401"/>
                    </a:cubicBezTo>
                    <a:cubicBezTo>
                      <a:pt x="1113669" y="858701"/>
                      <a:pt x="1114967" y="858701"/>
                      <a:pt x="1114967" y="860001"/>
                    </a:cubicBezTo>
                    <a:cubicBezTo>
                      <a:pt x="1114967" y="862600"/>
                      <a:pt x="1111072" y="861300"/>
                      <a:pt x="1112370" y="863900"/>
                    </a:cubicBezTo>
                    <a:cubicBezTo>
                      <a:pt x="1112370" y="865199"/>
                      <a:pt x="1113669" y="865199"/>
                      <a:pt x="1114967" y="866499"/>
                    </a:cubicBezTo>
                    <a:lnTo>
                      <a:pt x="1114967" y="870398"/>
                    </a:lnTo>
                    <a:cubicBezTo>
                      <a:pt x="1114967" y="871698"/>
                      <a:pt x="1114967" y="872997"/>
                      <a:pt x="1111072" y="874297"/>
                    </a:cubicBezTo>
                    <a:cubicBezTo>
                      <a:pt x="1111072" y="875597"/>
                      <a:pt x="1111072" y="876896"/>
                      <a:pt x="1111072" y="879496"/>
                    </a:cubicBezTo>
                    <a:lnTo>
                      <a:pt x="1112370" y="879496"/>
                    </a:lnTo>
                    <a:cubicBezTo>
                      <a:pt x="1113669" y="879496"/>
                      <a:pt x="1113669" y="879496"/>
                      <a:pt x="1114967" y="879496"/>
                    </a:cubicBezTo>
                    <a:cubicBezTo>
                      <a:pt x="1116265" y="879496"/>
                      <a:pt x="1117564" y="880795"/>
                      <a:pt x="1118862" y="880795"/>
                    </a:cubicBezTo>
                    <a:cubicBezTo>
                      <a:pt x="1120160" y="880795"/>
                      <a:pt x="1120160" y="879496"/>
                      <a:pt x="1121459" y="878196"/>
                    </a:cubicBezTo>
                    <a:cubicBezTo>
                      <a:pt x="1122757" y="878196"/>
                      <a:pt x="1122757" y="876896"/>
                      <a:pt x="1124056" y="876896"/>
                    </a:cubicBezTo>
                    <a:cubicBezTo>
                      <a:pt x="1125354" y="875597"/>
                      <a:pt x="1125354" y="875597"/>
                      <a:pt x="1127950" y="874297"/>
                    </a:cubicBezTo>
                    <a:cubicBezTo>
                      <a:pt x="1129249" y="872997"/>
                      <a:pt x="1129249" y="871698"/>
                      <a:pt x="1130547" y="871698"/>
                    </a:cubicBezTo>
                    <a:cubicBezTo>
                      <a:pt x="1130547" y="869098"/>
                      <a:pt x="1129249" y="867799"/>
                      <a:pt x="1129249" y="861300"/>
                    </a:cubicBezTo>
                    <a:cubicBezTo>
                      <a:pt x="1129249" y="860001"/>
                      <a:pt x="1131845" y="860001"/>
                      <a:pt x="1131845" y="858701"/>
                    </a:cubicBezTo>
                    <a:lnTo>
                      <a:pt x="1127950" y="852202"/>
                    </a:lnTo>
                    <a:cubicBezTo>
                      <a:pt x="1126652" y="852202"/>
                      <a:pt x="1126652" y="850902"/>
                      <a:pt x="1125354" y="850902"/>
                    </a:cubicBezTo>
                    <a:close/>
                    <a:moveTo>
                      <a:pt x="1222389" y="844426"/>
                    </a:moveTo>
                    <a:cubicBezTo>
                      <a:pt x="1221084" y="845060"/>
                      <a:pt x="1220105" y="846645"/>
                      <a:pt x="1220105" y="848548"/>
                    </a:cubicBezTo>
                    <a:cubicBezTo>
                      <a:pt x="1220105" y="851084"/>
                      <a:pt x="1221410" y="853620"/>
                      <a:pt x="1224019" y="852352"/>
                    </a:cubicBezTo>
                    <a:cubicBezTo>
                      <a:pt x="1226628" y="852352"/>
                      <a:pt x="1226628" y="848548"/>
                      <a:pt x="1226628" y="846011"/>
                    </a:cubicBezTo>
                    <a:cubicBezTo>
                      <a:pt x="1225323" y="844108"/>
                      <a:pt x="1223693" y="843792"/>
                      <a:pt x="1222389" y="844426"/>
                    </a:cubicBezTo>
                    <a:close/>
                    <a:moveTo>
                      <a:pt x="1143190" y="820466"/>
                    </a:moveTo>
                    <a:cubicBezTo>
                      <a:pt x="1141893" y="821747"/>
                      <a:pt x="1140595" y="821747"/>
                      <a:pt x="1139298" y="821747"/>
                    </a:cubicBezTo>
                    <a:cubicBezTo>
                      <a:pt x="1138001" y="821747"/>
                      <a:pt x="1138001" y="823028"/>
                      <a:pt x="1138001" y="824309"/>
                    </a:cubicBezTo>
                    <a:cubicBezTo>
                      <a:pt x="1138001" y="825590"/>
                      <a:pt x="1136703" y="824309"/>
                      <a:pt x="1136703" y="825590"/>
                    </a:cubicBezTo>
                    <a:cubicBezTo>
                      <a:pt x="1135406" y="826871"/>
                      <a:pt x="1136703" y="826871"/>
                      <a:pt x="1134109" y="829434"/>
                    </a:cubicBezTo>
                    <a:cubicBezTo>
                      <a:pt x="1132811" y="830715"/>
                      <a:pt x="1134109" y="831996"/>
                      <a:pt x="1134109" y="833277"/>
                    </a:cubicBezTo>
                    <a:cubicBezTo>
                      <a:pt x="1136703" y="833277"/>
                      <a:pt x="1134109" y="835840"/>
                      <a:pt x="1132811" y="837121"/>
                    </a:cubicBezTo>
                    <a:cubicBezTo>
                      <a:pt x="1132811" y="838402"/>
                      <a:pt x="1134109" y="838402"/>
                      <a:pt x="1134109" y="839683"/>
                    </a:cubicBezTo>
                    <a:cubicBezTo>
                      <a:pt x="1134109" y="840964"/>
                      <a:pt x="1134109" y="840964"/>
                      <a:pt x="1135406" y="843526"/>
                    </a:cubicBezTo>
                    <a:cubicBezTo>
                      <a:pt x="1136703" y="844807"/>
                      <a:pt x="1138001" y="844807"/>
                      <a:pt x="1138001" y="848651"/>
                    </a:cubicBezTo>
                    <a:cubicBezTo>
                      <a:pt x="1138001" y="849932"/>
                      <a:pt x="1139298" y="851213"/>
                      <a:pt x="1140595" y="851213"/>
                    </a:cubicBezTo>
                    <a:lnTo>
                      <a:pt x="1145785" y="852494"/>
                    </a:lnTo>
                    <a:cubicBezTo>
                      <a:pt x="1147083" y="853775"/>
                      <a:pt x="1141893" y="856337"/>
                      <a:pt x="1144488" y="857618"/>
                    </a:cubicBezTo>
                    <a:cubicBezTo>
                      <a:pt x="1145785" y="857618"/>
                      <a:pt x="1147083" y="856337"/>
                      <a:pt x="1148380" y="857618"/>
                    </a:cubicBezTo>
                    <a:cubicBezTo>
                      <a:pt x="1149677" y="862743"/>
                      <a:pt x="1141893" y="861462"/>
                      <a:pt x="1140595" y="864025"/>
                    </a:cubicBezTo>
                    <a:cubicBezTo>
                      <a:pt x="1139298" y="865306"/>
                      <a:pt x="1140595" y="865306"/>
                      <a:pt x="1140595" y="866587"/>
                    </a:cubicBezTo>
                    <a:cubicBezTo>
                      <a:pt x="1140595" y="867868"/>
                      <a:pt x="1139298" y="867868"/>
                      <a:pt x="1139298" y="870430"/>
                    </a:cubicBezTo>
                    <a:cubicBezTo>
                      <a:pt x="1139298" y="871711"/>
                      <a:pt x="1140595" y="871711"/>
                      <a:pt x="1139298" y="872992"/>
                    </a:cubicBezTo>
                    <a:cubicBezTo>
                      <a:pt x="1139298" y="874273"/>
                      <a:pt x="1138001" y="874273"/>
                      <a:pt x="1136703" y="875554"/>
                    </a:cubicBezTo>
                    <a:cubicBezTo>
                      <a:pt x="1140595" y="878117"/>
                      <a:pt x="1140595" y="879398"/>
                      <a:pt x="1141893" y="879398"/>
                    </a:cubicBezTo>
                    <a:cubicBezTo>
                      <a:pt x="1143190" y="879398"/>
                      <a:pt x="1144488" y="879398"/>
                      <a:pt x="1148380" y="880679"/>
                    </a:cubicBezTo>
                    <a:lnTo>
                      <a:pt x="1141893" y="881960"/>
                    </a:lnTo>
                    <a:cubicBezTo>
                      <a:pt x="1140595" y="881960"/>
                      <a:pt x="1139298" y="881960"/>
                      <a:pt x="1138001" y="883241"/>
                    </a:cubicBezTo>
                    <a:cubicBezTo>
                      <a:pt x="1138001" y="884522"/>
                      <a:pt x="1136703" y="885803"/>
                      <a:pt x="1135406" y="887084"/>
                    </a:cubicBezTo>
                    <a:cubicBezTo>
                      <a:pt x="1134109" y="888366"/>
                      <a:pt x="1132811" y="888366"/>
                      <a:pt x="1131513" y="889647"/>
                    </a:cubicBezTo>
                    <a:cubicBezTo>
                      <a:pt x="1131513" y="890928"/>
                      <a:pt x="1131513" y="892209"/>
                      <a:pt x="1132811" y="892209"/>
                    </a:cubicBezTo>
                    <a:cubicBezTo>
                      <a:pt x="1135406" y="892209"/>
                      <a:pt x="1135406" y="890928"/>
                      <a:pt x="1136703" y="889647"/>
                    </a:cubicBezTo>
                    <a:cubicBezTo>
                      <a:pt x="1138001" y="889647"/>
                      <a:pt x="1139298" y="888366"/>
                      <a:pt x="1141893" y="888366"/>
                    </a:cubicBezTo>
                    <a:cubicBezTo>
                      <a:pt x="1143190" y="888366"/>
                      <a:pt x="1144488" y="888366"/>
                      <a:pt x="1145785" y="887084"/>
                    </a:cubicBezTo>
                    <a:cubicBezTo>
                      <a:pt x="1147083" y="885803"/>
                      <a:pt x="1148380" y="887084"/>
                      <a:pt x="1149677" y="887084"/>
                    </a:cubicBezTo>
                    <a:cubicBezTo>
                      <a:pt x="1152272" y="887084"/>
                      <a:pt x="1153569" y="885803"/>
                      <a:pt x="1154867" y="884522"/>
                    </a:cubicBezTo>
                    <a:cubicBezTo>
                      <a:pt x="1157462" y="884522"/>
                      <a:pt x="1158759" y="885803"/>
                      <a:pt x="1160057" y="885803"/>
                    </a:cubicBezTo>
                    <a:lnTo>
                      <a:pt x="1165246" y="885803"/>
                    </a:lnTo>
                    <a:lnTo>
                      <a:pt x="1166544" y="879398"/>
                    </a:lnTo>
                    <a:cubicBezTo>
                      <a:pt x="1169138" y="876836"/>
                      <a:pt x="1170436" y="876836"/>
                      <a:pt x="1170436" y="875554"/>
                    </a:cubicBezTo>
                    <a:cubicBezTo>
                      <a:pt x="1171733" y="875554"/>
                      <a:pt x="1171733" y="874273"/>
                      <a:pt x="1171733" y="872992"/>
                    </a:cubicBezTo>
                    <a:cubicBezTo>
                      <a:pt x="1171733" y="870430"/>
                      <a:pt x="1171733" y="867868"/>
                      <a:pt x="1167841" y="867868"/>
                    </a:cubicBezTo>
                    <a:cubicBezTo>
                      <a:pt x="1166544" y="867868"/>
                      <a:pt x="1165246" y="869149"/>
                      <a:pt x="1163949" y="865306"/>
                    </a:cubicBezTo>
                    <a:cubicBezTo>
                      <a:pt x="1163949" y="864025"/>
                      <a:pt x="1163949" y="864025"/>
                      <a:pt x="1163949" y="862743"/>
                    </a:cubicBezTo>
                    <a:cubicBezTo>
                      <a:pt x="1161354" y="858900"/>
                      <a:pt x="1160057" y="858900"/>
                      <a:pt x="1157462" y="855056"/>
                    </a:cubicBezTo>
                    <a:cubicBezTo>
                      <a:pt x="1156165" y="853775"/>
                      <a:pt x="1156165" y="852494"/>
                      <a:pt x="1154867" y="851213"/>
                    </a:cubicBezTo>
                    <a:cubicBezTo>
                      <a:pt x="1154867" y="849932"/>
                      <a:pt x="1153569" y="848651"/>
                      <a:pt x="1152272" y="848651"/>
                    </a:cubicBezTo>
                    <a:cubicBezTo>
                      <a:pt x="1152272" y="847370"/>
                      <a:pt x="1152272" y="846089"/>
                      <a:pt x="1150975" y="846089"/>
                    </a:cubicBezTo>
                    <a:cubicBezTo>
                      <a:pt x="1150975" y="844807"/>
                      <a:pt x="1149677" y="844807"/>
                      <a:pt x="1148380" y="843526"/>
                    </a:cubicBezTo>
                    <a:cubicBezTo>
                      <a:pt x="1148380" y="842245"/>
                      <a:pt x="1148380" y="842245"/>
                      <a:pt x="1149677" y="840964"/>
                    </a:cubicBezTo>
                    <a:cubicBezTo>
                      <a:pt x="1149677" y="839683"/>
                      <a:pt x="1149677" y="839683"/>
                      <a:pt x="1149677" y="838402"/>
                    </a:cubicBezTo>
                    <a:cubicBezTo>
                      <a:pt x="1149677" y="837121"/>
                      <a:pt x="1150975" y="837121"/>
                      <a:pt x="1153569" y="833277"/>
                    </a:cubicBezTo>
                    <a:cubicBezTo>
                      <a:pt x="1154867" y="831996"/>
                      <a:pt x="1154867" y="829434"/>
                      <a:pt x="1153569" y="828153"/>
                    </a:cubicBezTo>
                    <a:cubicBezTo>
                      <a:pt x="1152272" y="828153"/>
                      <a:pt x="1152272" y="828153"/>
                      <a:pt x="1150975" y="828153"/>
                    </a:cubicBezTo>
                    <a:cubicBezTo>
                      <a:pt x="1149677" y="826871"/>
                      <a:pt x="1144488" y="828153"/>
                      <a:pt x="1145785" y="823028"/>
                    </a:cubicBezTo>
                    <a:cubicBezTo>
                      <a:pt x="1145785" y="820466"/>
                      <a:pt x="1144488" y="820466"/>
                      <a:pt x="1143190" y="820466"/>
                    </a:cubicBezTo>
                    <a:close/>
                    <a:moveTo>
                      <a:pt x="835030" y="783181"/>
                    </a:moveTo>
                    <a:cubicBezTo>
                      <a:pt x="833806" y="781877"/>
                      <a:pt x="832584" y="785790"/>
                      <a:pt x="833806" y="785790"/>
                    </a:cubicBezTo>
                    <a:cubicBezTo>
                      <a:pt x="836252" y="788399"/>
                      <a:pt x="837475" y="784486"/>
                      <a:pt x="835030" y="783181"/>
                    </a:cubicBezTo>
                    <a:close/>
                    <a:moveTo>
                      <a:pt x="724721" y="765209"/>
                    </a:moveTo>
                    <a:cubicBezTo>
                      <a:pt x="723437" y="765209"/>
                      <a:pt x="723437" y="766477"/>
                      <a:pt x="722152" y="766477"/>
                    </a:cubicBezTo>
                    <a:cubicBezTo>
                      <a:pt x="720867" y="769014"/>
                      <a:pt x="723437" y="770282"/>
                      <a:pt x="723437" y="771550"/>
                    </a:cubicBezTo>
                    <a:lnTo>
                      <a:pt x="720867" y="775354"/>
                    </a:lnTo>
                    <a:cubicBezTo>
                      <a:pt x="715729" y="777891"/>
                      <a:pt x="724721" y="782963"/>
                      <a:pt x="727291" y="780427"/>
                    </a:cubicBezTo>
                    <a:cubicBezTo>
                      <a:pt x="731145" y="777891"/>
                      <a:pt x="727291" y="771550"/>
                      <a:pt x="732429" y="771550"/>
                    </a:cubicBezTo>
                    <a:cubicBezTo>
                      <a:pt x="733714" y="771550"/>
                      <a:pt x="733714" y="776623"/>
                      <a:pt x="734998" y="777891"/>
                    </a:cubicBezTo>
                    <a:lnTo>
                      <a:pt x="742707" y="779159"/>
                    </a:lnTo>
                    <a:lnTo>
                      <a:pt x="740137" y="774086"/>
                    </a:lnTo>
                    <a:cubicBezTo>
                      <a:pt x="738852" y="774086"/>
                      <a:pt x="737568" y="772818"/>
                      <a:pt x="736283" y="771550"/>
                    </a:cubicBezTo>
                    <a:lnTo>
                      <a:pt x="729860" y="765209"/>
                    </a:lnTo>
                    <a:close/>
                    <a:moveTo>
                      <a:pt x="1080541" y="753287"/>
                    </a:moveTo>
                    <a:lnTo>
                      <a:pt x="1079249" y="754592"/>
                    </a:lnTo>
                    <a:cubicBezTo>
                      <a:pt x="1077956" y="755897"/>
                      <a:pt x="1076663" y="754592"/>
                      <a:pt x="1075371" y="755897"/>
                    </a:cubicBezTo>
                    <a:cubicBezTo>
                      <a:pt x="1074078" y="755897"/>
                      <a:pt x="1074078" y="757201"/>
                      <a:pt x="1072785" y="757201"/>
                    </a:cubicBezTo>
                    <a:cubicBezTo>
                      <a:pt x="1071493" y="757201"/>
                      <a:pt x="1071493" y="755897"/>
                      <a:pt x="1067615" y="755897"/>
                    </a:cubicBezTo>
                    <a:cubicBezTo>
                      <a:pt x="1066322" y="754592"/>
                      <a:pt x="1066322" y="753287"/>
                      <a:pt x="1065029" y="754592"/>
                    </a:cubicBezTo>
                    <a:lnTo>
                      <a:pt x="1061151" y="757201"/>
                    </a:lnTo>
                    <a:lnTo>
                      <a:pt x="1057273" y="761114"/>
                    </a:lnTo>
                    <a:cubicBezTo>
                      <a:pt x="1055981" y="761114"/>
                      <a:pt x="1055981" y="762418"/>
                      <a:pt x="1053395" y="761114"/>
                    </a:cubicBezTo>
                    <a:lnTo>
                      <a:pt x="1052103" y="757201"/>
                    </a:lnTo>
                    <a:cubicBezTo>
                      <a:pt x="1050810" y="757201"/>
                      <a:pt x="1049517" y="757201"/>
                      <a:pt x="1048225" y="757201"/>
                    </a:cubicBezTo>
                    <a:cubicBezTo>
                      <a:pt x="1046932" y="758505"/>
                      <a:pt x="1046932" y="759810"/>
                      <a:pt x="1048225" y="761114"/>
                    </a:cubicBezTo>
                    <a:cubicBezTo>
                      <a:pt x="1047255" y="764376"/>
                      <a:pt x="1046932" y="764376"/>
                      <a:pt x="1046932" y="765028"/>
                    </a:cubicBezTo>
                    <a:cubicBezTo>
                      <a:pt x="1045639" y="767636"/>
                      <a:pt x="1049517" y="767636"/>
                      <a:pt x="1052103" y="770245"/>
                    </a:cubicBezTo>
                    <a:cubicBezTo>
                      <a:pt x="1052103" y="771549"/>
                      <a:pt x="1050810" y="771549"/>
                      <a:pt x="1049517" y="774159"/>
                    </a:cubicBezTo>
                    <a:cubicBezTo>
                      <a:pt x="1050810" y="775463"/>
                      <a:pt x="1053395" y="774159"/>
                      <a:pt x="1054688" y="772854"/>
                    </a:cubicBezTo>
                    <a:cubicBezTo>
                      <a:pt x="1055981" y="772854"/>
                      <a:pt x="1055981" y="772854"/>
                      <a:pt x="1057273" y="774159"/>
                    </a:cubicBezTo>
                    <a:cubicBezTo>
                      <a:pt x="1058566" y="774159"/>
                      <a:pt x="1057273" y="775463"/>
                      <a:pt x="1058566" y="775463"/>
                    </a:cubicBezTo>
                    <a:cubicBezTo>
                      <a:pt x="1062444" y="776767"/>
                      <a:pt x="1065029" y="778072"/>
                      <a:pt x="1067615" y="776767"/>
                    </a:cubicBezTo>
                    <a:cubicBezTo>
                      <a:pt x="1070200" y="776767"/>
                      <a:pt x="1071493" y="774159"/>
                      <a:pt x="1076663" y="774159"/>
                    </a:cubicBezTo>
                    <a:cubicBezTo>
                      <a:pt x="1079249" y="775463"/>
                      <a:pt x="1081834" y="774159"/>
                      <a:pt x="1083127" y="772854"/>
                    </a:cubicBezTo>
                    <a:cubicBezTo>
                      <a:pt x="1085712" y="771549"/>
                      <a:pt x="1088297" y="770245"/>
                      <a:pt x="1092175" y="765028"/>
                    </a:cubicBezTo>
                    <a:cubicBezTo>
                      <a:pt x="1093468" y="763723"/>
                      <a:pt x="1093468" y="761114"/>
                      <a:pt x="1092175" y="759810"/>
                    </a:cubicBezTo>
                    <a:cubicBezTo>
                      <a:pt x="1090883" y="757201"/>
                      <a:pt x="1087005" y="761114"/>
                      <a:pt x="1085712" y="757201"/>
                    </a:cubicBezTo>
                    <a:cubicBezTo>
                      <a:pt x="1084419" y="755897"/>
                      <a:pt x="1084419" y="754592"/>
                      <a:pt x="1080541" y="753287"/>
                    </a:cubicBezTo>
                    <a:close/>
                    <a:moveTo>
                      <a:pt x="774894" y="735678"/>
                    </a:moveTo>
                    <a:cubicBezTo>
                      <a:pt x="771167" y="735678"/>
                      <a:pt x="771167" y="742132"/>
                      <a:pt x="773652" y="743423"/>
                    </a:cubicBezTo>
                    <a:cubicBezTo>
                      <a:pt x="778621" y="746005"/>
                      <a:pt x="779863" y="735678"/>
                      <a:pt x="774894" y="735678"/>
                    </a:cubicBezTo>
                    <a:close/>
                    <a:moveTo>
                      <a:pt x="1060679" y="666562"/>
                    </a:moveTo>
                    <a:cubicBezTo>
                      <a:pt x="1131042" y="674596"/>
                      <a:pt x="1195785" y="701162"/>
                      <a:pt x="1250573" y="740911"/>
                    </a:cubicBezTo>
                    <a:cubicBezTo>
                      <a:pt x="1251422" y="743780"/>
                      <a:pt x="1248221" y="741987"/>
                      <a:pt x="1245989" y="743102"/>
                    </a:cubicBezTo>
                    <a:cubicBezTo>
                      <a:pt x="1243421" y="744387"/>
                      <a:pt x="1245989" y="745671"/>
                      <a:pt x="1245989" y="746955"/>
                    </a:cubicBezTo>
                    <a:cubicBezTo>
                      <a:pt x="1245989" y="752092"/>
                      <a:pt x="1240852" y="748239"/>
                      <a:pt x="1238284" y="748239"/>
                    </a:cubicBezTo>
                    <a:cubicBezTo>
                      <a:pt x="1230578" y="748239"/>
                      <a:pt x="1240852" y="757229"/>
                      <a:pt x="1239568" y="758513"/>
                    </a:cubicBezTo>
                    <a:cubicBezTo>
                      <a:pt x="1235715" y="762365"/>
                      <a:pt x="1231863" y="754661"/>
                      <a:pt x="1228010" y="759797"/>
                    </a:cubicBezTo>
                    <a:cubicBezTo>
                      <a:pt x="1226726" y="762365"/>
                      <a:pt x="1225441" y="766218"/>
                      <a:pt x="1222873" y="768787"/>
                    </a:cubicBezTo>
                    <a:cubicBezTo>
                      <a:pt x="1222231" y="770071"/>
                      <a:pt x="1220625" y="770713"/>
                      <a:pt x="1219823" y="771355"/>
                    </a:cubicBezTo>
                    <a:lnTo>
                      <a:pt x="1221589" y="773923"/>
                    </a:lnTo>
                    <a:cubicBezTo>
                      <a:pt x="1222873" y="775207"/>
                      <a:pt x="1225441" y="776492"/>
                      <a:pt x="1222873" y="777776"/>
                    </a:cubicBezTo>
                    <a:cubicBezTo>
                      <a:pt x="1220304" y="777776"/>
                      <a:pt x="1216451" y="776492"/>
                      <a:pt x="1213883" y="776492"/>
                    </a:cubicBezTo>
                    <a:cubicBezTo>
                      <a:pt x="1212599" y="775207"/>
                      <a:pt x="1210031" y="775207"/>
                      <a:pt x="1208746" y="776492"/>
                    </a:cubicBezTo>
                    <a:cubicBezTo>
                      <a:pt x="1207462" y="779060"/>
                      <a:pt x="1210031" y="780344"/>
                      <a:pt x="1208746" y="781628"/>
                    </a:cubicBezTo>
                    <a:cubicBezTo>
                      <a:pt x="1208746" y="786765"/>
                      <a:pt x="1199756" y="781628"/>
                      <a:pt x="1198473" y="786765"/>
                    </a:cubicBezTo>
                    <a:lnTo>
                      <a:pt x="1198473" y="791902"/>
                    </a:lnTo>
                    <a:cubicBezTo>
                      <a:pt x="1197188" y="794470"/>
                      <a:pt x="1193335" y="793186"/>
                      <a:pt x="1190767" y="798323"/>
                    </a:cubicBezTo>
                    <a:cubicBezTo>
                      <a:pt x="1189483" y="799607"/>
                      <a:pt x="1189483" y="798323"/>
                      <a:pt x="1188198" y="799607"/>
                    </a:cubicBezTo>
                    <a:cubicBezTo>
                      <a:pt x="1188198" y="799928"/>
                      <a:pt x="1188118" y="800089"/>
                      <a:pt x="1188399" y="800570"/>
                    </a:cubicBezTo>
                    <a:lnTo>
                      <a:pt x="1190767" y="803459"/>
                    </a:lnTo>
                    <a:cubicBezTo>
                      <a:pt x="1192051" y="806028"/>
                      <a:pt x="1190767" y="804744"/>
                      <a:pt x="1189483" y="807312"/>
                    </a:cubicBezTo>
                    <a:cubicBezTo>
                      <a:pt x="1186914" y="809881"/>
                      <a:pt x="1193335" y="808596"/>
                      <a:pt x="1194620" y="809881"/>
                    </a:cubicBezTo>
                    <a:cubicBezTo>
                      <a:pt x="1198473" y="813733"/>
                      <a:pt x="1188198" y="813733"/>
                      <a:pt x="1189483" y="817586"/>
                    </a:cubicBezTo>
                    <a:cubicBezTo>
                      <a:pt x="1190767" y="820154"/>
                      <a:pt x="1197188" y="816301"/>
                      <a:pt x="1194620" y="821438"/>
                    </a:cubicBezTo>
                    <a:cubicBezTo>
                      <a:pt x="1193335" y="822723"/>
                      <a:pt x="1192051" y="822723"/>
                      <a:pt x="1192051" y="824007"/>
                    </a:cubicBezTo>
                    <a:cubicBezTo>
                      <a:pt x="1192051" y="827859"/>
                      <a:pt x="1194620" y="825291"/>
                      <a:pt x="1195904" y="825291"/>
                    </a:cubicBezTo>
                    <a:cubicBezTo>
                      <a:pt x="1198473" y="826575"/>
                      <a:pt x="1195904" y="831712"/>
                      <a:pt x="1199756" y="830427"/>
                    </a:cubicBezTo>
                    <a:cubicBezTo>
                      <a:pt x="1203609" y="830427"/>
                      <a:pt x="1202325" y="825291"/>
                      <a:pt x="1206178" y="825291"/>
                    </a:cubicBezTo>
                    <a:cubicBezTo>
                      <a:pt x="1207462" y="825291"/>
                      <a:pt x="1208746" y="826575"/>
                      <a:pt x="1210031" y="825291"/>
                    </a:cubicBezTo>
                    <a:lnTo>
                      <a:pt x="1212599" y="821438"/>
                    </a:lnTo>
                    <a:cubicBezTo>
                      <a:pt x="1215168" y="820154"/>
                      <a:pt x="1216451" y="822723"/>
                      <a:pt x="1217736" y="822723"/>
                    </a:cubicBezTo>
                    <a:cubicBezTo>
                      <a:pt x="1220304" y="822723"/>
                      <a:pt x="1221589" y="820154"/>
                      <a:pt x="1222873" y="822723"/>
                    </a:cubicBezTo>
                    <a:cubicBezTo>
                      <a:pt x="1222873" y="826575"/>
                      <a:pt x="1219020" y="829144"/>
                      <a:pt x="1221589" y="831712"/>
                    </a:cubicBezTo>
                    <a:lnTo>
                      <a:pt x="1231863" y="836849"/>
                    </a:lnTo>
                    <a:lnTo>
                      <a:pt x="1232665" y="840059"/>
                    </a:lnTo>
                    <a:cubicBezTo>
                      <a:pt x="1231863" y="840701"/>
                      <a:pt x="1230578" y="841343"/>
                      <a:pt x="1230578" y="843270"/>
                    </a:cubicBezTo>
                    <a:cubicBezTo>
                      <a:pt x="1229294" y="848406"/>
                      <a:pt x="1235715" y="850975"/>
                      <a:pt x="1238284" y="845838"/>
                    </a:cubicBezTo>
                    <a:cubicBezTo>
                      <a:pt x="1239568" y="841986"/>
                      <a:pt x="1238284" y="839417"/>
                      <a:pt x="1244705" y="840701"/>
                    </a:cubicBezTo>
                    <a:cubicBezTo>
                      <a:pt x="1248558" y="841986"/>
                      <a:pt x="1249842" y="839417"/>
                      <a:pt x="1248558" y="835564"/>
                    </a:cubicBezTo>
                    <a:cubicBezTo>
                      <a:pt x="1247274" y="830427"/>
                      <a:pt x="1244705" y="826575"/>
                      <a:pt x="1249842" y="824007"/>
                    </a:cubicBezTo>
                    <a:cubicBezTo>
                      <a:pt x="1252410" y="822723"/>
                      <a:pt x="1256263" y="822723"/>
                      <a:pt x="1257547" y="820154"/>
                    </a:cubicBezTo>
                    <a:cubicBezTo>
                      <a:pt x="1260116" y="816301"/>
                      <a:pt x="1258832" y="812449"/>
                      <a:pt x="1256263" y="809881"/>
                    </a:cubicBezTo>
                    <a:cubicBezTo>
                      <a:pt x="1253694" y="807312"/>
                      <a:pt x="1251126" y="804744"/>
                      <a:pt x="1251126" y="802175"/>
                    </a:cubicBezTo>
                    <a:cubicBezTo>
                      <a:pt x="1251126" y="799607"/>
                      <a:pt x="1253694" y="797039"/>
                      <a:pt x="1253694" y="794470"/>
                    </a:cubicBezTo>
                    <a:cubicBezTo>
                      <a:pt x="1253694" y="791902"/>
                      <a:pt x="1252410" y="788049"/>
                      <a:pt x="1254979" y="785481"/>
                    </a:cubicBezTo>
                    <a:cubicBezTo>
                      <a:pt x="1256263" y="784197"/>
                      <a:pt x="1258832" y="785481"/>
                      <a:pt x="1258832" y="781628"/>
                    </a:cubicBezTo>
                    <a:cubicBezTo>
                      <a:pt x="1260116" y="780344"/>
                      <a:pt x="1258832" y="779060"/>
                      <a:pt x="1261400" y="777776"/>
                    </a:cubicBezTo>
                    <a:cubicBezTo>
                      <a:pt x="1265253" y="775207"/>
                      <a:pt x="1267821" y="777776"/>
                      <a:pt x="1270390" y="772639"/>
                    </a:cubicBezTo>
                    <a:cubicBezTo>
                      <a:pt x="1271674" y="770071"/>
                      <a:pt x="1274242" y="766218"/>
                      <a:pt x="1274242" y="762365"/>
                    </a:cubicBezTo>
                    <a:lnTo>
                      <a:pt x="1275695" y="761639"/>
                    </a:lnTo>
                    <a:lnTo>
                      <a:pt x="1286268" y="770363"/>
                    </a:lnTo>
                    <a:cubicBezTo>
                      <a:pt x="1279379" y="775207"/>
                      <a:pt x="1276811" y="776492"/>
                      <a:pt x="1275527" y="779060"/>
                    </a:cubicBezTo>
                    <a:cubicBezTo>
                      <a:pt x="1274242" y="780344"/>
                      <a:pt x="1274242" y="781628"/>
                      <a:pt x="1274242" y="782913"/>
                    </a:cubicBezTo>
                    <a:cubicBezTo>
                      <a:pt x="1272958" y="786765"/>
                      <a:pt x="1275527" y="789333"/>
                      <a:pt x="1275527" y="793186"/>
                    </a:cubicBezTo>
                    <a:cubicBezTo>
                      <a:pt x="1276811" y="795755"/>
                      <a:pt x="1278095" y="797039"/>
                      <a:pt x="1278095" y="799607"/>
                    </a:cubicBezTo>
                    <a:cubicBezTo>
                      <a:pt x="1280664" y="802175"/>
                      <a:pt x="1279379" y="806028"/>
                      <a:pt x="1281948" y="808596"/>
                    </a:cubicBezTo>
                    <a:cubicBezTo>
                      <a:pt x="1284517" y="809881"/>
                      <a:pt x="1287085" y="809881"/>
                      <a:pt x="1289653" y="808596"/>
                    </a:cubicBezTo>
                    <a:cubicBezTo>
                      <a:pt x="1292222" y="806028"/>
                      <a:pt x="1294790" y="803459"/>
                      <a:pt x="1298643" y="803459"/>
                    </a:cubicBezTo>
                    <a:lnTo>
                      <a:pt x="1303780" y="806028"/>
                    </a:lnTo>
                    <a:cubicBezTo>
                      <a:pt x="1306348" y="807312"/>
                      <a:pt x="1307633" y="806028"/>
                      <a:pt x="1310201" y="806028"/>
                    </a:cubicBezTo>
                    <a:cubicBezTo>
                      <a:pt x="1312770" y="807312"/>
                      <a:pt x="1316622" y="811165"/>
                      <a:pt x="1311485" y="812449"/>
                    </a:cubicBezTo>
                    <a:cubicBezTo>
                      <a:pt x="1308917" y="813733"/>
                      <a:pt x="1306348" y="812449"/>
                      <a:pt x="1303780" y="812449"/>
                    </a:cubicBezTo>
                    <a:cubicBezTo>
                      <a:pt x="1299927" y="812449"/>
                      <a:pt x="1299927" y="815018"/>
                      <a:pt x="1297359" y="815018"/>
                    </a:cubicBezTo>
                    <a:cubicBezTo>
                      <a:pt x="1293506" y="816301"/>
                      <a:pt x="1290937" y="812449"/>
                      <a:pt x="1287085" y="815018"/>
                    </a:cubicBezTo>
                    <a:cubicBezTo>
                      <a:pt x="1279379" y="820154"/>
                      <a:pt x="1290937" y="826575"/>
                      <a:pt x="1285800" y="831712"/>
                    </a:cubicBezTo>
                    <a:cubicBezTo>
                      <a:pt x="1283232" y="835564"/>
                      <a:pt x="1280664" y="830427"/>
                      <a:pt x="1279379" y="829144"/>
                    </a:cubicBezTo>
                    <a:lnTo>
                      <a:pt x="1271674" y="832996"/>
                    </a:lnTo>
                    <a:cubicBezTo>
                      <a:pt x="1270390" y="836849"/>
                      <a:pt x="1272958" y="839417"/>
                      <a:pt x="1271674" y="843270"/>
                    </a:cubicBezTo>
                    <a:cubicBezTo>
                      <a:pt x="1271674" y="844553"/>
                      <a:pt x="1270390" y="844553"/>
                      <a:pt x="1269105" y="845838"/>
                    </a:cubicBezTo>
                    <a:cubicBezTo>
                      <a:pt x="1269105" y="848406"/>
                      <a:pt x="1270390" y="848406"/>
                      <a:pt x="1270390" y="849690"/>
                    </a:cubicBezTo>
                    <a:cubicBezTo>
                      <a:pt x="1269105" y="852259"/>
                      <a:pt x="1267821" y="850975"/>
                      <a:pt x="1266537" y="852259"/>
                    </a:cubicBezTo>
                    <a:cubicBezTo>
                      <a:pt x="1262684" y="852259"/>
                      <a:pt x="1263969" y="854827"/>
                      <a:pt x="1262684" y="856112"/>
                    </a:cubicBezTo>
                    <a:cubicBezTo>
                      <a:pt x="1260116" y="859964"/>
                      <a:pt x="1256263" y="858680"/>
                      <a:pt x="1252410" y="858680"/>
                    </a:cubicBezTo>
                    <a:cubicBezTo>
                      <a:pt x="1247274" y="858680"/>
                      <a:pt x="1244705" y="859964"/>
                      <a:pt x="1239568" y="862532"/>
                    </a:cubicBezTo>
                    <a:cubicBezTo>
                      <a:pt x="1234431" y="863817"/>
                      <a:pt x="1231863" y="859964"/>
                      <a:pt x="1228010" y="859964"/>
                    </a:cubicBezTo>
                    <a:cubicBezTo>
                      <a:pt x="1224157" y="858680"/>
                      <a:pt x="1226726" y="861248"/>
                      <a:pt x="1224157" y="862532"/>
                    </a:cubicBezTo>
                    <a:cubicBezTo>
                      <a:pt x="1221589" y="863817"/>
                      <a:pt x="1220304" y="862532"/>
                      <a:pt x="1219020" y="861248"/>
                    </a:cubicBezTo>
                    <a:cubicBezTo>
                      <a:pt x="1217736" y="861248"/>
                      <a:pt x="1216451" y="859964"/>
                      <a:pt x="1215168" y="858680"/>
                    </a:cubicBezTo>
                    <a:cubicBezTo>
                      <a:pt x="1211315" y="854827"/>
                      <a:pt x="1216451" y="853543"/>
                      <a:pt x="1215168" y="850975"/>
                    </a:cubicBezTo>
                    <a:cubicBezTo>
                      <a:pt x="1215168" y="847122"/>
                      <a:pt x="1213883" y="847122"/>
                      <a:pt x="1215168" y="844553"/>
                    </a:cubicBezTo>
                    <a:cubicBezTo>
                      <a:pt x="1215168" y="843270"/>
                      <a:pt x="1215168" y="841986"/>
                      <a:pt x="1215168" y="840701"/>
                    </a:cubicBezTo>
                    <a:cubicBezTo>
                      <a:pt x="1215168" y="839417"/>
                      <a:pt x="1215168" y="838133"/>
                      <a:pt x="1215168" y="835564"/>
                    </a:cubicBezTo>
                    <a:cubicBezTo>
                      <a:pt x="1216451" y="834280"/>
                      <a:pt x="1217736" y="827859"/>
                      <a:pt x="1213883" y="830427"/>
                    </a:cubicBezTo>
                    <a:cubicBezTo>
                      <a:pt x="1211315" y="830427"/>
                      <a:pt x="1212599" y="832996"/>
                      <a:pt x="1211315" y="832996"/>
                    </a:cubicBezTo>
                    <a:cubicBezTo>
                      <a:pt x="1210031" y="834280"/>
                      <a:pt x="1208746" y="832996"/>
                      <a:pt x="1207462" y="832996"/>
                    </a:cubicBezTo>
                    <a:cubicBezTo>
                      <a:pt x="1204893" y="835564"/>
                      <a:pt x="1211315" y="836849"/>
                      <a:pt x="1211315" y="838133"/>
                    </a:cubicBezTo>
                    <a:cubicBezTo>
                      <a:pt x="1208746" y="839417"/>
                      <a:pt x="1199756" y="839417"/>
                      <a:pt x="1202325" y="844553"/>
                    </a:cubicBezTo>
                    <a:cubicBezTo>
                      <a:pt x="1203609" y="845838"/>
                      <a:pt x="1204893" y="845838"/>
                      <a:pt x="1206178" y="847122"/>
                    </a:cubicBezTo>
                    <a:cubicBezTo>
                      <a:pt x="1206178" y="849690"/>
                      <a:pt x="1204893" y="849690"/>
                      <a:pt x="1204893" y="850975"/>
                    </a:cubicBezTo>
                    <a:cubicBezTo>
                      <a:pt x="1203609" y="854827"/>
                      <a:pt x="1208746" y="857396"/>
                      <a:pt x="1210031" y="859964"/>
                    </a:cubicBezTo>
                    <a:cubicBezTo>
                      <a:pt x="1211315" y="866385"/>
                      <a:pt x="1206178" y="865101"/>
                      <a:pt x="1199756" y="867669"/>
                    </a:cubicBezTo>
                    <a:cubicBezTo>
                      <a:pt x="1198473" y="868953"/>
                      <a:pt x="1197188" y="867669"/>
                      <a:pt x="1195904" y="867669"/>
                    </a:cubicBezTo>
                    <a:cubicBezTo>
                      <a:pt x="1192051" y="867669"/>
                      <a:pt x="1189483" y="868953"/>
                      <a:pt x="1186914" y="871522"/>
                    </a:cubicBezTo>
                    <a:cubicBezTo>
                      <a:pt x="1185630" y="875374"/>
                      <a:pt x="1186914" y="877943"/>
                      <a:pt x="1185630" y="880511"/>
                    </a:cubicBezTo>
                    <a:cubicBezTo>
                      <a:pt x="1183061" y="884364"/>
                      <a:pt x="1177925" y="884364"/>
                      <a:pt x="1174072" y="883080"/>
                    </a:cubicBezTo>
                    <a:cubicBezTo>
                      <a:pt x="1171503" y="883080"/>
                      <a:pt x="1168935" y="883080"/>
                      <a:pt x="1168935" y="886932"/>
                    </a:cubicBezTo>
                    <a:cubicBezTo>
                      <a:pt x="1168935" y="889500"/>
                      <a:pt x="1171503" y="890784"/>
                      <a:pt x="1170219" y="893353"/>
                    </a:cubicBezTo>
                    <a:cubicBezTo>
                      <a:pt x="1170219" y="895921"/>
                      <a:pt x="1166366" y="895921"/>
                      <a:pt x="1163798" y="895921"/>
                    </a:cubicBezTo>
                    <a:cubicBezTo>
                      <a:pt x="1161230" y="895921"/>
                      <a:pt x="1159945" y="893353"/>
                      <a:pt x="1157377" y="893353"/>
                    </a:cubicBezTo>
                    <a:lnTo>
                      <a:pt x="1154326" y="894477"/>
                    </a:lnTo>
                    <a:cubicBezTo>
                      <a:pt x="1154487" y="895600"/>
                      <a:pt x="1155451" y="897206"/>
                      <a:pt x="1156093" y="898490"/>
                    </a:cubicBezTo>
                    <a:cubicBezTo>
                      <a:pt x="1157377" y="902343"/>
                      <a:pt x="1152240" y="901058"/>
                      <a:pt x="1149671" y="901058"/>
                    </a:cubicBezTo>
                    <a:cubicBezTo>
                      <a:pt x="1145819" y="902343"/>
                      <a:pt x="1138113" y="899774"/>
                      <a:pt x="1138113" y="904911"/>
                    </a:cubicBezTo>
                    <a:cubicBezTo>
                      <a:pt x="1138113" y="908763"/>
                      <a:pt x="1143250" y="908763"/>
                      <a:pt x="1147103" y="910047"/>
                    </a:cubicBezTo>
                    <a:cubicBezTo>
                      <a:pt x="1150955" y="911332"/>
                      <a:pt x="1148387" y="916469"/>
                      <a:pt x="1152240" y="919037"/>
                    </a:cubicBezTo>
                    <a:cubicBezTo>
                      <a:pt x="1156093" y="921605"/>
                      <a:pt x="1163798" y="921605"/>
                      <a:pt x="1159945" y="928026"/>
                    </a:cubicBezTo>
                    <a:cubicBezTo>
                      <a:pt x="1158661" y="930595"/>
                      <a:pt x="1157377" y="930595"/>
                      <a:pt x="1156093" y="933163"/>
                    </a:cubicBezTo>
                    <a:cubicBezTo>
                      <a:pt x="1156093" y="935731"/>
                      <a:pt x="1156093" y="938300"/>
                      <a:pt x="1154808" y="940868"/>
                    </a:cubicBezTo>
                    <a:cubicBezTo>
                      <a:pt x="1152240" y="944721"/>
                      <a:pt x="1145819" y="944721"/>
                      <a:pt x="1141966" y="944721"/>
                    </a:cubicBezTo>
                    <a:cubicBezTo>
                      <a:pt x="1139397" y="944721"/>
                      <a:pt x="1135545" y="944721"/>
                      <a:pt x="1132976" y="943437"/>
                    </a:cubicBezTo>
                    <a:cubicBezTo>
                      <a:pt x="1131692" y="943437"/>
                      <a:pt x="1130407" y="943437"/>
                      <a:pt x="1129124" y="942152"/>
                    </a:cubicBezTo>
                    <a:cubicBezTo>
                      <a:pt x="1127839" y="942152"/>
                      <a:pt x="1126555" y="939584"/>
                      <a:pt x="1122702" y="940868"/>
                    </a:cubicBezTo>
                    <a:cubicBezTo>
                      <a:pt x="1121418" y="942152"/>
                      <a:pt x="1121418" y="942152"/>
                      <a:pt x="1120134" y="942152"/>
                    </a:cubicBezTo>
                    <a:cubicBezTo>
                      <a:pt x="1116281" y="943437"/>
                      <a:pt x="1113712" y="944721"/>
                      <a:pt x="1114997" y="948573"/>
                    </a:cubicBezTo>
                    <a:cubicBezTo>
                      <a:pt x="1114997" y="953710"/>
                      <a:pt x="1118850" y="957563"/>
                      <a:pt x="1116281" y="962699"/>
                    </a:cubicBezTo>
                    <a:cubicBezTo>
                      <a:pt x="1113712" y="965268"/>
                      <a:pt x="1112429" y="967836"/>
                      <a:pt x="1113712" y="970405"/>
                    </a:cubicBezTo>
                    <a:cubicBezTo>
                      <a:pt x="1113712" y="975541"/>
                      <a:pt x="1116281" y="981962"/>
                      <a:pt x="1120134" y="984531"/>
                    </a:cubicBezTo>
                    <a:lnTo>
                      <a:pt x="1126555" y="985815"/>
                    </a:lnTo>
                    <a:cubicBezTo>
                      <a:pt x="1129124" y="988383"/>
                      <a:pt x="1131692" y="989668"/>
                      <a:pt x="1135545" y="989668"/>
                    </a:cubicBezTo>
                    <a:cubicBezTo>
                      <a:pt x="1138113" y="989668"/>
                      <a:pt x="1139397" y="988383"/>
                      <a:pt x="1141966" y="988383"/>
                    </a:cubicBezTo>
                    <a:cubicBezTo>
                      <a:pt x="1144535" y="988383"/>
                      <a:pt x="1145819" y="990951"/>
                      <a:pt x="1148387" y="989668"/>
                    </a:cubicBezTo>
                    <a:cubicBezTo>
                      <a:pt x="1150955" y="989668"/>
                      <a:pt x="1152240" y="988383"/>
                      <a:pt x="1153524" y="985815"/>
                    </a:cubicBezTo>
                    <a:cubicBezTo>
                      <a:pt x="1153524" y="983246"/>
                      <a:pt x="1154808" y="983246"/>
                      <a:pt x="1157377" y="981962"/>
                    </a:cubicBezTo>
                    <a:cubicBezTo>
                      <a:pt x="1159945" y="980678"/>
                      <a:pt x="1162514" y="978109"/>
                      <a:pt x="1162514" y="975541"/>
                    </a:cubicBezTo>
                    <a:cubicBezTo>
                      <a:pt x="1163798" y="972973"/>
                      <a:pt x="1162514" y="970405"/>
                      <a:pt x="1163798" y="966552"/>
                    </a:cubicBezTo>
                    <a:cubicBezTo>
                      <a:pt x="1166366" y="963983"/>
                      <a:pt x="1167650" y="958847"/>
                      <a:pt x="1171503" y="957563"/>
                    </a:cubicBezTo>
                    <a:lnTo>
                      <a:pt x="1179209" y="953710"/>
                    </a:lnTo>
                    <a:cubicBezTo>
                      <a:pt x="1180493" y="949857"/>
                      <a:pt x="1177925" y="946005"/>
                      <a:pt x="1180493" y="943437"/>
                    </a:cubicBezTo>
                    <a:cubicBezTo>
                      <a:pt x="1181778" y="942152"/>
                      <a:pt x="1184346" y="942152"/>
                      <a:pt x="1186914" y="942152"/>
                    </a:cubicBezTo>
                    <a:lnTo>
                      <a:pt x="1193335" y="943437"/>
                    </a:lnTo>
                    <a:cubicBezTo>
                      <a:pt x="1194620" y="944721"/>
                      <a:pt x="1195904" y="943437"/>
                      <a:pt x="1198473" y="942152"/>
                    </a:cubicBezTo>
                    <a:lnTo>
                      <a:pt x="1203609" y="937015"/>
                    </a:lnTo>
                    <a:cubicBezTo>
                      <a:pt x="1204893" y="935731"/>
                      <a:pt x="1206178" y="935731"/>
                      <a:pt x="1208746" y="935731"/>
                    </a:cubicBezTo>
                    <a:cubicBezTo>
                      <a:pt x="1212599" y="935731"/>
                      <a:pt x="1215168" y="939584"/>
                      <a:pt x="1216451" y="942152"/>
                    </a:cubicBezTo>
                    <a:cubicBezTo>
                      <a:pt x="1216451" y="944721"/>
                      <a:pt x="1217736" y="946005"/>
                      <a:pt x="1219020" y="948573"/>
                    </a:cubicBezTo>
                    <a:cubicBezTo>
                      <a:pt x="1219020" y="949857"/>
                      <a:pt x="1220304" y="951141"/>
                      <a:pt x="1221589" y="952426"/>
                    </a:cubicBezTo>
                    <a:cubicBezTo>
                      <a:pt x="1224157" y="954994"/>
                      <a:pt x="1228010" y="957563"/>
                      <a:pt x="1230578" y="958847"/>
                    </a:cubicBezTo>
                    <a:cubicBezTo>
                      <a:pt x="1235715" y="960131"/>
                      <a:pt x="1238284" y="961415"/>
                      <a:pt x="1240852" y="966552"/>
                    </a:cubicBezTo>
                    <a:cubicBezTo>
                      <a:pt x="1242136" y="969120"/>
                      <a:pt x="1243421" y="971689"/>
                      <a:pt x="1243421" y="975541"/>
                    </a:cubicBezTo>
                    <a:lnTo>
                      <a:pt x="1242136" y="980678"/>
                    </a:lnTo>
                    <a:cubicBezTo>
                      <a:pt x="1240852" y="981962"/>
                      <a:pt x="1239568" y="981962"/>
                      <a:pt x="1238284" y="981962"/>
                    </a:cubicBezTo>
                    <a:cubicBezTo>
                      <a:pt x="1235715" y="981962"/>
                      <a:pt x="1234431" y="980678"/>
                      <a:pt x="1231863" y="980678"/>
                    </a:cubicBezTo>
                    <a:cubicBezTo>
                      <a:pt x="1228010" y="981962"/>
                      <a:pt x="1228010" y="984531"/>
                      <a:pt x="1230578" y="987099"/>
                    </a:cubicBezTo>
                    <a:cubicBezTo>
                      <a:pt x="1231863" y="988383"/>
                      <a:pt x="1233147" y="988383"/>
                      <a:pt x="1234431" y="988383"/>
                    </a:cubicBezTo>
                    <a:cubicBezTo>
                      <a:pt x="1235715" y="989668"/>
                      <a:pt x="1236999" y="989668"/>
                      <a:pt x="1238284" y="988383"/>
                    </a:cubicBezTo>
                    <a:cubicBezTo>
                      <a:pt x="1239568" y="987099"/>
                      <a:pt x="1239568" y="985815"/>
                      <a:pt x="1240852" y="984531"/>
                    </a:cubicBezTo>
                    <a:cubicBezTo>
                      <a:pt x="1242136" y="983246"/>
                      <a:pt x="1243421" y="983246"/>
                      <a:pt x="1244705" y="980678"/>
                    </a:cubicBezTo>
                    <a:cubicBezTo>
                      <a:pt x="1245989" y="979394"/>
                      <a:pt x="1245989" y="979394"/>
                      <a:pt x="1248558" y="975541"/>
                    </a:cubicBezTo>
                    <a:cubicBezTo>
                      <a:pt x="1249842" y="972973"/>
                      <a:pt x="1249842" y="972973"/>
                      <a:pt x="1248558" y="970405"/>
                    </a:cubicBezTo>
                    <a:cubicBezTo>
                      <a:pt x="1247274" y="969120"/>
                      <a:pt x="1247274" y="966552"/>
                      <a:pt x="1248558" y="965268"/>
                    </a:cubicBezTo>
                    <a:cubicBezTo>
                      <a:pt x="1249842" y="962699"/>
                      <a:pt x="1253694" y="967836"/>
                      <a:pt x="1254979" y="966552"/>
                    </a:cubicBezTo>
                    <a:cubicBezTo>
                      <a:pt x="1257547" y="965268"/>
                      <a:pt x="1252410" y="961415"/>
                      <a:pt x="1251126" y="960131"/>
                    </a:cubicBezTo>
                    <a:cubicBezTo>
                      <a:pt x="1249842" y="960131"/>
                      <a:pt x="1248558" y="960131"/>
                      <a:pt x="1245989" y="958847"/>
                    </a:cubicBezTo>
                    <a:cubicBezTo>
                      <a:pt x="1244705" y="957563"/>
                      <a:pt x="1244705" y="956278"/>
                      <a:pt x="1243421" y="954994"/>
                    </a:cubicBezTo>
                    <a:cubicBezTo>
                      <a:pt x="1239568" y="952426"/>
                      <a:pt x="1235715" y="951141"/>
                      <a:pt x="1233147" y="948573"/>
                    </a:cubicBezTo>
                    <a:cubicBezTo>
                      <a:pt x="1231863" y="946005"/>
                      <a:pt x="1230578" y="944721"/>
                      <a:pt x="1229294" y="942152"/>
                    </a:cubicBezTo>
                    <a:cubicBezTo>
                      <a:pt x="1228010" y="939584"/>
                      <a:pt x="1226726" y="938300"/>
                      <a:pt x="1225441" y="937015"/>
                    </a:cubicBezTo>
                    <a:cubicBezTo>
                      <a:pt x="1224157" y="933163"/>
                      <a:pt x="1224157" y="929311"/>
                      <a:pt x="1228010" y="929311"/>
                    </a:cubicBezTo>
                    <a:cubicBezTo>
                      <a:pt x="1230578" y="930595"/>
                      <a:pt x="1231863" y="931878"/>
                      <a:pt x="1233147" y="933163"/>
                    </a:cubicBezTo>
                    <a:cubicBezTo>
                      <a:pt x="1234431" y="935731"/>
                      <a:pt x="1235715" y="938300"/>
                      <a:pt x="1238284" y="939584"/>
                    </a:cubicBezTo>
                    <a:cubicBezTo>
                      <a:pt x="1240852" y="943437"/>
                      <a:pt x="1244705" y="946005"/>
                      <a:pt x="1248558" y="947289"/>
                    </a:cubicBezTo>
                    <a:cubicBezTo>
                      <a:pt x="1251126" y="948573"/>
                      <a:pt x="1254979" y="949857"/>
                      <a:pt x="1257547" y="951141"/>
                    </a:cubicBezTo>
                    <a:cubicBezTo>
                      <a:pt x="1258832" y="952426"/>
                      <a:pt x="1260116" y="953710"/>
                      <a:pt x="1261400" y="956278"/>
                    </a:cubicBezTo>
                    <a:cubicBezTo>
                      <a:pt x="1261400" y="958847"/>
                      <a:pt x="1261400" y="961415"/>
                      <a:pt x="1261400" y="965268"/>
                    </a:cubicBezTo>
                    <a:cubicBezTo>
                      <a:pt x="1262684" y="967836"/>
                      <a:pt x="1263969" y="970405"/>
                      <a:pt x="1266537" y="972973"/>
                    </a:cubicBezTo>
                    <a:cubicBezTo>
                      <a:pt x="1267821" y="974257"/>
                      <a:pt x="1267821" y="974257"/>
                      <a:pt x="1269105" y="975541"/>
                    </a:cubicBezTo>
                    <a:cubicBezTo>
                      <a:pt x="1270390" y="976825"/>
                      <a:pt x="1270390" y="976825"/>
                      <a:pt x="1271674" y="978109"/>
                    </a:cubicBezTo>
                    <a:lnTo>
                      <a:pt x="1276811" y="980678"/>
                    </a:lnTo>
                    <a:cubicBezTo>
                      <a:pt x="1278088" y="983233"/>
                      <a:pt x="1274281" y="981976"/>
                      <a:pt x="1274242" y="981962"/>
                    </a:cubicBezTo>
                    <a:cubicBezTo>
                      <a:pt x="1271674" y="981962"/>
                      <a:pt x="1271674" y="984531"/>
                      <a:pt x="1272958" y="985815"/>
                    </a:cubicBezTo>
                    <a:cubicBezTo>
                      <a:pt x="1272958" y="988383"/>
                      <a:pt x="1275527" y="989668"/>
                      <a:pt x="1278095" y="989668"/>
                    </a:cubicBezTo>
                    <a:cubicBezTo>
                      <a:pt x="1280664" y="989668"/>
                      <a:pt x="1280664" y="988383"/>
                      <a:pt x="1280664" y="987099"/>
                    </a:cubicBezTo>
                    <a:cubicBezTo>
                      <a:pt x="1280664" y="983246"/>
                      <a:pt x="1281948" y="983246"/>
                      <a:pt x="1284517" y="983246"/>
                    </a:cubicBezTo>
                    <a:lnTo>
                      <a:pt x="1285800" y="978109"/>
                    </a:lnTo>
                    <a:cubicBezTo>
                      <a:pt x="1285800" y="976825"/>
                      <a:pt x="1284517" y="975541"/>
                      <a:pt x="1283232" y="974257"/>
                    </a:cubicBezTo>
                    <a:cubicBezTo>
                      <a:pt x="1281948" y="972973"/>
                      <a:pt x="1280664" y="971689"/>
                      <a:pt x="1280664" y="969120"/>
                    </a:cubicBezTo>
                    <a:lnTo>
                      <a:pt x="1285800" y="967836"/>
                    </a:lnTo>
                    <a:cubicBezTo>
                      <a:pt x="1287085" y="966552"/>
                      <a:pt x="1287085" y="966552"/>
                      <a:pt x="1288369" y="966552"/>
                    </a:cubicBezTo>
                    <a:cubicBezTo>
                      <a:pt x="1288369" y="965268"/>
                      <a:pt x="1288369" y="963983"/>
                      <a:pt x="1288369" y="962699"/>
                    </a:cubicBezTo>
                    <a:cubicBezTo>
                      <a:pt x="1289653" y="961415"/>
                      <a:pt x="1290937" y="961415"/>
                      <a:pt x="1292222" y="961415"/>
                    </a:cubicBezTo>
                    <a:cubicBezTo>
                      <a:pt x="1293506" y="961415"/>
                      <a:pt x="1293506" y="961415"/>
                      <a:pt x="1294790" y="961415"/>
                    </a:cubicBezTo>
                    <a:cubicBezTo>
                      <a:pt x="1297359" y="962699"/>
                      <a:pt x="1297359" y="962699"/>
                      <a:pt x="1298643" y="965268"/>
                    </a:cubicBezTo>
                    <a:cubicBezTo>
                      <a:pt x="1299927" y="967836"/>
                      <a:pt x="1301212" y="970405"/>
                      <a:pt x="1301212" y="972973"/>
                    </a:cubicBezTo>
                    <a:cubicBezTo>
                      <a:pt x="1301212" y="978109"/>
                      <a:pt x="1299927" y="981962"/>
                      <a:pt x="1303780" y="987099"/>
                    </a:cubicBezTo>
                    <a:cubicBezTo>
                      <a:pt x="1305064" y="988383"/>
                      <a:pt x="1307633" y="988383"/>
                      <a:pt x="1308917" y="989668"/>
                    </a:cubicBezTo>
                    <a:lnTo>
                      <a:pt x="1314054" y="996088"/>
                    </a:lnTo>
                    <a:cubicBezTo>
                      <a:pt x="1317907" y="998657"/>
                      <a:pt x="1319190" y="993520"/>
                      <a:pt x="1323043" y="993520"/>
                    </a:cubicBezTo>
                    <a:cubicBezTo>
                      <a:pt x="1326896" y="990951"/>
                      <a:pt x="1328180" y="994804"/>
                      <a:pt x="1330749" y="996088"/>
                    </a:cubicBezTo>
                    <a:cubicBezTo>
                      <a:pt x="1334602" y="997372"/>
                      <a:pt x="1341023" y="996088"/>
                      <a:pt x="1342307" y="994804"/>
                    </a:cubicBezTo>
                    <a:cubicBezTo>
                      <a:pt x="1343591" y="993520"/>
                      <a:pt x="1346160" y="988383"/>
                      <a:pt x="1348728" y="992236"/>
                    </a:cubicBezTo>
                    <a:cubicBezTo>
                      <a:pt x="1353865" y="997372"/>
                      <a:pt x="1342307" y="1007646"/>
                      <a:pt x="1343591" y="1014067"/>
                    </a:cubicBezTo>
                    <a:cubicBezTo>
                      <a:pt x="1343591" y="1016635"/>
                      <a:pt x="1346160" y="1020488"/>
                      <a:pt x="1342307" y="1023056"/>
                    </a:cubicBezTo>
                    <a:cubicBezTo>
                      <a:pt x="1338454" y="1024340"/>
                      <a:pt x="1333318" y="1023056"/>
                      <a:pt x="1329465" y="1024340"/>
                    </a:cubicBezTo>
                    <a:cubicBezTo>
                      <a:pt x="1326896" y="1024340"/>
                      <a:pt x="1324328" y="1025625"/>
                      <a:pt x="1321759" y="1026909"/>
                    </a:cubicBezTo>
                    <a:cubicBezTo>
                      <a:pt x="1317907" y="1029477"/>
                      <a:pt x="1315338" y="1028193"/>
                      <a:pt x="1311485" y="1026909"/>
                    </a:cubicBezTo>
                    <a:cubicBezTo>
                      <a:pt x="1310201" y="1025625"/>
                      <a:pt x="1308917" y="1025625"/>
                      <a:pt x="1307633" y="1025625"/>
                    </a:cubicBezTo>
                    <a:cubicBezTo>
                      <a:pt x="1306348" y="1025625"/>
                      <a:pt x="1306348" y="1026909"/>
                      <a:pt x="1305064" y="1026909"/>
                    </a:cubicBezTo>
                    <a:cubicBezTo>
                      <a:pt x="1303780" y="1028193"/>
                      <a:pt x="1303780" y="1026909"/>
                      <a:pt x="1301212" y="1026909"/>
                    </a:cubicBezTo>
                    <a:cubicBezTo>
                      <a:pt x="1296075" y="1026909"/>
                      <a:pt x="1290937" y="1028193"/>
                      <a:pt x="1285800" y="1024340"/>
                    </a:cubicBezTo>
                    <a:cubicBezTo>
                      <a:pt x="1281948" y="1020488"/>
                      <a:pt x="1278095" y="1016635"/>
                      <a:pt x="1272958" y="1016635"/>
                    </a:cubicBezTo>
                    <a:cubicBezTo>
                      <a:pt x="1269105" y="1017920"/>
                      <a:pt x="1265253" y="1019203"/>
                      <a:pt x="1263969" y="1024340"/>
                    </a:cubicBezTo>
                    <a:cubicBezTo>
                      <a:pt x="1263969" y="1026909"/>
                      <a:pt x="1265253" y="1030762"/>
                      <a:pt x="1261400" y="1032046"/>
                    </a:cubicBezTo>
                    <a:cubicBezTo>
                      <a:pt x="1257547" y="1034614"/>
                      <a:pt x="1245989" y="1030762"/>
                      <a:pt x="1243421" y="1026909"/>
                    </a:cubicBezTo>
                    <a:cubicBezTo>
                      <a:pt x="1239568" y="1023056"/>
                      <a:pt x="1235715" y="1020488"/>
                      <a:pt x="1229294" y="1019203"/>
                    </a:cubicBezTo>
                    <a:cubicBezTo>
                      <a:pt x="1224157" y="1017920"/>
                      <a:pt x="1217736" y="1015351"/>
                      <a:pt x="1215168" y="1010214"/>
                    </a:cubicBezTo>
                    <a:cubicBezTo>
                      <a:pt x="1212599" y="1003794"/>
                      <a:pt x="1221589" y="992236"/>
                      <a:pt x="1213883" y="987099"/>
                    </a:cubicBezTo>
                    <a:cubicBezTo>
                      <a:pt x="1208746" y="985815"/>
                      <a:pt x="1202325" y="985815"/>
                      <a:pt x="1198473" y="988383"/>
                    </a:cubicBezTo>
                    <a:cubicBezTo>
                      <a:pt x="1192051" y="989668"/>
                      <a:pt x="1185630" y="990951"/>
                      <a:pt x="1179209" y="989668"/>
                    </a:cubicBezTo>
                    <a:cubicBezTo>
                      <a:pt x="1172788" y="989668"/>
                      <a:pt x="1168935" y="990951"/>
                      <a:pt x="1163798" y="994804"/>
                    </a:cubicBezTo>
                    <a:cubicBezTo>
                      <a:pt x="1157377" y="998657"/>
                      <a:pt x="1153524" y="1002509"/>
                      <a:pt x="1147103" y="999941"/>
                    </a:cubicBezTo>
                    <a:cubicBezTo>
                      <a:pt x="1143250" y="998657"/>
                      <a:pt x="1143250" y="999941"/>
                      <a:pt x="1139397" y="999941"/>
                    </a:cubicBezTo>
                    <a:cubicBezTo>
                      <a:pt x="1136829" y="999941"/>
                      <a:pt x="1135545" y="996088"/>
                      <a:pt x="1132976" y="996088"/>
                    </a:cubicBezTo>
                    <a:cubicBezTo>
                      <a:pt x="1125271" y="997372"/>
                      <a:pt x="1129124" y="1003794"/>
                      <a:pt x="1127839" y="1007646"/>
                    </a:cubicBezTo>
                    <a:cubicBezTo>
                      <a:pt x="1126555" y="1011499"/>
                      <a:pt x="1120134" y="1011499"/>
                      <a:pt x="1117565" y="1014067"/>
                    </a:cubicBezTo>
                    <a:cubicBezTo>
                      <a:pt x="1112429" y="1019203"/>
                      <a:pt x="1111144" y="1028193"/>
                      <a:pt x="1111144" y="1034614"/>
                    </a:cubicBezTo>
                    <a:cubicBezTo>
                      <a:pt x="1111144" y="1041035"/>
                      <a:pt x="1108576" y="1046172"/>
                      <a:pt x="1104723" y="1050024"/>
                    </a:cubicBezTo>
                    <a:cubicBezTo>
                      <a:pt x="1098302" y="1055161"/>
                      <a:pt x="1093165" y="1056445"/>
                      <a:pt x="1090596" y="1062866"/>
                    </a:cubicBezTo>
                    <a:cubicBezTo>
                      <a:pt x="1088028" y="1068003"/>
                      <a:pt x="1088028" y="1071856"/>
                      <a:pt x="1082891" y="1075708"/>
                    </a:cubicBezTo>
                    <a:cubicBezTo>
                      <a:pt x="1080322" y="1078276"/>
                      <a:pt x="1079038" y="1079560"/>
                      <a:pt x="1077754" y="1082129"/>
                    </a:cubicBezTo>
                    <a:cubicBezTo>
                      <a:pt x="1077754" y="1088550"/>
                      <a:pt x="1073901" y="1092402"/>
                      <a:pt x="1076470" y="1097539"/>
                    </a:cubicBezTo>
                    <a:cubicBezTo>
                      <a:pt x="1079038" y="1100108"/>
                      <a:pt x="1077754" y="1103960"/>
                      <a:pt x="1079038" y="1106528"/>
                    </a:cubicBezTo>
                    <a:cubicBezTo>
                      <a:pt x="1079038" y="1109097"/>
                      <a:pt x="1080322" y="1111665"/>
                      <a:pt x="1080322" y="1115518"/>
                    </a:cubicBezTo>
                    <a:cubicBezTo>
                      <a:pt x="1080322" y="1119371"/>
                      <a:pt x="1077754" y="1121939"/>
                      <a:pt x="1076470" y="1125791"/>
                    </a:cubicBezTo>
                    <a:lnTo>
                      <a:pt x="1075186" y="1141202"/>
                    </a:lnTo>
                    <a:cubicBezTo>
                      <a:pt x="1075186" y="1148907"/>
                      <a:pt x="1082891" y="1152759"/>
                      <a:pt x="1085459" y="1157896"/>
                    </a:cubicBezTo>
                    <a:cubicBezTo>
                      <a:pt x="1091881" y="1166885"/>
                      <a:pt x="1094449" y="1184864"/>
                      <a:pt x="1104723" y="1191285"/>
                    </a:cubicBezTo>
                    <a:cubicBezTo>
                      <a:pt x="1112429" y="1195138"/>
                      <a:pt x="1122702" y="1201559"/>
                      <a:pt x="1131692" y="1197706"/>
                    </a:cubicBezTo>
                    <a:cubicBezTo>
                      <a:pt x="1136829" y="1196422"/>
                      <a:pt x="1140682" y="1195138"/>
                      <a:pt x="1147103" y="1195138"/>
                    </a:cubicBezTo>
                    <a:lnTo>
                      <a:pt x="1152240" y="1193853"/>
                    </a:lnTo>
                    <a:lnTo>
                      <a:pt x="1157377" y="1196422"/>
                    </a:lnTo>
                    <a:cubicBezTo>
                      <a:pt x="1163798" y="1197706"/>
                      <a:pt x="1168935" y="1193853"/>
                      <a:pt x="1174072" y="1192570"/>
                    </a:cubicBezTo>
                    <a:lnTo>
                      <a:pt x="1181778" y="1191285"/>
                    </a:lnTo>
                    <a:cubicBezTo>
                      <a:pt x="1185630" y="1191285"/>
                      <a:pt x="1185630" y="1192570"/>
                      <a:pt x="1188198" y="1193853"/>
                    </a:cubicBezTo>
                    <a:cubicBezTo>
                      <a:pt x="1192051" y="1196422"/>
                      <a:pt x="1194620" y="1198990"/>
                      <a:pt x="1198473" y="1200275"/>
                    </a:cubicBezTo>
                    <a:cubicBezTo>
                      <a:pt x="1213883" y="1205412"/>
                      <a:pt x="1210031" y="1222106"/>
                      <a:pt x="1207462" y="1234948"/>
                    </a:cubicBezTo>
                    <a:cubicBezTo>
                      <a:pt x="1206178" y="1240084"/>
                      <a:pt x="1208746" y="1247790"/>
                      <a:pt x="1212599" y="1252926"/>
                    </a:cubicBezTo>
                    <a:cubicBezTo>
                      <a:pt x="1216451" y="1258063"/>
                      <a:pt x="1221589" y="1261916"/>
                      <a:pt x="1224157" y="1267052"/>
                    </a:cubicBezTo>
                    <a:cubicBezTo>
                      <a:pt x="1226726" y="1269621"/>
                      <a:pt x="1228010" y="1273473"/>
                      <a:pt x="1228010" y="1276042"/>
                    </a:cubicBezTo>
                    <a:cubicBezTo>
                      <a:pt x="1228010" y="1278610"/>
                      <a:pt x="1228010" y="1279895"/>
                      <a:pt x="1229294" y="1281178"/>
                    </a:cubicBezTo>
                    <a:cubicBezTo>
                      <a:pt x="1229294" y="1287600"/>
                      <a:pt x="1225441" y="1291452"/>
                      <a:pt x="1229294" y="1296589"/>
                    </a:cubicBezTo>
                    <a:cubicBezTo>
                      <a:pt x="1235715" y="1305578"/>
                      <a:pt x="1225441" y="1317136"/>
                      <a:pt x="1222873" y="1326125"/>
                    </a:cubicBezTo>
                    <a:cubicBezTo>
                      <a:pt x="1221589" y="1332546"/>
                      <a:pt x="1219020" y="1341535"/>
                      <a:pt x="1222873" y="1346672"/>
                    </a:cubicBezTo>
                    <a:cubicBezTo>
                      <a:pt x="1224157" y="1347957"/>
                      <a:pt x="1226726" y="1349241"/>
                      <a:pt x="1228010" y="1350525"/>
                    </a:cubicBezTo>
                    <a:cubicBezTo>
                      <a:pt x="1230578" y="1354377"/>
                      <a:pt x="1230578" y="1358230"/>
                      <a:pt x="1231863" y="1360798"/>
                    </a:cubicBezTo>
                    <a:cubicBezTo>
                      <a:pt x="1233147" y="1363367"/>
                      <a:pt x="1233147" y="1367220"/>
                      <a:pt x="1233147" y="1369788"/>
                    </a:cubicBezTo>
                    <a:cubicBezTo>
                      <a:pt x="1234431" y="1373640"/>
                      <a:pt x="1236999" y="1374925"/>
                      <a:pt x="1238284" y="1378777"/>
                    </a:cubicBezTo>
                    <a:cubicBezTo>
                      <a:pt x="1239568" y="1389051"/>
                      <a:pt x="1236999" y="1398040"/>
                      <a:pt x="1240852" y="1407029"/>
                    </a:cubicBezTo>
                    <a:cubicBezTo>
                      <a:pt x="1243421" y="1412166"/>
                      <a:pt x="1245989" y="1417303"/>
                      <a:pt x="1248558" y="1422440"/>
                    </a:cubicBezTo>
                    <a:cubicBezTo>
                      <a:pt x="1251126" y="1425008"/>
                      <a:pt x="1252410" y="1427576"/>
                      <a:pt x="1252410" y="1431429"/>
                    </a:cubicBezTo>
                    <a:cubicBezTo>
                      <a:pt x="1253694" y="1436566"/>
                      <a:pt x="1251126" y="1442986"/>
                      <a:pt x="1251126" y="1448123"/>
                    </a:cubicBezTo>
                    <a:lnTo>
                      <a:pt x="1252893" y="1450331"/>
                    </a:lnTo>
                    <a:cubicBezTo>
                      <a:pt x="1181930" y="1502527"/>
                      <a:pt x="1094187" y="1532774"/>
                      <a:pt x="999379" y="1532774"/>
                    </a:cubicBezTo>
                    <a:cubicBezTo>
                      <a:pt x="942720" y="1532774"/>
                      <a:pt x="888583" y="1521971"/>
                      <a:pt x="839242" y="1501491"/>
                    </a:cubicBezTo>
                    <a:cubicBezTo>
                      <a:pt x="842403" y="1500292"/>
                      <a:pt x="844299" y="1496331"/>
                      <a:pt x="841522" y="1491702"/>
                    </a:cubicBezTo>
                    <a:cubicBezTo>
                      <a:pt x="842485" y="1488815"/>
                      <a:pt x="844089" y="1489136"/>
                      <a:pt x="845373" y="1489136"/>
                    </a:cubicBezTo>
                    <a:lnTo>
                      <a:pt x="854360" y="1485284"/>
                    </a:lnTo>
                    <a:cubicBezTo>
                      <a:pt x="858211" y="1485284"/>
                      <a:pt x="860779" y="1485284"/>
                      <a:pt x="863346" y="1484001"/>
                    </a:cubicBezTo>
                    <a:cubicBezTo>
                      <a:pt x="865914" y="1482717"/>
                      <a:pt x="867198" y="1480151"/>
                      <a:pt x="868482" y="1477583"/>
                    </a:cubicBezTo>
                    <a:cubicBezTo>
                      <a:pt x="869766" y="1476299"/>
                      <a:pt x="871049" y="1475016"/>
                      <a:pt x="869766" y="1472449"/>
                    </a:cubicBezTo>
                    <a:lnTo>
                      <a:pt x="865914" y="1468598"/>
                    </a:lnTo>
                    <a:cubicBezTo>
                      <a:pt x="865914" y="1466031"/>
                      <a:pt x="867198" y="1464748"/>
                      <a:pt x="867198" y="1463464"/>
                    </a:cubicBezTo>
                    <a:cubicBezTo>
                      <a:pt x="865914" y="1460896"/>
                      <a:pt x="862063" y="1460896"/>
                      <a:pt x="860779" y="1458330"/>
                    </a:cubicBezTo>
                    <a:cubicBezTo>
                      <a:pt x="859495" y="1455763"/>
                      <a:pt x="858211" y="1453195"/>
                      <a:pt x="858211" y="1450628"/>
                    </a:cubicBezTo>
                    <a:lnTo>
                      <a:pt x="863346" y="1449345"/>
                    </a:lnTo>
                    <a:cubicBezTo>
                      <a:pt x="864630" y="1451912"/>
                      <a:pt x="864630" y="1455763"/>
                      <a:pt x="867198" y="1457046"/>
                    </a:cubicBezTo>
                    <a:cubicBezTo>
                      <a:pt x="868482" y="1459613"/>
                      <a:pt x="871049" y="1460896"/>
                      <a:pt x="873617" y="1459613"/>
                    </a:cubicBezTo>
                    <a:cubicBezTo>
                      <a:pt x="874901" y="1459613"/>
                      <a:pt x="876185" y="1458330"/>
                      <a:pt x="877469" y="1459613"/>
                    </a:cubicBezTo>
                    <a:cubicBezTo>
                      <a:pt x="878752" y="1459613"/>
                      <a:pt x="880036" y="1459613"/>
                      <a:pt x="881320" y="1459613"/>
                    </a:cubicBezTo>
                    <a:cubicBezTo>
                      <a:pt x="882604" y="1459613"/>
                      <a:pt x="886456" y="1454479"/>
                      <a:pt x="889023" y="1450628"/>
                    </a:cubicBezTo>
                    <a:cubicBezTo>
                      <a:pt x="890307" y="1448061"/>
                      <a:pt x="891591" y="1446777"/>
                      <a:pt x="891591" y="1445494"/>
                    </a:cubicBezTo>
                    <a:cubicBezTo>
                      <a:pt x="891591" y="1442927"/>
                      <a:pt x="890307" y="1442927"/>
                      <a:pt x="890307" y="1441643"/>
                    </a:cubicBezTo>
                    <a:lnTo>
                      <a:pt x="894159" y="1436509"/>
                    </a:lnTo>
                    <a:cubicBezTo>
                      <a:pt x="895442" y="1435225"/>
                      <a:pt x="896726" y="1432658"/>
                      <a:pt x="901862" y="1431375"/>
                    </a:cubicBezTo>
                    <a:lnTo>
                      <a:pt x="904429" y="1426240"/>
                    </a:lnTo>
                    <a:cubicBezTo>
                      <a:pt x="905713" y="1423673"/>
                      <a:pt x="906997" y="1422389"/>
                      <a:pt x="909564" y="1419822"/>
                    </a:cubicBezTo>
                    <a:cubicBezTo>
                      <a:pt x="915983" y="1413404"/>
                      <a:pt x="909564" y="1406987"/>
                      <a:pt x="910848" y="1399285"/>
                    </a:cubicBezTo>
                    <a:cubicBezTo>
                      <a:pt x="910848" y="1395434"/>
                      <a:pt x="915983" y="1392868"/>
                      <a:pt x="919835" y="1390300"/>
                    </a:cubicBezTo>
                    <a:cubicBezTo>
                      <a:pt x="921119" y="1389016"/>
                      <a:pt x="923686" y="1387733"/>
                      <a:pt x="926254" y="1385166"/>
                    </a:cubicBezTo>
                    <a:cubicBezTo>
                      <a:pt x="927538" y="1385166"/>
                      <a:pt x="927538" y="1383882"/>
                      <a:pt x="928821" y="1382599"/>
                    </a:cubicBezTo>
                    <a:cubicBezTo>
                      <a:pt x="932673" y="1381315"/>
                      <a:pt x="937808" y="1378748"/>
                      <a:pt x="941660" y="1377465"/>
                    </a:cubicBezTo>
                    <a:cubicBezTo>
                      <a:pt x="944227" y="1376181"/>
                      <a:pt x="948079" y="1376181"/>
                      <a:pt x="949363" y="1372330"/>
                    </a:cubicBezTo>
                    <a:lnTo>
                      <a:pt x="949363" y="1367196"/>
                    </a:lnTo>
                    <a:cubicBezTo>
                      <a:pt x="949363" y="1364628"/>
                      <a:pt x="950647" y="1363345"/>
                      <a:pt x="951930" y="1362062"/>
                    </a:cubicBezTo>
                    <a:lnTo>
                      <a:pt x="957066" y="1355644"/>
                    </a:lnTo>
                    <a:cubicBezTo>
                      <a:pt x="958350" y="1353077"/>
                      <a:pt x="958350" y="1351793"/>
                      <a:pt x="958350" y="1347942"/>
                    </a:cubicBezTo>
                    <a:cubicBezTo>
                      <a:pt x="957066" y="1346659"/>
                      <a:pt x="958350" y="1345375"/>
                      <a:pt x="959633" y="1342808"/>
                    </a:cubicBezTo>
                    <a:cubicBezTo>
                      <a:pt x="960917" y="1340241"/>
                      <a:pt x="960917" y="1336390"/>
                      <a:pt x="960917" y="1333823"/>
                    </a:cubicBezTo>
                    <a:cubicBezTo>
                      <a:pt x="960917" y="1329972"/>
                      <a:pt x="958350" y="1327405"/>
                      <a:pt x="958350" y="1323554"/>
                    </a:cubicBezTo>
                    <a:cubicBezTo>
                      <a:pt x="958350" y="1320987"/>
                      <a:pt x="958350" y="1319704"/>
                      <a:pt x="959633" y="1317136"/>
                    </a:cubicBezTo>
                    <a:cubicBezTo>
                      <a:pt x="960917" y="1315853"/>
                      <a:pt x="962201" y="1313286"/>
                      <a:pt x="963485" y="1312002"/>
                    </a:cubicBezTo>
                    <a:cubicBezTo>
                      <a:pt x="964769" y="1312002"/>
                      <a:pt x="966053" y="1312002"/>
                      <a:pt x="968620" y="1310718"/>
                    </a:cubicBezTo>
                    <a:cubicBezTo>
                      <a:pt x="969904" y="1308151"/>
                      <a:pt x="971188" y="1305584"/>
                      <a:pt x="972472" y="1301733"/>
                    </a:cubicBezTo>
                    <a:cubicBezTo>
                      <a:pt x="973756" y="1300450"/>
                      <a:pt x="973756" y="1299166"/>
                      <a:pt x="975039" y="1297883"/>
                    </a:cubicBezTo>
                    <a:cubicBezTo>
                      <a:pt x="975039" y="1296599"/>
                      <a:pt x="976323" y="1295316"/>
                      <a:pt x="977607" y="1295316"/>
                    </a:cubicBezTo>
                    <a:cubicBezTo>
                      <a:pt x="980175" y="1294032"/>
                      <a:pt x="981459" y="1291465"/>
                      <a:pt x="982742" y="1290181"/>
                    </a:cubicBezTo>
                    <a:cubicBezTo>
                      <a:pt x="984026" y="1286330"/>
                      <a:pt x="985310" y="1281197"/>
                      <a:pt x="984026" y="1276062"/>
                    </a:cubicBezTo>
                    <a:lnTo>
                      <a:pt x="981459" y="1270928"/>
                    </a:lnTo>
                    <a:cubicBezTo>
                      <a:pt x="980175" y="1268360"/>
                      <a:pt x="977607" y="1267077"/>
                      <a:pt x="976323" y="1265794"/>
                    </a:cubicBezTo>
                    <a:cubicBezTo>
                      <a:pt x="972472" y="1263226"/>
                      <a:pt x="968620" y="1259376"/>
                      <a:pt x="964769" y="1256809"/>
                    </a:cubicBezTo>
                    <a:cubicBezTo>
                      <a:pt x="960917" y="1254241"/>
                      <a:pt x="957066" y="1252957"/>
                      <a:pt x="953214" y="1251674"/>
                    </a:cubicBezTo>
                    <a:cubicBezTo>
                      <a:pt x="950647" y="1251674"/>
                      <a:pt x="946795" y="1251674"/>
                      <a:pt x="944227" y="1251674"/>
                    </a:cubicBezTo>
                    <a:cubicBezTo>
                      <a:pt x="940376" y="1250391"/>
                      <a:pt x="936524" y="1249107"/>
                      <a:pt x="933957" y="1245256"/>
                    </a:cubicBezTo>
                    <a:cubicBezTo>
                      <a:pt x="932673" y="1242689"/>
                      <a:pt x="931389" y="1242689"/>
                      <a:pt x="928821" y="1241406"/>
                    </a:cubicBezTo>
                    <a:cubicBezTo>
                      <a:pt x="926254" y="1240122"/>
                      <a:pt x="924970" y="1237554"/>
                      <a:pt x="922402" y="1237554"/>
                    </a:cubicBezTo>
                    <a:cubicBezTo>
                      <a:pt x="919835" y="1237554"/>
                      <a:pt x="918551" y="1237554"/>
                      <a:pt x="915983" y="1237554"/>
                    </a:cubicBezTo>
                    <a:cubicBezTo>
                      <a:pt x="913416" y="1236271"/>
                      <a:pt x="912132" y="1233704"/>
                      <a:pt x="909564" y="1232421"/>
                    </a:cubicBezTo>
                    <a:cubicBezTo>
                      <a:pt x="905713" y="1229853"/>
                      <a:pt x="903145" y="1226003"/>
                      <a:pt x="901862" y="1222152"/>
                    </a:cubicBezTo>
                    <a:cubicBezTo>
                      <a:pt x="900578" y="1219585"/>
                      <a:pt x="899294" y="1215734"/>
                      <a:pt x="898010" y="1213167"/>
                    </a:cubicBezTo>
                    <a:cubicBezTo>
                      <a:pt x="896726" y="1208033"/>
                      <a:pt x="894159" y="1199047"/>
                      <a:pt x="887739" y="1197764"/>
                    </a:cubicBezTo>
                    <a:cubicBezTo>
                      <a:pt x="885172" y="1196480"/>
                      <a:pt x="882604" y="1193913"/>
                      <a:pt x="880036" y="1192630"/>
                    </a:cubicBezTo>
                    <a:cubicBezTo>
                      <a:pt x="876185" y="1191346"/>
                      <a:pt x="872333" y="1190062"/>
                      <a:pt x="868482" y="1188779"/>
                    </a:cubicBezTo>
                    <a:cubicBezTo>
                      <a:pt x="860779" y="1186212"/>
                      <a:pt x="853076" y="1179794"/>
                      <a:pt x="847941" y="1173376"/>
                    </a:cubicBezTo>
                    <a:cubicBezTo>
                      <a:pt x="846657" y="1170809"/>
                      <a:pt x="844089" y="1166958"/>
                      <a:pt x="841522" y="1165674"/>
                    </a:cubicBezTo>
                    <a:cubicBezTo>
                      <a:pt x="838954" y="1164391"/>
                      <a:pt x="835103" y="1164391"/>
                      <a:pt x="831251" y="1163107"/>
                    </a:cubicBezTo>
                    <a:cubicBezTo>
                      <a:pt x="827400" y="1161824"/>
                      <a:pt x="822264" y="1161824"/>
                      <a:pt x="818413" y="1161824"/>
                    </a:cubicBezTo>
                    <a:cubicBezTo>
                      <a:pt x="814561" y="1161824"/>
                      <a:pt x="809426" y="1163107"/>
                      <a:pt x="805575" y="1161824"/>
                    </a:cubicBezTo>
                    <a:cubicBezTo>
                      <a:pt x="803007" y="1161824"/>
                      <a:pt x="800439" y="1161824"/>
                      <a:pt x="795304" y="1168242"/>
                    </a:cubicBezTo>
                    <a:cubicBezTo>
                      <a:pt x="796588" y="1169526"/>
                      <a:pt x="796588" y="1170809"/>
                      <a:pt x="795304" y="1174659"/>
                    </a:cubicBezTo>
                    <a:cubicBezTo>
                      <a:pt x="792736" y="1175943"/>
                      <a:pt x="791452" y="1173376"/>
                      <a:pt x="790168" y="1170809"/>
                    </a:cubicBezTo>
                    <a:lnTo>
                      <a:pt x="788885" y="1164391"/>
                    </a:lnTo>
                    <a:cubicBezTo>
                      <a:pt x="786317" y="1161824"/>
                      <a:pt x="785033" y="1161824"/>
                      <a:pt x="782465" y="1163107"/>
                    </a:cubicBezTo>
                    <a:cubicBezTo>
                      <a:pt x="779898" y="1164391"/>
                      <a:pt x="777330" y="1165674"/>
                      <a:pt x="776046" y="1168242"/>
                    </a:cubicBezTo>
                    <a:cubicBezTo>
                      <a:pt x="774763" y="1170809"/>
                      <a:pt x="774763" y="1174659"/>
                      <a:pt x="772195" y="1175943"/>
                    </a:cubicBezTo>
                    <a:lnTo>
                      <a:pt x="765776" y="1175943"/>
                    </a:lnTo>
                    <a:cubicBezTo>
                      <a:pt x="763208" y="1174659"/>
                      <a:pt x="760641" y="1172092"/>
                      <a:pt x="758073" y="1170809"/>
                    </a:cubicBezTo>
                    <a:cubicBezTo>
                      <a:pt x="754222" y="1169526"/>
                      <a:pt x="750370" y="1172092"/>
                      <a:pt x="746519" y="1172092"/>
                    </a:cubicBezTo>
                    <a:cubicBezTo>
                      <a:pt x="743951" y="1172092"/>
                      <a:pt x="740100" y="1172092"/>
                      <a:pt x="737532" y="1169526"/>
                    </a:cubicBezTo>
                    <a:cubicBezTo>
                      <a:pt x="736248" y="1166958"/>
                      <a:pt x="736248" y="1163107"/>
                      <a:pt x="736248" y="1160540"/>
                    </a:cubicBezTo>
                    <a:cubicBezTo>
                      <a:pt x="734964" y="1157973"/>
                      <a:pt x="733680" y="1156689"/>
                      <a:pt x="732397" y="1154123"/>
                    </a:cubicBezTo>
                    <a:lnTo>
                      <a:pt x="731113" y="1146421"/>
                    </a:lnTo>
                    <a:cubicBezTo>
                      <a:pt x="731113" y="1141286"/>
                      <a:pt x="732397" y="1137436"/>
                      <a:pt x="729829" y="1132302"/>
                    </a:cubicBezTo>
                    <a:lnTo>
                      <a:pt x="725977" y="1128451"/>
                    </a:lnTo>
                    <a:cubicBezTo>
                      <a:pt x="722126" y="1127167"/>
                      <a:pt x="719558" y="1128451"/>
                      <a:pt x="716991" y="1128451"/>
                    </a:cubicBezTo>
                    <a:cubicBezTo>
                      <a:pt x="714423" y="1129735"/>
                      <a:pt x="711855" y="1129735"/>
                      <a:pt x="709288" y="1129735"/>
                    </a:cubicBezTo>
                    <a:cubicBezTo>
                      <a:pt x="706720" y="1129735"/>
                      <a:pt x="704152" y="1128451"/>
                      <a:pt x="705436" y="1125883"/>
                    </a:cubicBezTo>
                    <a:cubicBezTo>
                      <a:pt x="708004" y="1123317"/>
                      <a:pt x="710571" y="1120750"/>
                      <a:pt x="710571" y="1118182"/>
                    </a:cubicBezTo>
                    <a:cubicBezTo>
                      <a:pt x="711855" y="1115615"/>
                      <a:pt x="710571" y="1115615"/>
                      <a:pt x="710571" y="1111764"/>
                    </a:cubicBezTo>
                    <a:cubicBezTo>
                      <a:pt x="711855" y="1111764"/>
                      <a:pt x="713139" y="1111764"/>
                      <a:pt x="714423" y="1111764"/>
                    </a:cubicBezTo>
                    <a:lnTo>
                      <a:pt x="714423" y="1106630"/>
                    </a:lnTo>
                    <a:lnTo>
                      <a:pt x="715707" y="1101496"/>
                    </a:lnTo>
                    <a:cubicBezTo>
                      <a:pt x="715707" y="1098929"/>
                      <a:pt x="716991" y="1096362"/>
                      <a:pt x="715707" y="1093794"/>
                    </a:cubicBezTo>
                    <a:lnTo>
                      <a:pt x="710571" y="1091227"/>
                    </a:lnTo>
                    <a:cubicBezTo>
                      <a:pt x="706720" y="1091227"/>
                      <a:pt x="702868" y="1093794"/>
                      <a:pt x="700301" y="1096362"/>
                    </a:cubicBezTo>
                    <a:cubicBezTo>
                      <a:pt x="697733" y="1098929"/>
                      <a:pt x="696449" y="1102779"/>
                      <a:pt x="695165" y="1105347"/>
                    </a:cubicBezTo>
                    <a:cubicBezTo>
                      <a:pt x="692598" y="1109197"/>
                      <a:pt x="686179" y="1110481"/>
                      <a:pt x="682327" y="1111764"/>
                    </a:cubicBezTo>
                    <a:cubicBezTo>
                      <a:pt x="679760" y="1111764"/>
                      <a:pt x="677192" y="1113048"/>
                      <a:pt x="674625" y="1113048"/>
                    </a:cubicBezTo>
                    <a:cubicBezTo>
                      <a:pt x="672057" y="1111764"/>
                      <a:pt x="672057" y="1107914"/>
                      <a:pt x="670773" y="1105347"/>
                    </a:cubicBezTo>
                    <a:cubicBezTo>
                      <a:pt x="669489" y="1104063"/>
                      <a:pt x="668206" y="1101496"/>
                      <a:pt x="666922" y="1100212"/>
                    </a:cubicBezTo>
                    <a:cubicBezTo>
                      <a:pt x="663070" y="1096362"/>
                      <a:pt x="661786" y="1088660"/>
                      <a:pt x="661786" y="1083526"/>
                    </a:cubicBezTo>
                    <a:cubicBezTo>
                      <a:pt x="661786" y="1079675"/>
                      <a:pt x="661786" y="1075824"/>
                      <a:pt x="663070" y="1073257"/>
                    </a:cubicBezTo>
                    <a:cubicBezTo>
                      <a:pt x="663070" y="1070690"/>
                      <a:pt x="664354" y="1069406"/>
                      <a:pt x="664354" y="1066839"/>
                    </a:cubicBezTo>
                    <a:cubicBezTo>
                      <a:pt x="664354" y="1064272"/>
                      <a:pt x="664354" y="1061705"/>
                      <a:pt x="664354" y="1057855"/>
                    </a:cubicBezTo>
                    <a:cubicBezTo>
                      <a:pt x="665638" y="1054003"/>
                      <a:pt x="666922" y="1051436"/>
                      <a:pt x="670773" y="1045018"/>
                    </a:cubicBezTo>
                    <a:lnTo>
                      <a:pt x="677192" y="1041168"/>
                    </a:lnTo>
                    <a:cubicBezTo>
                      <a:pt x="681044" y="1039884"/>
                      <a:pt x="686179" y="1036034"/>
                      <a:pt x="690030" y="1037317"/>
                    </a:cubicBezTo>
                    <a:cubicBezTo>
                      <a:pt x="695165" y="1037317"/>
                      <a:pt x="699017" y="1042452"/>
                      <a:pt x="704152" y="1041168"/>
                    </a:cubicBezTo>
                    <a:lnTo>
                      <a:pt x="705436" y="1036034"/>
                    </a:lnTo>
                    <a:lnTo>
                      <a:pt x="714423" y="1032183"/>
                    </a:lnTo>
                    <a:cubicBezTo>
                      <a:pt x="720842" y="1032183"/>
                      <a:pt x="725977" y="1033467"/>
                      <a:pt x="731113" y="1038600"/>
                    </a:cubicBezTo>
                    <a:cubicBezTo>
                      <a:pt x="736248" y="1043735"/>
                      <a:pt x="734964" y="1048869"/>
                      <a:pt x="737532" y="1055287"/>
                    </a:cubicBezTo>
                    <a:cubicBezTo>
                      <a:pt x="738816" y="1059138"/>
                      <a:pt x="741384" y="1064272"/>
                      <a:pt x="746519" y="1065556"/>
                    </a:cubicBezTo>
                    <a:cubicBezTo>
                      <a:pt x="751654" y="1066839"/>
                      <a:pt x="751654" y="1060421"/>
                      <a:pt x="751654" y="1056571"/>
                    </a:cubicBezTo>
                    <a:cubicBezTo>
                      <a:pt x="750370" y="1051436"/>
                      <a:pt x="747803" y="1047586"/>
                      <a:pt x="746519" y="1042452"/>
                    </a:cubicBezTo>
                    <a:cubicBezTo>
                      <a:pt x="743951" y="1037317"/>
                      <a:pt x="743951" y="1032183"/>
                      <a:pt x="746519" y="1027049"/>
                    </a:cubicBezTo>
                    <a:cubicBezTo>
                      <a:pt x="749087" y="1021914"/>
                      <a:pt x="754222" y="1018064"/>
                      <a:pt x="758073" y="1014212"/>
                    </a:cubicBezTo>
                    <a:cubicBezTo>
                      <a:pt x="760641" y="1010362"/>
                      <a:pt x="764492" y="1009079"/>
                      <a:pt x="767060" y="1005228"/>
                    </a:cubicBezTo>
                    <a:cubicBezTo>
                      <a:pt x="768344" y="1002661"/>
                      <a:pt x="769627" y="1000093"/>
                      <a:pt x="769627" y="997526"/>
                    </a:cubicBezTo>
                    <a:cubicBezTo>
                      <a:pt x="769627" y="996243"/>
                      <a:pt x="768344" y="994959"/>
                      <a:pt x="768344" y="993676"/>
                    </a:cubicBezTo>
                    <a:cubicBezTo>
                      <a:pt x="768344" y="991108"/>
                      <a:pt x="768344" y="989825"/>
                      <a:pt x="768344" y="988541"/>
                    </a:cubicBezTo>
                    <a:cubicBezTo>
                      <a:pt x="768344" y="984691"/>
                      <a:pt x="767060" y="980840"/>
                      <a:pt x="768344" y="976989"/>
                    </a:cubicBezTo>
                    <a:cubicBezTo>
                      <a:pt x="768344" y="975705"/>
                      <a:pt x="770911" y="970571"/>
                      <a:pt x="772195" y="973138"/>
                    </a:cubicBezTo>
                    <a:cubicBezTo>
                      <a:pt x="773479" y="974422"/>
                      <a:pt x="773479" y="975705"/>
                      <a:pt x="772195" y="976989"/>
                    </a:cubicBezTo>
                    <a:cubicBezTo>
                      <a:pt x="772195" y="978273"/>
                      <a:pt x="772195" y="979556"/>
                      <a:pt x="773479" y="980840"/>
                    </a:cubicBezTo>
                    <a:cubicBezTo>
                      <a:pt x="774763" y="982123"/>
                      <a:pt x="777330" y="983407"/>
                      <a:pt x="778614" y="980840"/>
                    </a:cubicBezTo>
                    <a:lnTo>
                      <a:pt x="778614" y="974422"/>
                    </a:lnTo>
                    <a:cubicBezTo>
                      <a:pt x="778614" y="973138"/>
                      <a:pt x="778614" y="973138"/>
                      <a:pt x="778614" y="971855"/>
                    </a:cubicBezTo>
                    <a:cubicBezTo>
                      <a:pt x="779898" y="969288"/>
                      <a:pt x="782465" y="968004"/>
                      <a:pt x="783749" y="966720"/>
                    </a:cubicBezTo>
                    <a:cubicBezTo>
                      <a:pt x="783749" y="965437"/>
                      <a:pt x="783749" y="964153"/>
                      <a:pt x="785033" y="962870"/>
                    </a:cubicBezTo>
                    <a:cubicBezTo>
                      <a:pt x="785033" y="961586"/>
                      <a:pt x="786317" y="960303"/>
                      <a:pt x="787601" y="959019"/>
                    </a:cubicBezTo>
                    <a:cubicBezTo>
                      <a:pt x="791452" y="953885"/>
                      <a:pt x="795304" y="948750"/>
                      <a:pt x="799155" y="943616"/>
                    </a:cubicBezTo>
                    <a:cubicBezTo>
                      <a:pt x="801723" y="941049"/>
                      <a:pt x="808142" y="935915"/>
                      <a:pt x="811994" y="935915"/>
                    </a:cubicBezTo>
                    <a:cubicBezTo>
                      <a:pt x="814561" y="934631"/>
                      <a:pt x="817129" y="935915"/>
                      <a:pt x="818413" y="933347"/>
                    </a:cubicBezTo>
                    <a:cubicBezTo>
                      <a:pt x="819697" y="930781"/>
                      <a:pt x="818413" y="930781"/>
                      <a:pt x="820981" y="929497"/>
                    </a:cubicBezTo>
                    <a:cubicBezTo>
                      <a:pt x="822264" y="928213"/>
                      <a:pt x="829967" y="925646"/>
                      <a:pt x="829967" y="929497"/>
                    </a:cubicBezTo>
                    <a:cubicBezTo>
                      <a:pt x="828684" y="930781"/>
                      <a:pt x="827400" y="932064"/>
                      <a:pt x="826116" y="933347"/>
                    </a:cubicBezTo>
                    <a:cubicBezTo>
                      <a:pt x="824832" y="934631"/>
                      <a:pt x="823548" y="935915"/>
                      <a:pt x="824832" y="938482"/>
                    </a:cubicBezTo>
                    <a:cubicBezTo>
                      <a:pt x="826116" y="939765"/>
                      <a:pt x="828684" y="941049"/>
                      <a:pt x="831251" y="941049"/>
                    </a:cubicBezTo>
                    <a:cubicBezTo>
                      <a:pt x="833819" y="941049"/>
                      <a:pt x="835103" y="939765"/>
                      <a:pt x="837670" y="937198"/>
                    </a:cubicBezTo>
                    <a:cubicBezTo>
                      <a:pt x="838954" y="935915"/>
                      <a:pt x="838954" y="933347"/>
                      <a:pt x="841522" y="932064"/>
                    </a:cubicBezTo>
                    <a:lnTo>
                      <a:pt x="847941" y="928213"/>
                    </a:lnTo>
                    <a:cubicBezTo>
                      <a:pt x="850508" y="924363"/>
                      <a:pt x="838954" y="925646"/>
                      <a:pt x="837670" y="925646"/>
                    </a:cubicBezTo>
                    <a:lnTo>
                      <a:pt x="831251" y="917944"/>
                    </a:lnTo>
                    <a:cubicBezTo>
                      <a:pt x="829967" y="914094"/>
                      <a:pt x="831251" y="911527"/>
                      <a:pt x="828684" y="910243"/>
                    </a:cubicBezTo>
                    <a:cubicBezTo>
                      <a:pt x="827400" y="908960"/>
                      <a:pt x="826116" y="908960"/>
                      <a:pt x="826116" y="905109"/>
                    </a:cubicBezTo>
                    <a:cubicBezTo>
                      <a:pt x="827400" y="903825"/>
                      <a:pt x="828684" y="905109"/>
                      <a:pt x="829967" y="903825"/>
                    </a:cubicBezTo>
                    <a:cubicBezTo>
                      <a:pt x="831251" y="902541"/>
                      <a:pt x="832535" y="901258"/>
                      <a:pt x="831251" y="898691"/>
                    </a:cubicBezTo>
                    <a:cubicBezTo>
                      <a:pt x="829967" y="894840"/>
                      <a:pt x="826116" y="894840"/>
                      <a:pt x="822264" y="896124"/>
                    </a:cubicBezTo>
                    <a:lnTo>
                      <a:pt x="818413" y="897408"/>
                    </a:lnTo>
                    <a:cubicBezTo>
                      <a:pt x="815845" y="898691"/>
                      <a:pt x="811994" y="901258"/>
                      <a:pt x="809426" y="903825"/>
                    </a:cubicBezTo>
                    <a:cubicBezTo>
                      <a:pt x="809426" y="905109"/>
                      <a:pt x="808142" y="906393"/>
                      <a:pt x="806858" y="906393"/>
                    </a:cubicBezTo>
                    <a:lnTo>
                      <a:pt x="808142" y="901258"/>
                    </a:lnTo>
                    <a:cubicBezTo>
                      <a:pt x="809426" y="899975"/>
                      <a:pt x="810710" y="897408"/>
                      <a:pt x="811994" y="896124"/>
                    </a:cubicBezTo>
                    <a:cubicBezTo>
                      <a:pt x="815845" y="892273"/>
                      <a:pt x="819697" y="889706"/>
                      <a:pt x="823548" y="889706"/>
                    </a:cubicBezTo>
                    <a:cubicBezTo>
                      <a:pt x="826116" y="888422"/>
                      <a:pt x="827400" y="888422"/>
                      <a:pt x="828684" y="888422"/>
                    </a:cubicBezTo>
                    <a:cubicBezTo>
                      <a:pt x="833819" y="888422"/>
                      <a:pt x="837670" y="889706"/>
                      <a:pt x="841522" y="888422"/>
                    </a:cubicBezTo>
                    <a:cubicBezTo>
                      <a:pt x="845373" y="888422"/>
                      <a:pt x="849224" y="889706"/>
                      <a:pt x="851792" y="888422"/>
                    </a:cubicBezTo>
                    <a:cubicBezTo>
                      <a:pt x="853076" y="888422"/>
                      <a:pt x="854360" y="887139"/>
                      <a:pt x="855643" y="887139"/>
                    </a:cubicBezTo>
                    <a:cubicBezTo>
                      <a:pt x="858211" y="885855"/>
                      <a:pt x="859495" y="884572"/>
                      <a:pt x="860779" y="883288"/>
                    </a:cubicBezTo>
                    <a:cubicBezTo>
                      <a:pt x="863346" y="882005"/>
                      <a:pt x="862063" y="879437"/>
                      <a:pt x="863346" y="878154"/>
                    </a:cubicBezTo>
                    <a:cubicBezTo>
                      <a:pt x="867198" y="873020"/>
                      <a:pt x="873617" y="879437"/>
                      <a:pt x="877469" y="875587"/>
                    </a:cubicBezTo>
                    <a:cubicBezTo>
                      <a:pt x="880036" y="874303"/>
                      <a:pt x="881320" y="870452"/>
                      <a:pt x="881320" y="867885"/>
                    </a:cubicBezTo>
                    <a:cubicBezTo>
                      <a:pt x="880036" y="865318"/>
                      <a:pt x="878752" y="865318"/>
                      <a:pt x="877469" y="864034"/>
                    </a:cubicBezTo>
                    <a:cubicBezTo>
                      <a:pt x="874901" y="864034"/>
                      <a:pt x="874901" y="862751"/>
                      <a:pt x="872333" y="862751"/>
                    </a:cubicBezTo>
                    <a:cubicBezTo>
                      <a:pt x="871049" y="862751"/>
                      <a:pt x="869766" y="864034"/>
                      <a:pt x="868482" y="864034"/>
                    </a:cubicBezTo>
                    <a:cubicBezTo>
                      <a:pt x="864630" y="866602"/>
                      <a:pt x="862063" y="867885"/>
                      <a:pt x="859495" y="867885"/>
                    </a:cubicBezTo>
                    <a:cubicBezTo>
                      <a:pt x="856927" y="867885"/>
                      <a:pt x="854360" y="865318"/>
                      <a:pt x="855643" y="862751"/>
                    </a:cubicBezTo>
                    <a:cubicBezTo>
                      <a:pt x="855643" y="860184"/>
                      <a:pt x="859495" y="860184"/>
                      <a:pt x="860779" y="857617"/>
                    </a:cubicBezTo>
                    <a:cubicBezTo>
                      <a:pt x="863346" y="856333"/>
                      <a:pt x="864630" y="853766"/>
                      <a:pt x="862063" y="852482"/>
                    </a:cubicBezTo>
                    <a:cubicBezTo>
                      <a:pt x="859495" y="851199"/>
                      <a:pt x="855643" y="851199"/>
                      <a:pt x="853076" y="851199"/>
                    </a:cubicBezTo>
                    <a:cubicBezTo>
                      <a:pt x="847941" y="849915"/>
                      <a:pt x="849224" y="847348"/>
                      <a:pt x="849224" y="844781"/>
                    </a:cubicBezTo>
                    <a:cubicBezTo>
                      <a:pt x="849224" y="843497"/>
                      <a:pt x="849224" y="842214"/>
                      <a:pt x="849224" y="840930"/>
                    </a:cubicBezTo>
                    <a:cubicBezTo>
                      <a:pt x="847941" y="838363"/>
                      <a:pt x="846657" y="837079"/>
                      <a:pt x="846657" y="835796"/>
                    </a:cubicBezTo>
                    <a:cubicBezTo>
                      <a:pt x="846657" y="833229"/>
                      <a:pt x="846657" y="831945"/>
                      <a:pt x="845373" y="829378"/>
                    </a:cubicBezTo>
                    <a:cubicBezTo>
                      <a:pt x="845373" y="826811"/>
                      <a:pt x="845373" y="825527"/>
                      <a:pt x="844089" y="824244"/>
                    </a:cubicBezTo>
                    <a:cubicBezTo>
                      <a:pt x="842805" y="821676"/>
                      <a:pt x="838954" y="820393"/>
                      <a:pt x="837670" y="817826"/>
                    </a:cubicBezTo>
                    <a:cubicBezTo>
                      <a:pt x="835103" y="815258"/>
                      <a:pt x="836386" y="813975"/>
                      <a:pt x="835103" y="811408"/>
                    </a:cubicBezTo>
                    <a:cubicBezTo>
                      <a:pt x="833819" y="808841"/>
                      <a:pt x="831251" y="806273"/>
                      <a:pt x="828684" y="808841"/>
                    </a:cubicBezTo>
                    <a:cubicBezTo>
                      <a:pt x="827400" y="810125"/>
                      <a:pt x="826116" y="812692"/>
                      <a:pt x="824832" y="813975"/>
                    </a:cubicBezTo>
                    <a:cubicBezTo>
                      <a:pt x="822264" y="817826"/>
                      <a:pt x="817129" y="817826"/>
                      <a:pt x="813278" y="816542"/>
                    </a:cubicBezTo>
                    <a:cubicBezTo>
                      <a:pt x="809426" y="815258"/>
                      <a:pt x="806858" y="811408"/>
                      <a:pt x="805575" y="807557"/>
                    </a:cubicBezTo>
                    <a:cubicBezTo>
                      <a:pt x="805575" y="803707"/>
                      <a:pt x="805575" y="799856"/>
                      <a:pt x="801723" y="797289"/>
                    </a:cubicBezTo>
                    <a:cubicBezTo>
                      <a:pt x="799155" y="794722"/>
                      <a:pt x="795304" y="793438"/>
                      <a:pt x="791452" y="790870"/>
                    </a:cubicBezTo>
                    <a:cubicBezTo>
                      <a:pt x="790168" y="788304"/>
                      <a:pt x="787601" y="785737"/>
                      <a:pt x="785033" y="784453"/>
                    </a:cubicBezTo>
                    <a:cubicBezTo>
                      <a:pt x="781182" y="784453"/>
                      <a:pt x="777330" y="785737"/>
                      <a:pt x="774763" y="788304"/>
                    </a:cubicBezTo>
                    <a:cubicBezTo>
                      <a:pt x="772195" y="789587"/>
                      <a:pt x="768344" y="788304"/>
                      <a:pt x="765776" y="789587"/>
                    </a:cubicBezTo>
                    <a:cubicBezTo>
                      <a:pt x="760641" y="790870"/>
                      <a:pt x="764492" y="797289"/>
                      <a:pt x="763208" y="801139"/>
                    </a:cubicBezTo>
                    <a:cubicBezTo>
                      <a:pt x="763208" y="802423"/>
                      <a:pt x="761925" y="802423"/>
                      <a:pt x="761925" y="803707"/>
                    </a:cubicBezTo>
                    <a:cubicBezTo>
                      <a:pt x="763208" y="804990"/>
                      <a:pt x="763208" y="804990"/>
                      <a:pt x="764492" y="806273"/>
                    </a:cubicBezTo>
                    <a:lnTo>
                      <a:pt x="761925" y="811408"/>
                    </a:lnTo>
                    <a:lnTo>
                      <a:pt x="756789" y="816542"/>
                    </a:lnTo>
                    <a:cubicBezTo>
                      <a:pt x="756789" y="820393"/>
                      <a:pt x="761925" y="820393"/>
                      <a:pt x="763208" y="822960"/>
                    </a:cubicBezTo>
                    <a:cubicBezTo>
                      <a:pt x="764492" y="824244"/>
                      <a:pt x="764492" y="825527"/>
                      <a:pt x="765776" y="828094"/>
                    </a:cubicBezTo>
                    <a:lnTo>
                      <a:pt x="768344" y="834513"/>
                    </a:lnTo>
                    <a:lnTo>
                      <a:pt x="768344" y="842214"/>
                    </a:lnTo>
                    <a:lnTo>
                      <a:pt x="764492" y="848632"/>
                    </a:lnTo>
                    <a:cubicBezTo>
                      <a:pt x="761925" y="849915"/>
                      <a:pt x="759357" y="851199"/>
                      <a:pt x="758073" y="853766"/>
                    </a:cubicBezTo>
                    <a:cubicBezTo>
                      <a:pt x="755506" y="856333"/>
                      <a:pt x="756789" y="860184"/>
                      <a:pt x="758073" y="862751"/>
                    </a:cubicBezTo>
                    <a:lnTo>
                      <a:pt x="756789" y="870452"/>
                    </a:lnTo>
                    <a:cubicBezTo>
                      <a:pt x="754222" y="873020"/>
                      <a:pt x="750370" y="874303"/>
                      <a:pt x="747803" y="873020"/>
                    </a:cubicBezTo>
                    <a:cubicBezTo>
                      <a:pt x="745235" y="873020"/>
                      <a:pt x="742667" y="867885"/>
                      <a:pt x="742667" y="864034"/>
                    </a:cubicBezTo>
                    <a:lnTo>
                      <a:pt x="740100" y="851199"/>
                    </a:lnTo>
                    <a:cubicBezTo>
                      <a:pt x="737532" y="848632"/>
                      <a:pt x="732397" y="848632"/>
                      <a:pt x="728545" y="847348"/>
                    </a:cubicBezTo>
                    <a:cubicBezTo>
                      <a:pt x="723410" y="847348"/>
                      <a:pt x="719558" y="843497"/>
                      <a:pt x="715707" y="840930"/>
                    </a:cubicBezTo>
                    <a:cubicBezTo>
                      <a:pt x="713139" y="839646"/>
                      <a:pt x="711855" y="837079"/>
                      <a:pt x="709288" y="837079"/>
                    </a:cubicBezTo>
                    <a:cubicBezTo>
                      <a:pt x="706720" y="835796"/>
                      <a:pt x="702868" y="834513"/>
                      <a:pt x="700301" y="834513"/>
                    </a:cubicBezTo>
                    <a:cubicBezTo>
                      <a:pt x="693882" y="833229"/>
                      <a:pt x="686179" y="828094"/>
                      <a:pt x="684895" y="821676"/>
                    </a:cubicBezTo>
                    <a:cubicBezTo>
                      <a:pt x="683611" y="817826"/>
                      <a:pt x="681044" y="815258"/>
                      <a:pt x="678476" y="811408"/>
                    </a:cubicBezTo>
                    <a:lnTo>
                      <a:pt x="680631" y="800639"/>
                    </a:lnTo>
                    <a:lnTo>
                      <a:pt x="687957" y="791759"/>
                    </a:lnTo>
                    <a:cubicBezTo>
                      <a:pt x="690227" y="790498"/>
                      <a:pt x="691504" y="788209"/>
                      <a:pt x="693882" y="787020"/>
                    </a:cubicBezTo>
                    <a:lnTo>
                      <a:pt x="694661" y="785073"/>
                    </a:lnTo>
                    <a:lnTo>
                      <a:pt x="705598" y="776049"/>
                    </a:lnTo>
                    <a:cubicBezTo>
                      <a:pt x="707144" y="775327"/>
                      <a:pt x="708858" y="774755"/>
                      <a:pt x="710571" y="774184"/>
                    </a:cubicBezTo>
                    <a:cubicBezTo>
                      <a:pt x="711855" y="772901"/>
                      <a:pt x="713139" y="772901"/>
                      <a:pt x="713139" y="771617"/>
                    </a:cubicBezTo>
                    <a:lnTo>
                      <a:pt x="712768" y="770133"/>
                    </a:lnTo>
                    <a:lnTo>
                      <a:pt x="730336" y="755638"/>
                    </a:lnTo>
                    <a:lnTo>
                      <a:pt x="737532" y="752363"/>
                    </a:lnTo>
                    <a:cubicBezTo>
                      <a:pt x="741384" y="751080"/>
                      <a:pt x="743951" y="749796"/>
                      <a:pt x="747803" y="749796"/>
                    </a:cubicBezTo>
                    <a:cubicBezTo>
                      <a:pt x="750370" y="748513"/>
                      <a:pt x="751654" y="747229"/>
                      <a:pt x="750370" y="744662"/>
                    </a:cubicBezTo>
                    <a:cubicBezTo>
                      <a:pt x="750370" y="742664"/>
                      <a:pt x="749679" y="741703"/>
                      <a:pt x="748668" y="740513"/>
                    </a:cubicBezTo>
                    <a:cubicBezTo>
                      <a:pt x="757366" y="733451"/>
                      <a:pt x="766760" y="727349"/>
                      <a:pt x="777261" y="723065"/>
                    </a:cubicBezTo>
                    <a:cubicBezTo>
                      <a:pt x="783363" y="727046"/>
                      <a:pt x="787824" y="733460"/>
                      <a:pt x="788700" y="740472"/>
                    </a:cubicBezTo>
                    <a:cubicBezTo>
                      <a:pt x="789983" y="745610"/>
                      <a:pt x="787416" y="750749"/>
                      <a:pt x="786132" y="754603"/>
                    </a:cubicBezTo>
                    <a:lnTo>
                      <a:pt x="786132" y="762310"/>
                    </a:lnTo>
                    <a:cubicBezTo>
                      <a:pt x="786132" y="764880"/>
                      <a:pt x="783564" y="767449"/>
                      <a:pt x="780997" y="768734"/>
                    </a:cubicBezTo>
                    <a:lnTo>
                      <a:pt x="770726" y="770019"/>
                    </a:lnTo>
                    <a:cubicBezTo>
                      <a:pt x="768159" y="770019"/>
                      <a:pt x="764307" y="768734"/>
                      <a:pt x="761740" y="770019"/>
                    </a:cubicBezTo>
                    <a:cubicBezTo>
                      <a:pt x="759172" y="772588"/>
                      <a:pt x="761740" y="777727"/>
                      <a:pt x="764307" y="779011"/>
                    </a:cubicBezTo>
                    <a:cubicBezTo>
                      <a:pt x="769443" y="782865"/>
                      <a:pt x="778429" y="775157"/>
                      <a:pt x="783564" y="779011"/>
                    </a:cubicBezTo>
                    <a:cubicBezTo>
                      <a:pt x="786132" y="780296"/>
                      <a:pt x="787416" y="782865"/>
                      <a:pt x="789983" y="784150"/>
                    </a:cubicBezTo>
                    <a:cubicBezTo>
                      <a:pt x="792551" y="785434"/>
                      <a:pt x="793835" y="786719"/>
                      <a:pt x="795119" y="786719"/>
                    </a:cubicBezTo>
                    <a:cubicBezTo>
                      <a:pt x="798970" y="788004"/>
                      <a:pt x="801538" y="786719"/>
                      <a:pt x="805389" y="786719"/>
                    </a:cubicBezTo>
                    <a:cubicBezTo>
                      <a:pt x="807957" y="786719"/>
                      <a:pt x="811808" y="786719"/>
                      <a:pt x="814376" y="788004"/>
                    </a:cubicBezTo>
                    <a:cubicBezTo>
                      <a:pt x="815660" y="789288"/>
                      <a:pt x="818227" y="789288"/>
                      <a:pt x="820795" y="790573"/>
                    </a:cubicBezTo>
                    <a:cubicBezTo>
                      <a:pt x="822079" y="790573"/>
                      <a:pt x="823362" y="790573"/>
                      <a:pt x="823362" y="788004"/>
                    </a:cubicBezTo>
                    <a:lnTo>
                      <a:pt x="819511" y="785434"/>
                    </a:lnTo>
                    <a:cubicBezTo>
                      <a:pt x="816943" y="784150"/>
                      <a:pt x="809240" y="782865"/>
                      <a:pt x="810524" y="779011"/>
                    </a:cubicBezTo>
                    <a:cubicBezTo>
                      <a:pt x="811808" y="776442"/>
                      <a:pt x="814376" y="777727"/>
                      <a:pt x="816943" y="777727"/>
                    </a:cubicBezTo>
                    <a:cubicBezTo>
                      <a:pt x="819511" y="777727"/>
                      <a:pt x="820795" y="776442"/>
                      <a:pt x="823362" y="776442"/>
                    </a:cubicBezTo>
                    <a:cubicBezTo>
                      <a:pt x="825930" y="775157"/>
                      <a:pt x="828498" y="775157"/>
                      <a:pt x="828498" y="772588"/>
                    </a:cubicBezTo>
                    <a:lnTo>
                      <a:pt x="824646" y="766165"/>
                    </a:lnTo>
                    <a:cubicBezTo>
                      <a:pt x="820795" y="764880"/>
                      <a:pt x="814376" y="759741"/>
                      <a:pt x="816943" y="754603"/>
                    </a:cubicBezTo>
                    <a:cubicBezTo>
                      <a:pt x="818227" y="752033"/>
                      <a:pt x="825930" y="754603"/>
                      <a:pt x="828498" y="755887"/>
                    </a:cubicBezTo>
                    <a:cubicBezTo>
                      <a:pt x="831065" y="758456"/>
                      <a:pt x="834917" y="762310"/>
                      <a:pt x="838768" y="762310"/>
                    </a:cubicBezTo>
                    <a:cubicBezTo>
                      <a:pt x="843903" y="762310"/>
                      <a:pt x="847755" y="757172"/>
                      <a:pt x="849039" y="752033"/>
                    </a:cubicBezTo>
                    <a:cubicBezTo>
                      <a:pt x="851606" y="746895"/>
                      <a:pt x="847755" y="744325"/>
                      <a:pt x="842620" y="744325"/>
                    </a:cubicBezTo>
                    <a:cubicBezTo>
                      <a:pt x="838768" y="744325"/>
                      <a:pt x="834917" y="744325"/>
                      <a:pt x="829781" y="741756"/>
                    </a:cubicBezTo>
                    <a:cubicBezTo>
                      <a:pt x="825930" y="740472"/>
                      <a:pt x="822079" y="739187"/>
                      <a:pt x="818227" y="736618"/>
                    </a:cubicBezTo>
                    <a:cubicBezTo>
                      <a:pt x="814376" y="731479"/>
                      <a:pt x="813092" y="725055"/>
                      <a:pt x="810524" y="719917"/>
                    </a:cubicBezTo>
                    <a:cubicBezTo>
                      <a:pt x="809240" y="716063"/>
                      <a:pt x="806673" y="712209"/>
                      <a:pt x="804105" y="709640"/>
                    </a:cubicBezTo>
                    <a:lnTo>
                      <a:pt x="802798" y="709204"/>
                    </a:lnTo>
                    <a:cubicBezTo>
                      <a:pt x="825545" y="695518"/>
                      <a:pt x="850387" y="685600"/>
                      <a:pt x="876810" y="680004"/>
                    </a:cubicBezTo>
                    <a:cubicBezTo>
                      <a:pt x="879309" y="684035"/>
                      <a:pt x="881965" y="688245"/>
                      <a:pt x="879970" y="693231"/>
                    </a:cubicBezTo>
                    <a:cubicBezTo>
                      <a:pt x="878687" y="694514"/>
                      <a:pt x="877404" y="694514"/>
                      <a:pt x="877404" y="695797"/>
                    </a:cubicBezTo>
                    <a:cubicBezTo>
                      <a:pt x="877404" y="699646"/>
                      <a:pt x="879970" y="699646"/>
                      <a:pt x="882537" y="699646"/>
                    </a:cubicBezTo>
                    <a:cubicBezTo>
                      <a:pt x="887670" y="699646"/>
                      <a:pt x="895369" y="699646"/>
                      <a:pt x="897936" y="704778"/>
                    </a:cubicBezTo>
                    <a:lnTo>
                      <a:pt x="896652" y="709910"/>
                    </a:lnTo>
                    <a:lnTo>
                      <a:pt x="890236" y="708627"/>
                    </a:lnTo>
                    <a:lnTo>
                      <a:pt x="881254" y="709910"/>
                    </a:lnTo>
                    <a:cubicBezTo>
                      <a:pt x="879970" y="712476"/>
                      <a:pt x="882537" y="712476"/>
                      <a:pt x="883820" y="713760"/>
                    </a:cubicBezTo>
                    <a:cubicBezTo>
                      <a:pt x="885104" y="713760"/>
                      <a:pt x="885104" y="715042"/>
                      <a:pt x="886386" y="716326"/>
                    </a:cubicBezTo>
                    <a:cubicBezTo>
                      <a:pt x="886364" y="716333"/>
                      <a:pt x="881254" y="717612"/>
                      <a:pt x="881254" y="718892"/>
                    </a:cubicBezTo>
                    <a:cubicBezTo>
                      <a:pt x="881254" y="721458"/>
                      <a:pt x="883820" y="721458"/>
                      <a:pt x="883820" y="724024"/>
                    </a:cubicBezTo>
                    <a:cubicBezTo>
                      <a:pt x="885104" y="725307"/>
                      <a:pt x="882537" y="725307"/>
                      <a:pt x="882537" y="727873"/>
                    </a:cubicBezTo>
                    <a:lnTo>
                      <a:pt x="887670" y="730439"/>
                    </a:lnTo>
                    <a:cubicBezTo>
                      <a:pt x="895369" y="729156"/>
                      <a:pt x="887670" y="720175"/>
                      <a:pt x="890236" y="717608"/>
                    </a:cubicBezTo>
                    <a:cubicBezTo>
                      <a:pt x="894086" y="713760"/>
                      <a:pt x="905635" y="718892"/>
                      <a:pt x="908201" y="720175"/>
                    </a:cubicBezTo>
                    <a:cubicBezTo>
                      <a:pt x="912051" y="721458"/>
                      <a:pt x="912051" y="725307"/>
                      <a:pt x="909485" y="727873"/>
                    </a:cubicBezTo>
                    <a:cubicBezTo>
                      <a:pt x="906918" y="730439"/>
                      <a:pt x="904352" y="730439"/>
                      <a:pt x="903068" y="734288"/>
                    </a:cubicBezTo>
                    <a:cubicBezTo>
                      <a:pt x="903068" y="736854"/>
                      <a:pt x="901785" y="738138"/>
                      <a:pt x="900502" y="739420"/>
                    </a:cubicBezTo>
                    <a:cubicBezTo>
                      <a:pt x="896652" y="740704"/>
                      <a:pt x="894086" y="739420"/>
                      <a:pt x="891520" y="740704"/>
                    </a:cubicBezTo>
                    <a:cubicBezTo>
                      <a:pt x="890236" y="740704"/>
                      <a:pt x="888953" y="741987"/>
                      <a:pt x="887670" y="743270"/>
                    </a:cubicBezTo>
                    <a:cubicBezTo>
                      <a:pt x="887670" y="745836"/>
                      <a:pt x="888953" y="745836"/>
                      <a:pt x="890236" y="747119"/>
                    </a:cubicBezTo>
                    <a:lnTo>
                      <a:pt x="890236" y="753534"/>
                    </a:lnTo>
                    <a:cubicBezTo>
                      <a:pt x="888953" y="754817"/>
                      <a:pt x="888953" y="754817"/>
                      <a:pt x="888953" y="756100"/>
                    </a:cubicBezTo>
                    <a:cubicBezTo>
                      <a:pt x="888953" y="759949"/>
                      <a:pt x="892803" y="761232"/>
                      <a:pt x="894086" y="763798"/>
                    </a:cubicBezTo>
                    <a:cubicBezTo>
                      <a:pt x="894086" y="765081"/>
                      <a:pt x="894086" y="766364"/>
                      <a:pt x="895369" y="767647"/>
                    </a:cubicBezTo>
                    <a:cubicBezTo>
                      <a:pt x="896652" y="770213"/>
                      <a:pt x="896652" y="768930"/>
                      <a:pt x="899219" y="770213"/>
                    </a:cubicBezTo>
                    <a:cubicBezTo>
                      <a:pt x="900502" y="770213"/>
                      <a:pt x="901785" y="770213"/>
                      <a:pt x="900502" y="772780"/>
                    </a:cubicBezTo>
                    <a:cubicBezTo>
                      <a:pt x="900502" y="774062"/>
                      <a:pt x="897936" y="772780"/>
                      <a:pt x="897936" y="775346"/>
                    </a:cubicBezTo>
                    <a:lnTo>
                      <a:pt x="903068" y="780478"/>
                    </a:lnTo>
                    <a:lnTo>
                      <a:pt x="904352" y="784327"/>
                    </a:lnTo>
                    <a:cubicBezTo>
                      <a:pt x="905635" y="788176"/>
                      <a:pt x="908201" y="786893"/>
                      <a:pt x="910768" y="788176"/>
                    </a:cubicBezTo>
                    <a:cubicBezTo>
                      <a:pt x="913334" y="788176"/>
                      <a:pt x="913334" y="792025"/>
                      <a:pt x="914617" y="793308"/>
                    </a:cubicBezTo>
                    <a:cubicBezTo>
                      <a:pt x="915901" y="797157"/>
                      <a:pt x="918467" y="799723"/>
                      <a:pt x="922317" y="799723"/>
                    </a:cubicBezTo>
                    <a:cubicBezTo>
                      <a:pt x="924883" y="799723"/>
                      <a:pt x="924883" y="798440"/>
                      <a:pt x="927449" y="799723"/>
                    </a:cubicBezTo>
                    <a:cubicBezTo>
                      <a:pt x="930016" y="801006"/>
                      <a:pt x="931299" y="802289"/>
                      <a:pt x="933866" y="804855"/>
                    </a:cubicBezTo>
                    <a:lnTo>
                      <a:pt x="938999" y="807421"/>
                    </a:lnTo>
                    <a:cubicBezTo>
                      <a:pt x="940282" y="806139"/>
                      <a:pt x="940282" y="804855"/>
                      <a:pt x="940282" y="803573"/>
                    </a:cubicBezTo>
                    <a:cubicBezTo>
                      <a:pt x="941565" y="802289"/>
                      <a:pt x="942848" y="801006"/>
                      <a:pt x="944132" y="799723"/>
                    </a:cubicBezTo>
                    <a:lnTo>
                      <a:pt x="944132" y="794591"/>
                    </a:lnTo>
                    <a:cubicBezTo>
                      <a:pt x="945415" y="792025"/>
                      <a:pt x="946698" y="790742"/>
                      <a:pt x="946698" y="789459"/>
                    </a:cubicBezTo>
                    <a:cubicBezTo>
                      <a:pt x="947981" y="786893"/>
                      <a:pt x="947981" y="785610"/>
                      <a:pt x="949264" y="783044"/>
                    </a:cubicBezTo>
                    <a:cubicBezTo>
                      <a:pt x="950548" y="781761"/>
                      <a:pt x="950548" y="781761"/>
                      <a:pt x="951831" y="779194"/>
                    </a:cubicBezTo>
                    <a:cubicBezTo>
                      <a:pt x="951831" y="776628"/>
                      <a:pt x="949264" y="772780"/>
                      <a:pt x="950548" y="770213"/>
                    </a:cubicBezTo>
                    <a:lnTo>
                      <a:pt x="958247" y="766364"/>
                    </a:lnTo>
                    <a:lnTo>
                      <a:pt x="962097" y="762515"/>
                    </a:lnTo>
                    <a:cubicBezTo>
                      <a:pt x="964663" y="758666"/>
                      <a:pt x="964663" y="757383"/>
                      <a:pt x="968513" y="757383"/>
                    </a:cubicBezTo>
                    <a:cubicBezTo>
                      <a:pt x="972363" y="757383"/>
                      <a:pt x="974929" y="758666"/>
                      <a:pt x="978779" y="756100"/>
                    </a:cubicBezTo>
                    <a:cubicBezTo>
                      <a:pt x="982628" y="754817"/>
                      <a:pt x="983911" y="752251"/>
                      <a:pt x="986478" y="749685"/>
                    </a:cubicBezTo>
                    <a:cubicBezTo>
                      <a:pt x="986478" y="748402"/>
                      <a:pt x="987761" y="747119"/>
                      <a:pt x="989044" y="745836"/>
                    </a:cubicBezTo>
                    <a:cubicBezTo>
                      <a:pt x="990328" y="744553"/>
                      <a:pt x="992894" y="744553"/>
                      <a:pt x="995460" y="743270"/>
                    </a:cubicBezTo>
                    <a:cubicBezTo>
                      <a:pt x="996744" y="741987"/>
                      <a:pt x="996744" y="740704"/>
                      <a:pt x="998027" y="739420"/>
                    </a:cubicBezTo>
                    <a:cubicBezTo>
                      <a:pt x="1000593" y="735572"/>
                      <a:pt x="1007010" y="736854"/>
                      <a:pt x="1010859" y="736854"/>
                    </a:cubicBezTo>
                    <a:cubicBezTo>
                      <a:pt x="1017275" y="736854"/>
                      <a:pt x="1023691" y="734288"/>
                      <a:pt x="1030107" y="731722"/>
                    </a:cubicBezTo>
                    <a:lnTo>
                      <a:pt x="1036523" y="726590"/>
                    </a:lnTo>
                    <a:cubicBezTo>
                      <a:pt x="1037807" y="725307"/>
                      <a:pt x="1040373" y="725307"/>
                      <a:pt x="1042940" y="724024"/>
                    </a:cubicBezTo>
                    <a:cubicBezTo>
                      <a:pt x="1045506" y="722741"/>
                      <a:pt x="1048072" y="721458"/>
                      <a:pt x="1046790" y="718892"/>
                    </a:cubicBezTo>
                    <a:cubicBezTo>
                      <a:pt x="1045506" y="715042"/>
                      <a:pt x="1039090" y="717608"/>
                      <a:pt x="1036523" y="716326"/>
                    </a:cubicBezTo>
                    <a:cubicBezTo>
                      <a:pt x="1033957" y="713760"/>
                      <a:pt x="1035240" y="711194"/>
                      <a:pt x="1033957" y="708627"/>
                    </a:cubicBezTo>
                    <a:lnTo>
                      <a:pt x="1028824" y="708627"/>
                    </a:lnTo>
                    <a:cubicBezTo>
                      <a:pt x="1028824" y="706061"/>
                      <a:pt x="1028824" y="706061"/>
                      <a:pt x="1027541" y="704778"/>
                    </a:cubicBezTo>
                    <a:cubicBezTo>
                      <a:pt x="1027541" y="703495"/>
                      <a:pt x="1024975" y="703495"/>
                      <a:pt x="1024975" y="702212"/>
                    </a:cubicBezTo>
                    <a:lnTo>
                      <a:pt x="1028824" y="699646"/>
                    </a:lnTo>
                    <a:lnTo>
                      <a:pt x="1039090" y="702212"/>
                    </a:lnTo>
                    <a:cubicBezTo>
                      <a:pt x="1040373" y="703495"/>
                      <a:pt x="1042940" y="704778"/>
                      <a:pt x="1044223" y="707344"/>
                    </a:cubicBezTo>
                    <a:cubicBezTo>
                      <a:pt x="1045506" y="708627"/>
                      <a:pt x="1046790" y="709910"/>
                      <a:pt x="1048072" y="711194"/>
                    </a:cubicBezTo>
                    <a:cubicBezTo>
                      <a:pt x="1050639" y="711194"/>
                      <a:pt x="1051922" y="711194"/>
                      <a:pt x="1051922" y="708627"/>
                    </a:cubicBezTo>
                    <a:cubicBezTo>
                      <a:pt x="1051922" y="707344"/>
                      <a:pt x="1050639" y="706061"/>
                      <a:pt x="1049356" y="704778"/>
                    </a:cubicBezTo>
                    <a:cubicBezTo>
                      <a:pt x="1049356" y="702212"/>
                      <a:pt x="1049356" y="700929"/>
                      <a:pt x="1050639" y="699646"/>
                    </a:cubicBezTo>
                    <a:cubicBezTo>
                      <a:pt x="1051922" y="697080"/>
                      <a:pt x="1051922" y="693231"/>
                      <a:pt x="1049356" y="690665"/>
                    </a:cubicBezTo>
                    <a:cubicBezTo>
                      <a:pt x="1048072" y="689382"/>
                      <a:pt x="1045506" y="689382"/>
                      <a:pt x="1046790" y="686816"/>
                    </a:cubicBezTo>
                    <a:lnTo>
                      <a:pt x="1058338" y="686816"/>
                    </a:lnTo>
                    <a:cubicBezTo>
                      <a:pt x="1059622" y="685533"/>
                      <a:pt x="1060905" y="685533"/>
                      <a:pt x="1060905" y="684250"/>
                    </a:cubicBezTo>
                    <a:cubicBezTo>
                      <a:pt x="1060905" y="681684"/>
                      <a:pt x="1059622" y="681684"/>
                      <a:pt x="1057055" y="681684"/>
                    </a:cubicBezTo>
                    <a:lnTo>
                      <a:pt x="1050639" y="677834"/>
                    </a:lnTo>
                    <a:cubicBezTo>
                      <a:pt x="1050158" y="673986"/>
                      <a:pt x="1056413" y="673986"/>
                      <a:pt x="1058338" y="673986"/>
                    </a:cubicBezTo>
                    <a:cubicBezTo>
                      <a:pt x="1059622" y="673986"/>
                      <a:pt x="1064754" y="676552"/>
                      <a:pt x="1064754" y="673986"/>
                    </a:cubicBezTo>
                    <a:cubicBezTo>
                      <a:pt x="1066038" y="671420"/>
                      <a:pt x="1058338" y="671420"/>
                      <a:pt x="1059622" y="667570"/>
                    </a:cubicBezTo>
                    <a:close/>
                    <a:moveTo>
                      <a:pt x="1065059" y="644628"/>
                    </a:moveTo>
                    <a:lnTo>
                      <a:pt x="1073323" y="646832"/>
                    </a:lnTo>
                    <a:lnTo>
                      <a:pt x="1068398" y="646336"/>
                    </a:lnTo>
                    <a:cubicBezTo>
                      <a:pt x="1068086" y="645834"/>
                      <a:pt x="1067679" y="645759"/>
                      <a:pt x="1067321" y="645759"/>
                    </a:cubicBezTo>
                    <a:close/>
                    <a:moveTo>
                      <a:pt x="999379" y="639378"/>
                    </a:moveTo>
                    <a:cubicBezTo>
                      <a:pt x="998987" y="639378"/>
                      <a:pt x="998595" y="639379"/>
                      <a:pt x="998203" y="639497"/>
                    </a:cubicBezTo>
                    <a:cubicBezTo>
                      <a:pt x="971578" y="639464"/>
                      <a:pt x="945496" y="641848"/>
                      <a:pt x="920379" y="647342"/>
                    </a:cubicBezTo>
                    <a:cubicBezTo>
                      <a:pt x="899534" y="649819"/>
                      <a:pt x="879362" y="654810"/>
                      <a:pt x="860441" y="663193"/>
                    </a:cubicBezTo>
                    <a:lnTo>
                      <a:pt x="858109" y="661862"/>
                    </a:lnTo>
                    <a:lnTo>
                      <a:pt x="842130" y="668877"/>
                    </a:lnTo>
                    <a:cubicBezTo>
                      <a:pt x="825571" y="673228"/>
                      <a:pt x="809995" y="679980"/>
                      <a:pt x="795747" y="689240"/>
                    </a:cubicBezTo>
                    <a:lnTo>
                      <a:pt x="781029" y="695701"/>
                    </a:lnTo>
                    <a:lnTo>
                      <a:pt x="782872" y="696228"/>
                    </a:lnTo>
                    <a:cubicBezTo>
                      <a:pt x="768415" y="701624"/>
                      <a:pt x="755385" y="709559"/>
                      <a:pt x="742864" y="718195"/>
                    </a:cubicBezTo>
                    <a:lnTo>
                      <a:pt x="742177" y="718057"/>
                    </a:lnTo>
                    <a:lnTo>
                      <a:pt x="737755" y="721706"/>
                    </a:lnTo>
                    <a:lnTo>
                      <a:pt x="738227" y="722021"/>
                    </a:lnTo>
                    <a:lnTo>
                      <a:pt x="724694" y="733187"/>
                    </a:lnTo>
                    <a:lnTo>
                      <a:pt x="724694" y="733110"/>
                    </a:lnTo>
                    <a:cubicBezTo>
                      <a:pt x="725977" y="731826"/>
                      <a:pt x="725977" y="730543"/>
                      <a:pt x="727261" y="730543"/>
                    </a:cubicBezTo>
                    <a:lnTo>
                      <a:pt x="727400" y="730249"/>
                    </a:lnTo>
                    <a:lnTo>
                      <a:pt x="713121" y="742030"/>
                    </a:lnTo>
                    <a:cubicBezTo>
                      <a:pt x="713116" y="742059"/>
                      <a:pt x="713127" y="742078"/>
                      <a:pt x="713139" y="742095"/>
                    </a:cubicBezTo>
                    <a:lnTo>
                      <a:pt x="713482" y="742438"/>
                    </a:lnTo>
                    <a:cubicBezTo>
                      <a:pt x="608487" y="824638"/>
                      <a:pt x="542179" y="952865"/>
                      <a:pt x="542179" y="1096578"/>
                    </a:cubicBezTo>
                    <a:cubicBezTo>
                      <a:pt x="542179" y="1349083"/>
                      <a:pt x="746874" y="1553778"/>
                      <a:pt x="999379" y="1553778"/>
                    </a:cubicBezTo>
                    <a:cubicBezTo>
                      <a:pt x="1162388" y="1553778"/>
                      <a:pt x="1305472" y="1468470"/>
                      <a:pt x="1385427" y="1339435"/>
                    </a:cubicBezTo>
                    <a:lnTo>
                      <a:pt x="1785689" y="1613205"/>
                    </a:lnTo>
                    <a:lnTo>
                      <a:pt x="1785689" y="1387583"/>
                    </a:lnTo>
                    <a:lnTo>
                      <a:pt x="2115709" y="1387583"/>
                    </a:lnTo>
                    <a:lnTo>
                      <a:pt x="2115709" y="1194193"/>
                    </a:lnTo>
                    <a:lnTo>
                      <a:pt x="1785689" y="1194193"/>
                    </a:lnTo>
                    <a:lnTo>
                      <a:pt x="1785689" y="968571"/>
                    </a:lnTo>
                    <a:lnTo>
                      <a:pt x="1442834" y="1203076"/>
                    </a:lnTo>
                    <a:cubicBezTo>
                      <a:pt x="1452238" y="1169106"/>
                      <a:pt x="1456579" y="1133349"/>
                      <a:pt x="1456579" y="1096578"/>
                    </a:cubicBezTo>
                    <a:cubicBezTo>
                      <a:pt x="1456579" y="1012997"/>
                      <a:pt x="1434151" y="934654"/>
                      <a:pt x="1393297" y="868220"/>
                    </a:cubicBezTo>
                    <a:cubicBezTo>
                      <a:pt x="1393106" y="867646"/>
                      <a:pt x="1392810" y="867132"/>
                      <a:pt x="1392448" y="866656"/>
                    </a:cubicBezTo>
                    <a:cubicBezTo>
                      <a:pt x="1377647" y="837655"/>
                      <a:pt x="1358306" y="811522"/>
                      <a:pt x="1335388" y="788705"/>
                    </a:cubicBezTo>
                    <a:cubicBezTo>
                      <a:pt x="1335328" y="788596"/>
                      <a:pt x="1335246" y="788507"/>
                      <a:pt x="1335157" y="788425"/>
                    </a:cubicBezTo>
                    <a:cubicBezTo>
                      <a:pt x="1296816" y="744516"/>
                      <a:pt x="1249305" y="709147"/>
                      <a:pt x="1195456" y="685139"/>
                    </a:cubicBezTo>
                    <a:cubicBezTo>
                      <a:pt x="1168878" y="668452"/>
                      <a:pt x="1138908" y="657520"/>
                      <a:pt x="1106711" y="653382"/>
                    </a:cubicBezTo>
                    <a:cubicBezTo>
                      <a:pt x="1100591" y="650570"/>
                      <a:pt x="1094113" y="649156"/>
                      <a:pt x="1087511" y="648263"/>
                    </a:cubicBezTo>
                    <a:cubicBezTo>
                      <a:pt x="1079872" y="644257"/>
                      <a:pt x="1071681" y="642933"/>
                      <a:pt x="1063417" y="641838"/>
                    </a:cubicBezTo>
                    <a:lnTo>
                      <a:pt x="1063471" y="641909"/>
                    </a:lnTo>
                    <a:cubicBezTo>
                      <a:pt x="1064754" y="643193"/>
                      <a:pt x="1063471" y="643193"/>
                      <a:pt x="1064754" y="644475"/>
                    </a:cubicBezTo>
                    <a:cubicBezTo>
                      <a:pt x="1064754" y="644540"/>
                      <a:pt x="1064758" y="644601"/>
                      <a:pt x="1065059" y="644628"/>
                    </a:cubicBezTo>
                    <a:lnTo>
                      <a:pt x="999645" y="639378"/>
                    </a:lnTo>
                    <a:lnTo>
                      <a:pt x="999499" y="639390"/>
                    </a:lnTo>
                    <a:close/>
                    <a:moveTo>
                      <a:pt x="2420008" y="517582"/>
                    </a:moveTo>
                    <a:lnTo>
                      <a:pt x="2420242" y="517582"/>
                    </a:lnTo>
                    <a:lnTo>
                      <a:pt x="2420008" y="518739"/>
                    </a:lnTo>
                    <a:close/>
                    <a:moveTo>
                      <a:pt x="311517" y="382148"/>
                    </a:moveTo>
                    <a:lnTo>
                      <a:pt x="956736" y="425169"/>
                    </a:lnTo>
                    <a:lnTo>
                      <a:pt x="956736" y="424822"/>
                    </a:lnTo>
                    <a:lnTo>
                      <a:pt x="2419502" y="521246"/>
                    </a:lnTo>
                    <a:lnTo>
                      <a:pt x="2419041" y="523529"/>
                    </a:lnTo>
                    <a:cubicBezTo>
                      <a:pt x="2457627" y="527513"/>
                      <a:pt x="2492277" y="546825"/>
                      <a:pt x="2489692" y="585709"/>
                    </a:cubicBezTo>
                    <a:lnTo>
                      <a:pt x="2488840" y="670935"/>
                    </a:lnTo>
                    <a:lnTo>
                      <a:pt x="2487534" y="671173"/>
                    </a:lnTo>
                    <a:lnTo>
                      <a:pt x="2421648" y="1671080"/>
                    </a:lnTo>
                    <a:cubicBezTo>
                      <a:pt x="2408325" y="1707656"/>
                      <a:pt x="2386877" y="1726260"/>
                      <a:pt x="2359534" y="1724079"/>
                    </a:cubicBezTo>
                    <a:lnTo>
                      <a:pt x="145534" y="1736658"/>
                    </a:lnTo>
                    <a:cubicBezTo>
                      <a:pt x="174077" y="1308592"/>
                      <a:pt x="202622" y="880528"/>
                      <a:pt x="231160" y="452462"/>
                    </a:cubicBezTo>
                    <a:cubicBezTo>
                      <a:pt x="233930" y="410856"/>
                      <a:pt x="269910" y="379374"/>
                      <a:pt x="311517" y="382148"/>
                    </a:cubicBezTo>
                    <a:close/>
                    <a:moveTo>
                      <a:pt x="1300253" y="0"/>
                    </a:moveTo>
                    <a:lnTo>
                      <a:pt x="2203833" y="0"/>
                    </a:lnTo>
                    <a:cubicBezTo>
                      <a:pt x="2251087" y="0"/>
                      <a:pt x="2290930" y="31720"/>
                      <a:pt x="2301543" y="75508"/>
                    </a:cubicBezTo>
                    <a:lnTo>
                      <a:pt x="2302960" y="75508"/>
                    </a:lnTo>
                    <a:lnTo>
                      <a:pt x="2302960" y="153340"/>
                    </a:lnTo>
                    <a:cubicBezTo>
                      <a:pt x="2302960" y="185560"/>
                      <a:pt x="2322135" y="213304"/>
                      <a:pt x="2349730" y="225539"/>
                    </a:cubicBezTo>
                    <a:lnTo>
                      <a:pt x="2352691" y="225539"/>
                    </a:lnTo>
                    <a:cubicBezTo>
                      <a:pt x="2390137" y="225539"/>
                      <a:pt x="2420490" y="255892"/>
                      <a:pt x="2420490" y="293337"/>
                    </a:cubicBezTo>
                    <a:lnTo>
                      <a:pt x="2420490" y="478155"/>
                    </a:lnTo>
                    <a:lnTo>
                      <a:pt x="2420008" y="478155"/>
                    </a:lnTo>
                    <a:lnTo>
                      <a:pt x="2418385" y="478044"/>
                    </a:lnTo>
                    <a:lnTo>
                      <a:pt x="2418385" y="477489"/>
                    </a:lnTo>
                    <a:lnTo>
                      <a:pt x="955892" y="376628"/>
                    </a:lnTo>
                    <a:lnTo>
                      <a:pt x="995936" y="380425"/>
                    </a:lnTo>
                    <a:lnTo>
                      <a:pt x="953777" y="377532"/>
                    </a:lnTo>
                    <a:lnTo>
                      <a:pt x="953797" y="377981"/>
                    </a:lnTo>
                    <a:lnTo>
                      <a:pt x="265757" y="332107"/>
                    </a:lnTo>
                    <a:cubicBezTo>
                      <a:pt x="221689" y="329168"/>
                      <a:pt x="183585" y="362511"/>
                      <a:pt x="180646" y="406578"/>
                    </a:cubicBezTo>
                    <a:lnTo>
                      <a:pt x="92708" y="1725472"/>
                    </a:lnTo>
                    <a:lnTo>
                      <a:pt x="75504" y="1725472"/>
                    </a:lnTo>
                    <a:cubicBezTo>
                      <a:pt x="33806" y="1725472"/>
                      <a:pt x="0" y="1691667"/>
                      <a:pt x="0" y="1649970"/>
                    </a:cubicBezTo>
                    <a:lnTo>
                      <a:pt x="4" y="307622"/>
                    </a:lnTo>
                    <a:cubicBezTo>
                      <a:pt x="0" y="265921"/>
                      <a:pt x="33806" y="232116"/>
                      <a:pt x="75504" y="232116"/>
                    </a:cubicBezTo>
                    <a:lnTo>
                      <a:pt x="996290" y="232116"/>
                    </a:lnTo>
                    <a:lnTo>
                      <a:pt x="997952" y="231729"/>
                    </a:lnTo>
                    <a:lnTo>
                      <a:pt x="1163695" y="231729"/>
                    </a:lnTo>
                    <a:cubicBezTo>
                      <a:pt x="1186126" y="231729"/>
                      <a:pt x="1204309" y="213546"/>
                      <a:pt x="1204309" y="191115"/>
                    </a:cubicBezTo>
                    <a:lnTo>
                      <a:pt x="1204309" y="71429"/>
                    </a:lnTo>
                    <a:cubicBezTo>
                      <a:pt x="1215773" y="29676"/>
                      <a:pt x="1254548" y="0"/>
                      <a:pt x="13002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89" name="Freeform 88"/>
              <p:cNvSpPr>
                <a:spLocks/>
              </p:cNvSpPr>
              <p:nvPr/>
            </p:nvSpPr>
            <p:spPr bwMode="auto">
              <a:xfrm>
                <a:off x="10731071" y="4460637"/>
                <a:ext cx="461235" cy="410053"/>
              </a:xfrm>
              <a:custGeom>
                <a:avLst/>
                <a:gdLst>
                  <a:gd name="connsiteX0" fmla="*/ 500924 w 814724"/>
                  <a:gd name="connsiteY0" fmla="*/ 631805 h 724316"/>
                  <a:gd name="connsiteX1" fmla="*/ 520372 w 814724"/>
                  <a:gd name="connsiteY1" fmla="*/ 631805 h 724316"/>
                  <a:gd name="connsiteX2" fmla="*/ 540346 w 814724"/>
                  <a:gd name="connsiteY2" fmla="*/ 634433 h 724316"/>
                  <a:gd name="connsiteX3" fmla="*/ 562423 w 814724"/>
                  <a:gd name="connsiteY3" fmla="*/ 639690 h 724316"/>
                  <a:gd name="connsiteX4" fmla="*/ 584499 w 814724"/>
                  <a:gd name="connsiteY4" fmla="*/ 647048 h 724316"/>
                  <a:gd name="connsiteX5" fmla="*/ 607627 w 814724"/>
                  <a:gd name="connsiteY5" fmla="*/ 658087 h 724316"/>
                  <a:gd name="connsiteX6" fmla="*/ 631280 w 814724"/>
                  <a:gd name="connsiteY6" fmla="*/ 672279 h 724316"/>
                  <a:gd name="connsiteX7" fmla="*/ 632857 w 814724"/>
                  <a:gd name="connsiteY7" fmla="*/ 673330 h 724316"/>
                  <a:gd name="connsiteX8" fmla="*/ 635485 w 814724"/>
                  <a:gd name="connsiteY8" fmla="*/ 674907 h 724316"/>
                  <a:gd name="connsiteX9" fmla="*/ 639690 w 814724"/>
                  <a:gd name="connsiteY9" fmla="*/ 677535 h 724316"/>
                  <a:gd name="connsiteX10" fmla="*/ 645472 w 814724"/>
                  <a:gd name="connsiteY10" fmla="*/ 680689 h 724316"/>
                  <a:gd name="connsiteX11" fmla="*/ 652831 w 814724"/>
                  <a:gd name="connsiteY11" fmla="*/ 684368 h 724316"/>
                  <a:gd name="connsiteX12" fmla="*/ 661766 w 814724"/>
                  <a:gd name="connsiteY12" fmla="*/ 686996 h 724316"/>
                  <a:gd name="connsiteX13" fmla="*/ 670702 w 814724"/>
                  <a:gd name="connsiteY13" fmla="*/ 690150 h 724316"/>
                  <a:gd name="connsiteX14" fmla="*/ 681215 w 814724"/>
                  <a:gd name="connsiteY14" fmla="*/ 692778 h 724316"/>
                  <a:gd name="connsiteX15" fmla="*/ 692779 w 814724"/>
                  <a:gd name="connsiteY15" fmla="*/ 694355 h 724316"/>
                  <a:gd name="connsiteX16" fmla="*/ 705394 w 814724"/>
                  <a:gd name="connsiteY16" fmla="*/ 695406 h 724316"/>
                  <a:gd name="connsiteX17" fmla="*/ 718009 w 814724"/>
                  <a:gd name="connsiteY17" fmla="*/ 694355 h 724316"/>
                  <a:gd name="connsiteX18" fmla="*/ 732726 w 814724"/>
                  <a:gd name="connsiteY18" fmla="*/ 691727 h 724316"/>
                  <a:gd name="connsiteX19" fmla="*/ 746918 w 814724"/>
                  <a:gd name="connsiteY19" fmla="*/ 688573 h 724316"/>
                  <a:gd name="connsiteX20" fmla="*/ 762162 w 814724"/>
                  <a:gd name="connsiteY20" fmla="*/ 682791 h 724316"/>
                  <a:gd name="connsiteX21" fmla="*/ 778456 w 814724"/>
                  <a:gd name="connsiteY21" fmla="*/ 674381 h 724316"/>
                  <a:gd name="connsiteX22" fmla="*/ 794225 w 814724"/>
                  <a:gd name="connsiteY22" fmla="*/ 663869 h 724316"/>
                  <a:gd name="connsiteX23" fmla="*/ 807891 w 814724"/>
                  <a:gd name="connsiteY23" fmla="*/ 682791 h 724316"/>
                  <a:gd name="connsiteX24" fmla="*/ 789494 w 814724"/>
                  <a:gd name="connsiteY24" fmla="*/ 695406 h 724316"/>
                  <a:gd name="connsiteX25" fmla="*/ 770572 w 814724"/>
                  <a:gd name="connsiteY25" fmla="*/ 704868 h 724316"/>
                  <a:gd name="connsiteX26" fmla="*/ 752700 w 814724"/>
                  <a:gd name="connsiteY26" fmla="*/ 711175 h 724316"/>
                  <a:gd name="connsiteX27" fmla="*/ 735880 w 814724"/>
                  <a:gd name="connsiteY27" fmla="*/ 715380 h 724316"/>
                  <a:gd name="connsiteX28" fmla="*/ 720111 w 814724"/>
                  <a:gd name="connsiteY28" fmla="*/ 718009 h 724316"/>
                  <a:gd name="connsiteX29" fmla="*/ 704868 w 814724"/>
                  <a:gd name="connsiteY29" fmla="*/ 719060 h 724316"/>
                  <a:gd name="connsiteX30" fmla="*/ 689625 w 814724"/>
                  <a:gd name="connsiteY30" fmla="*/ 718009 h 724316"/>
                  <a:gd name="connsiteX31" fmla="*/ 675958 w 814724"/>
                  <a:gd name="connsiteY31" fmla="*/ 715380 h 724316"/>
                  <a:gd name="connsiteX32" fmla="*/ 663869 w 814724"/>
                  <a:gd name="connsiteY32" fmla="*/ 713278 h 724316"/>
                  <a:gd name="connsiteX33" fmla="*/ 652831 w 814724"/>
                  <a:gd name="connsiteY33" fmla="*/ 709073 h 724316"/>
                  <a:gd name="connsiteX34" fmla="*/ 642844 w 814724"/>
                  <a:gd name="connsiteY34" fmla="*/ 705393 h 724316"/>
                  <a:gd name="connsiteX35" fmla="*/ 634434 w 814724"/>
                  <a:gd name="connsiteY35" fmla="*/ 701188 h 724316"/>
                  <a:gd name="connsiteX36" fmla="*/ 627601 w 814724"/>
                  <a:gd name="connsiteY36" fmla="*/ 698035 h 724316"/>
                  <a:gd name="connsiteX37" fmla="*/ 622870 w 814724"/>
                  <a:gd name="connsiteY37" fmla="*/ 694355 h 724316"/>
                  <a:gd name="connsiteX38" fmla="*/ 619191 w 814724"/>
                  <a:gd name="connsiteY38" fmla="*/ 691727 h 724316"/>
                  <a:gd name="connsiteX39" fmla="*/ 617614 w 814724"/>
                  <a:gd name="connsiteY39" fmla="*/ 691201 h 724316"/>
                  <a:gd name="connsiteX40" fmla="*/ 597114 w 814724"/>
                  <a:gd name="connsiteY40" fmla="*/ 678586 h 724316"/>
                  <a:gd name="connsiteX41" fmla="*/ 577140 w 814724"/>
                  <a:gd name="connsiteY41" fmla="*/ 668074 h 724316"/>
                  <a:gd name="connsiteX42" fmla="*/ 557692 w 814724"/>
                  <a:gd name="connsiteY42" fmla="*/ 661240 h 724316"/>
                  <a:gd name="connsiteX43" fmla="*/ 538769 w 814724"/>
                  <a:gd name="connsiteY43" fmla="*/ 657035 h 724316"/>
                  <a:gd name="connsiteX44" fmla="*/ 520898 w 814724"/>
                  <a:gd name="connsiteY44" fmla="*/ 654933 h 724316"/>
                  <a:gd name="connsiteX45" fmla="*/ 504078 w 814724"/>
                  <a:gd name="connsiteY45" fmla="*/ 654933 h 724316"/>
                  <a:gd name="connsiteX46" fmla="*/ 488309 w 814724"/>
                  <a:gd name="connsiteY46" fmla="*/ 656510 h 724316"/>
                  <a:gd name="connsiteX47" fmla="*/ 473592 w 814724"/>
                  <a:gd name="connsiteY47" fmla="*/ 659138 h 724316"/>
                  <a:gd name="connsiteX48" fmla="*/ 460451 w 814724"/>
                  <a:gd name="connsiteY48" fmla="*/ 662292 h 724316"/>
                  <a:gd name="connsiteX49" fmla="*/ 448361 w 814724"/>
                  <a:gd name="connsiteY49" fmla="*/ 666497 h 724316"/>
                  <a:gd name="connsiteX50" fmla="*/ 437323 w 814724"/>
                  <a:gd name="connsiteY50" fmla="*/ 671753 h 724316"/>
                  <a:gd name="connsiteX51" fmla="*/ 428913 w 814724"/>
                  <a:gd name="connsiteY51" fmla="*/ 675958 h 724316"/>
                  <a:gd name="connsiteX52" fmla="*/ 421554 w 814724"/>
                  <a:gd name="connsiteY52" fmla="*/ 680163 h 724316"/>
                  <a:gd name="connsiteX53" fmla="*/ 416298 w 814724"/>
                  <a:gd name="connsiteY53" fmla="*/ 683317 h 724316"/>
                  <a:gd name="connsiteX54" fmla="*/ 412093 w 814724"/>
                  <a:gd name="connsiteY54" fmla="*/ 685945 h 724316"/>
                  <a:gd name="connsiteX55" fmla="*/ 410516 w 814724"/>
                  <a:gd name="connsiteY55" fmla="*/ 687522 h 724316"/>
                  <a:gd name="connsiteX56" fmla="*/ 391593 w 814724"/>
                  <a:gd name="connsiteY56" fmla="*/ 700663 h 724316"/>
                  <a:gd name="connsiteX57" fmla="*/ 373196 w 814724"/>
                  <a:gd name="connsiteY57" fmla="*/ 709598 h 724316"/>
                  <a:gd name="connsiteX58" fmla="*/ 355325 w 814724"/>
                  <a:gd name="connsiteY58" fmla="*/ 716432 h 724316"/>
                  <a:gd name="connsiteX59" fmla="*/ 338505 w 814724"/>
                  <a:gd name="connsiteY59" fmla="*/ 720637 h 724316"/>
                  <a:gd name="connsiteX60" fmla="*/ 322210 w 814724"/>
                  <a:gd name="connsiteY60" fmla="*/ 723265 h 724316"/>
                  <a:gd name="connsiteX61" fmla="*/ 306967 w 814724"/>
                  <a:gd name="connsiteY61" fmla="*/ 724316 h 724316"/>
                  <a:gd name="connsiteX62" fmla="*/ 291724 w 814724"/>
                  <a:gd name="connsiteY62" fmla="*/ 723265 h 724316"/>
                  <a:gd name="connsiteX63" fmla="*/ 278583 w 814724"/>
                  <a:gd name="connsiteY63" fmla="*/ 720637 h 724316"/>
                  <a:gd name="connsiteX64" fmla="*/ 266493 w 814724"/>
                  <a:gd name="connsiteY64" fmla="*/ 718009 h 724316"/>
                  <a:gd name="connsiteX65" fmla="*/ 255455 w 814724"/>
                  <a:gd name="connsiteY65" fmla="*/ 713804 h 724316"/>
                  <a:gd name="connsiteX66" fmla="*/ 245468 w 814724"/>
                  <a:gd name="connsiteY66" fmla="*/ 710650 h 724316"/>
                  <a:gd name="connsiteX67" fmla="*/ 237058 w 814724"/>
                  <a:gd name="connsiteY67" fmla="*/ 706445 h 724316"/>
                  <a:gd name="connsiteX68" fmla="*/ 230225 w 814724"/>
                  <a:gd name="connsiteY68" fmla="*/ 702765 h 724316"/>
                  <a:gd name="connsiteX69" fmla="*/ 224969 w 814724"/>
                  <a:gd name="connsiteY69" fmla="*/ 699611 h 724316"/>
                  <a:gd name="connsiteX70" fmla="*/ 221815 w 814724"/>
                  <a:gd name="connsiteY70" fmla="*/ 696983 h 724316"/>
                  <a:gd name="connsiteX71" fmla="*/ 220238 w 814724"/>
                  <a:gd name="connsiteY71" fmla="*/ 695932 h 724316"/>
                  <a:gd name="connsiteX72" fmla="*/ 199739 w 814724"/>
                  <a:gd name="connsiteY72" fmla="*/ 683317 h 724316"/>
                  <a:gd name="connsiteX73" fmla="*/ 179239 w 814724"/>
                  <a:gd name="connsiteY73" fmla="*/ 673330 h 724316"/>
                  <a:gd name="connsiteX74" fmla="*/ 159791 w 814724"/>
                  <a:gd name="connsiteY74" fmla="*/ 666497 h 724316"/>
                  <a:gd name="connsiteX75" fmla="*/ 141394 w 814724"/>
                  <a:gd name="connsiteY75" fmla="*/ 662292 h 724316"/>
                  <a:gd name="connsiteX76" fmla="*/ 124574 w 814724"/>
                  <a:gd name="connsiteY76" fmla="*/ 659664 h 724316"/>
                  <a:gd name="connsiteX77" fmla="*/ 107754 w 814724"/>
                  <a:gd name="connsiteY77" fmla="*/ 659664 h 724316"/>
                  <a:gd name="connsiteX78" fmla="*/ 91459 w 814724"/>
                  <a:gd name="connsiteY78" fmla="*/ 660715 h 724316"/>
                  <a:gd name="connsiteX79" fmla="*/ 77267 w 814724"/>
                  <a:gd name="connsiteY79" fmla="*/ 663343 h 724316"/>
                  <a:gd name="connsiteX80" fmla="*/ 64652 w 814724"/>
                  <a:gd name="connsiteY80" fmla="*/ 667548 h 724316"/>
                  <a:gd name="connsiteX81" fmla="*/ 52563 w 814724"/>
                  <a:gd name="connsiteY81" fmla="*/ 671753 h 724316"/>
                  <a:gd name="connsiteX82" fmla="*/ 41524 w 814724"/>
                  <a:gd name="connsiteY82" fmla="*/ 675958 h 724316"/>
                  <a:gd name="connsiteX83" fmla="*/ 33114 w 814724"/>
                  <a:gd name="connsiteY83" fmla="*/ 680163 h 724316"/>
                  <a:gd name="connsiteX84" fmla="*/ 25230 w 814724"/>
                  <a:gd name="connsiteY84" fmla="*/ 684368 h 724316"/>
                  <a:gd name="connsiteX85" fmla="*/ 20499 w 814724"/>
                  <a:gd name="connsiteY85" fmla="*/ 687522 h 724316"/>
                  <a:gd name="connsiteX86" fmla="*/ 16294 w 814724"/>
                  <a:gd name="connsiteY86" fmla="*/ 690150 h 724316"/>
                  <a:gd name="connsiteX87" fmla="*/ 14717 w 814724"/>
                  <a:gd name="connsiteY87" fmla="*/ 691727 h 724316"/>
                  <a:gd name="connsiteX88" fmla="*/ 0 w 814724"/>
                  <a:gd name="connsiteY88" fmla="*/ 673330 h 724316"/>
                  <a:gd name="connsiteX89" fmla="*/ 1577 w 814724"/>
                  <a:gd name="connsiteY89" fmla="*/ 672279 h 724316"/>
                  <a:gd name="connsiteX90" fmla="*/ 5256 w 814724"/>
                  <a:gd name="connsiteY90" fmla="*/ 670176 h 724316"/>
                  <a:gd name="connsiteX91" fmla="*/ 11038 w 814724"/>
                  <a:gd name="connsiteY91" fmla="*/ 665971 h 724316"/>
                  <a:gd name="connsiteX92" fmla="*/ 18922 w 814724"/>
                  <a:gd name="connsiteY92" fmla="*/ 661240 h 724316"/>
                  <a:gd name="connsiteX93" fmla="*/ 28909 w 814724"/>
                  <a:gd name="connsiteY93" fmla="*/ 656510 h 724316"/>
                  <a:gd name="connsiteX94" fmla="*/ 40473 w 814724"/>
                  <a:gd name="connsiteY94" fmla="*/ 650728 h 724316"/>
                  <a:gd name="connsiteX95" fmla="*/ 54139 w 814724"/>
                  <a:gd name="connsiteY95" fmla="*/ 645997 h 724316"/>
                  <a:gd name="connsiteX96" fmla="*/ 69383 w 814724"/>
                  <a:gd name="connsiteY96" fmla="*/ 641792 h 724316"/>
                  <a:gd name="connsiteX97" fmla="*/ 86203 w 814724"/>
                  <a:gd name="connsiteY97" fmla="*/ 638638 h 724316"/>
                  <a:gd name="connsiteX98" fmla="*/ 104074 w 814724"/>
                  <a:gd name="connsiteY98" fmla="*/ 637061 h 724316"/>
                  <a:gd name="connsiteX99" fmla="*/ 123522 w 814724"/>
                  <a:gd name="connsiteY99" fmla="*/ 637061 h 724316"/>
                  <a:gd name="connsiteX100" fmla="*/ 144022 w 814724"/>
                  <a:gd name="connsiteY100" fmla="*/ 638638 h 724316"/>
                  <a:gd name="connsiteX101" fmla="*/ 165047 w 814724"/>
                  <a:gd name="connsiteY101" fmla="*/ 643895 h 724316"/>
                  <a:gd name="connsiteX102" fmla="*/ 187124 w 814724"/>
                  <a:gd name="connsiteY102" fmla="*/ 651253 h 724316"/>
                  <a:gd name="connsiteX103" fmla="*/ 209726 w 814724"/>
                  <a:gd name="connsiteY103" fmla="*/ 662292 h 724316"/>
                  <a:gd name="connsiteX104" fmla="*/ 233379 w 814724"/>
                  <a:gd name="connsiteY104" fmla="*/ 676484 h 724316"/>
                  <a:gd name="connsiteX105" fmla="*/ 235481 w 814724"/>
                  <a:gd name="connsiteY105" fmla="*/ 677535 h 724316"/>
                  <a:gd name="connsiteX106" fmla="*/ 237584 w 814724"/>
                  <a:gd name="connsiteY106" fmla="*/ 680163 h 724316"/>
                  <a:gd name="connsiteX107" fmla="*/ 241789 w 814724"/>
                  <a:gd name="connsiteY107" fmla="*/ 682791 h 724316"/>
                  <a:gd name="connsiteX108" fmla="*/ 248096 w 814724"/>
                  <a:gd name="connsiteY108" fmla="*/ 685419 h 724316"/>
                  <a:gd name="connsiteX109" fmla="*/ 255455 w 814724"/>
                  <a:gd name="connsiteY109" fmla="*/ 688573 h 724316"/>
                  <a:gd name="connsiteX110" fmla="*/ 263865 w 814724"/>
                  <a:gd name="connsiteY110" fmla="*/ 691727 h 724316"/>
                  <a:gd name="connsiteX111" fmla="*/ 273327 w 814724"/>
                  <a:gd name="connsiteY111" fmla="*/ 695406 h 724316"/>
                  <a:gd name="connsiteX112" fmla="*/ 283314 w 814724"/>
                  <a:gd name="connsiteY112" fmla="*/ 698035 h 724316"/>
                  <a:gd name="connsiteX113" fmla="*/ 295403 w 814724"/>
                  <a:gd name="connsiteY113" fmla="*/ 699611 h 724316"/>
                  <a:gd name="connsiteX114" fmla="*/ 306967 w 814724"/>
                  <a:gd name="connsiteY114" fmla="*/ 700663 h 724316"/>
                  <a:gd name="connsiteX115" fmla="*/ 320633 w 814724"/>
                  <a:gd name="connsiteY115" fmla="*/ 699611 h 724316"/>
                  <a:gd name="connsiteX116" fmla="*/ 334825 w 814724"/>
                  <a:gd name="connsiteY116" fmla="*/ 696983 h 724316"/>
                  <a:gd name="connsiteX117" fmla="*/ 349543 w 814724"/>
                  <a:gd name="connsiteY117" fmla="*/ 693830 h 724316"/>
                  <a:gd name="connsiteX118" fmla="*/ 364786 w 814724"/>
                  <a:gd name="connsiteY118" fmla="*/ 687522 h 724316"/>
                  <a:gd name="connsiteX119" fmla="*/ 380030 w 814724"/>
                  <a:gd name="connsiteY119" fmla="*/ 679112 h 724316"/>
                  <a:gd name="connsiteX120" fmla="*/ 395798 w 814724"/>
                  <a:gd name="connsiteY120" fmla="*/ 669125 h 724316"/>
                  <a:gd name="connsiteX121" fmla="*/ 397375 w 814724"/>
                  <a:gd name="connsiteY121" fmla="*/ 668074 h 724316"/>
                  <a:gd name="connsiteX122" fmla="*/ 401055 w 814724"/>
                  <a:gd name="connsiteY122" fmla="*/ 665971 h 724316"/>
                  <a:gd name="connsiteX123" fmla="*/ 406837 w 814724"/>
                  <a:gd name="connsiteY123" fmla="*/ 661240 h 724316"/>
                  <a:gd name="connsiteX124" fmla="*/ 415247 w 814724"/>
                  <a:gd name="connsiteY124" fmla="*/ 656510 h 724316"/>
                  <a:gd name="connsiteX125" fmla="*/ 425759 w 814724"/>
                  <a:gd name="connsiteY125" fmla="*/ 651253 h 724316"/>
                  <a:gd name="connsiteX126" fmla="*/ 437323 w 814724"/>
                  <a:gd name="connsiteY126" fmla="*/ 645997 h 724316"/>
                  <a:gd name="connsiteX127" fmla="*/ 450989 w 814724"/>
                  <a:gd name="connsiteY127" fmla="*/ 641266 h 724316"/>
                  <a:gd name="connsiteX128" fmla="*/ 466233 w 814724"/>
                  <a:gd name="connsiteY128" fmla="*/ 637061 h 724316"/>
                  <a:gd name="connsiteX129" fmla="*/ 483053 w 814724"/>
                  <a:gd name="connsiteY129" fmla="*/ 633382 h 724316"/>
                  <a:gd name="connsiteX130" fmla="*/ 500924 w 814724"/>
                  <a:gd name="connsiteY130" fmla="*/ 577666 h 724316"/>
                  <a:gd name="connsiteX131" fmla="*/ 520372 w 814724"/>
                  <a:gd name="connsiteY131" fmla="*/ 577666 h 724316"/>
                  <a:gd name="connsiteX132" fmla="*/ 540346 w 814724"/>
                  <a:gd name="connsiteY132" fmla="*/ 579243 h 724316"/>
                  <a:gd name="connsiteX133" fmla="*/ 562423 w 814724"/>
                  <a:gd name="connsiteY133" fmla="*/ 584499 h 724316"/>
                  <a:gd name="connsiteX134" fmla="*/ 584499 w 814724"/>
                  <a:gd name="connsiteY134" fmla="*/ 591858 h 724316"/>
                  <a:gd name="connsiteX135" fmla="*/ 607627 w 814724"/>
                  <a:gd name="connsiteY135" fmla="*/ 602896 h 724316"/>
                  <a:gd name="connsiteX136" fmla="*/ 631280 w 814724"/>
                  <a:gd name="connsiteY136" fmla="*/ 617614 h 724316"/>
                  <a:gd name="connsiteX137" fmla="*/ 632857 w 814724"/>
                  <a:gd name="connsiteY137" fmla="*/ 618139 h 724316"/>
                  <a:gd name="connsiteX138" fmla="*/ 635485 w 814724"/>
                  <a:gd name="connsiteY138" fmla="*/ 620242 h 724316"/>
                  <a:gd name="connsiteX139" fmla="*/ 639690 w 814724"/>
                  <a:gd name="connsiteY139" fmla="*/ 622344 h 724316"/>
                  <a:gd name="connsiteX140" fmla="*/ 645472 w 814724"/>
                  <a:gd name="connsiteY140" fmla="*/ 626024 h 724316"/>
                  <a:gd name="connsiteX141" fmla="*/ 652831 w 814724"/>
                  <a:gd name="connsiteY141" fmla="*/ 629178 h 724316"/>
                  <a:gd name="connsiteX142" fmla="*/ 661766 w 814724"/>
                  <a:gd name="connsiteY142" fmla="*/ 632857 h 724316"/>
                  <a:gd name="connsiteX143" fmla="*/ 670702 w 814724"/>
                  <a:gd name="connsiteY143" fmla="*/ 635485 h 724316"/>
                  <a:gd name="connsiteX144" fmla="*/ 681215 w 814724"/>
                  <a:gd name="connsiteY144" fmla="*/ 637588 h 724316"/>
                  <a:gd name="connsiteX145" fmla="*/ 692779 w 814724"/>
                  <a:gd name="connsiteY145" fmla="*/ 639690 h 724316"/>
                  <a:gd name="connsiteX146" fmla="*/ 705394 w 814724"/>
                  <a:gd name="connsiteY146" fmla="*/ 640216 h 724316"/>
                  <a:gd name="connsiteX147" fmla="*/ 718009 w 814724"/>
                  <a:gd name="connsiteY147" fmla="*/ 639690 h 724316"/>
                  <a:gd name="connsiteX148" fmla="*/ 732726 w 814724"/>
                  <a:gd name="connsiteY148" fmla="*/ 637588 h 724316"/>
                  <a:gd name="connsiteX149" fmla="*/ 746918 w 814724"/>
                  <a:gd name="connsiteY149" fmla="*/ 633383 h 724316"/>
                  <a:gd name="connsiteX150" fmla="*/ 762162 w 814724"/>
                  <a:gd name="connsiteY150" fmla="*/ 627601 h 724316"/>
                  <a:gd name="connsiteX151" fmla="*/ 778456 w 814724"/>
                  <a:gd name="connsiteY151" fmla="*/ 620242 h 724316"/>
                  <a:gd name="connsiteX152" fmla="*/ 794225 w 814724"/>
                  <a:gd name="connsiteY152" fmla="*/ 609204 h 724316"/>
                  <a:gd name="connsiteX153" fmla="*/ 807891 w 814724"/>
                  <a:gd name="connsiteY153" fmla="*/ 627601 h 724316"/>
                  <a:gd name="connsiteX154" fmla="*/ 789494 w 814724"/>
                  <a:gd name="connsiteY154" fmla="*/ 640216 h 724316"/>
                  <a:gd name="connsiteX155" fmla="*/ 770572 w 814724"/>
                  <a:gd name="connsiteY155" fmla="*/ 649677 h 724316"/>
                  <a:gd name="connsiteX156" fmla="*/ 752700 w 814724"/>
                  <a:gd name="connsiteY156" fmla="*/ 656510 h 724316"/>
                  <a:gd name="connsiteX157" fmla="*/ 735880 w 814724"/>
                  <a:gd name="connsiteY157" fmla="*/ 660715 h 724316"/>
                  <a:gd name="connsiteX158" fmla="*/ 720111 w 814724"/>
                  <a:gd name="connsiteY158" fmla="*/ 663343 h 724316"/>
                  <a:gd name="connsiteX159" fmla="*/ 704868 w 814724"/>
                  <a:gd name="connsiteY159" fmla="*/ 663869 h 724316"/>
                  <a:gd name="connsiteX160" fmla="*/ 689625 w 814724"/>
                  <a:gd name="connsiteY160" fmla="*/ 663343 h 724316"/>
                  <a:gd name="connsiteX161" fmla="*/ 675958 w 814724"/>
                  <a:gd name="connsiteY161" fmla="*/ 660715 h 724316"/>
                  <a:gd name="connsiteX162" fmla="*/ 663869 w 814724"/>
                  <a:gd name="connsiteY162" fmla="*/ 658087 h 724316"/>
                  <a:gd name="connsiteX163" fmla="*/ 652831 w 814724"/>
                  <a:gd name="connsiteY163" fmla="*/ 653882 h 724316"/>
                  <a:gd name="connsiteX164" fmla="*/ 642844 w 814724"/>
                  <a:gd name="connsiteY164" fmla="*/ 650728 h 724316"/>
                  <a:gd name="connsiteX165" fmla="*/ 634434 w 814724"/>
                  <a:gd name="connsiteY165" fmla="*/ 645998 h 724316"/>
                  <a:gd name="connsiteX166" fmla="*/ 627601 w 814724"/>
                  <a:gd name="connsiteY166" fmla="*/ 642844 h 724316"/>
                  <a:gd name="connsiteX167" fmla="*/ 622870 w 814724"/>
                  <a:gd name="connsiteY167" fmla="*/ 639690 h 724316"/>
                  <a:gd name="connsiteX168" fmla="*/ 619191 w 814724"/>
                  <a:gd name="connsiteY168" fmla="*/ 637062 h 724316"/>
                  <a:gd name="connsiteX169" fmla="*/ 617614 w 814724"/>
                  <a:gd name="connsiteY169" fmla="*/ 636011 h 724316"/>
                  <a:gd name="connsiteX170" fmla="*/ 597114 w 814724"/>
                  <a:gd name="connsiteY170" fmla="*/ 623396 h 724316"/>
                  <a:gd name="connsiteX171" fmla="*/ 577140 w 814724"/>
                  <a:gd name="connsiteY171" fmla="*/ 613934 h 724316"/>
                  <a:gd name="connsiteX172" fmla="*/ 557692 w 814724"/>
                  <a:gd name="connsiteY172" fmla="*/ 607101 h 724316"/>
                  <a:gd name="connsiteX173" fmla="*/ 538769 w 814724"/>
                  <a:gd name="connsiteY173" fmla="*/ 602896 h 724316"/>
                  <a:gd name="connsiteX174" fmla="*/ 520898 w 814724"/>
                  <a:gd name="connsiteY174" fmla="*/ 600794 h 724316"/>
                  <a:gd name="connsiteX175" fmla="*/ 504078 w 814724"/>
                  <a:gd name="connsiteY175" fmla="*/ 600794 h 724316"/>
                  <a:gd name="connsiteX176" fmla="*/ 488309 w 814724"/>
                  <a:gd name="connsiteY176" fmla="*/ 602371 h 724316"/>
                  <a:gd name="connsiteX177" fmla="*/ 473592 w 814724"/>
                  <a:gd name="connsiteY177" fmla="*/ 604999 h 724316"/>
                  <a:gd name="connsiteX178" fmla="*/ 460451 w 814724"/>
                  <a:gd name="connsiteY178" fmla="*/ 608152 h 724316"/>
                  <a:gd name="connsiteX179" fmla="*/ 448361 w 814724"/>
                  <a:gd name="connsiteY179" fmla="*/ 612357 h 724316"/>
                  <a:gd name="connsiteX180" fmla="*/ 437323 w 814724"/>
                  <a:gd name="connsiteY180" fmla="*/ 616562 h 724316"/>
                  <a:gd name="connsiteX181" fmla="*/ 428913 w 814724"/>
                  <a:gd name="connsiteY181" fmla="*/ 620767 h 724316"/>
                  <a:gd name="connsiteX182" fmla="*/ 421554 w 814724"/>
                  <a:gd name="connsiteY182" fmla="*/ 624973 h 724316"/>
                  <a:gd name="connsiteX183" fmla="*/ 416298 w 814724"/>
                  <a:gd name="connsiteY183" fmla="*/ 628652 h 724316"/>
                  <a:gd name="connsiteX184" fmla="*/ 412093 w 814724"/>
                  <a:gd name="connsiteY184" fmla="*/ 631280 h 724316"/>
                  <a:gd name="connsiteX185" fmla="*/ 410516 w 814724"/>
                  <a:gd name="connsiteY185" fmla="*/ 632857 h 724316"/>
                  <a:gd name="connsiteX186" fmla="*/ 391593 w 814724"/>
                  <a:gd name="connsiteY186" fmla="*/ 645472 h 724316"/>
                  <a:gd name="connsiteX187" fmla="*/ 373196 w 814724"/>
                  <a:gd name="connsiteY187" fmla="*/ 654933 h 724316"/>
                  <a:gd name="connsiteX188" fmla="*/ 355325 w 814724"/>
                  <a:gd name="connsiteY188" fmla="*/ 661241 h 724316"/>
                  <a:gd name="connsiteX189" fmla="*/ 338505 w 814724"/>
                  <a:gd name="connsiteY189" fmla="*/ 665971 h 724316"/>
                  <a:gd name="connsiteX190" fmla="*/ 322210 w 814724"/>
                  <a:gd name="connsiteY190" fmla="*/ 668074 h 724316"/>
                  <a:gd name="connsiteX191" fmla="*/ 306967 w 814724"/>
                  <a:gd name="connsiteY191" fmla="*/ 669125 h 724316"/>
                  <a:gd name="connsiteX192" fmla="*/ 291724 w 814724"/>
                  <a:gd name="connsiteY192" fmla="*/ 668074 h 724316"/>
                  <a:gd name="connsiteX193" fmla="*/ 278583 w 814724"/>
                  <a:gd name="connsiteY193" fmla="*/ 665971 h 724316"/>
                  <a:gd name="connsiteX194" fmla="*/ 266493 w 814724"/>
                  <a:gd name="connsiteY194" fmla="*/ 663343 h 724316"/>
                  <a:gd name="connsiteX195" fmla="*/ 255455 w 814724"/>
                  <a:gd name="connsiteY195" fmla="*/ 659138 h 724316"/>
                  <a:gd name="connsiteX196" fmla="*/ 245468 w 814724"/>
                  <a:gd name="connsiteY196" fmla="*/ 655459 h 724316"/>
                  <a:gd name="connsiteX197" fmla="*/ 237058 w 814724"/>
                  <a:gd name="connsiteY197" fmla="*/ 651254 h 724316"/>
                  <a:gd name="connsiteX198" fmla="*/ 230225 w 814724"/>
                  <a:gd name="connsiteY198" fmla="*/ 648100 h 724316"/>
                  <a:gd name="connsiteX199" fmla="*/ 224969 w 814724"/>
                  <a:gd name="connsiteY199" fmla="*/ 644421 h 724316"/>
                  <a:gd name="connsiteX200" fmla="*/ 221815 w 814724"/>
                  <a:gd name="connsiteY200" fmla="*/ 641793 h 724316"/>
                  <a:gd name="connsiteX201" fmla="*/ 220238 w 814724"/>
                  <a:gd name="connsiteY201" fmla="*/ 641267 h 724316"/>
                  <a:gd name="connsiteX202" fmla="*/ 199739 w 814724"/>
                  <a:gd name="connsiteY202" fmla="*/ 628652 h 724316"/>
                  <a:gd name="connsiteX203" fmla="*/ 179239 w 814724"/>
                  <a:gd name="connsiteY203" fmla="*/ 618139 h 724316"/>
                  <a:gd name="connsiteX204" fmla="*/ 159791 w 814724"/>
                  <a:gd name="connsiteY204" fmla="*/ 611306 h 724316"/>
                  <a:gd name="connsiteX205" fmla="*/ 141394 w 814724"/>
                  <a:gd name="connsiteY205" fmla="*/ 607101 h 724316"/>
                  <a:gd name="connsiteX206" fmla="*/ 124574 w 814724"/>
                  <a:gd name="connsiteY206" fmla="*/ 604999 h 724316"/>
                  <a:gd name="connsiteX207" fmla="*/ 107754 w 814724"/>
                  <a:gd name="connsiteY207" fmla="*/ 604999 h 724316"/>
                  <a:gd name="connsiteX208" fmla="*/ 91459 w 814724"/>
                  <a:gd name="connsiteY208" fmla="*/ 605524 h 724316"/>
                  <a:gd name="connsiteX209" fmla="*/ 77267 w 814724"/>
                  <a:gd name="connsiteY209" fmla="*/ 608152 h 724316"/>
                  <a:gd name="connsiteX210" fmla="*/ 64652 w 814724"/>
                  <a:gd name="connsiteY210" fmla="*/ 612357 h 724316"/>
                  <a:gd name="connsiteX211" fmla="*/ 52563 w 814724"/>
                  <a:gd name="connsiteY211" fmla="*/ 616562 h 724316"/>
                  <a:gd name="connsiteX212" fmla="*/ 41524 w 814724"/>
                  <a:gd name="connsiteY212" fmla="*/ 620767 h 724316"/>
                  <a:gd name="connsiteX213" fmla="*/ 33114 w 814724"/>
                  <a:gd name="connsiteY213" fmla="*/ 624973 h 724316"/>
                  <a:gd name="connsiteX214" fmla="*/ 25230 w 814724"/>
                  <a:gd name="connsiteY214" fmla="*/ 629178 h 724316"/>
                  <a:gd name="connsiteX215" fmla="*/ 20499 w 814724"/>
                  <a:gd name="connsiteY215" fmla="*/ 632857 h 724316"/>
                  <a:gd name="connsiteX216" fmla="*/ 16294 w 814724"/>
                  <a:gd name="connsiteY216" fmla="*/ 635485 h 724316"/>
                  <a:gd name="connsiteX217" fmla="*/ 14717 w 814724"/>
                  <a:gd name="connsiteY217" fmla="*/ 637062 h 724316"/>
                  <a:gd name="connsiteX218" fmla="*/ 0 w 814724"/>
                  <a:gd name="connsiteY218" fmla="*/ 618139 h 724316"/>
                  <a:gd name="connsiteX219" fmla="*/ 1577 w 814724"/>
                  <a:gd name="connsiteY219" fmla="*/ 617614 h 724316"/>
                  <a:gd name="connsiteX220" fmla="*/ 5256 w 814724"/>
                  <a:gd name="connsiteY220" fmla="*/ 614986 h 724316"/>
                  <a:gd name="connsiteX221" fmla="*/ 11038 w 814724"/>
                  <a:gd name="connsiteY221" fmla="*/ 610781 h 724316"/>
                  <a:gd name="connsiteX222" fmla="*/ 18922 w 814724"/>
                  <a:gd name="connsiteY222" fmla="*/ 606576 h 724316"/>
                  <a:gd name="connsiteX223" fmla="*/ 28909 w 814724"/>
                  <a:gd name="connsiteY223" fmla="*/ 601319 h 724316"/>
                  <a:gd name="connsiteX224" fmla="*/ 40473 w 814724"/>
                  <a:gd name="connsiteY224" fmla="*/ 596589 h 724316"/>
                  <a:gd name="connsiteX225" fmla="*/ 54139 w 814724"/>
                  <a:gd name="connsiteY225" fmla="*/ 591332 h 724316"/>
                  <a:gd name="connsiteX226" fmla="*/ 69383 w 814724"/>
                  <a:gd name="connsiteY226" fmla="*/ 587127 h 724316"/>
                  <a:gd name="connsiteX227" fmla="*/ 86203 w 814724"/>
                  <a:gd name="connsiteY227" fmla="*/ 583448 h 724316"/>
                  <a:gd name="connsiteX228" fmla="*/ 104074 w 814724"/>
                  <a:gd name="connsiteY228" fmla="*/ 581871 h 724316"/>
                  <a:gd name="connsiteX229" fmla="*/ 123522 w 814724"/>
                  <a:gd name="connsiteY229" fmla="*/ 582922 h 724316"/>
                  <a:gd name="connsiteX230" fmla="*/ 144022 w 814724"/>
                  <a:gd name="connsiteY230" fmla="*/ 584499 h 724316"/>
                  <a:gd name="connsiteX231" fmla="*/ 165047 w 814724"/>
                  <a:gd name="connsiteY231" fmla="*/ 589756 h 724316"/>
                  <a:gd name="connsiteX232" fmla="*/ 187124 w 814724"/>
                  <a:gd name="connsiteY232" fmla="*/ 597114 h 724316"/>
                  <a:gd name="connsiteX233" fmla="*/ 209726 w 814724"/>
                  <a:gd name="connsiteY233" fmla="*/ 608152 h 724316"/>
                  <a:gd name="connsiteX234" fmla="*/ 233379 w 814724"/>
                  <a:gd name="connsiteY234" fmla="*/ 622344 h 724316"/>
                  <a:gd name="connsiteX235" fmla="*/ 235481 w 814724"/>
                  <a:gd name="connsiteY235" fmla="*/ 623396 h 724316"/>
                  <a:gd name="connsiteX236" fmla="*/ 237584 w 814724"/>
                  <a:gd name="connsiteY236" fmla="*/ 624973 h 724316"/>
                  <a:gd name="connsiteX237" fmla="*/ 241789 w 814724"/>
                  <a:gd name="connsiteY237" fmla="*/ 627601 h 724316"/>
                  <a:gd name="connsiteX238" fmla="*/ 248096 w 814724"/>
                  <a:gd name="connsiteY238" fmla="*/ 631280 h 724316"/>
                  <a:gd name="connsiteX239" fmla="*/ 255455 w 814724"/>
                  <a:gd name="connsiteY239" fmla="*/ 634434 h 724316"/>
                  <a:gd name="connsiteX240" fmla="*/ 263865 w 814724"/>
                  <a:gd name="connsiteY240" fmla="*/ 637062 h 724316"/>
                  <a:gd name="connsiteX241" fmla="*/ 273327 w 814724"/>
                  <a:gd name="connsiteY241" fmla="*/ 640216 h 724316"/>
                  <a:gd name="connsiteX242" fmla="*/ 283314 w 814724"/>
                  <a:gd name="connsiteY242" fmla="*/ 642844 h 724316"/>
                  <a:gd name="connsiteX243" fmla="*/ 295403 w 814724"/>
                  <a:gd name="connsiteY243" fmla="*/ 644421 h 724316"/>
                  <a:gd name="connsiteX244" fmla="*/ 306967 w 814724"/>
                  <a:gd name="connsiteY244" fmla="*/ 645472 h 724316"/>
                  <a:gd name="connsiteX245" fmla="*/ 320633 w 814724"/>
                  <a:gd name="connsiteY245" fmla="*/ 644421 h 724316"/>
                  <a:gd name="connsiteX246" fmla="*/ 334825 w 814724"/>
                  <a:gd name="connsiteY246" fmla="*/ 641793 h 724316"/>
                  <a:gd name="connsiteX247" fmla="*/ 349543 w 814724"/>
                  <a:gd name="connsiteY247" fmla="*/ 638639 h 724316"/>
                  <a:gd name="connsiteX248" fmla="*/ 364786 w 814724"/>
                  <a:gd name="connsiteY248" fmla="*/ 632857 h 724316"/>
                  <a:gd name="connsiteX249" fmla="*/ 380030 w 814724"/>
                  <a:gd name="connsiteY249" fmla="*/ 624447 h 724316"/>
                  <a:gd name="connsiteX250" fmla="*/ 395798 w 814724"/>
                  <a:gd name="connsiteY250" fmla="*/ 613934 h 724316"/>
                  <a:gd name="connsiteX251" fmla="*/ 397375 w 814724"/>
                  <a:gd name="connsiteY251" fmla="*/ 613409 h 724316"/>
                  <a:gd name="connsiteX252" fmla="*/ 401055 w 814724"/>
                  <a:gd name="connsiteY252" fmla="*/ 610781 h 724316"/>
                  <a:gd name="connsiteX253" fmla="*/ 406837 w 814724"/>
                  <a:gd name="connsiteY253" fmla="*/ 606576 h 724316"/>
                  <a:gd name="connsiteX254" fmla="*/ 415247 w 814724"/>
                  <a:gd name="connsiteY254" fmla="*/ 602371 h 724316"/>
                  <a:gd name="connsiteX255" fmla="*/ 425759 w 814724"/>
                  <a:gd name="connsiteY255" fmla="*/ 597114 h 724316"/>
                  <a:gd name="connsiteX256" fmla="*/ 437323 w 814724"/>
                  <a:gd name="connsiteY256" fmla="*/ 591332 h 724316"/>
                  <a:gd name="connsiteX257" fmla="*/ 450989 w 814724"/>
                  <a:gd name="connsiteY257" fmla="*/ 587127 h 724316"/>
                  <a:gd name="connsiteX258" fmla="*/ 466233 w 814724"/>
                  <a:gd name="connsiteY258" fmla="*/ 582922 h 724316"/>
                  <a:gd name="connsiteX259" fmla="*/ 483053 w 814724"/>
                  <a:gd name="connsiteY259" fmla="*/ 579243 h 724316"/>
                  <a:gd name="connsiteX260" fmla="*/ 641267 w 814724"/>
                  <a:gd name="connsiteY260" fmla="*/ 474643 h 724316"/>
                  <a:gd name="connsiteX261" fmla="*/ 633382 w 814724"/>
                  <a:gd name="connsiteY261" fmla="*/ 476220 h 724316"/>
                  <a:gd name="connsiteX262" fmla="*/ 627600 w 814724"/>
                  <a:gd name="connsiteY262" fmla="*/ 480425 h 724316"/>
                  <a:gd name="connsiteX263" fmla="*/ 623395 w 814724"/>
                  <a:gd name="connsiteY263" fmla="*/ 486207 h 724316"/>
                  <a:gd name="connsiteX264" fmla="*/ 621818 w 814724"/>
                  <a:gd name="connsiteY264" fmla="*/ 494091 h 724316"/>
                  <a:gd name="connsiteX265" fmla="*/ 623395 w 814724"/>
                  <a:gd name="connsiteY265" fmla="*/ 501450 h 724316"/>
                  <a:gd name="connsiteX266" fmla="*/ 627600 w 814724"/>
                  <a:gd name="connsiteY266" fmla="*/ 507758 h 724316"/>
                  <a:gd name="connsiteX267" fmla="*/ 633382 w 814724"/>
                  <a:gd name="connsiteY267" fmla="*/ 511963 h 724316"/>
                  <a:gd name="connsiteX268" fmla="*/ 641267 w 814724"/>
                  <a:gd name="connsiteY268" fmla="*/ 513539 h 724316"/>
                  <a:gd name="connsiteX269" fmla="*/ 648625 w 814724"/>
                  <a:gd name="connsiteY269" fmla="*/ 511963 h 724316"/>
                  <a:gd name="connsiteX270" fmla="*/ 654933 w 814724"/>
                  <a:gd name="connsiteY270" fmla="*/ 507758 h 724316"/>
                  <a:gd name="connsiteX271" fmla="*/ 659138 w 814724"/>
                  <a:gd name="connsiteY271" fmla="*/ 501450 h 724316"/>
                  <a:gd name="connsiteX272" fmla="*/ 660715 w 814724"/>
                  <a:gd name="connsiteY272" fmla="*/ 494091 h 724316"/>
                  <a:gd name="connsiteX273" fmla="*/ 659138 w 814724"/>
                  <a:gd name="connsiteY273" fmla="*/ 486207 h 724316"/>
                  <a:gd name="connsiteX274" fmla="*/ 654933 w 814724"/>
                  <a:gd name="connsiteY274" fmla="*/ 480425 h 724316"/>
                  <a:gd name="connsiteX275" fmla="*/ 648625 w 814724"/>
                  <a:gd name="connsiteY275" fmla="*/ 476220 h 724316"/>
                  <a:gd name="connsiteX276" fmla="*/ 76216 w 814724"/>
                  <a:gd name="connsiteY276" fmla="*/ 393170 h 724316"/>
                  <a:gd name="connsiteX277" fmla="*/ 107754 w 814724"/>
                  <a:gd name="connsiteY277" fmla="*/ 393170 h 724316"/>
                  <a:gd name="connsiteX278" fmla="*/ 107754 w 814724"/>
                  <a:gd name="connsiteY278" fmla="*/ 424708 h 724316"/>
                  <a:gd name="connsiteX279" fmla="*/ 76216 w 814724"/>
                  <a:gd name="connsiteY279" fmla="*/ 424708 h 724316"/>
                  <a:gd name="connsiteX280" fmla="*/ 35743 w 814724"/>
                  <a:gd name="connsiteY280" fmla="*/ 305390 h 724316"/>
                  <a:gd name="connsiteX281" fmla="*/ 138766 w 814724"/>
                  <a:gd name="connsiteY281" fmla="*/ 305390 h 724316"/>
                  <a:gd name="connsiteX282" fmla="*/ 150855 w 814724"/>
                  <a:gd name="connsiteY282" fmla="*/ 305390 h 724316"/>
                  <a:gd name="connsiteX283" fmla="*/ 152958 w 814724"/>
                  <a:gd name="connsiteY283" fmla="*/ 316954 h 724316"/>
                  <a:gd name="connsiteX284" fmla="*/ 185552 w 814724"/>
                  <a:gd name="connsiteY284" fmla="*/ 480425 h 724316"/>
                  <a:gd name="connsiteX285" fmla="*/ 550859 w 814724"/>
                  <a:gd name="connsiteY285" fmla="*/ 480425 h 724316"/>
                  <a:gd name="connsiteX286" fmla="*/ 576089 w 814724"/>
                  <a:gd name="connsiteY286" fmla="*/ 420503 h 724316"/>
                  <a:gd name="connsiteX287" fmla="*/ 749546 w 814724"/>
                  <a:gd name="connsiteY287" fmla="*/ 420503 h 724316"/>
                  <a:gd name="connsiteX288" fmla="*/ 695229 w 814724"/>
                  <a:gd name="connsiteY288" fmla="*/ 582075 h 724316"/>
                  <a:gd name="connsiteX289" fmla="*/ 705394 w 814724"/>
                  <a:gd name="connsiteY289" fmla="*/ 582922 h 724316"/>
                  <a:gd name="connsiteX290" fmla="*/ 718009 w 814724"/>
                  <a:gd name="connsiteY290" fmla="*/ 581871 h 724316"/>
                  <a:gd name="connsiteX291" fmla="*/ 732726 w 814724"/>
                  <a:gd name="connsiteY291" fmla="*/ 579242 h 724316"/>
                  <a:gd name="connsiteX292" fmla="*/ 746918 w 814724"/>
                  <a:gd name="connsiteY292" fmla="*/ 576089 h 724316"/>
                  <a:gd name="connsiteX293" fmla="*/ 762162 w 814724"/>
                  <a:gd name="connsiteY293" fmla="*/ 570307 h 724316"/>
                  <a:gd name="connsiteX294" fmla="*/ 778456 w 814724"/>
                  <a:gd name="connsiteY294" fmla="*/ 561897 h 724316"/>
                  <a:gd name="connsiteX295" fmla="*/ 794225 w 814724"/>
                  <a:gd name="connsiteY295" fmla="*/ 551384 h 724316"/>
                  <a:gd name="connsiteX296" fmla="*/ 807891 w 814724"/>
                  <a:gd name="connsiteY296" fmla="*/ 569256 h 724316"/>
                  <a:gd name="connsiteX297" fmla="*/ 789494 w 814724"/>
                  <a:gd name="connsiteY297" fmla="*/ 581871 h 724316"/>
                  <a:gd name="connsiteX298" fmla="*/ 770572 w 814724"/>
                  <a:gd name="connsiteY298" fmla="*/ 591332 h 724316"/>
                  <a:gd name="connsiteX299" fmla="*/ 752700 w 814724"/>
                  <a:gd name="connsiteY299" fmla="*/ 598165 h 724316"/>
                  <a:gd name="connsiteX300" fmla="*/ 735880 w 814724"/>
                  <a:gd name="connsiteY300" fmla="*/ 602370 h 724316"/>
                  <a:gd name="connsiteX301" fmla="*/ 720111 w 814724"/>
                  <a:gd name="connsiteY301" fmla="*/ 604998 h 724316"/>
                  <a:gd name="connsiteX302" fmla="*/ 704868 w 814724"/>
                  <a:gd name="connsiteY302" fmla="*/ 605524 h 724316"/>
                  <a:gd name="connsiteX303" fmla="*/ 689625 w 814724"/>
                  <a:gd name="connsiteY303" fmla="*/ 604998 h 724316"/>
                  <a:gd name="connsiteX304" fmla="*/ 687626 w 814724"/>
                  <a:gd name="connsiteY304" fmla="*/ 604691 h 724316"/>
                  <a:gd name="connsiteX305" fmla="*/ 687522 w 814724"/>
                  <a:gd name="connsiteY305" fmla="*/ 604999 h 724316"/>
                  <a:gd name="connsiteX306" fmla="*/ 675958 w 814724"/>
                  <a:gd name="connsiteY306" fmla="*/ 602896 h 724316"/>
                  <a:gd name="connsiteX307" fmla="*/ 675938 w 814724"/>
                  <a:gd name="connsiteY307" fmla="*/ 602890 h 724316"/>
                  <a:gd name="connsiteX308" fmla="*/ 663869 w 814724"/>
                  <a:gd name="connsiteY308" fmla="*/ 599742 h 724316"/>
                  <a:gd name="connsiteX309" fmla="*/ 652831 w 814724"/>
                  <a:gd name="connsiteY309" fmla="*/ 596588 h 724316"/>
                  <a:gd name="connsiteX310" fmla="*/ 642844 w 814724"/>
                  <a:gd name="connsiteY310" fmla="*/ 592909 h 724316"/>
                  <a:gd name="connsiteX311" fmla="*/ 634434 w 814724"/>
                  <a:gd name="connsiteY311" fmla="*/ 588704 h 724316"/>
                  <a:gd name="connsiteX312" fmla="*/ 627601 w 814724"/>
                  <a:gd name="connsiteY312" fmla="*/ 585550 h 724316"/>
                  <a:gd name="connsiteX313" fmla="*/ 622870 w 814724"/>
                  <a:gd name="connsiteY313" fmla="*/ 581871 h 724316"/>
                  <a:gd name="connsiteX314" fmla="*/ 619191 w 814724"/>
                  <a:gd name="connsiteY314" fmla="*/ 579242 h 724316"/>
                  <a:gd name="connsiteX315" fmla="*/ 617614 w 814724"/>
                  <a:gd name="connsiteY315" fmla="*/ 578717 h 724316"/>
                  <a:gd name="connsiteX316" fmla="*/ 597114 w 814724"/>
                  <a:gd name="connsiteY316" fmla="*/ 566102 h 724316"/>
                  <a:gd name="connsiteX317" fmla="*/ 577140 w 814724"/>
                  <a:gd name="connsiteY317" fmla="*/ 556640 h 724316"/>
                  <a:gd name="connsiteX318" fmla="*/ 564993 w 814724"/>
                  <a:gd name="connsiteY318" fmla="*/ 551716 h 724316"/>
                  <a:gd name="connsiteX319" fmla="*/ 562423 w 814724"/>
                  <a:gd name="connsiteY319" fmla="*/ 550859 h 724316"/>
                  <a:gd name="connsiteX320" fmla="*/ 540346 w 814724"/>
                  <a:gd name="connsiteY320" fmla="*/ 545603 h 724316"/>
                  <a:gd name="connsiteX321" fmla="*/ 520372 w 814724"/>
                  <a:gd name="connsiteY321" fmla="*/ 544026 h 724316"/>
                  <a:gd name="connsiteX322" fmla="*/ 500924 w 814724"/>
                  <a:gd name="connsiteY322" fmla="*/ 544026 h 724316"/>
                  <a:gd name="connsiteX323" fmla="*/ 483052 w 814724"/>
                  <a:gd name="connsiteY323" fmla="*/ 545603 h 724316"/>
                  <a:gd name="connsiteX324" fmla="*/ 468134 w 814724"/>
                  <a:gd name="connsiteY324" fmla="*/ 548400 h 724316"/>
                  <a:gd name="connsiteX325" fmla="*/ 460451 w 814724"/>
                  <a:gd name="connsiteY325" fmla="*/ 550859 h 724316"/>
                  <a:gd name="connsiteX326" fmla="*/ 448361 w 814724"/>
                  <a:gd name="connsiteY326" fmla="*/ 555064 h 724316"/>
                  <a:gd name="connsiteX327" fmla="*/ 437323 w 814724"/>
                  <a:gd name="connsiteY327" fmla="*/ 559269 h 724316"/>
                  <a:gd name="connsiteX328" fmla="*/ 428913 w 814724"/>
                  <a:gd name="connsiteY328" fmla="*/ 563474 h 724316"/>
                  <a:gd name="connsiteX329" fmla="*/ 421554 w 814724"/>
                  <a:gd name="connsiteY329" fmla="*/ 567679 h 724316"/>
                  <a:gd name="connsiteX330" fmla="*/ 416298 w 814724"/>
                  <a:gd name="connsiteY330" fmla="*/ 570832 h 724316"/>
                  <a:gd name="connsiteX331" fmla="*/ 412093 w 814724"/>
                  <a:gd name="connsiteY331" fmla="*/ 573461 h 724316"/>
                  <a:gd name="connsiteX332" fmla="*/ 410516 w 814724"/>
                  <a:gd name="connsiteY332" fmla="*/ 575037 h 724316"/>
                  <a:gd name="connsiteX333" fmla="*/ 391593 w 814724"/>
                  <a:gd name="connsiteY333" fmla="*/ 587127 h 724316"/>
                  <a:gd name="connsiteX334" fmla="*/ 373196 w 814724"/>
                  <a:gd name="connsiteY334" fmla="*/ 596588 h 724316"/>
                  <a:gd name="connsiteX335" fmla="*/ 355325 w 814724"/>
                  <a:gd name="connsiteY335" fmla="*/ 602896 h 724316"/>
                  <a:gd name="connsiteX336" fmla="*/ 352465 w 814724"/>
                  <a:gd name="connsiteY336" fmla="*/ 603789 h 724316"/>
                  <a:gd name="connsiteX337" fmla="*/ 349542 w 814724"/>
                  <a:gd name="connsiteY337" fmla="*/ 604999 h 724316"/>
                  <a:gd name="connsiteX338" fmla="*/ 346529 w 814724"/>
                  <a:gd name="connsiteY338" fmla="*/ 605644 h 724316"/>
                  <a:gd name="connsiteX339" fmla="*/ 338505 w 814724"/>
                  <a:gd name="connsiteY339" fmla="*/ 608152 h 724316"/>
                  <a:gd name="connsiteX340" fmla="*/ 330802 w 814724"/>
                  <a:gd name="connsiteY340" fmla="*/ 608897 h 724316"/>
                  <a:gd name="connsiteX341" fmla="*/ 320633 w 814724"/>
                  <a:gd name="connsiteY341" fmla="*/ 610781 h 724316"/>
                  <a:gd name="connsiteX342" fmla="*/ 306967 w 814724"/>
                  <a:gd name="connsiteY342" fmla="*/ 611306 h 724316"/>
                  <a:gd name="connsiteX343" fmla="*/ 295403 w 814724"/>
                  <a:gd name="connsiteY343" fmla="*/ 610781 h 724316"/>
                  <a:gd name="connsiteX344" fmla="*/ 283313 w 814724"/>
                  <a:gd name="connsiteY344" fmla="*/ 609204 h 724316"/>
                  <a:gd name="connsiteX345" fmla="*/ 273326 w 814724"/>
                  <a:gd name="connsiteY345" fmla="*/ 606576 h 724316"/>
                  <a:gd name="connsiteX346" fmla="*/ 271516 w 814724"/>
                  <a:gd name="connsiteY346" fmla="*/ 605872 h 724316"/>
                  <a:gd name="connsiteX347" fmla="*/ 266493 w 814724"/>
                  <a:gd name="connsiteY347" fmla="*/ 604998 h 724316"/>
                  <a:gd name="connsiteX348" fmla="*/ 255459 w 814724"/>
                  <a:gd name="connsiteY348" fmla="*/ 600795 h 724316"/>
                  <a:gd name="connsiteX349" fmla="*/ 255455 w 814724"/>
                  <a:gd name="connsiteY349" fmla="*/ 600794 h 724316"/>
                  <a:gd name="connsiteX350" fmla="*/ 255451 w 814724"/>
                  <a:gd name="connsiteY350" fmla="*/ 600792 h 724316"/>
                  <a:gd name="connsiteX351" fmla="*/ 245468 w 814724"/>
                  <a:gd name="connsiteY351" fmla="*/ 597114 h 724316"/>
                  <a:gd name="connsiteX352" fmla="*/ 237058 w 814724"/>
                  <a:gd name="connsiteY352" fmla="*/ 592909 h 724316"/>
                  <a:gd name="connsiteX353" fmla="*/ 230225 w 814724"/>
                  <a:gd name="connsiteY353" fmla="*/ 589755 h 724316"/>
                  <a:gd name="connsiteX354" fmla="*/ 224969 w 814724"/>
                  <a:gd name="connsiteY354" fmla="*/ 586076 h 724316"/>
                  <a:gd name="connsiteX355" fmla="*/ 221815 w 814724"/>
                  <a:gd name="connsiteY355" fmla="*/ 583447 h 724316"/>
                  <a:gd name="connsiteX356" fmla="*/ 220238 w 814724"/>
                  <a:gd name="connsiteY356" fmla="*/ 582922 h 724316"/>
                  <a:gd name="connsiteX357" fmla="*/ 199739 w 814724"/>
                  <a:gd name="connsiteY357" fmla="*/ 570307 h 724316"/>
                  <a:gd name="connsiteX358" fmla="*/ 179239 w 814724"/>
                  <a:gd name="connsiteY358" fmla="*/ 560845 h 724316"/>
                  <a:gd name="connsiteX359" fmla="*/ 164348 w 814724"/>
                  <a:gd name="connsiteY359" fmla="*/ 555613 h 724316"/>
                  <a:gd name="connsiteX360" fmla="*/ 152432 w 814724"/>
                  <a:gd name="connsiteY360" fmla="*/ 552436 h 724316"/>
                  <a:gd name="connsiteX361" fmla="*/ 138240 w 814724"/>
                  <a:gd name="connsiteY361" fmla="*/ 549808 h 724316"/>
                  <a:gd name="connsiteX362" fmla="*/ 123522 w 814724"/>
                  <a:gd name="connsiteY362" fmla="*/ 548231 h 724316"/>
                  <a:gd name="connsiteX363" fmla="*/ 109330 w 814724"/>
                  <a:gd name="connsiteY363" fmla="*/ 548231 h 724316"/>
                  <a:gd name="connsiteX364" fmla="*/ 95664 w 814724"/>
                  <a:gd name="connsiteY364" fmla="*/ 548757 h 724316"/>
                  <a:gd name="connsiteX365" fmla="*/ 83049 w 814724"/>
                  <a:gd name="connsiteY365" fmla="*/ 550859 h 724316"/>
                  <a:gd name="connsiteX366" fmla="*/ 73187 w 814724"/>
                  <a:gd name="connsiteY366" fmla="*/ 552574 h 724316"/>
                  <a:gd name="connsiteX367" fmla="*/ 64652 w 814724"/>
                  <a:gd name="connsiteY367" fmla="*/ 555064 h 724316"/>
                  <a:gd name="connsiteX368" fmla="*/ 52563 w 814724"/>
                  <a:gd name="connsiteY368" fmla="*/ 559269 h 724316"/>
                  <a:gd name="connsiteX369" fmla="*/ 41524 w 814724"/>
                  <a:gd name="connsiteY369" fmla="*/ 563474 h 724316"/>
                  <a:gd name="connsiteX370" fmla="*/ 33114 w 814724"/>
                  <a:gd name="connsiteY370" fmla="*/ 567679 h 724316"/>
                  <a:gd name="connsiteX371" fmla="*/ 25230 w 814724"/>
                  <a:gd name="connsiteY371" fmla="*/ 571884 h 724316"/>
                  <a:gd name="connsiteX372" fmla="*/ 20499 w 814724"/>
                  <a:gd name="connsiteY372" fmla="*/ 575037 h 724316"/>
                  <a:gd name="connsiteX373" fmla="*/ 16294 w 814724"/>
                  <a:gd name="connsiteY373" fmla="*/ 577666 h 724316"/>
                  <a:gd name="connsiteX374" fmla="*/ 14717 w 814724"/>
                  <a:gd name="connsiteY374" fmla="*/ 578717 h 724316"/>
                  <a:gd name="connsiteX375" fmla="*/ 0 w 814724"/>
                  <a:gd name="connsiteY375" fmla="*/ 560845 h 724316"/>
                  <a:gd name="connsiteX376" fmla="*/ 1577 w 814724"/>
                  <a:gd name="connsiteY376" fmla="*/ 559794 h 724316"/>
                  <a:gd name="connsiteX377" fmla="*/ 5256 w 814724"/>
                  <a:gd name="connsiteY377" fmla="*/ 557166 h 724316"/>
                  <a:gd name="connsiteX378" fmla="*/ 11038 w 814724"/>
                  <a:gd name="connsiteY378" fmla="*/ 552961 h 724316"/>
                  <a:gd name="connsiteX379" fmla="*/ 18922 w 814724"/>
                  <a:gd name="connsiteY379" fmla="*/ 548756 h 724316"/>
                  <a:gd name="connsiteX380" fmla="*/ 23653 w 814724"/>
                  <a:gd name="connsiteY380" fmla="*/ 546515 h 724316"/>
                  <a:gd name="connsiteX381" fmla="*/ 23653 w 814724"/>
                  <a:gd name="connsiteY381" fmla="*/ 480425 h 724316"/>
                  <a:gd name="connsiteX382" fmla="*/ 155463 w 814724"/>
                  <a:gd name="connsiteY382" fmla="*/ 480425 h 724316"/>
                  <a:gd name="connsiteX383" fmla="*/ 126151 w 814724"/>
                  <a:gd name="connsiteY383" fmla="*/ 334825 h 724316"/>
                  <a:gd name="connsiteX384" fmla="*/ 35743 w 814724"/>
                  <a:gd name="connsiteY384" fmla="*/ 334825 h 724316"/>
                  <a:gd name="connsiteX385" fmla="*/ 392180 w 814724"/>
                  <a:gd name="connsiteY385" fmla="*/ 285294 h 724316"/>
                  <a:gd name="connsiteX386" fmla="*/ 391068 w 814724"/>
                  <a:gd name="connsiteY386" fmla="*/ 285942 h 724316"/>
                  <a:gd name="connsiteX387" fmla="*/ 384761 w 814724"/>
                  <a:gd name="connsiteY387" fmla="*/ 287519 h 724316"/>
                  <a:gd name="connsiteX388" fmla="*/ 381607 w 814724"/>
                  <a:gd name="connsiteY388" fmla="*/ 287519 h 724316"/>
                  <a:gd name="connsiteX389" fmla="*/ 374774 w 814724"/>
                  <a:gd name="connsiteY389" fmla="*/ 286468 h 724316"/>
                  <a:gd name="connsiteX390" fmla="*/ 371956 w 814724"/>
                  <a:gd name="connsiteY390" fmla="*/ 285818 h 724316"/>
                  <a:gd name="connsiteX391" fmla="*/ 327694 w 814724"/>
                  <a:gd name="connsiteY391" fmla="*/ 322210 h 724316"/>
                  <a:gd name="connsiteX392" fmla="*/ 436413 w 814724"/>
                  <a:gd name="connsiteY392" fmla="*/ 322210 h 724316"/>
                  <a:gd name="connsiteX393" fmla="*/ 734566 w 814724"/>
                  <a:gd name="connsiteY393" fmla="*/ 196725 h 724316"/>
                  <a:gd name="connsiteX394" fmla="*/ 690654 w 814724"/>
                  <a:gd name="connsiteY394" fmla="*/ 216383 h 724316"/>
                  <a:gd name="connsiteX395" fmla="*/ 760099 w 814724"/>
                  <a:gd name="connsiteY395" fmla="*/ 251811 h 724316"/>
                  <a:gd name="connsiteX396" fmla="*/ 625147 w 814724"/>
                  <a:gd name="connsiteY396" fmla="*/ 151317 h 724316"/>
                  <a:gd name="connsiteX397" fmla="*/ 578800 w 814724"/>
                  <a:gd name="connsiteY397" fmla="*/ 159320 h 724316"/>
                  <a:gd name="connsiteX398" fmla="*/ 651775 w 814724"/>
                  <a:gd name="connsiteY398" fmla="*/ 196548 h 724316"/>
                  <a:gd name="connsiteX399" fmla="*/ 706970 w 814724"/>
                  <a:gd name="connsiteY399" fmla="*/ 137189 h 724316"/>
                  <a:gd name="connsiteX400" fmla="*/ 637617 w 814724"/>
                  <a:gd name="connsiteY400" fmla="*/ 149164 h 724316"/>
                  <a:gd name="connsiteX401" fmla="*/ 672069 w 814724"/>
                  <a:gd name="connsiteY401" fmla="*/ 206902 h 724316"/>
                  <a:gd name="connsiteX402" fmla="*/ 677207 w 814724"/>
                  <a:gd name="connsiteY402" fmla="*/ 209522 h 724316"/>
                  <a:gd name="connsiteX403" fmla="*/ 729695 w 814724"/>
                  <a:gd name="connsiteY403" fmla="*/ 186217 h 724316"/>
                  <a:gd name="connsiteX404" fmla="*/ 718402 w 814724"/>
                  <a:gd name="connsiteY404" fmla="*/ 133474 h 724316"/>
                  <a:gd name="connsiteX405" fmla="*/ 740550 w 814724"/>
                  <a:gd name="connsiteY405" fmla="*/ 181397 h 724316"/>
                  <a:gd name="connsiteX406" fmla="*/ 795738 w 814724"/>
                  <a:gd name="connsiteY406" fmla="*/ 156893 h 724316"/>
                  <a:gd name="connsiteX407" fmla="*/ 527424 w 814724"/>
                  <a:gd name="connsiteY407" fmla="*/ 108542 h 724316"/>
                  <a:gd name="connsiteX408" fmla="*/ 492743 w 814724"/>
                  <a:gd name="connsiteY408" fmla="*/ 115417 h 724316"/>
                  <a:gd name="connsiteX409" fmla="*/ 549719 w 814724"/>
                  <a:gd name="connsiteY409" fmla="*/ 144484 h 724316"/>
                  <a:gd name="connsiteX410" fmla="*/ 608374 w 814724"/>
                  <a:gd name="connsiteY410" fmla="*/ 100157 h 724316"/>
                  <a:gd name="connsiteX411" fmla="*/ 630807 w 814724"/>
                  <a:gd name="connsiteY411" fmla="*/ 137751 h 724316"/>
                  <a:gd name="connsiteX412" fmla="*/ 695756 w 814724"/>
                  <a:gd name="connsiteY412" fmla="*/ 126617 h 724316"/>
                  <a:gd name="connsiteX413" fmla="*/ 592384 w 814724"/>
                  <a:gd name="connsiteY413" fmla="*/ 95664 h 724316"/>
                  <a:gd name="connsiteX414" fmla="*/ 539867 w 814724"/>
                  <a:gd name="connsiteY414" fmla="*/ 106075 h 724316"/>
                  <a:gd name="connsiteX415" fmla="*/ 566627 w 814724"/>
                  <a:gd name="connsiteY415" fmla="*/ 148753 h 724316"/>
                  <a:gd name="connsiteX416" fmla="*/ 618412 w 814724"/>
                  <a:gd name="connsiteY416" fmla="*/ 139876 h 724316"/>
                  <a:gd name="connsiteX417" fmla="*/ 438507 w 814724"/>
                  <a:gd name="connsiteY417" fmla="*/ 74146 h 724316"/>
                  <a:gd name="connsiteX418" fmla="*/ 418308 w 814724"/>
                  <a:gd name="connsiteY418" fmla="*/ 77444 h 724316"/>
                  <a:gd name="connsiteX419" fmla="*/ 455576 w 814724"/>
                  <a:gd name="connsiteY419" fmla="*/ 96456 h 724316"/>
                  <a:gd name="connsiteX420" fmla="*/ 519230 w 814724"/>
                  <a:gd name="connsiteY420" fmla="*/ 73163 h 724316"/>
                  <a:gd name="connsiteX421" fmla="*/ 533091 w 814724"/>
                  <a:gd name="connsiteY421" fmla="*/ 95268 h 724316"/>
                  <a:gd name="connsiteX422" fmla="*/ 569594 w 814724"/>
                  <a:gd name="connsiteY422" fmla="*/ 88414 h 724316"/>
                  <a:gd name="connsiteX423" fmla="*/ 493061 w 814724"/>
                  <a:gd name="connsiteY423" fmla="*/ 65239 h 724316"/>
                  <a:gd name="connsiteX424" fmla="*/ 451927 w 814724"/>
                  <a:gd name="connsiteY424" fmla="*/ 71955 h 724316"/>
                  <a:gd name="connsiteX425" fmla="*/ 477797 w 814724"/>
                  <a:gd name="connsiteY425" fmla="*/ 105651 h 724316"/>
                  <a:gd name="connsiteX426" fmla="*/ 520641 w 814724"/>
                  <a:gd name="connsiteY426" fmla="*/ 97606 h 724316"/>
                  <a:gd name="connsiteX427" fmla="*/ 502298 w 814724"/>
                  <a:gd name="connsiteY427" fmla="*/ 68036 h 724316"/>
                  <a:gd name="connsiteX428" fmla="*/ 432749 w 814724"/>
                  <a:gd name="connsiteY428" fmla="*/ 46976 h 724316"/>
                  <a:gd name="connsiteX429" fmla="*/ 443842 w 814724"/>
                  <a:gd name="connsiteY429" fmla="*/ 61425 h 724316"/>
                  <a:gd name="connsiteX430" fmla="*/ 467785 w 814724"/>
                  <a:gd name="connsiteY430" fmla="*/ 57585 h 724316"/>
                  <a:gd name="connsiteX431" fmla="*/ 380029 w 814724"/>
                  <a:gd name="connsiteY431" fmla="*/ 31012 h 724316"/>
                  <a:gd name="connsiteX432" fmla="*/ 370568 w 814724"/>
                  <a:gd name="connsiteY432" fmla="*/ 53088 h 724316"/>
                  <a:gd name="connsiteX433" fmla="*/ 400527 w 814724"/>
                  <a:gd name="connsiteY433" fmla="*/ 68372 h 724316"/>
                  <a:gd name="connsiteX434" fmla="*/ 430422 w 814724"/>
                  <a:gd name="connsiteY434" fmla="*/ 63578 h 724316"/>
                  <a:gd name="connsiteX435" fmla="*/ 413189 w 814724"/>
                  <a:gd name="connsiteY435" fmla="*/ 41053 h 724316"/>
                  <a:gd name="connsiteX436" fmla="*/ 364786 w 814724"/>
                  <a:gd name="connsiteY436" fmla="*/ 0 h 724316"/>
                  <a:gd name="connsiteX437" fmla="*/ 810518 w 814724"/>
                  <a:gd name="connsiteY437" fmla="*/ 134561 h 724316"/>
                  <a:gd name="connsiteX438" fmla="*/ 810518 w 814724"/>
                  <a:gd name="connsiteY438" fmla="*/ 150330 h 724316"/>
                  <a:gd name="connsiteX439" fmla="*/ 810519 w 814724"/>
                  <a:gd name="connsiteY439" fmla="*/ 150329 h 724316"/>
                  <a:gd name="connsiteX440" fmla="*/ 814724 w 814724"/>
                  <a:gd name="connsiteY440" fmla="*/ 160842 h 724316"/>
                  <a:gd name="connsiteX441" fmla="*/ 745394 w 814724"/>
                  <a:gd name="connsiteY441" fmla="*/ 191878 h 724316"/>
                  <a:gd name="connsiteX442" fmla="*/ 774776 w 814724"/>
                  <a:gd name="connsiteY442" fmla="*/ 255456 h 724316"/>
                  <a:gd name="connsiteX443" fmla="*/ 770465 w 814724"/>
                  <a:gd name="connsiteY443" fmla="*/ 257099 h 724316"/>
                  <a:gd name="connsiteX444" fmla="*/ 810518 w 814724"/>
                  <a:gd name="connsiteY444" fmla="*/ 277532 h 724316"/>
                  <a:gd name="connsiteX445" fmla="*/ 810518 w 814724"/>
                  <a:gd name="connsiteY445" fmla="*/ 305916 h 724316"/>
                  <a:gd name="connsiteX446" fmla="*/ 384760 w 814724"/>
                  <a:gd name="connsiteY446" fmla="*/ 89725 h 724316"/>
                  <a:gd name="connsiteX447" fmla="*/ 384760 w 814724"/>
                  <a:gd name="connsiteY447" fmla="*/ 151855 h 724316"/>
                  <a:gd name="connsiteX448" fmla="*/ 388439 w 814724"/>
                  <a:gd name="connsiteY448" fmla="*/ 152958 h 724316"/>
                  <a:gd name="connsiteX449" fmla="*/ 392644 w 814724"/>
                  <a:gd name="connsiteY449" fmla="*/ 155586 h 724316"/>
                  <a:gd name="connsiteX450" fmla="*/ 396849 w 814724"/>
                  <a:gd name="connsiteY450" fmla="*/ 158740 h 724316"/>
                  <a:gd name="connsiteX451" fmla="*/ 400003 w 814724"/>
                  <a:gd name="connsiteY451" fmla="*/ 162945 h 724316"/>
                  <a:gd name="connsiteX452" fmla="*/ 402631 w 814724"/>
                  <a:gd name="connsiteY452" fmla="*/ 167150 h 724316"/>
                  <a:gd name="connsiteX453" fmla="*/ 404208 w 814724"/>
                  <a:gd name="connsiteY453" fmla="*/ 172406 h 724316"/>
                  <a:gd name="connsiteX454" fmla="*/ 405259 w 814724"/>
                  <a:gd name="connsiteY454" fmla="*/ 178188 h 724316"/>
                  <a:gd name="connsiteX455" fmla="*/ 404208 w 814724"/>
                  <a:gd name="connsiteY455" fmla="*/ 184496 h 724316"/>
                  <a:gd name="connsiteX456" fmla="*/ 402631 w 814724"/>
                  <a:gd name="connsiteY456" fmla="*/ 189226 h 724316"/>
                  <a:gd name="connsiteX457" fmla="*/ 400003 w 814724"/>
                  <a:gd name="connsiteY457" fmla="*/ 193431 h 724316"/>
                  <a:gd name="connsiteX458" fmla="*/ 396849 w 814724"/>
                  <a:gd name="connsiteY458" fmla="*/ 197636 h 724316"/>
                  <a:gd name="connsiteX459" fmla="*/ 392644 w 814724"/>
                  <a:gd name="connsiteY459" fmla="*/ 201316 h 724316"/>
                  <a:gd name="connsiteX460" fmla="*/ 388439 w 814724"/>
                  <a:gd name="connsiteY460" fmla="*/ 203944 h 724316"/>
                  <a:gd name="connsiteX461" fmla="*/ 387213 w 814724"/>
                  <a:gd name="connsiteY461" fmla="*/ 204312 h 724316"/>
                  <a:gd name="connsiteX462" fmla="*/ 386863 w 814724"/>
                  <a:gd name="connsiteY462" fmla="*/ 215508 h 724316"/>
                  <a:gd name="connsiteX463" fmla="*/ 381607 w 814724"/>
                  <a:gd name="connsiteY463" fmla="*/ 227598 h 724316"/>
                  <a:gd name="connsiteX464" fmla="*/ 376351 w 814724"/>
                  <a:gd name="connsiteY464" fmla="*/ 234956 h 724316"/>
                  <a:gd name="connsiteX465" fmla="*/ 373197 w 814724"/>
                  <a:gd name="connsiteY465" fmla="*/ 237585 h 724316"/>
                  <a:gd name="connsiteX466" fmla="*/ 368992 w 814724"/>
                  <a:gd name="connsiteY466" fmla="*/ 241264 h 724316"/>
                  <a:gd name="connsiteX467" fmla="*/ 366364 w 814724"/>
                  <a:gd name="connsiteY467" fmla="*/ 244418 h 724316"/>
                  <a:gd name="connsiteX468" fmla="*/ 364787 w 814724"/>
                  <a:gd name="connsiteY468" fmla="*/ 248623 h 724316"/>
                  <a:gd name="connsiteX469" fmla="*/ 363735 w 814724"/>
                  <a:gd name="connsiteY469" fmla="*/ 252828 h 724316"/>
                  <a:gd name="connsiteX470" fmla="*/ 363735 w 814724"/>
                  <a:gd name="connsiteY470" fmla="*/ 255982 h 724316"/>
                  <a:gd name="connsiteX471" fmla="*/ 365312 w 814724"/>
                  <a:gd name="connsiteY471" fmla="*/ 259661 h 724316"/>
                  <a:gd name="connsiteX472" fmla="*/ 366364 w 814724"/>
                  <a:gd name="connsiteY472" fmla="*/ 262815 h 724316"/>
                  <a:gd name="connsiteX473" fmla="*/ 368992 w 814724"/>
                  <a:gd name="connsiteY473" fmla="*/ 265443 h 724316"/>
                  <a:gd name="connsiteX474" fmla="*/ 371620 w 814724"/>
                  <a:gd name="connsiteY474" fmla="*/ 268071 h 724316"/>
                  <a:gd name="connsiteX475" fmla="*/ 374774 w 814724"/>
                  <a:gd name="connsiteY475" fmla="*/ 269122 h 724316"/>
                  <a:gd name="connsiteX476" fmla="*/ 377927 w 814724"/>
                  <a:gd name="connsiteY476" fmla="*/ 270699 h 724316"/>
                  <a:gd name="connsiteX477" fmla="*/ 381607 w 814724"/>
                  <a:gd name="connsiteY477" fmla="*/ 270699 h 724316"/>
                  <a:gd name="connsiteX478" fmla="*/ 382658 w 814724"/>
                  <a:gd name="connsiteY478" fmla="*/ 270699 h 724316"/>
                  <a:gd name="connsiteX479" fmla="*/ 385812 w 814724"/>
                  <a:gd name="connsiteY479" fmla="*/ 269648 h 724316"/>
                  <a:gd name="connsiteX480" fmla="*/ 388966 w 814724"/>
                  <a:gd name="connsiteY480" fmla="*/ 268071 h 724316"/>
                  <a:gd name="connsiteX481" fmla="*/ 392645 w 814724"/>
                  <a:gd name="connsiteY481" fmla="*/ 265443 h 724316"/>
                  <a:gd name="connsiteX482" fmla="*/ 395273 w 814724"/>
                  <a:gd name="connsiteY482" fmla="*/ 262289 h 724316"/>
                  <a:gd name="connsiteX483" fmla="*/ 395799 w 814724"/>
                  <a:gd name="connsiteY483" fmla="*/ 258084 h 724316"/>
                  <a:gd name="connsiteX484" fmla="*/ 396850 w 814724"/>
                  <a:gd name="connsiteY484" fmla="*/ 252828 h 724316"/>
                  <a:gd name="connsiteX485" fmla="*/ 396850 w 814724"/>
                  <a:gd name="connsiteY485" fmla="*/ 247572 h 724316"/>
                  <a:gd name="connsiteX486" fmla="*/ 397376 w 814724"/>
                  <a:gd name="connsiteY486" fmla="*/ 244418 h 724316"/>
                  <a:gd name="connsiteX487" fmla="*/ 399478 w 814724"/>
                  <a:gd name="connsiteY487" fmla="*/ 241790 h 724316"/>
                  <a:gd name="connsiteX488" fmla="*/ 401055 w 814724"/>
                  <a:gd name="connsiteY488" fmla="*/ 240213 h 724316"/>
                  <a:gd name="connsiteX489" fmla="*/ 404209 w 814724"/>
                  <a:gd name="connsiteY489" fmla="*/ 239162 h 724316"/>
                  <a:gd name="connsiteX490" fmla="*/ 407888 w 814724"/>
                  <a:gd name="connsiteY490" fmla="*/ 239162 h 724316"/>
                  <a:gd name="connsiteX491" fmla="*/ 411042 w 814724"/>
                  <a:gd name="connsiteY491" fmla="*/ 241264 h 724316"/>
                  <a:gd name="connsiteX492" fmla="*/ 412619 w 814724"/>
                  <a:gd name="connsiteY492" fmla="*/ 243367 h 724316"/>
                  <a:gd name="connsiteX493" fmla="*/ 413670 w 814724"/>
                  <a:gd name="connsiteY493" fmla="*/ 247046 h 724316"/>
                  <a:gd name="connsiteX494" fmla="*/ 413670 w 814724"/>
                  <a:gd name="connsiteY494" fmla="*/ 255456 h 724316"/>
                  <a:gd name="connsiteX495" fmla="*/ 412093 w 814724"/>
                  <a:gd name="connsiteY495" fmla="*/ 262815 h 724316"/>
                  <a:gd name="connsiteX496" fmla="*/ 409465 w 814724"/>
                  <a:gd name="connsiteY496" fmla="*/ 270699 h 724316"/>
                  <a:gd name="connsiteX497" fmla="*/ 406711 w 814724"/>
                  <a:gd name="connsiteY497" fmla="*/ 274486 h 724316"/>
                  <a:gd name="connsiteX498" fmla="*/ 464754 w 814724"/>
                  <a:gd name="connsiteY498" fmla="*/ 322210 h 724316"/>
                  <a:gd name="connsiteX499" fmla="*/ 520897 w 814724"/>
                  <a:gd name="connsiteY499" fmla="*/ 322210 h 724316"/>
                  <a:gd name="connsiteX500" fmla="*/ 520897 w 814724"/>
                  <a:gd name="connsiteY500" fmla="*/ 424708 h 724316"/>
                  <a:gd name="connsiteX501" fmla="*/ 238635 w 814724"/>
                  <a:gd name="connsiteY501" fmla="*/ 424708 h 724316"/>
                  <a:gd name="connsiteX502" fmla="*/ 238635 w 814724"/>
                  <a:gd name="connsiteY502" fmla="*/ 322210 h 724316"/>
                  <a:gd name="connsiteX503" fmla="*/ 299973 w 814724"/>
                  <a:gd name="connsiteY503" fmla="*/ 322210 h 724316"/>
                  <a:gd name="connsiteX504" fmla="*/ 355709 w 814724"/>
                  <a:gd name="connsiteY504" fmla="*/ 276041 h 724316"/>
                  <a:gd name="connsiteX505" fmla="*/ 352697 w 814724"/>
                  <a:gd name="connsiteY505" fmla="*/ 272276 h 724316"/>
                  <a:gd name="connsiteX506" fmla="*/ 349543 w 814724"/>
                  <a:gd name="connsiteY506" fmla="*/ 266494 h 724316"/>
                  <a:gd name="connsiteX507" fmla="*/ 347966 w 814724"/>
                  <a:gd name="connsiteY507" fmla="*/ 259661 h 724316"/>
                  <a:gd name="connsiteX508" fmla="*/ 346915 w 814724"/>
                  <a:gd name="connsiteY508" fmla="*/ 252828 h 724316"/>
                  <a:gd name="connsiteX509" fmla="*/ 347966 w 814724"/>
                  <a:gd name="connsiteY509" fmla="*/ 244418 h 724316"/>
                  <a:gd name="connsiteX510" fmla="*/ 352172 w 814724"/>
                  <a:gd name="connsiteY510" fmla="*/ 236008 h 724316"/>
                  <a:gd name="connsiteX511" fmla="*/ 356902 w 814724"/>
                  <a:gd name="connsiteY511" fmla="*/ 228123 h 724316"/>
                  <a:gd name="connsiteX512" fmla="*/ 363735 w 814724"/>
                  <a:gd name="connsiteY512" fmla="*/ 223393 h 724316"/>
                  <a:gd name="connsiteX513" fmla="*/ 365312 w 814724"/>
                  <a:gd name="connsiteY513" fmla="*/ 221290 h 724316"/>
                  <a:gd name="connsiteX514" fmla="*/ 368992 w 814724"/>
                  <a:gd name="connsiteY514" fmla="*/ 218136 h 724316"/>
                  <a:gd name="connsiteX515" fmla="*/ 370569 w 814724"/>
                  <a:gd name="connsiteY515" fmla="*/ 211303 h 724316"/>
                  <a:gd name="connsiteX516" fmla="*/ 370569 w 814724"/>
                  <a:gd name="connsiteY516" fmla="*/ 205206 h 724316"/>
                  <a:gd name="connsiteX517" fmla="*/ 366363 w 814724"/>
                  <a:gd name="connsiteY517" fmla="*/ 203944 h 724316"/>
                  <a:gd name="connsiteX518" fmla="*/ 362158 w 814724"/>
                  <a:gd name="connsiteY518" fmla="*/ 201316 h 724316"/>
                  <a:gd name="connsiteX519" fmla="*/ 357953 w 814724"/>
                  <a:gd name="connsiteY519" fmla="*/ 197636 h 724316"/>
                  <a:gd name="connsiteX520" fmla="*/ 354273 w 814724"/>
                  <a:gd name="connsiteY520" fmla="*/ 193431 h 724316"/>
                  <a:gd name="connsiteX521" fmla="*/ 352171 w 814724"/>
                  <a:gd name="connsiteY521" fmla="*/ 189226 h 724316"/>
                  <a:gd name="connsiteX522" fmla="*/ 351120 w 814724"/>
                  <a:gd name="connsiteY522" fmla="*/ 184496 h 724316"/>
                  <a:gd name="connsiteX523" fmla="*/ 350068 w 814724"/>
                  <a:gd name="connsiteY523" fmla="*/ 178188 h 724316"/>
                  <a:gd name="connsiteX524" fmla="*/ 351120 w 814724"/>
                  <a:gd name="connsiteY524" fmla="*/ 172406 h 724316"/>
                  <a:gd name="connsiteX525" fmla="*/ 352171 w 814724"/>
                  <a:gd name="connsiteY525" fmla="*/ 167150 h 724316"/>
                  <a:gd name="connsiteX526" fmla="*/ 354273 w 814724"/>
                  <a:gd name="connsiteY526" fmla="*/ 162945 h 724316"/>
                  <a:gd name="connsiteX527" fmla="*/ 357953 w 814724"/>
                  <a:gd name="connsiteY527" fmla="*/ 158740 h 724316"/>
                  <a:gd name="connsiteX528" fmla="*/ 362158 w 814724"/>
                  <a:gd name="connsiteY528" fmla="*/ 155586 h 724316"/>
                  <a:gd name="connsiteX529" fmla="*/ 366363 w 814724"/>
                  <a:gd name="connsiteY529" fmla="*/ 152958 h 724316"/>
                  <a:gd name="connsiteX530" fmla="*/ 367894 w 814724"/>
                  <a:gd name="connsiteY530" fmla="*/ 152499 h 724316"/>
                  <a:gd name="connsiteX531" fmla="*/ 367450 w 814724"/>
                  <a:gd name="connsiteY531" fmla="*/ 80935 h 724316"/>
                  <a:gd name="connsiteX532" fmla="*/ 337453 w 814724"/>
                  <a:gd name="connsiteY532" fmla="*/ 65703 h 724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Lst>
                <a:rect l="l" t="t" r="r" b="b"/>
                <a:pathLst>
                  <a:path w="814724" h="724316">
                    <a:moveTo>
                      <a:pt x="500924" y="631805"/>
                    </a:moveTo>
                    <a:lnTo>
                      <a:pt x="520372" y="631805"/>
                    </a:lnTo>
                    <a:lnTo>
                      <a:pt x="540346" y="634433"/>
                    </a:lnTo>
                    <a:lnTo>
                      <a:pt x="562423" y="639690"/>
                    </a:lnTo>
                    <a:lnTo>
                      <a:pt x="584499" y="647048"/>
                    </a:lnTo>
                    <a:lnTo>
                      <a:pt x="607627" y="658087"/>
                    </a:lnTo>
                    <a:lnTo>
                      <a:pt x="631280" y="672279"/>
                    </a:lnTo>
                    <a:lnTo>
                      <a:pt x="632857" y="673330"/>
                    </a:lnTo>
                    <a:lnTo>
                      <a:pt x="635485" y="674907"/>
                    </a:lnTo>
                    <a:lnTo>
                      <a:pt x="639690" y="677535"/>
                    </a:lnTo>
                    <a:lnTo>
                      <a:pt x="645472" y="680689"/>
                    </a:lnTo>
                    <a:lnTo>
                      <a:pt x="652831" y="684368"/>
                    </a:lnTo>
                    <a:lnTo>
                      <a:pt x="661766" y="686996"/>
                    </a:lnTo>
                    <a:lnTo>
                      <a:pt x="670702" y="690150"/>
                    </a:lnTo>
                    <a:lnTo>
                      <a:pt x="681215" y="692778"/>
                    </a:lnTo>
                    <a:lnTo>
                      <a:pt x="692779" y="694355"/>
                    </a:lnTo>
                    <a:lnTo>
                      <a:pt x="705394" y="695406"/>
                    </a:lnTo>
                    <a:lnTo>
                      <a:pt x="718009" y="694355"/>
                    </a:lnTo>
                    <a:lnTo>
                      <a:pt x="732726" y="691727"/>
                    </a:lnTo>
                    <a:lnTo>
                      <a:pt x="746918" y="688573"/>
                    </a:lnTo>
                    <a:lnTo>
                      <a:pt x="762162" y="682791"/>
                    </a:lnTo>
                    <a:lnTo>
                      <a:pt x="778456" y="674381"/>
                    </a:lnTo>
                    <a:lnTo>
                      <a:pt x="794225" y="663869"/>
                    </a:lnTo>
                    <a:lnTo>
                      <a:pt x="807891" y="682791"/>
                    </a:lnTo>
                    <a:lnTo>
                      <a:pt x="789494" y="695406"/>
                    </a:lnTo>
                    <a:lnTo>
                      <a:pt x="770572" y="704868"/>
                    </a:lnTo>
                    <a:lnTo>
                      <a:pt x="752700" y="711175"/>
                    </a:lnTo>
                    <a:lnTo>
                      <a:pt x="735880" y="715380"/>
                    </a:lnTo>
                    <a:lnTo>
                      <a:pt x="720111" y="718009"/>
                    </a:lnTo>
                    <a:lnTo>
                      <a:pt x="704868" y="719060"/>
                    </a:lnTo>
                    <a:lnTo>
                      <a:pt x="689625" y="718009"/>
                    </a:lnTo>
                    <a:lnTo>
                      <a:pt x="675958" y="715380"/>
                    </a:lnTo>
                    <a:lnTo>
                      <a:pt x="663869" y="713278"/>
                    </a:lnTo>
                    <a:lnTo>
                      <a:pt x="652831" y="709073"/>
                    </a:lnTo>
                    <a:lnTo>
                      <a:pt x="642844" y="705393"/>
                    </a:lnTo>
                    <a:lnTo>
                      <a:pt x="634434" y="701188"/>
                    </a:lnTo>
                    <a:lnTo>
                      <a:pt x="627601" y="698035"/>
                    </a:lnTo>
                    <a:lnTo>
                      <a:pt x="622870" y="694355"/>
                    </a:lnTo>
                    <a:lnTo>
                      <a:pt x="619191" y="691727"/>
                    </a:lnTo>
                    <a:lnTo>
                      <a:pt x="617614" y="691201"/>
                    </a:lnTo>
                    <a:lnTo>
                      <a:pt x="597114" y="678586"/>
                    </a:lnTo>
                    <a:lnTo>
                      <a:pt x="577140" y="668074"/>
                    </a:lnTo>
                    <a:lnTo>
                      <a:pt x="557692" y="661240"/>
                    </a:lnTo>
                    <a:lnTo>
                      <a:pt x="538769" y="657035"/>
                    </a:lnTo>
                    <a:lnTo>
                      <a:pt x="520898" y="654933"/>
                    </a:lnTo>
                    <a:lnTo>
                      <a:pt x="504078" y="654933"/>
                    </a:lnTo>
                    <a:lnTo>
                      <a:pt x="488309" y="656510"/>
                    </a:lnTo>
                    <a:lnTo>
                      <a:pt x="473592" y="659138"/>
                    </a:lnTo>
                    <a:lnTo>
                      <a:pt x="460451" y="662292"/>
                    </a:lnTo>
                    <a:lnTo>
                      <a:pt x="448361" y="666497"/>
                    </a:lnTo>
                    <a:lnTo>
                      <a:pt x="437323" y="671753"/>
                    </a:lnTo>
                    <a:lnTo>
                      <a:pt x="428913" y="675958"/>
                    </a:lnTo>
                    <a:lnTo>
                      <a:pt x="421554" y="680163"/>
                    </a:lnTo>
                    <a:lnTo>
                      <a:pt x="416298" y="683317"/>
                    </a:lnTo>
                    <a:lnTo>
                      <a:pt x="412093" y="685945"/>
                    </a:lnTo>
                    <a:lnTo>
                      <a:pt x="410516" y="687522"/>
                    </a:lnTo>
                    <a:lnTo>
                      <a:pt x="391593" y="700663"/>
                    </a:lnTo>
                    <a:lnTo>
                      <a:pt x="373196" y="709598"/>
                    </a:lnTo>
                    <a:lnTo>
                      <a:pt x="355325" y="716432"/>
                    </a:lnTo>
                    <a:lnTo>
                      <a:pt x="338505" y="720637"/>
                    </a:lnTo>
                    <a:lnTo>
                      <a:pt x="322210" y="723265"/>
                    </a:lnTo>
                    <a:lnTo>
                      <a:pt x="306967" y="724316"/>
                    </a:lnTo>
                    <a:lnTo>
                      <a:pt x="291724" y="723265"/>
                    </a:lnTo>
                    <a:lnTo>
                      <a:pt x="278583" y="720637"/>
                    </a:lnTo>
                    <a:lnTo>
                      <a:pt x="266493" y="718009"/>
                    </a:lnTo>
                    <a:lnTo>
                      <a:pt x="255455" y="713804"/>
                    </a:lnTo>
                    <a:lnTo>
                      <a:pt x="245468" y="710650"/>
                    </a:lnTo>
                    <a:lnTo>
                      <a:pt x="237058" y="706445"/>
                    </a:lnTo>
                    <a:lnTo>
                      <a:pt x="230225" y="702765"/>
                    </a:lnTo>
                    <a:lnTo>
                      <a:pt x="224969" y="699611"/>
                    </a:lnTo>
                    <a:lnTo>
                      <a:pt x="221815" y="696983"/>
                    </a:lnTo>
                    <a:lnTo>
                      <a:pt x="220238" y="695932"/>
                    </a:lnTo>
                    <a:lnTo>
                      <a:pt x="199739" y="683317"/>
                    </a:lnTo>
                    <a:lnTo>
                      <a:pt x="179239" y="673330"/>
                    </a:lnTo>
                    <a:lnTo>
                      <a:pt x="159791" y="666497"/>
                    </a:lnTo>
                    <a:lnTo>
                      <a:pt x="141394" y="662292"/>
                    </a:lnTo>
                    <a:lnTo>
                      <a:pt x="124574" y="659664"/>
                    </a:lnTo>
                    <a:lnTo>
                      <a:pt x="107754" y="659664"/>
                    </a:lnTo>
                    <a:lnTo>
                      <a:pt x="91459" y="660715"/>
                    </a:lnTo>
                    <a:lnTo>
                      <a:pt x="77267" y="663343"/>
                    </a:lnTo>
                    <a:lnTo>
                      <a:pt x="64652" y="667548"/>
                    </a:lnTo>
                    <a:lnTo>
                      <a:pt x="52563" y="671753"/>
                    </a:lnTo>
                    <a:lnTo>
                      <a:pt x="41524" y="675958"/>
                    </a:lnTo>
                    <a:lnTo>
                      <a:pt x="33114" y="680163"/>
                    </a:lnTo>
                    <a:lnTo>
                      <a:pt x="25230" y="684368"/>
                    </a:lnTo>
                    <a:lnTo>
                      <a:pt x="20499" y="687522"/>
                    </a:lnTo>
                    <a:lnTo>
                      <a:pt x="16294" y="690150"/>
                    </a:lnTo>
                    <a:lnTo>
                      <a:pt x="14717" y="691727"/>
                    </a:lnTo>
                    <a:lnTo>
                      <a:pt x="0" y="673330"/>
                    </a:lnTo>
                    <a:lnTo>
                      <a:pt x="1577" y="672279"/>
                    </a:lnTo>
                    <a:lnTo>
                      <a:pt x="5256" y="670176"/>
                    </a:lnTo>
                    <a:lnTo>
                      <a:pt x="11038" y="665971"/>
                    </a:lnTo>
                    <a:lnTo>
                      <a:pt x="18922" y="661240"/>
                    </a:lnTo>
                    <a:lnTo>
                      <a:pt x="28909" y="656510"/>
                    </a:lnTo>
                    <a:lnTo>
                      <a:pt x="40473" y="650728"/>
                    </a:lnTo>
                    <a:lnTo>
                      <a:pt x="54139" y="645997"/>
                    </a:lnTo>
                    <a:lnTo>
                      <a:pt x="69383" y="641792"/>
                    </a:lnTo>
                    <a:lnTo>
                      <a:pt x="86203" y="638638"/>
                    </a:lnTo>
                    <a:lnTo>
                      <a:pt x="104074" y="637061"/>
                    </a:lnTo>
                    <a:lnTo>
                      <a:pt x="123522" y="637061"/>
                    </a:lnTo>
                    <a:lnTo>
                      <a:pt x="144022" y="638638"/>
                    </a:lnTo>
                    <a:lnTo>
                      <a:pt x="165047" y="643895"/>
                    </a:lnTo>
                    <a:lnTo>
                      <a:pt x="187124" y="651253"/>
                    </a:lnTo>
                    <a:lnTo>
                      <a:pt x="209726" y="662292"/>
                    </a:lnTo>
                    <a:lnTo>
                      <a:pt x="233379" y="676484"/>
                    </a:lnTo>
                    <a:lnTo>
                      <a:pt x="235481" y="677535"/>
                    </a:lnTo>
                    <a:lnTo>
                      <a:pt x="237584" y="680163"/>
                    </a:lnTo>
                    <a:lnTo>
                      <a:pt x="241789" y="682791"/>
                    </a:lnTo>
                    <a:lnTo>
                      <a:pt x="248096" y="685419"/>
                    </a:lnTo>
                    <a:lnTo>
                      <a:pt x="255455" y="688573"/>
                    </a:lnTo>
                    <a:lnTo>
                      <a:pt x="263865" y="691727"/>
                    </a:lnTo>
                    <a:lnTo>
                      <a:pt x="273327" y="695406"/>
                    </a:lnTo>
                    <a:lnTo>
                      <a:pt x="283314" y="698035"/>
                    </a:lnTo>
                    <a:lnTo>
                      <a:pt x="295403" y="699611"/>
                    </a:lnTo>
                    <a:lnTo>
                      <a:pt x="306967" y="700663"/>
                    </a:lnTo>
                    <a:lnTo>
                      <a:pt x="320633" y="699611"/>
                    </a:lnTo>
                    <a:lnTo>
                      <a:pt x="334825" y="696983"/>
                    </a:lnTo>
                    <a:lnTo>
                      <a:pt x="349543" y="693830"/>
                    </a:lnTo>
                    <a:lnTo>
                      <a:pt x="364786" y="687522"/>
                    </a:lnTo>
                    <a:lnTo>
                      <a:pt x="380030" y="679112"/>
                    </a:lnTo>
                    <a:lnTo>
                      <a:pt x="395798" y="669125"/>
                    </a:lnTo>
                    <a:lnTo>
                      <a:pt x="397375" y="668074"/>
                    </a:lnTo>
                    <a:lnTo>
                      <a:pt x="401055" y="665971"/>
                    </a:lnTo>
                    <a:lnTo>
                      <a:pt x="406837" y="661240"/>
                    </a:lnTo>
                    <a:lnTo>
                      <a:pt x="415247" y="656510"/>
                    </a:lnTo>
                    <a:lnTo>
                      <a:pt x="425759" y="651253"/>
                    </a:lnTo>
                    <a:lnTo>
                      <a:pt x="437323" y="645997"/>
                    </a:lnTo>
                    <a:lnTo>
                      <a:pt x="450989" y="641266"/>
                    </a:lnTo>
                    <a:lnTo>
                      <a:pt x="466233" y="637061"/>
                    </a:lnTo>
                    <a:lnTo>
                      <a:pt x="483053" y="633382"/>
                    </a:lnTo>
                    <a:close/>
                    <a:moveTo>
                      <a:pt x="500924" y="577666"/>
                    </a:moveTo>
                    <a:lnTo>
                      <a:pt x="520372" y="577666"/>
                    </a:lnTo>
                    <a:lnTo>
                      <a:pt x="540346" y="579243"/>
                    </a:lnTo>
                    <a:lnTo>
                      <a:pt x="562423" y="584499"/>
                    </a:lnTo>
                    <a:lnTo>
                      <a:pt x="584499" y="591858"/>
                    </a:lnTo>
                    <a:lnTo>
                      <a:pt x="607627" y="602896"/>
                    </a:lnTo>
                    <a:lnTo>
                      <a:pt x="631280" y="617614"/>
                    </a:lnTo>
                    <a:lnTo>
                      <a:pt x="632857" y="618139"/>
                    </a:lnTo>
                    <a:lnTo>
                      <a:pt x="635485" y="620242"/>
                    </a:lnTo>
                    <a:lnTo>
                      <a:pt x="639690" y="622344"/>
                    </a:lnTo>
                    <a:lnTo>
                      <a:pt x="645472" y="626024"/>
                    </a:lnTo>
                    <a:lnTo>
                      <a:pt x="652831" y="629178"/>
                    </a:lnTo>
                    <a:lnTo>
                      <a:pt x="661766" y="632857"/>
                    </a:lnTo>
                    <a:lnTo>
                      <a:pt x="670702" y="635485"/>
                    </a:lnTo>
                    <a:lnTo>
                      <a:pt x="681215" y="637588"/>
                    </a:lnTo>
                    <a:lnTo>
                      <a:pt x="692779" y="639690"/>
                    </a:lnTo>
                    <a:lnTo>
                      <a:pt x="705394" y="640216"/>
                    </a:lnTo>
                    <a:lnTo>
                      <a:pt x="718009" y="639690"/>
                    </a:lnTo>
                    <a:lnTo>
                      <a:pt x="732726" y="637588"/>
                    </a:lnTo>
                    <a:lnTo>
                      <a:pt x="746918" y="633383"/>
                    </a:lnTo>
                    <a:lnTo>
                      <a:pt x="762162" y="627601"/>
                    </a:lnTo>
                    <a:lnTo>
                      <a:pt x="778456" y="620242"/>
                    </a:lnTo>
                    <a:lnTo>
                      <a:pt x="794225" y="609204"/>
                    </a:lnTo>
                    <a:lnTo>
                      <a:pt x="807891" y="627601"/>
                    </a:lnTo>
                    <a:lnTo>
                      <a:pt x="789494" y="640216"/>
                    </a:lnTo>
                    <a:lnTo>
                      <a:pt x="770572" y="649677"/>
                    </a:lnTo>
                    <a:lnTo>
                      <a:pt x="752700" y="656510"/>
                    </a:lnTo>
                    <a:lnTo>
                      <a:pt x="735880" y="660715"/>
                    </a:lnTo>
                    <a:lnTo>
                      <a:pt x="720111" y="663343"/>
                    </a:lnTo>
                    <a:lnTo>
                      <a:pt x="704868" y="663869"/>
                    </a:lnTo>
                    <a:lnTo>
                      <a:pt x="689625" y="663343"/>
                    </a:lnTo>
                    <a:lnTo>
                      <a:pt x="675958" y="660715"/>
                    </a:lnTo>
                    <a:lnTo>
                      <a:pt x="663869" y="658087"/>
                    </a:lnTo>
                    <a:lnTo>
                      <a:pt x="652831" y="653882"/>
                    </a:lnTo>
                    <a:lnTo>
                      <a:pt x="642844" y="650728"/>
                    </a:lnTo>
                    <a:lnTo>
                      <a:pt x="634434" y="645998"/>
                    </a:lnTo>
                    <a:lnTo>
                      <a:pt x="627601" y="642844"/>
                    </a:lnTo>
                    <a:lnTo>
                      <a:pt x="622870" y="639690"/>
                    </a:lnTo>
                    <a:lnTo>
                      <a:pt x="619191" y="637062"/>
                    </a:lnTo>
                    <a:lnTo>
                      <a:pt x="617614" y="636011"/>
                    </a:lnTo>
                    <a:lnTo>
                      <a:pt x="597114" y="623396"/>
                    </a:lnTo>
                    <a:lnTo>
                      <a:pt x="577140" y="613934"/>
                    </a:lnTo>
                    <a:lnTo>
                      <a:pt x="557692" y="607101"/>
                    </a:lnTo>
                    <a:lnTo>
                      <a:pt x="538769" y="602896"/>
                    </a:lnTo>
                    <a:lnTo>
                      <a:pt x="520898" y="600794"/>
                    </a:lnTo>
                    <a:lnTo>
                      <a:pt x="504078" y="600794"/>
                    </a:lnTo>
                    <a:lnTo>
                      <a:pt x="488309" y="602371"/>
                    </a:lnTo>
                    <a:lnTo>
                      <a:pt x="473592" y="604999"/>
                    </a:lnTo>
                    <a:lnTo>
                      <a:pt x="460451" y="608152"/>
                    </a:lnTo>
                    <a:lnTo>
                      <a:pt x="448361" y="612357"/>
                    </a:lnTo>
                    <a:lnTo>
                      <a:pt x="437323" y="616562"/>
                    </a:lnTo>
                    <a:lnTo>
                      <a:pt x="428913" y="620767"/>
                    </a:lnTo>
                    <a:lnTo>
                      <a:pt x="421554" y="624973"/>
                    </a:lnTo>
                    <a:lnTo>
                      <a:pt x="416298" y="628652"/>
                    </a:lnTo>
                    <a:lnTo>
                      <a:pt x="412093" y="631280"/>
                    </a:lnTo>
                    <a:lnTo>
                      <a:pt x="410516" y="632857"/>
                    </a:lnTo>
                    <a:lnTo>
                      <a:pt x="391593" y="645472"/>
                    </a:lnTo>
                    <a:lnTo>
                      <a:pt x="373196" y="654933"/>
                    </a:lnTo>
                    <a:lnTo>
                      <a:pt x="355325" y="661241"/>
                    </a:lnTo>
                    <a:lnTo>
                      <a:pt x="338505" y="665971"/>
                    </a:lnTo>
                    <a:lnTo>
                      <a:pt x="322210" y="668074"/>
                    </a:lnTo>
                    <a:lnTo>
                      <a:pt x="306967" y="669125"/>
                    </a:lnTo>
                    <a:lnTo>
                      <a:pt x="291724" y="668074"/>
                    </a:lnTo>
                    <a:lnTo>
                      <a:pt x="278583" y="665971"/>
                    </a:lnTo>
                    <a:lnTo>
                      <a:pt x="266493" y="663343"/>
                    </a:lnTo>
                    <a:lnTo>
                      <a:pt x="255455" y="659138"/>
                    </a:lnTo>
                    <a:lnTo>
                      <a:pt x="245468" y="655459"/>
                    </a:lnTo>
                    <a:lnTo>
                      <a:pt x="237058" y="651254"/>
                    </a:lnTo>
                    <a:lnTo>
                      <a:pt x="230225" y="648100"/>
                    </a:lnTo>
                    <a:lnTo>
                      <a:pt x="224969" y="644421"/>
                    </a:lnTo>
                    <a:lnTo>
                      <a:pt x="221815" y="641793"/>
                    </a:lnTo>
                    <a:lnTo>
                      <a:pt x="220238" y="641267"/>
                    </a:lnTo>
                    <a:lnTo>
                      <a:pt x="199739" y="628652"/>
                    </a:lnTo>
                    <a:lnTo>
                      <a:pt x="179239" y="618139"/>
                    </a:lnTo>
                    <a:lnTo>
                      <a:pt x="159791" y="611306"/>
                    </a:lnTo>
                    <a:lnTo>
                      <a:pt x="141394" y="607101"/>
                    </a:lnTo>
                    <a:lnTo>
                      <a:pt x="124574" y="604999"/>
                    </a:lnTo>
                    <a:lnTo>
                      <a:pt x="107754" y="604999"/>
                    </a:lnTo>
                    <a:lnTo>
                      <a:pt x="91459" y="605524"/>
                    </a:lnTo>
                    <a:lnTo>
                      <a:pt x="77267" y="608152"/>
                    </a:lnTo>
                    <a:lnTo>
                      <a:pt x="64652" y="612357"/>
                    </a:lnTo>
                    <a:lnTo>
                      <a:pt x="52563" y="616562"/>
                    </a:lnTo>
                    <a:lnTo>
                      <a:pt x="41524" y="620767"/>
                    </a:lnTo>
                    <a:lnTo>
                      <a:pt x="33114" y="624973"/>
                    </a:lnTo>
                    <a:lnTo>
                      <a:pt x="25230" y="629178"/>
                    </a:lnTo>
                    <a:lnTo>
                      <a:pt x="20499" y="632857"/>
                    </a:lnTo>
                    <a:lnTo>
                      <a:pt x="16294" y="635485"/>
                    </a:lnTo>
                    <a:lnTo>
                      <a:pt x="14717" y="637062"/>
                    </a:lnTo>
                    <a:lnTo>
                      <a:pt x="0" y="618139"/>
                    </a:lnTo>
                    <a:lnTo>
                      <a:pt x="1577" y="617614"/>
                    </a:lnTo>
                    <a:lnTo>
                      <a:pt x="5256" y="614986"/>
                    </a:lnTo>
                    <a:lnTo>
                      <a:pt x="11038" y="610781"/>
                    </a:lnTo>
                    <a:lnTo>
                      <a:pt x="18922" y="606576"/>
                    </a:lnTo>
                    <a:lnTo>
                      <a:pt x="28909" y="601319"/>
                    </a:lnTo>
                    <a:lnTo>
                      <a:pt x="40473" y="596589"/>
                    </a:lnTo>
                    <a:lnTo>
                      <a:pt x="54139" y="591332"/>
                    </a:lnTo>
                    <a:lnTo>
                      <a:pt x="69383" y="587127"/>
                    </a:lnTo>
                    <a:lnTo>
                      <a:pt x="86203" y="583448"/>
                    </a:lnTo>
                    <a:lnTo>
                      <a:pt x="104074" y="581871"/>
                    </a:lnTo>
                    <a:lnTo>
                      <a:pt x="123522" y="582922"/>
                    </a:lnTo>
                    <a:lnTo>
                      <a:pt x="144022" y="584499"/>
                    </a:lnTo>
                    <a:lnTo>
                      <a:pt x="165047" y="589756"/>
                    </a:lnTo>
                    <a:lnTo>
                      <a:pt x="187124" y="597114"/>
                    </a:lnTo>
                    <a:lnTo>
                      <a:pt x="209726" y="608152"/>
                    </a:lnTo>
                    <a:lnTo>
                      <a:pt x="233379" y="622344"/>
                    </a:lnTo>
                    <a:lnTo>
                      <a:pt x="235481" y="623396"/>
                    </a:lnTo>
                    <a:lnTo>
                      <a:pt x="237584" y="624973"/>
                    </a:lnTo>
                    <a:lnTo>
                      <a:pt x="241789" y="627601"/>
                    </a:lnTo>
                    <a:lnTo>
                      <a:pt x="248096" y="631280"/>
                    </a:lnTo>
                    <a:lnTo>
                      <a:pt x="255455" y="634434"/>
                    </a:lnTo>
                    <a:lnTo>
                      <a:pt x="263865" y="637062"/>
                    </a:lnTo>
                    <a:lnTo>
                      <a:pt x="273327" y="640216"/>
                    </a:lnTo>
                    <a:lnTo>
                      <a:pt x="283314" y="642844"/>
                    </a:lnTo>
                    <a:lnTo>
                      <a:pt x="295403" y="644421"/>
                    </a:lnTo>
                    <a:lnTo>
                      <a:pt x="306967" y="645472"/>
                    </a:lnTo>
                    <a:lnTo>
                      <a:pt x="320633" y="644421"/>
                    </a:lnTo>
                    <a:lnTo>
                      <a:pt x="334825" y="641793"/>
                    </a:lnTo>
                    <a:lnTo>
                      <a:pt x="349543" y="638639"/>
                    </a:lnTo>
                    <a:lnTo>
                      <a:pt x="364786" y="632857"/>
                    </a:lnTo>
                    <a:lnTo>
                      <a:pt x="380030" y="624447"/>
                    </a:lnTo>
                    <a:lnTo>
                      <a:pt x="395798" y="613934"/>
                    </a:lnTo>
                    <a:lnTo>
                      <a:pt x="397375" y="613409"/>
                    </a:lnTo>
                    <a:lnTo>
                      <a:pt x="401055" y="610781"/>
                    </a:lnTo>
                    <a:lnTo>
                      <a:pt x="406837" y="606576"/>
                    </a:lnTo>
                    <a:lnTo>
                      <a:pt x="415247" y="602371"/>
                    </a:lnTo>
                    <a:lnTo>
                      <a:pt x="425759" y="597114"/>
                    </a:lnTo>
                    <a:lnTo>
                      <a:pt x="437323" y="591332"/>
                    </a:lnTo>
                    <a:lnTo>
                      <a:pt x="450989" y="587127"/>
                    </a:lnTo>
                    <a:lnTo>
                      <a:pt x="466233" y="582922"/>
                    </a:lnTo>
                    <a:lnTo>
                      <a:pt x="483053" y="579243"/>
                    </a:lnTo>
                    <a:close/>
                    <a:moveTo>
                      <a:pt x="641267" y="474643"/>
                    </a:moveTo>
                    <a:lnTo>
                      <a:pt x="633382" y="476220"/>
                    </a:lnTo>
                    <a:lnTo>
                      <a:pt x="627600" y="480425"/>
                    </a:lnTo>
                    <a:lnTo>
                      <a:pt x="623395" y="486207"/>
                    </a:lnTo>
                    <a:lnTo>
                      <a:pt x="621818" y="494091"/>
                    </a:lnTo>
                    <a:lnTo>
                      <a:pt x="623395" y="501450"/>
                    </a:lnTo>
                    <a:lnTo>
                      <a:pt x="627600" y="507758"/>
                    </a:lnTo>
                    <a:lnTo>
                      <a:pt x="633382" y="511963"/>
                    </a:lnTo>
                    <a:lnTo>
                      <a:pt x="641267" y="513539"/>
                    </a:lnTo>
                    <a:lnTo>
                      <a:pt x="648625" y="511963"/>
                    </a:lnTo>
                    <a:lnTo>
                      <a:pt x="654933" y="507758"/>
                    </a:lnTo>
                    <a:lnTo>
                      <a:pt x="659138" y="501450"/>
                    </a:lnTo>
                    <a:lnTo>
                      <a:pt x="660715" y="494091"/>
                    </a:lnTo>
                    <a:lnTo>
                      <a:pt x="659138" y="486207"/>
                    </a:lnTo>
                    <a:lnTo>
                      <a:pt x="654933" y="480425"/>
                    </a:lnTo>
                    <a:lnTo>
                      <a:pt x="648625" y="476220"/>
                    </a:lnTo>
                    <a:close/>
                    <a:moveTo>
                      <a:pt x="76216" y="393170"/>
                    </a:moveTo>
                    <a:lnTo>
                      <a:pt x="107754" y="393170"/>
                    </a:lnTo>
                    <a:lnTo>
                      <a:pt x="107754" y="424708"/>
                    </a:lnTo>
                    <a:lnTo>
                      <a:pt x="76216" y="424708"/>
                    </a:lnTo>
                    <a:close/>
                    <a:moveTo>
                      <a:pt x="35743" y="305390"/>
                    </a:moveTo>
                    <a:lnTo>
                      <a:pt x="138766" y="305390"/>
                    </a:lnTo>
                    <a:lnTo>
                      <a:pt x="150855" y="305390"/>
                    </a:lnTo>
                    <a:lnTo>
                      <a:pt x="152958" y="316954"/>
                    </a:lnTo>
                    <a:lnTo>
                      <a:pt x="185552" y="480425"/>
                    </a:lnTo>
                    <a:lnTo>
                      <a:pt x="550859" y="480425"/>
                    </a:lnTo>
                    <a:lnTo>
                      <a:pt x="576089" y="420503"/>
                    </a:lnTo>
                    <a:lnTo>
                      <a:pt x="749546" y="420503"/>
                    </a:lnTo>
                    <a:lnTo>
                      <a:pt x="695229" y="582075"/>
                    </a:lnTo>
                    <a:lnTo>
                      <a:pt x="705394" y="582922"/>
                    </a:lnTo>
                    <a:lnTo>
                      <a:pt x="718009" y="581871"/>
                    </a:lnTo>
                    <a:lnTo>
                      <a:pt x="732726" y="579242"/>
                    </a:lnTo>
                    <a:lnTo>
                      <a:pt x="746918" y="576089"/>
                    </a:lnTo>
                    <a:lnTo>
                      <a:pt x="762162" y="570307"/>
                    </a:lnTo>
                    <a:lnTo>
                      <a:pt x="778456" y="561897"/>
                    </a:lnTo>
                    <a:lnTo>
                      <a:pt x="794225" y="551384"/>
                    </a:lnTo>
                    <a:lnTo>
                      <a:pt x="807891" y="569256"/>
                    </a:lnTo>
                    <a:lnTo>
                      <a:pt x="789494" y="581871"/>
                    </a:lnTo>
                    <a:lnTo>
                      <a:pt x="770572" y="591332"/>
                    </a:lnTo>
                    <a:lnTo>
                      <a:pt x="752700" y="598165"/>
                    </a:lnTo>
                    <a:lnTo>
                      <a:pt x="735880" y="602370"/>
                    </a:lnTo>
                    <a:lnTo>
                      <a:pt x="720111" y="604998"/>
                    </a:lnTo>
                    <a:lnTo>
                      <a:pt x="704868" y="605524"/>
                    </a:lnTo>
                    <a:lnTo>
                      <a:pt x="689625" y="604998"/>
                    </a:lnTo>
                    <a:lnTo>
                      <a:pt x="687626" y="604691"/>
                    </a:lnTo>
                    <a:lnTo>
                      <a:pt x="687522" y="604999"/>
                    </a:lnTo>
                    <a:lnTo>
                      <a:pt x="675958" y="602896"/>
                    </a:lnTo>
                    <a:lnTo>
                      <a:pt x="675938" y="602890"/>
                    </a:lnTo>
                    <a:lnTo>
                      <a:pt x="663869" y="599742"/>
                    </a:lnTo>
                    <a:lnTo>
                      <a:pt x="652831" y="596588"/>
                    </a:lnTo>
                    <a:lnTo>
                      <a:pt x="642844" y="592909"/>
                    </a:lnTo>
                    <a:lnTo>
                      <a:pt x="634434" y="588704"/>
                    </a:lnTo>
                    <a:lnTo>
                      <a:pt x="627601" y="585550"/>
                    </a:lnTo>
                    <a:lnTo>
                      <a:pt x="622870" y="581871"/>
                    </a:lnTo>
                    <a:lnTo>
                      <a:pt x="619191" y="579242"/>
                    </a:lnTo>
                    <a:lnTo>
                      <a:pt x="617614" y="578717"/>
                    </a:lnTo>
                    <a:lnTo>
                      <a:pt x="597114" y="566102"/>
                    </a:lnTo>
                    <a:lnTo>
                      <a:pt x="577140" y="556640"/>
                    </a:lnTo>
                    <a:lnTo>
                      <a:pt x="564993" y="551716"/>
                    </a:lnTo>
                    <a:lnTo>
                      <a:pt x="562423" y="550859"/>
                    </a:lnTo>
                    <a:lnTo>
                      <a:pt x="540346" y="545603"/>
                    </a:lnTo>
                    <a:lnTo>
                      <a:pt x="520372" y="544026"/>
                    </a:lnTo>
                    <a:lnTo>
                      <a:pt x="500924" y="544026"/>
                    </a:lnTo>
                    <a:lnTo>
                      <a:pt x="483052" y="545603"/>
                    </a:lnTo>
                    <a:lnTo>
                      <a:pt x="468134" y="548400"/>
                    </a:lnTo>
                    <a:lnTo>
                      <a:pt x="460451" y="550859"/>
                    </a:lnTo>
                    <a:lnTo>
                      <a:pt x="448361" y="555064"/>
                    </a:lnTo>
                    <a:lnTo>
                      <a:pt x="437323" y="559269"/>
                    </a:lnTo>
                    <a:lnTo>
                      <a:pt x="428913" y="563474"/>
                    </a:lnTo>
                    <a:lnTo>
                      <a:pt x="421554" y="567679"/>
                    </a:lnTo>
                    <a:lnTo>
                      <a:pt x="416298" y="570832"/>
                    </a:lnTo>
                    <a:lnTo>
                      <a:pt x="412093" y="573461"/>
                    </a:lnTo>
                    <a:lnTo>
                      <a:pt x="410516" y="575037"/>
                    </a:lnTo>
                    <a:lnTo>
                      <a:pt x="391593" y="587127"/>
                    </a:lnTo>
                    <a:lnTo>
                      <a:pt x="373196" y="596588"/>
                    </a:lnTo>
                    <a:lnTo>
                      <a:pt x="355325" y="602896"/>
                    </a:lnTo>
                    <a:lnTo>
                      <a:pt x="352465" y="603789"/>
                    </a:lnTo>
                    <a:lnTo>
                      <a:pt x="349542" y="604999"/>
                    </a:lnTo>
                    <a:lnTo>
                      <a:pt x="346529" y="605644"/>
                    </a:lnTo>
                    <a:lnTo>
                      <a:pt x="338505" y="608152"/>
                    </a:lnTo>
                    <a:lnTo>
                      <a:pt x="330802" y="608897"/>
                    </a:lnTo>
                    <a:lnTo>
                      <a:pt x="320633" y="610781"/>
                    </a:lnTo>
                    <a:lnTo>
                      <a:pt x="306967" y="611306"/>
                    </a:lnTo>
                    <a:lnTo>
                      <a:pt x="295403" y="610781"/>
                    </a:lnTo>
                    <a:lnTo>
                      <a:pt x="283313" y="609204"/>
                    </a:lnTo>
                    <a:lnTo>
                      <a:pt x="273326" y="606576"/>
                    </a:lnTo>
                    <a:lnTo>
                      <a:pt x="271516" y="605872"/>
                    </a:lnTo>
                    <a:lnTo>
                      <a:pt x="266493" y="604998"/>
                    </a:lnTo>
                    <a:lnTo>
                      <a:pt x="255459" y="600795"/>
                    </a:lnTo>
                    <a:lnTo>
                      <a:pt x="255455" y="600794"/>
                    </a:lnTo>
                    <a:lnTo>
                      <a:pt x="255451" y="600792"/>
                    </a:lnTo>
                    <a:lnTo>
                      <a:pt x="245468" y="597114"/>
                    </a:lnTo>
                    <a:lnTo>
                      <a:pt x="237058" y="592909"/>
                    </a:lnTo>
                    <a:lnTo>
                      <a:pt x="230225" y="589755"/>
                    </a:lnTo>
                    <a:lnTo>
                      <a:pt x="224969" y="586076"/>
                    </a:lnTo>
                    <a:lnTo>
                      <a:pt x="221815" y="583447"/>
                    </a:lnTo>
                    <a:lnTo>
                      <a:pt x="220238" y="582922"/>
                    </a:lnTo>
                    <a:lnTo>
                      <a:pt x="199739" y="570307"/>
                    </a:lnTo>
                    <a:lnTo>
                      <a:pt x="179239" y="560845"/>
                    </a:lnTo>
                    <a:lnTo>
                      <a:pt x="164348" y="555613"/>
                    </a:lnTo>
                    <a:lnTo>
                      <a:pt x="152432" y="552436"/>
                    </a:lnTo>
                    <a:lnTo>
                      <a:pt x="138240" y="549808"/>
                    </a:lnTo>
                    <a:lnTo>
                      <a:pt x="123522" y="548231"/>
                    </a:lnTo>
                    <a:lnTo>
                      <a:pt x="109330" y="548231"/>
                    </a:lnTo>
                    <a:lnTo>
                      <a:pt x="95664" y="548757"/>
                    </a:lnTo>
                    <a:lnTo>
                      <a:pt x="83049" y="550859"/>
                    </a:lnTo>
                    <a:lnTo>
                      <a:pt x="73187" y="552574"/>
                    </a:lnTo>
                    <a:lnTo>
                      <a:pt x="64652" y="555064"/>
                    </a:lnTo>
                    <a:lnTo>
                      <a:pt x="52563" y="559269"/>
                    </a:lnTo>
                    <a:lnTo>
                      <a:pt x="41524" y="563474"/>
                    </a:lnTo>
                    <a:lnTo>
                      <a:pt x="33114" y="567679"/>
                    </a:lnTo>
                    <a:lnTo>
                      <a:pt x="25230" y="571884"/>
                    </a:lnTo>
                    <a:lnTo>
                      <a:pt x="20499" y="575037"/>
                    </a:lnTo>
                    <a:lnTo>
                      <a:pt x="16294" y="577666"/>
                    </a:lnTo>
                    <a:lnTo>
                      <a:pt x="14717" y="578717"/>
                    </a:lnTo>
                    <a:lnTo>
                      <a:pt x="0" y="560845"/>
                    </a:lnTo>
                    <a:lnTo>
                      <a:pt x="1577" y="559794"/>
                    </a:lnTo>
                    <a:lnTo>
                      <a:pt x="5256" y="557166"/>
                    </a:lnTo>
                    <a:lnTo>
                      <a:pt x="11038" y="552961"/>
                    </a:lnTo>
                    <a:lnTo>
                      <a:pt x="18922" y="548756"/>
                    </a:lnTo>
                    <a:lnTo>
                      <a:pt x="23653" y="546515"/>
                    </a:lnTo>
                    <a:lnTo>
                      <a:pt x="23653" y="480425"/>
                    </a:lnTo>
                    <a:lnTo>
                      <a:pt x="155463" y="480425"/>
                    </a:lnTo>
                    <a:lnTo>
                      <a:pt x="126151" y="334825"/>
                    </a:lnTo>
                    <a:lnTo>
                      <a:pt x="35743" y="334825"/>
                    </a:lnTo>
                    <a:close/>
                    <a:moveTo>
                      <a:pt x="392180" y="285294"/>
                    </a:moveTo>
                    <a:lnTo>
                      <a:pt x="391068" y="285942"/>
                    </a:lnTo>
                    <a:lnTo>
                      <a:pt x="384761" y="287519"/>
                    </a:lnTo>
                    <a:lnTo>
                      <a:pt x="381607" y="287519"/>
                    </a:lnTo>
                    <a:lnTo>
                      <a:pt x="374774" y="286468"/>
                    </a:lnTo>
                    <a:lnTo>
                      <a:pt x="371956" y="285818"/>
                    </a:lnTo>
                    <a:lnTo>
                      <a:pt x="327694" y="322210"/>
                    </a:lnTo>
                    <a:lnTo>
                      <a:pt x="436413" y="322210"/>
                    </a:lnTo>
                    <a:close/>
                    <a:moveTo>
                      <a:pt x="734566" y="196725"/>
                    </a:moveTo>
                    <a:lnTo>
                      <a:pt x="690654" y="216383"/>
                    </a:lnTo>
                    <a:lnTo>
                      <a:pt x="760099" y="251811"/>
                    </a:lnTo>
                    <a:close/>
                    <a:moveTo>
                      <a:pt x="625147" y="151317"/>
                    </a:moveTo>
                    <a:lnTo>
                      <a:pt x="578800" y="159320"/>
                    </a:lnTo>
                    <a:lnTo>
                      <a:pt x="651775" y="196548"/>
                    </a:lnTo>
                    <a:close/>
                    <a:moveTo>
                      <a:pt x="706970" y="137189"/>
                    </a:moveTo>
                    <a:lnTo>
                      <a:pt x="637617" y="149164"/>
                    </a:lnTo>
                    <a:lnTo>
                      <a:pt x="672069" y="206902"/>
                    </a:lnTo>
                    <a:lnTo>
                      <a:pt x="677207" y="209522"/>
                    </a:lnTo>
                    <a:lnTo>
                      <a:pt x="729695" y="186217"/>
                    </a:lnTo>
                    <a:close/>
                    <a:moveTo>
                      <a:pt x="718402" y="133474"/>
                    </a:moveTo>
                    <a:lnTo>
                      <a:pt x="740550" y="181397"/>
                    </a:lnTo>
                    <a:lnTo>
                      <a:pt x="795738" y="156893"/>
                    </a:lnTo>
                    <a:close/>
                    <a:moveTo>
                      <a:pt x="527424" y="108542"/>
                    </a:moveTo>
                    <a:lnTo>
                      <a:pt x="492743" y="115417"/>
                    </a:lnTo>
                    <a:lnTo>
                      <a:pt x="549719" y="144484"/>
                    </a:lnTo>
                    <a:close/>
                    <a:moveTo>
                      <a:pt x="608374" y="100157"/>
                    </a:moveTo>
                    <a:lnTo>
                      <a:pt x="630807" y="137751"/>
                    </a:lnTo>
                    <a:lnTo>
                      <a:pt x="695756" y="126617"/>
                    </a:lnTo>
                    <a:close/>
                    <a:moveTo>
                      <a:pt x="592384" y="95664"/>
                    </a:moveTo>
                    <a:lnTo>
                      <a:pt x="539867" y="106075"/>
                    </a:lnTo>
                    <a:lnTo>
                      <a:pt x="566627" y="148753"/>
                    </a:lnTo>
                    <a:lnTo>
                      <a:pt x="618412" y="139876"/>
                    </a:lnTo>
                    <a:close/>
                    <a:moveTo>
                      <a:pt x="438507" y="74146"/>
                    </a:moveTo>
                    <a:lnTo>
                      <a:pt x="418308" y="77444"/>
                    </a:lnTo>
                    <a:lnTo>
                      <a:pt x="455576" y="96456"/>
                    </a:lnTo>
                    <a:close/>
                    <a:moveTo>
                      <a:pt x="519230" y="73163"/>
                    </a:moveTo>
                    <a:lnTo>
                      <a:pt x="533091" y="95268"/>
                    </a:lnTo>
                    <a:lnTo>
                      <a:pt x="569594" y="88414"/>
                    </a:lnTo>
                    <a:close/>
                    <a:moveTo>
                      <a:pt x="493061" y="65239"/>
                    </a:moveTo>
                    <a:lnTo>
                      <a:pt x="451927" y="71955"/>
                    </a:lnTo>
                    <a:lnTo>
                      <a:pt x="477797" y="105651"/>
                    </a:lnTo>
                    <a:lnTo>
                      <a:pt x="520641" y="97606"/>
                    </a:lnTo>
                    <a:lnTo>
                      <a:pt x="502298" y="68036"/>
                    </a:lnTo>
                    <a:close/>
                    <a:moveTo>
                      <a:pt x="432749" y="46976"/>
                    </a:moveTo>
                    <a:lnTo>
                      <a:pt x="443842" y="61425"/>
                    </a:lnTo>
                    <a:lnTo>
                      <a:pt x="467785" y="57585"/>
                    </a:lnTo>
                    <a:close/>
                    <a:moveTo>
                      <a:pt x="380029" y="31012"/>
                    </a:moveTo>
                    <a:lnTo>
                      <a:pt x="370568" y="53088"/>
                    </a:lnTo>
                    <a:lnTo>
                      <a:pt x="400527" y="68372"/>
                    </a:lnTo>
                    <a:lnTo>
                      <a:pt x="430422" y="63578"/>
                    </a:lnTo>
                    <a:lnTo>
                      <a:pt x="413189" y="41053"/>
                    </a:lnTo>
                    <a:close/>
                    <a:moveTo>
                      <a:pt x="364786" y="0"/>
                    </a:moveTo>
                    <a:lnTo>
                      <a:pt x="810518" y="134561"/>
                    </a:lnTo>
                    <a:lnTo>
                      <a:pt x="810518" y="150330"/>
                    </a:lnTo>
                    <a:lnTo>
                      <a:pt x="810519" y="150329"/>
                    </a:lnTo>
                    <a:lnTo>
                      <a:pt x="814724" y="160842"/>
                    </a:lnTo>
                    <a:lnTo>
                      <a:pt x="745394" y="191878"/>
                    </a:lnTo>
                    <a:lnTo>
                      <a:pt x="774776" y="255456"/>
                    </a:lnTo>
                    <a:lnTo>
                      <a:pt x="770465" y="257099"/>
                    </a:lnTo>
                    <a:lnTo>
                      <a:pt x="810518" y="277532"/>
                    </a:lnTo>
                    <a:lnTo>
                      <a:pt x="810518" y="305916"/>
                    </a:lnTo>
                    <a:lnTo>
                      <a:pt x="384760" y="89725"/>
                    </a:lnTo>
                    <a:lnTo>
                      <a:pt x="384760" y="151855"/>
                    </a:lnTo>
                    <a:lnTo>
                      <a:pt x="388439" y="152958"/>
                    </a:lnTo>
                    <a:lnTo>
                      <a:pt x="392644" y="155586"/>
                    </a:lnTo>
                    <a:lnTo>
                      <a:pt x="396849" y="158740"/>
                    </a:lnTo>
                    <a:lnTo>
                      <a:pt x="400003" y="162945"/>
                    </a:lnTo>
                    <a:lnTo>
                      <a:pt x="402631" y="167150"/>
                    </a:lnTo>
                    <a:lnTo>
                      <a:pt x="404208" y="172406"/>
                    </a:lnTo>
                    <a:lnTo>
                      <a:pt x="405259" y="178188"/>
                    </a:lnTo>
                    <a:lnTo>
                      <a:pt x="404208" y="184496"/>
                    </a:lnTo>
                    <a:lnTo>
                      <a:pt x="402631" y="189226"/>
                    </a:lnTo>
                    <a:lnTo>
                      <a:pt x="400003" y="193431"/>
                    </a:lnTo>
                    <a:lnTo>
                      <a:pt x="396849" y="197636"/>
                    </a:lnTo>
                    <a:lnTo>
                      <a:pt x="392644" y="201316"/>
                    </a:lnTo>
                    <a:lnTo>
                      <a:pt x="388439" y="203944"/>
                    </a:lnTo>
                    <a:lnTo>
                      <a:pt x="387213" y="204312"/>
                    </a:lnTo>
                    <a:lnTo>
                      <a:pt x="386863" y="215508"/>
                    </a:lnTo>
                    <a:lnTo>
                      <a:pt x="381607" y="227598"/>
                    </a:lnTo>
                    <a:lnTo>
                      <a:pt x="376351" y="234956"/>
                    </a:lnTo>
                    <a:lnTo>
                      <a:pt x="373197" y="237585"/>
                    </a:lnTo>
                    <a:lnTo>
                      <a:pt x="368992" y="241264"/>
                    </a:lnTo>
                    <a:lnTo>
                      <a:pt x="366364" y="244418"/>
                    </a:lnTo>
                    <a:lnTo>
                      <a:pt x="364787" y="248623"/>
                    </a:lnTo>
                    <a:lnTo>
                      <a:pt x="363735" y="252828"/>
                    </a:lnTo>
                    <a:lnTo>
                      <a:pt x="363735" y="255982"/>
                    </a:lnTo>
                    <a:lnTo>
                      <a:pt x="365312" y="259661"/>
                    </a:lnTo>
                    <a:lnTo>
                      <a:pt x="366364" y="262815"/>
                    </a:lnTo>
                    <a:lnTo>
                      <a:pt x="368992" y="265443"/>
                    </a:lnTo>
                    <a:lnTo>
                      <a:pt x="371620" y="268071"/>
                    </a:lnTo>
                    <a:lnTo>
                      <a:pt x="374774" y="269122"/>
                    </a:lnTo>
                    <a:lnTo>
                      <a:pt x="377927" y="270699"/>
                    </a:lnTo>
                    <a:lnTo>
                      <a:pt x="381607" y="270699"/>
                    </a:lnTo>
                    <a:lnTo>
                      <a:pt x="382658" y="270699"/>
                    </a:lnTo>
                    <a:lnTo>
                      <a:pt x="385812" y="269648"/>
                    </a:lnTo>
                    <a:lnTo>
                      <a:pt x="388966" y="268071"/>
                    </a:lnTo>
                    <a:lnTo>
                      <a:pt x="392645" y="265443"/>
                    </a:lnTo>
                    <a:lnTo>
                      <a:pt x="395273" y="262289"/>
                    </a:lnTo>
                    <a:lnTo>
                      <a:pt x="395799" y="258084"/>
                    </a:lnTo>
                    <a:lnTo>
                      <a:pt x="396850" y="252828"/>
                    </a:lnTo>
                    <a:lnTo>
                      <a:pt x="396850" y="247572"/>
                    </a:lnTo>
                    <a:lnTo>
                      <a:pt x="397376" y="244418"/>
                    </a:lnTo>
                    <a:lnTo>
                      <a:pt x="399478" y="241790"/>
                    </a:lnTo>
                    <a:lnTo>
                      <a:pt x="401055" y="240213"/>
                    </a:lnTo>
                    <a:lnTo>
                      <a:pt x="404209" y="239162"/>
                    </a:lnTo>
                    <a:lnTo>
                      <a:pt x="407888" y="239162"/>
                    </a:lnTo>
                    <a:lnTo>
                      <a:pt x="411042" y="241264"/>
                    </a:lnTo>
                    <a:lnTo>
                      <a:pt x="412619" y="243367"/>
                    </a:lnTo>
                    <a:lnTo>
                      <a:pt x="413670" y="247046"/>
                    </a:lnTo>
                    <a:lnTo>
                      <a:pt x="413670" y="255456"/>
                    </a:lnTo>
                    <a:lnTo>
                      <a:pt x="412093" y="262815"/>
                    </a:lnTo>
                    <a:lnTo>
                      <a:pt x="409465" y="270699"/>
                    </a:lnTo>
                    <a:lnTo>
                      <a:pt x="406711" y="274486"/>
                    </a:lnTo>
                    <a:lnTo>
                      <a:pt x="464754" y="322210"/>
                    </a:lnTo>
                    <a:lnTo>
                      <a:pt x="520897" y="322210"/>
                    </a:lnTo>
                    <a:lnTo>
                      <a:pt x="520897" y="424708"/>
                    </a:lnTo>
                    <a:lnTo>
                      <a:pt x="238635" y="424708"/>
                    </a:lnTo>
                    <a:lnTo>
                      <a:pt x="238635" y="322210"/>
                    </a:lnTo>
                    <a:lnTo>
                      <a:pt x="299973" y="322210"/>
                    </a:lnTo>
                    <a:lnTo>
                      <a:pt x="355709" y="276041"/>
                    </a:lnTo>
                    <a:lnTo>
                      <a:pt x="352697" y="272276"/>
                    </a:lnTo>
                    <a:lnTo>
                      <a:pt x="349543" y="266494"/>
                    </a:lnTo>
                    <a:lnTo>
                      <a:pt x="347966" y="259661"/>
                    </a:lnTo>
                    <a:lnTo>
                      <a:pt x="346915" y="252828"/>
                    </a:lnTo>
                    <a:lnTo>
                      <a:pt x="347966" y="244418"/>
                    </a:lnTo>
                    <a:lnTo>
                      <a:pt x="352172" y="236008"/>
                    </a:lnTo>
                    <a:lnTo>
                      <a:pt x="356902" y="228123"/>
                    </a:lnTo>
                    <a:lnTo>
                      <a:pt x="363735" y="223393"/>
                    </a:lnTo>
                    <a:lnTo>
                      <a:pt x="365312" y="221290"/>
                    </a:lnTo>
                    <a:lnTo>
                      <a:pt x="368992" y="218136"/>
                    </a:lnTo>
                    <a:lnTo>
                      <a:pt x="370569" y="211303"/>
                    </a:lnTo>
                    <a:lnTo>
                      <a:pt x="370569" y="205206"/>
                    </a:lnTo>
                    <a:lnTo>
                      <a:pt x="366363" y="203944"/>
                    </a:lnTo>
                    <a:lnTo>
                      <a:pt x="362158" y="201316"/>
                    </a:lnTo>
                    <a:lnTo>
                      <a:pt x="357953" y="197636"/>
                    </a:lnTo>
                    <a:lnTo>
                      <a:pt x="354273" y="193431"/>
                    </a:lnTo>
                    <a:lnTo>
                      <a:pt x="352171" y="189226"/>
                    </a:lnTo>
                    <a:lnTo>
                      <a:pt x="351120" y="184496"/>
                    </a:lnTo>
                    <a:lnTo>
                      <a:pt x="350068" y="178188"/>
                    </a:lnTo>
                    <a:lnTo>
                      <a:pt x="351120" y="172406"/>
                    </a:lnTo>
                    <a:lnTo>
                      <a:pt x="352171" y="167150"/>
                    </a:lnTo>
                    <a:lnTo>
                      <a:pt x="354273" y="162945"/>
                    </a:lnTo>
                    <a:lnTo>
                      <a:pt x="357953" y="158740"/>
                    </a:lnTo>
                    <a:lnTo>
                      <a:pt x="362158" y="155586"/>
                    </a:lnTo>
                    <a:lnTo>
                      <a:pt x="366363" y="152958"/>
                    </a:lnTo>
                    <a:lnTo>
                      <a:pt x="367894" y="152499"/>
                    </a:lnTo>
                    <a:lnTo>
                      <a:pt x="367450" y="80935"/>
                    </a:lnTo>
                    <a:lnTo>
                      <a:pt x="337453" y="65703"/>
                    </a:lnTo>
                    <a:close/>
                  </a:path>
                </a:pathLst>
              </a:cu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prstClr val="white"/>
                  </a:solidFill>
                </a:endParaRPr>
              </a:p>
            </p:txBody>
          </p:sp>
          <p:grpSp>
            <p:nvGrpSpPr>
              <p:cNvPr id="90" name="Group 89"/>
              <p:cNvGrpSpPr/>
              <p:nvPr/>
            </p:nvGrpSpPr>
            <p:grpSpPr>
              <a:xfrm>
                <a:off x="11058132" y="3492011"/>
                <a:ext cx="486560" cy="207353"/>
                <a:chOff x="11218811" y="5014165"/>
                <a:chExt cx="486560" cy="207353"/>
              </a:xfrm>
              <a:solidFill>
                <a:schemeClr val="bg1"/>
              </a:solidFill>
            </p:grpSpPr>
            <p:sp>
              <p:nvSpPr>
                <p:cNvPr id="91" name="Freeform 77"/>
                <p:cNvSpPr>
                  <a:spLocks/>
                </p:cNvSpPr>
                <p:nvPr/>
              </p:nvSpPr>
              <p:spPr bwMode="auto">
                <a:xfrm>
                  <a:off x="11417951" y="5014165"/>
                  <a:ext cx="34901" cy="96491"/>
                </a:xfrm>
                <a:custGeom>
                  <a:avLst/>
                  <a:gdLst>
                    <a:gd name="T0" fmla="*/ 12 w 12"/>
                    <a:gd name="T1" fmla="*/ 0 h 34"/>
                    <a:gd name="T2" fmla="*/ 12 w 12"/>
                    <a:gd name="T3" fmla="*/ 0 h 34"/>
                    <a:gd name="T4" fmla="*/ 12 w 12"/>
                    <a:gd name="T5" fmla="*/ 34 h 34"/>
                    <a:gd name="T6" fmla="*/ 7 w 12"/>
                    <a:gd name="T7" fmla="*/ 34 h 34"/>
                    <a:gd name="T8" fmla="*/ 7 w 12"/>
                    <a:gd name="T9" fmla="*/ 7 h 34"/>
                    <a:gd name="T10" fmla="*/ 4 w 12"/>
                    <a:gd name="T11" fmla="*/ 9 h 34"/>
                    <a:gd name="T12" fmla="*/ 0 w 12"/>
                    <a:gd name="T13" fmla="*/ 10 h 34"/>
                    <a:gd name="T14" fmla="*/ 0 w 12"/>
                    <a:gd name="T15" fmla="*/ 5 h 34"/>
                    <a:gd name="T16" fmla="*/ 3 w 12"/>
                    <a:gd name="T17" fmla="*/ 4 h 34"/>
                    <a:gd name="T18" fmla="*/ 5 w 12"/>
                    <a:gd name="T19" fmla="*/ 3 h 34"/>
                    <a:gd name="T20" fmla="*/ 7 w 12"/>
                    <a:gd name="T21" fmla="*/ 2 h 34"/>
                    <a:gd name="T22" fmla="*/ 10 w 12"/>
                    <a:gd name="T23" fmla="*/ 0 h 34"/>
                    <a:gd name="T24" fmla="*/ 12 w 12"/>
                    <a:gd name="T25" fmla="*/ 0 h 34"/>
                    <a:gd name="T26" fmla="*/ 12 w 12"/>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34">
                      <a:moveTo>
                        <a:pt x="12" y="0"/>
                      </a:moveTo>
                      <a:cubicBezTo>
                        <a:pt x="12" y="0"/>
                        <a:pt x="12" y="0"/>
                        <a:pt x="12" y="0"/>
                      </a:cubicBezTo>
                      <a:cubicBezTo>
                        <a:pt x="12" y="34"/>
                        <a:pt x="12" y="34"/>
                        <a:pt x="12" y="34"/>
                      </a:cubicBezTo>
                      <a:cubicBezTo>
                        <a:pt x="7" y="34"/>
                        <a:pt x="7" y="34"/>
                        <a:pt x="7" y="34"/>
                      </a:cubicBezTo>
                      <a:cubicBezTo>
                        <a:pt x="7" y="7"/>
                        <a:pt x="7" y="7"/>
                        <a:pt x="7" y="7"/>
                      </a:cubicBezTo>
                      <a:cubicBezTo>
                        <a:pt x="6" y="8"/>
                        <a:pt x="5" y="8"/>
                        <a:pt x="4" y="9"/>
                      </a:cubicBezTo>
                      <a:cubicBezTo>
                        <a:pt x="3" y="9"/>
                        <a:pt x="1" y="10"/>
                        <a:pt x="0" y="10"/>
                      </a:cubicBezTo>
                      <a:cubicBezTo>
                        <a:pt x="0" y="5"/>
                        <a:pt x="0" y="5"/>
                        <a:pt x="0" y="5"/>
                      </a:cubicBezTo>
                      <a:cubicBezTo>
                        <a:pt x="1" y="5"/>
                        <a:pt x="2" y="5"/>
                        <a:pt x="3" y="4"/>
                      </a:cubicBezTo>
                      <a:cubicBezTo>
                        <a:pt x="3" y="4"/>
                        <a:pt x="4" y="4"/>
                        <a:pt x="5" y="3"/>
                      </a:cubicBezTo>
                      <a:cubicBezTo>
                        <a:pt x="6" y="3"/>
                        <a:pt x="7" y="3"/>
                        <a:pt x="7" y="2"/>
                      </a:cubicBezTo>
                      <a:cubicBezTo>
                        <a:pt x="8" y="2"/>
                        <a:pt x="9" y="1"/>
                        <a:pt x="10" y="0"/>
                      </a:cubicBezTo>
                      <a:cubicBezTo>
                        <a:pt x="12" y="0"/>
                        <a:pt x="12" y="0"/>
                        <a:pt x="12" y="0"/>
                      </a:cubicBezTo>
                      <a:cubicBezTo>
                        <a:pt x="12" y="0"/>
                        <a:pt x="12"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2" name="Freeform 78"/>
                <p:cNvSpPr>
                  <a:spLocks noEditPoints="1"/>
                </p:cNvSpPr>
                <p:nvPr/>
              </p:nvSpPr>
              <p:spPr bwMode="auto">
                <a:xfrm>
                  <a:off x="11471329" y="5014165"/>
                  <a:ext cx="61590" cy="96491"/>
                </a:xfrm>
                <a:custGeom>
                  <a:avLst/>
                  <a:gdLst>
                    <a:gd name="T0" fmla="*/ 11 w 22"/>
                    <a:gd name="T1" fmla="*/ 4 h 34"/>
                    <a:gd name="T2" fmla="*/ 11 w 22"/>
                    <a:gd name="T3" fmla="*/ 4 h 34"/>
                    <a:gd name="T4" fmla="*/ 5 w 22"/>
                    <a:gd name="T5" fmla="*/ 18 h 34"/>
                    <a:gd name="T6" fmla="*/ 11 w 22"/>
                    <a:gd name="T7" fmla="*/ 30 h 34"/>
                    <a:gd name="T8" fmla="*/ 17 w 22"/>
                    <a:gd name="T9" fmla="*/ 17 h 34"/>
                    <a:gd name="T10" fmla="*/ 11 w 22"/>
                    <a:gd name="T11" fmla="*/ 4 h 34"/>
                    <a:gd name="T12" fmla="*/ 11 w 22"/>
                    <a:gd name="T13" fmla="*/ 34 h 34"/>
                    <a:gd name="T14" fmla="*/ 11 w 22"/>
                    <a:gd name="T15" fmla="*/ 34 h 34"/>
                    <a:gd name="T16" fmla="*/ 2 w 22"/>
                    <a:gd name="T17" fmla="*/ 30 h 34"/>
                    <a:gd name="T18" fmla="*/ 0 w 22"/>
                    <a:gd name="T19" fmla="*/ 18 h 34"/>
                    <a:gd name="T20" fmla="*/ 3 w 22"/>
                    <a:gd name="T21" fmla="*/ 4 h 34"/>
                    <a:gd name="T22" fmla="*/ 11 w 22"/>
                    <a:gd name="T23" fmla="*/ 0 h 34"/>
                    <a:gd name="T24" fmla="*/ 22 w 22"/>
                    <a:gd name="T25" fmla="*/ 17 h 34"/>
                    <a:gd name="T26" fmla="*/ 19 w 22"/>
                    <a:gd name="T27" fmla="*/ 30 h 34"/>
                    <a:gd name="T28" fmla="*/ 11 w 22"/>
                    <a:gd name="T2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34">
                      <a:moveTo>
                        <a:pt x="11" y="4"/>
                      </a:moveTo>
                      <a:cubicBezTo>
                        <a:pt x="11" y="4"/>
                        <a:pt x="11" y="4"/>
                        <a:pt x="11" y="4"/>
                      </a:cubicBezTo>
                      <a:cubicBezTo>
                        <a:pt x="7" y="4"/>
                        <a:pt x="5" y="9"/>
                        <a:pt x="5" y="18"/>
                      </a:cubicBezTo>
                      <a:cubicBezTo>
                        <a:pt x="5" y="26"/>
                        <a:pt x="7" y="30"/>
                        <a:pt x="11" y="30"/>
                      </a:cubicBezTo>
                      <a:cubicBezTo>
                        <a:pt x="15" y="30"/>
                        <a:pt x="17" y="26"/>
                        <a:pt x="17" y="17"/>
                      </a:cubicBezTo>
                      <a:cubicBezTo>
                        <a:pt x="17" y="8"/>
                        <a:pt x="15" y="4"/>
                        <a:pt x="11" y="4"/>
                      </a:cubicBezTo>
                      <a:close/>
                      <a:moveTo>
                        <a:pt x="11" y="34"/>
                      </a:moveTo>
                      <a:cubicBezTo>
                        <a:pt x="11" y="34"/>
                        <a:pt x="11" y="34"/>
                        <a:pt x="11" y="34"/>
                      </a:cubicBezTo>
                      <a:cubicBezTo>
                        <a:pt x="7" y="34"/>
                        <a:pt x="4" y="33"/>
                        <a:pt x="2" y="30"/>
                      </a:cubicBezTo>
                      <a:cubicBezTo>
                        <a:pt x="0" y="27"/>
                        <a:pt x="0" y="23"/>
                        <a:pt x="0" y="18"/>
                      </a:cubicBezTo>
                      <a:cubicBezTo>
                        <a:pt x="0" y="12"/>
                        <a:pt x="1" y="7"/>
                        <a:pt x="3" y="4"/>
                      </a:cubicBezTo>
                      <a:cubicBezTo>
                        <a:pt x="5" y="1"/>
                        <a:pt x="8" y="0"/>
                        <a:pt x="11" y="0"/>
                      </a:cubicBezTo>
                      <a:cubicBezTo>
                        <a:pt x="19" y="0"/>
                        <a:pt x="22" y="5"/>
                        <a:pt x="22" y="17"/>
                      </a:cubicBezTo>
                      <a:cubicBezTo>
                        <a:pt x="22" y="23"/>
                        <a:pt x="21" y="27"/>
                        <a:pt x="19" y="30"/>
                      </a:cubicBezTo>
                      <a:cubicBezTo>
                        <a:pt x="17" y="33"/>
                        <a:pt x="14" y="34"/>
                        <a:pt x="1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3" name="Freeform 79"/>
                <p:cNvSpPr>
                  <a:spLocks noEditPoints="1"/>
                </p:cNvSpPr>
                <p:nvPr/>
              </p:nvSpPr>
              <p:spPr bwMode="auto">
                <a:xfrm>
                  <a:off x="11547290" y="5014165"/>
                  <a:ext cx="67749" cy="96491"/>
                </a:xfrm>
                <a:custGeom>
                  <a:avLst/>
                  <a:gdLst>
                    <a:gd name="T0" fmla="*/ 12 w 23"/>
                    <a:gd name="T1" fmla="*/ 4 h 34"/>
                    <a:gd name="T2" fmla="*/ 12 w 23"/>
                    <a:gd name="T3" fmla="*/ 4 h 34"/>
                    <a:gd name="T4" fmla="*/ 6 w 23"/>
                    <a:gd name="T5" fmla="*/ 18 h 34"/>
                    <a:gd name="T6" fmla="*/ 12 w 23"/>
                    <a:gd name="T7" fmla="*/ 30 h 34"/>
                    <a:gd name="T8" fmla="*/ 17 w 23"/>
                    <a:gd name="T9" fmla="*/ 17 h 34"/>
                    <a:gd name="T10" fmla="*/ 12 w 23"/>
                    <a:gd name="T11" fmla="*/ 4 h 34"/>
                    <a:gd name="T12" fmla="*/ 11 w 23"/>
                    <a:gd name="T13" fmla="*/ 34 h 34"/>
                    <a:gd name="T14" fmla="*/ 11 w 23"/>
                    <a:gd name="T15" fmla="*/ 34 h 34"/>
                    <a:gd name="T16" fmla="*/ 3 w 23"/>
                    <a:gd name="T17" fmla="*/ 30 h 34"/>
                    <a:gd name="T18" fmla="*/ 0 w 23"/>
                    <a:gd name="T19" fmla="*/ 18 h 34"/>
                    <a:gd name="T20" fmla="*/ 3 w 23"/>
                    <a:gd name="T21" fmla="*/ 4 h 34"/>
                    <a:gd name="T22" fmla="*/ 12 w 23"/>
                    <a:gd name="T23" fmla="*/ 0 h 34"/>
                    <a:gd name="T24" fmla="*/ 23 w 23"/>
                    <a:gd name="T25" fmla="*/ 17 h 34"/>
                    <a:gd name="T26" fmla="*/ 20 w 23"/>
                    <a:gd name="T27" fmla="*/ 30 h 34"/>
                    <a:gd name="T28" fmla="*/ 11 w 23"/>
                    <a:gd name="T2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4">
                      <a:moveTo>
                        <a:pt x="12" y="4"/>
                      </a:moveTo>
                      <a:cubicBezTo>
                        <a:pt x="12" y="4"/>
                        <a:pt x="12" y="4"/>
                        <a:pt x="12" y="4"/>
                      </a:cubicBezTo>
                      <a:cubicBezTo>
                        <a:pt x="8" y="4"/>
                        <a:pt x="6" y="9"/>
                        <a:pt x="6" y="18"/>
                      </a:cubicBezTo>
                      <a:cubicBezTo>
                        <a:pt x="6" y="26"/>
                        <a:pt x="8" y="30"/>
                        <a:pt x="12" y="30"/>
                      </a:cubicBezTo>
                      <a:cubicBezTo>
                        <a:pt x="16" y="30"/>
                        <a:pt x="17" y="26"/>
                        <a:pt x="17" y="17"/>
                      </a:cubicBezTo>
                      <a:cubicBezTo>
                        <a:pt x="17" y="8"/>
                        <a:pt x="16" y="4"/>
                        <a:pt x="12" y="4"/>
                      </a:cubicBezTo>
                      <a:close/>
                      <a:moveTo>
                        <a:pt x="11" y="34"/>
                      </a:moveTo>
                      <a:cubicBezTo>
                        <a:pt x="11" y="34"/>
                        <a:pt x="11" y="34"/>
                        <a:pt x="11" y="34"/>
                      </a:cubicBezTo>
                      <a:cubicBezTo>
                        <a:pt x="8" y="34"/>
                        <a:pt x="5" y="33"/>
                        <a:pt x="3" y="30"/>
                      </a:cubicBezTo>
                      <a:cubicBezTo>
                        <a:pt x="1" y="27"/>
                        <a:pt x="0" y="23"/>
                        <a:pt x="0" y="18"/>
                      </a:cubicBezTo>
                      <a:cubicBezTo>
                        <a:pt x="0" y="12"/>
                        <a:pt x="1" y="7"/>
                        <a:pt x="3" y="4"/>
                      </a:cubicBezTo>
                      <a:cubicBezTo>
                        <a:pt x="5" y="1"/>
                        <a:pt x="8" y="0"/>
                        <a:pt x="12" y="0"/>
                      </a:cubicBezTo>
                      <a:cubicBezTo>
                        <a:pt x="19" y="0"/>
                        <a:pt x="23" y="5"/>
                        <a:pt x="23" y="17"/>
                      </a:cubicBezTo>
                      <a:cubicBezTo>
                        <a:pt x="23" y="23"/>
                        <a:pt x="22" y="27"/>
                        <a:pt x="20" y="30"/>
                      </a:cubicBezTo>
                      <a:cubicBezTo>
                        <a:pt x="18" y="33"/>
                        <a:pt x="15" y="34"/>
                        <a:pt x="1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4" name="Freeform 83"/>
                <p:cNvSpPr>
                  <a:spLocks/>
                </p:cNvSpPr>
                <p:nvPr/>
              </p:nvSpPr>
              <p:spPr bwMode="auto">
                <a:xfrm>
                  <a:off x="11467223" y="5122974"/>
                  <a:ext cx="34901" cy="94438"/>
                </a:xfrm>
                <a:custGeom>
                  <a:avLst/>
                  <a:gdLst>
                    <a:gd name="T0" fmla="*/ 12 w 12"/>
                    <a:gd name="T1" fmla="*/ 0 h 33"/>
                    <a:gd name="T2" fmla="*/ 12 w 12"/>
                    <a:gd name="T3" fmla="*/ 0 h 33"/>
                    <a:gd name="T4" fmla="*/ 12 w 12"/>
                    <a:gd name="T5" fmla="*/ 33 h 33"/>
                    <a:gd name="T6" fmla="*/ 7 w 12"/>
                    <a:gd name="T7" fmla="*/ 33 h 33"/>
                    <a:gd name="T8" fmla="*/ 7 w 12"/>
                    <a:gd name="T9" fmla="*/ 6 h 33"/>
                    <a:gd name="T10" fmla="*/ 4 w 12"/>
                    <a:gd name="T11" fmla="*/ 8 h 33"/>
                    <a:gd name="T12" fmla="*/ 0 w 12"/>
                    <a:gd name="T13" fmla="*/ 9 h 33"/>
                    <a:gd name="T14" fmla="*/ 0 w 12"/>
                    <a:gd name="T15" fmla="*/ 5 h 33"/>
                    <a:gd name="T16" fmla="*/ 2 w 12"/>
                    <a:gd name="T17" fmla="*/ 4 h 33"/>
                    <a:gd name="T18" fmla="*/ 5 w 12"/>
                    <a:gd name="T19" fmla="*/ 3 h 33"/>
                    <a:gd name="T20" fmla="*/ 7 w 12"/>
                    <a:gd name="T21" fmla="*/ 2 h 33"/>
                    <a:gd name="T22" fmla="*/ 10 w 12"/>
                    <a:gd name="T23" fmla="*/ 0 h 33"/>
                    <a:gd name="T24" fmla="*/ 12 w 12"/>
                    <a:gd name="T25" fmla="*/ 0 h 33"/>
                    <a:gd name="T26" fmla="*/ 12 w 12"/>
                    <a:gd name="T2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33">
                      <a:moveTo>
                        <a:pt x="12" y="0"/>
                      </a:moveTo>
                      <a:cubicBezTo>
                        <a:pt x="12" y="0"/>
                        <a:pt x="12" y="0"/>
                        <a:pt x="12" y="0"/>
                      </a:cubicBezTo>
                      <a:cubicBezTo>
                        <a:pt x="12" y="33"/>
                        <a:pt x="12" y="33"/>
                        <a:pt x="12" y="33"/>
                      </a:cubicBezTo>
                      <a:cubicBezTo>
                        <a:pt x="7" y="33"/>
                        <a:pt x="7" y="33"/>
                        <a:pt x="7" y="33"/>
                      </a:cubicBezTo>
                      <a:cubicBezTo>
                        <a:pt x="7" y="6"/>
                        <a:pt x="7" y="6"/>
                        <a:pt x="7" y="6"/>
                      </a:cubicBezTo>
                      <a:cubicBezTo>
                        <a:pt x="6" y="7"/>
                        <a:pt x="5" y="8"/>
                        <a:pt x="4" y="8"/>
                      </a:cubicBezTo>
                      <a:cubicBezTo>
                        <a:pt x="2" y="9"/>
                        <a:pt x="1" y="9"/>
                        <a:pt x="0" y="9"/>
                      </a:cubicBezTo>
                      <a:cubicBezTo>
                        <a:pt x="0" y="5"/>
                        <a:pt x="0" y="5"/>
                        <a:pt x="0" y="5"/>
                      </a:cubicBezTo>
                      <a:cubicBezTo>
                        <a:pt x="1" y="5"/>
                        <a:pt x="2" y="4"/>
                        <a:pt x="2" y="4"/>
                      </a:cubicBezTo>
                      <a:cubicBezTo>
                        <a:pt x="3" y="4"/>
                        <a:pt x="4" y="3"/>
                        <a:pt x="5" y="3"/>
                      </a:cubicBezTo>
                      <a:cubicBezTo>
                        <a:pt x="6" y="2"/>
                        <a:pt x="6" y="2"/>
                        <a:pt x="7" y="2"/>
                      </a:cubicBezTo>
                      <a:cubicBezTo>
                        <a:pt x="8" y="1"/>
                        <a:pt x="9" y="0"/>
                        <a:pt x="10" y="0"/>
                      </a:cubicBezTo>
                      <a:cubicBezTo>
                        <a:pt x="12" y="0"/>
                        <a:pt x="12" y="0"/>
                        <a:pt x="12" y="0"/>
                      </a:cubicBezTo>
                      <a:cubicBezTo>
                        <a:pt x="12" y="0"/>
                        <a:pt x="12"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5" name="Freeform 84"/>
                <p:cNvSpPr>
                  <a:spLocks noEditPoints="1"/>
                </p:cNvSpPr>
                <p:nvPr/>
              </p:nvSpPr>
              <p:spPr bwMode="auto">
                <a:xfrm>
                  <a:off x="11516495" y="5120921"/>
                  <a:ext cx="65696" cy="100597"/>
                </a:xfrm>
                <a:custGeom>
                  <a:avLst/>
                  <a:gdLst>
                    <a:gd name="T0" fmla="*/ 12 w 23"/>
                    <a:gd name="T1" fmla="*/ 5 h 35"/>
                    <a:gd name="T2" fmla="*/ 12 w 23"/>
                    <a:gd name="T3" fmla="*/ 5 h 35"/>
                    <a:gd name="T4" fmla="*/ 6 w 23"/>
                    <a:gd name="T5" fmla="*/ 18 h 35"/>
                    <a:gd name="T6" fmla="*/ 11 w 23"/>
                    <a:gd name="T7" fmla="*/ 31 h 35"/>
                    <a:gd name="T8" fmla="*/ 17 w 23"/>
                    <a:gd name="T9" fmla="*/ 18 h 35"/>
                    <a:gd name="T10" fmla="*/ 12 w 23"/>
                    <a:gd name="T11" fmla="*/ 5 h 35"/>
                    <a:gd name="T12" fmla="*/ 11 w 23"/>
                    <a:gd name="T13" fmla="*/ 35 h 35"/>
                    <a:gd name="T14" fmla="*/ 11 w 23"/>
                    <a:gd name="T15" fmla="*/ 35 h 35"/>
                    <a:gd name="T16" fmla="*/ 3 w 23"/>
                    <a:gd name="T17" fmla="*/ 31 h 35"/>
                    <a:gd name="T18" fmla="*/ 0 w 23"/>
                    <a:gd name="T19" fmla="*/ 18 h 35"/>
                    <a:gd name="T20" fmla="*/ 3 w 23"/>
                    <a:gd name="T21" fmla="*/ 5 h 35"/>
                    <a:gd name="T22" fmla="*/ 12 w 23"/>
                    <a:gd name="T23" fmla="*/ 0 h 35"/>
                    <a:gd name="T24" fmla="*/ 23 w 23"/>
                    <a:gd name="T25" fmla="*/ 18 h 35"/>
                    <a:gd name="T26" fmla="*/ 20 w 23"/>
                    <a:gd name="T27" fmla="*/ 31 h 35"/>
                    <a:gd name="T28" fmla="*/ 11 w 23"/>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5">
                      <a:moveTo>
                        <a:pt x="12" y="5"/>
                      </a:moveTo>
                      <a:cubicBezTo>
                        <a:pt x="12" y="5"/>
                        <a:pt x="12" y="5"/>
                        <a:pt x="12" y="5"/>
                      </a:cubicBezTo>
                      <a:cubicBezTo>
                        <a:pt x="7" y="5"/>
                        <a:pt x="6" y="9"/>
                        <a:pt x="6" y="18"/>
                      </a:cubicBezTo>
                      <a:cubicBezTo>
                        <a:pt x="6" y="27"/>
                        <a:pt x="7" y="31"/>
                        <a:pt x="11" y="31"/>
                      </a:cubicBezTo>
                      <a:cubicBezTo>
                        <a:pt x="16" y="31"/>
                        <a:pt x="17" y="26"/>
                        <a:pt x="17" y="18"/>
                      </a:cubicBezTo>
                      <a:cubicBezTo>
                        <a:pt x="17" y="9"/>
                        <a:pt x="16" y="5"/>
                        <a:pt x="12" y="5"/>
                      </a:cubicBezTo>
                      <a:close/>
                      <a:moveTo>
                        <a:pt x="11" y="35"/>
                      </a:moveTo>
                      <a:cubicBezTo>
                        <a:pt x="11" y="35"/>
                        <a:pt x="11" y="35"/>
                        <a:pt x="11" y="35"/>
                      </a:cubicBezTo>
                      <a:cubicBezTo>
                        <a:pt x="8" y="35"/>
                        <a:pt x="5" y="34"/>
                        <a:pt x="3" y="31"/>
                      </a:cubicBezTo>
                      <a:cubicBezTo>
                        <a:pt x="1" y="28"/>
                        <a:pt x="0" y="24"/>
                        <a:pt x="0" y="18"/>
                      </a:cubicBezTo>
                      <a:cubicBezTo>
                        <a:pt x="0" y="12"/>
                        <a:pt x="1" y="8"/>
                        <a:pt x="3" y="5"/>
                      </a:cubicBezTo>
                      <a:cubicBezTo>
                        <a:pt x="5" y="2"/>
                        <a:pt x="8" y="0"/>
                        <a:pt x="12" y="0"/>
                      </a:cubicBezTo>
                      <a:cubicBezTo>
                        <a:pt x="19" y="0"/>
                        <a:pt x="23" y="6"/>
                        <a:pt x="23" y="18"/>
                      </a:cubicBezTo>
                      <a:cubicBezTo>
                        <a:pt x="23" y="23"/>
                        <a:pt x="22" y="28"/>
                        <a:pt x="20" y="31"/>
                      </a:cubicBezTo>
                      <a:cubicBezTo>
                        <a:pt x="18" y="34"/>
                        <a:pt x="15" y="35"/>
                        <a:pt x="11"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6" name="Freeform 85"/>
                <p:cNvSpPr>
                  <a:spLocks/>
                </p:cNvSpPr>
                <p:nvPr/>
              </p:nvSpPr>
              <p:spPr bwMode="auto">
                <a:xfrm>
                  <a:off x="11590403" y="5122974"/>
                  <a:ext cx="34901" cy="94438"/>
                </a:xfrm>
                <a:custGeom>
                  <a:avLst/>
                  <a:gdLst>
                    <a:gd name="T0" fmla="*/ 12 w 12"/>
                    <a:gd name="T1" fmla="*/ 0 h 33"/>
                    <a:gd name="T2" fmla="*/ 12 w 12"/>
                    <a:gd name="T3" fmla="*/ 0 h 33"/>
                    <a:gd name="T4" fmla="*/ 12 w 12"/>
                    <a:gd name="T5" fmla="*/ 33 h 33"/>
                    <a:gd name="T6" fmla="*/ 7 w 12"/>
                    <a:gd name="T7" fmla="*/ 33 h 33"/>
                    <a:gd name="T8" fmla="*/ 7 w 12"/>
                    <a:gd name="T9" fmla="*/ 6 h 33"/>
                    <a:gd name="T10" fmla="*/ 4 w 12"/>
                    <a:gd name="T11" fmla="*/ 8 h 33"/>
                    <a:gd name="T12" fmla="*/ 0 w 12"/>
                    <a:gd name="T13" fmla="*/ 9 h 33"/>
                    <a:gd name="T14" fmla="*/ 0 w 12"/>
                    <a:gd name="T15" fmla="*/ 5 h 33"/>
                    <a:gd name="T16" fmla="*/ 2 w 12"/>
                    <a:gd name="T17" fmla="*/ 4 h 33"/>
                    <a:gd name="T18" fmla="*/ 5 w 12"/>
                    <a:gd name="T19" fmla="*/ 3 h 33"/>
                    <a:gd name="T20" fmla="*/ 7 w 12"/>
                    <a:gd name="T21" fmla="*/ 2 h 33"/>
                    <a:gd name="T22" fmla="*/ 10 w 12"/>
                    <a:gd name="T23" fmla="*/ 0 h 33"/>
                    <a:gd name="T24" fmla="*/ 12 w 12"/>
                    <a:gd name="T25" fmla="*/ 0 h 33"/>
                    <a:gd name="T26" fmla="*/ 12 w 12"/>
                    <a:gd name="T2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33">
                      <a:moveTo>
                        <a:pt x="12" y="0"/>
                      </a:moveTo>
                      <a:cubicBezTo>
                        <a:pt x="12" y="0"/>
                        <a:pt x="12" y="0"/>
                        <a:pt x="12" y="0"/>
                      </a:cubicBezTo>
                      <a:cubicBezTo>
                        <a:pt x="12" y="33"/>
                        <a:pt x="12" y="33"/>
                        <a:pt x="12" y="33"/>
                      </a:cubicBezTo>
                      <a:cubicBezTo>
                        <a:pt x="7" y="33"/>
                        <a:pt x="7" y="33"/>
                        <a:pt x="7" y="33"/>
                      </a:cubicBezTo>
                      <a:cubicBezTo>
                        <a:pt x="7" y="6"/>
                        <a:pt x="7" y="6"/>
                        <a:pt x="7" y="6"/>
                      </a:cubicBezTo>
                      <a:cubicBezTo>
                        <a:pt x="6" y="7"/>
                        <a:pt x="5" y="8"/>
                        <a:pt x="4" y="8"/>
                      </a:cubicBezTo>
                      <a:cubicBezTo>
                        <a:pt x="2" y="9"/>
                        <a:pt x="1" y="9"/>
                        <a:pt x="0" y="9"/>
                      </a:cubicBezTo>
                      <a:cubicBezTo>
                        <a:pt x="0" y="5"/>
                        <a:pt x="0" y="5"/>
                        <a:pt x="0" y="5"/>
                      </a:cubicBezTo>
                      <a:cubicBezTo>
                        <a:pt x="1" y="5"/>
                        <a:pt x="2" y="4"/>
                        <a:pt x="2" y="4"/>
                      </a:cubicBezTo>
                      <a:cubicBezTo>
                        <a:pt x="3" y="4"/>
                        <a:pt x="4" y="3"/>
                        <a:pt x="5" y="3"/>
                      </a:cubicBezTo>
                      <a:cubicBezTo>
                        <a:pt x="6" y="2"/>
                        <a:pt x="6" y="2"/>
                        <a:pt x="7" y="2"/>
                      </a:cubicBezTo>
                      <a:cubicBezTo>
                        <a:pt x="8" y="1"/>
                        <a:pt x="9" y="0"/>
                        <a:pt x="10" y="0"/>
                      </a:cubicBezTo>
                      <a:cubicBezTo>
                        <a:pt x="12" y="0"/>
                        <a:pt x="12" y="0"/>
                        <a:pt x="12" y="0"/>
                      </a:cubicBezTo>
                      <a:cubicBezTo>
                        <a:pt x="12" y="0"/>
                        <a:pt x="12"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7" name="Freeform 86"/>
                <p:cNvSpPr>
                  <a:spLocks noEditPoints="1"/>
                </p:cNvSpPr>
                <p:nvPr/>
              </p:nvSpPr>
              <p:spPr bwMode="auto">
                <a:xfrm>
                  <a:off x="11639675" y="5120921"/>
                  <a:ext cx="65696" cy="100597"/>
                </a:xfrm>
                <a:custGeom>
                  <a:avLst/>
                  <a:gdLst>
                    <a:gd name="T0" fmla="*/ 12 w 23"/>
                    <a:gd name="T1" fmla="*/ 5 h 35"/>
                    <a:gd name="T2" fmla="*/ 12 w 23"/>
                    <a:gd name="T3" fmla="*/ 5 h 35"/>
                    <a:gd name="T4" fmla="*/ 6 w 23"/>
                    <a:gd name="T5" fmla="*/ 18 h 35"/>
                    <a:gd name="T6" fmla="*/ 11 w 23"/>
                    <a:gd name="T7" fmla="*/ 31 h 35"/>
                    <a:gd name="T8" fmla="*/ 17 w 23"/>
                    <a:gd name="T9" fmla="*/ 18 h 35"/>
                    <a:gd name="T10" fmla="*/ 12 w 23"/>
                    <a:gd name="T11" fmla="*/ 5 h 35"/>
                    <a:gd name="T12" fmla="*/ 11 w 23"/>
                    <a:gd name="T13" fmla="*/ 35 h 35"/>
                    <a:gd name="T14" fmla="*/ 11 w 23"/>
                    <a:gd name="T15" fmla="*/ 35 h 35"/>
                    <a:gd name="T16" fmla="*/ 3 w 23"/>
                    <a:gd name="T17" fmla="*/ 31 h 35"/>
                    <a:gd name="T18" fmla="*/ 0 w 23"/>
                    <a:gd name="T19" fmla="*/ 18 h 35"/>
                    <a:gd name="T20" fmla="*/ 3 w 23"/>
                    <a:gd name="T21" fmla="*/ 5 h 35"/>
                    <a:gd name="T22" fmla="*/ 12 w 23"/>
                    <a:gd name="T23" fmla="*/ 0 h 35"/>
                    <a:gd name="T24" fmla="*/ 23 w 23"/>
                    <a:gd name="T25" fmla="*/ 18 h 35"/>
                    <a:gd name="T26" fmla="*/ 20 w 23"/>
                    <a:gd name="T27" fmla="*/ 31 h 35"/>
                    <a:gd name="T28" fmla="*/ 11 w 23"/>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5">
                      <a:moveTo>
                        <a:pt x="12" y="5"/>
                      </a:moveTo>
                      <a:cubicBezTo>
                        <a:pt x="12" y="5"/>
                        <a:pt x="12" y="5"/>
                        <a:pt x="12" y="5"/>
                      </a:cubicBezTo>
                      <a:cubicBezTo>
                        <a:pt x="8" y="5"/>
                        <a:pt x="6" y="9"/>
                        <a:pt x="6" y="18"/>
                      </a:cubicBezTo>
                      <a:cubicBezTo>
                        <a:pt x="6" y="27"/>
                        <a:pt x="7" y="31"/>
                        <a:pt x="11" y="31"/>
                      </a:cubicBezTo>
                      <a:cubicBezTo>
                        <a:pt x="15" y="31"/>
                        <a:pt x="17" y="26"/>
                        <a:pt x="17" y="18"/>
                      </a:cubicBezTo>
                      <a:cubicBezTo>
                        <a:pt x="17" y="9"/>
                        <a:pt x="15" y="5"/>
                        <a:pt x="12" y="5"/>
                      </a:cubicBezTo>
                      <a:close/>
                      <a:moveTo>
                        <a:pt x="11" y="35"/>
                      </a:moveTo>
                      <a:cubicBezTo>
                        <a:pt x="11" y="35"/>
                        <a:pt x="11" y="35"/>
                        <a:pt x="11" y="35"/>
                      </a:cubicBezTo>
                      <a:cubicBezTo>
                        <a:pt x="8" y="35"/>
                        <a:pt x="5" y="34"/>
                        <a:pt x="3" y="31"/>
                      </a:cubicBezTo>
                      <a:cubicBezTo>
                        <a:pt x="1" y="28"/>
                        <a:pt x="0" y="24"/>
                        <a:pt x="0" y="18"/>
                      </a:cubicBezTo>
                      <a:cubicBezTo>
                        <a:pt x="0" y="12"/>
                        <a:pt x="1" y="8"/>
                        <a:pt x="3" y="5"/>
                      </a:cubicBezTo>
                      <a:cubicBezTo>
                        <a:pt x="5" y="2"/>
                        <a:pt x="8" y="0"/>
                        <a:pt x="12" y="0"/>
                      </a:cubicBezTo>
                      <a:cubicBezTo>
                        <a:pt x="19" y="0"/>
                        <a:pt x="23" y="6"/>
                        <a:pt x="23" y="18"/>
                      </a:cubicBezTo>
                      <a:cubicBezTo>
                        <a:pt x="23" y="23"/>
                        <a:pt x="22" y="28"/>
                        <a:pt x="20" y="31"/>
                      </a:cubicBezTo>
                      <a:cubicBezTo>
                        <a:pt x="18" y="34"/>
                        <a:pt x="15" y="35"/>
                        <a:pt x="11"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8" name="Freeform 87"/>
                <p:cNvSpPr>
                  <a:spLocks/>
                </p:cNvSpPr>
                <p:nvPr/>
              </p:nvSpPr>
              <p:spPr bwMode="auto">
                <a:xfrm>
                  <a:off x="11218811" y="5122974"/>
                  <a:ext cx="32848" cy="94438"/>
                </a:xfrm>
                <a:custGeom>
                  <a:avLst/>
                  <a:gdLst>
                    <a:gd name="T0" fmla="*/ 12 w 12"/>
                    <a:gd name="T1" fmla="*/ 0 h 33"/>
                    <a:gd name="T2" fmla="*/ 12 w 12"/>
                    <a:gd name="T3" fmla="*/ 0 h 33"/>
                    <a:gd name="T4" fmla="*/ 12 w 12"/>
                    <a:gd name="T5" fmla="*/ 33 h 33"/>
                    <a:gd name="T6" fmla="*/ 7 w 12"/>
                    <a:gd name="T7" fmla="*/ 33 h 33"/>
                    <a:gd name="T8" fmla="*/ 7 w 12"/>
                    <a:gd name="T9" fmla="*/ 6 h 33"/>
                    <a:gd name="T10" fmla="*/ 4 w 12"/>
                    <a:gd name="T11" fmla="*/ 8 h 33"/>
                    <a:gd name="T12" fmla="*/ 0 w 12"/>
                    <a:gd name="T13" fmla="*/ 9 h 33"/>
                    <a:gd name="T14" fmla="*/ 0 w 12"/>
                    <a:gd name="T15" fmla="*/ 5 h 33"/>
                    <a:gd name="T16" fmla="*/ 3 w 12"/>
                    <a:gd name="T17" fmla="*/ 4 h 33"/>
                    <a:gd name="T18" fmla="*/ 5 w 12"/>
                    <a:gd name="T19" fmla="*/ 3 h 33"/>
                    <a:gd name="T20" fmla="*/ 7 w 12"/>
                    <a:gd name="T21" fmla="*/ 2 h 33"/>
                    <a:gd name="T22" fmla="*/ 10 w 12"/>
                    <a:gd name="T23" fmla="*/ 0 h 33"/>
                    <a:gd name="T24" fmla="*/ 12 w 12"/>
                    <a:gd name="T25" fmla="*/ 0 h 33"/>
                    <a:gd name="T26" fmla="*/ 12 w 12"/>
                    <a:gd name="T2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33">
                      <a:moveTo>
                        <a:pt x="12" y="0"/>
                      </a:moveTo>
                      <a:cubicBezTo>
                        <a:pt x="12" y="0"/>
                        <a:pt x="12" y="0"/>
                        <a:pt x="12" y="0"/>
                      </a:cubicBezTo>
                      <a:cubicBezTo>
                        <a:pt x="12" y="33"/>
                        <a:pt x="12" y="33"/>
                        <a:pt x="12" y="33"/>
                      </a:cubicBezTo>
                      <a:cubicBezTo>
                        <a:pt x="7" y="33"/>
                        <a:pt x="7" y="33"/>
                        <a:pt x="7" y="33"/>
                      </a:cubicBezTo>
                      <a:cubicBezTo>
                        <a:pt x="7" y="6"/>
                        <a:pt x="7" y="6"/>
                        <a:pt x="7" y="6"/>
                      </a:cubicBezTo>
                      <a:cubicBezTo>
                        <a:pt x="6" y="7"/>
                        <a:pt x="5" y="8"/>
                        <a:pt x="4" y="8"/>
                      </a:cubicBezTo>
                      <a:cubicBezTo>
                        <a:pt x="3" y="9"/>
                        <a:pt x="1" y="9"/>
                        <a:pt x="0" y="9"/>
                      </a:cubicBezTo>
                      <a:cubicBezTo>
                        <a:pt x="0" y="5"/>
                        <a:pt x="0" y="5"/>
                        <a:pt x="0" y="5"/>
                      </a:cubicBezTo>
                      <a:cubicBezTo>
                        <a:pt x="1" y="5"/>
                        <a:pt x="2" y="4"/>
                        <a:pt x="3" y="4"/>
                      </a:cubicBezTo>
                      <a:cubicBezTo>
                        <a:pt x="3" y="4"/>
                        <a:pt x="4" y="3"/>
                        <a:pt x="5" y="3"/>
                      </a:cubicBezTo>
                      <a:cubicBezTo>
                        <a:pt x="6" y="2"/>
                        <a:pt x="7" y="2"/>
                        <a:pt x="7" y="2"/>
                      </a:cubicBezTo>
                      <a:cubicBezTo>
                        <a:pt x="8" y="1"/>
                        <a:pt x="9" y="0"/>
                        <a:pt x="10" y="0"/>
                      </a:cubicBezTo>
                      <a:cubicBezTo>
                        <a:pt x="12" y="0"/>
                        <a:pt x="12" y="0"/>
                        <a:pt x="12" y="0"/>
                      </a:cubicBezTo>
                      <a:cubicBezTo>
                        <a:pt x="12" y="0"/>
                        <a:pt x="12"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9" name="Freeform 88"/>
                <p:cNvSpPr>
                  <a:spLocks/>
                </p:cNvSpPr>
                <p:nvPr/>
              </p:nvSpPr>
              <p:spPr bwMode="auto">
                <a:xfrm>
                  <a:off x="11341991" y="5122974"/>
                  <a:ext cx="32848" cy="94438"/>
                </a:xfrm>
                <a:custGeom>
                  <a:avLst/>
                  <a:gdLst>
                    <a:gd name="T0" fmla="*/ 12 w 12"/>
                    <a:gd name="T1" fmla="*/ 0 h 33"/>
                    <a:gd name="T2" fmla="*/ 12 w 12"/>
                    <a:gd name="T3" fmla="*/ 0 h 33"/>
                    <a:gd name="T4" fmla="*/ 12 w 12"/>
                    <a:gd name="T5" fmla="*/ 33 h 33"/>
                    <a:gd name="T6" fmla="*/ 6 w 12"/>
                    <a:gd name="T7" fmla="*/ 33 h 33"/>
                    <a:gd name="T8" fmla="*/ 6 w 12"/>
                    <a:gd name="T9" fmla="*/ 6 h 33"/>
                    <a:gd name="T10" fmla="*/ 3 w 12"/>
                    <a:gd name="T11" fmla="*/ 8 h 33"/>
                    <a:gd name="T12" fmla="*/ 0 w 12"/>
                    <a:gd name="T13" fmla="*/ 9 h 33"/>
                    <a:gd name="T14" fmla="*/ 0 w 12"/>
                    <a:gd name="T15" fmla="*/ 5 h 33"/>
                    <a:gd name="T16" fmla="*/ 2 w 12"/>
                    <a:gd name="T17" fmla="*/ 4 h 33"/>
                    <a:gd name="T18" fmla="*/ 4 w 12"/>
                    <a:gd name="T19" fmla="*/ 3 h 33"/>
                    <a:gd name="T20" fmla="*/ 7 w 12"/>
                    <a:gd name="T21" fmla="*/ 2 h 33"/>
                    <a:gd name="T22" fmla="*/ 9 w 12"/>
                    <a:gd name="T23" fmla="*/ 0 h 33"/>
                    <a:gd name="T24" fmla="*/ 12 w 12"/>
                    <a:gd name="T25" fmla="*/ 0 h 33"/>
                    <a:gd name="T26" fmla="*/ 12 w 12"/>
                    <a:gd name="T2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33">
                      <a:moveTo>
                        <a:pt x="12" y="0"/>
                      </a:moveTo>
                      <a:cubicBezTo>
                        <a:pt x="12" y="0"/>
                        <a:pt x="12" y="0"/>
                        <a:pt x="12" y="0"/>
                      </a:cubicBezTo>
                      <a:cubicBezTo>
                        <a:pt x="12" y="33"/>
                        <a:pt x="12" y="33"/>
                        <a:pt x="12" y="33"/>
                      </a:cubicBezTo>
                      <a:cubicBezTo>
                        <a:pt x="6" y="33"/>
                        <a:pt x="6" y="33"/>
                        <a:pt x="6" y="33"/>
                      </a:cubicBezTo>
                      <a:cubicBezTo>
                        <a:pt x="6" y="6"/>
                        <a:pt x="6" y="6"/>
                        <a:pt x="6" y="6"/>
                      </a:cubicBezTo>
                      <a:cubicBezTo>
                        <a:pt x="5" y="7"/>
                        <a:pt x="4" y="8"/>
                        <a:pt x="3" y="8"/>
                      </a:cubicBezTo>
                      <a:cubicBezTo>
                        <a:pt x="2" y="9"/>
                        <a:pt x="1" y="9"/>
                        <a:pt x="0" y="9"/>
                      </a:cubicBezTo>
                      <a:cubicBezTo>
                        <a:pt x="0" y="5"/>
                        <a:pt x="0" y="5"/>
                        <a:pt x="0" y="5"/>
                      </a:cubicBezTo>
                      <a:cubicBezTo>
                        <a:pt x="0" y="5"/>
                        <a:pt x="1" y="4"/>
                        <a:pt x="2" y="4"/>
                      </a:cubicBezTo>
                      <a:cubicBezTo>
                        <a:pt x="3" y="4"/>
                        <a:pt x="4" y="3"/>
                        <a:pt x="4" y="3"/>
                      </a:cubicBezTo>
                      <a:cubicBezTo>
                        <a:pt x="5" y="2"/>
                        <a:pt x="6" y="2"/>
                        <a:pt x="7" y="2"/>
                      </a:cubicBezTo>
                      <a:cubicBezTo>
                        <a:pt x="8" y="1"/>
                        <a:pt x="8" y="0"/>
                        <a:pt x="9" y="0"/>
                      </a:cubicBezTo>
                      <a:cubicBezTo>
                        <a:pt x="12" y="0"/>
                        <a:pt x="12" y="0"/>
                        <a:pt x="12" y="0"/>
                      </a:cubicBezTo>
                      <a:cubicBezTo>
                        <a:pt x="12" y="0"/>
                        <a:pt x="12"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0" name="Freeform 89"/>
                <p:cNvSpPr>
                  <a:spLocks noEditPoints="1"/>
                </p:cNvSpPr>
                <p:nvPr/>
              </p:nvSpPr>
              <p:spPr bwMode="auto">
                <a:xfrm>
                  <a:off x="11266030" y="5120921"/>
                  <a:ext cx="67749" cy="100597"/>
                </a:xfrm>
                <a:custGeom>
                  <a:avLst/>
                  <a:gdLst>
                    <a:gd name="T0" fmla="*/ 12 w 23"/>
                    <a:gd name="T1" fmla="*/ 5 h 35"/>
                    <a:gd name="T2" fmla="*/ 12 w 23"/>
                    <a:gd name="T3" fmla="*/ 5 h 35"/>
                    <a:gd name="T4" fmla="*/ 6 w 23"/>
                    <a:gd name="T5" fmla="*/ 18 h 35"/>
                    <a:gd name="T6" fmla="*/ 12 w 23"/>
                    <a:gd name="T7" fmla="*/ 31 h 35"/>
                    <a:gd name="T8" fmla="*/ 17 w 23"/>
                    <a:gd name="T9" fmla="*/ 18 h 35"/>
                    <a:gd name="T10" fmla="*/ 12 w 23"/>
                    <a:gd name="T11" fmla="*/ 5 h 35"/>
                    <a:gd name="T12" fmla="*/ 11 w 23"/>
                    <a:gd name="T13" fmla="*/ 35 h 35"/>
                    <a:gd name="T14" fmla="*/ 11 w 23"/>
                    <a:gd name="T15" fmla="*/ 35 h 35"/>
                    <a:gd name="T16" fmla="*/ 3 w 23"/>
                    <a:gd name="T17" fmla="*/ 31 h 35"/>
                    <a:gd name="T18" fmla="*/ 0 w 23"/>
                    <a:gd name="T19" fmla="*/ 18 h 35"/>
                    <a:gd name="T20" fmla="*/ 3 w 23"/>
                    <a:gd name="T21" fmla="*/ 5 h 35"/>
                    <a:gd name="T22" fmla="*/ 12 w 23"/>
                    <a:gd name="T23" fmla="*/ 0 h 35"/>
                    <a:gd name="T24" fmla="*/ 23 w 23"/>
                    <a:gd name="T25" fmla="*/ 18 h 35"/>
                    <a:gd name="T26" fmla="*/ 20 w 23"/>
                    <a:gd name="T27" fmla="*/ 31 h 35"/>
                    <a:gd name="T28" fmla="*/ 11 w 23"/>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5">
                      <a:moveTo>
                        <a:pt x="12" y="5"/>
                      </a:moveTo>
                      <a:cubicBezTo>
                        <a:pt x="12" y="5"/>
                        <a:pt x="12" y="5"/>
                        <a:pt x="12" y="5"/>
                      </a:cubicBezTo>
                      <a:cubicBezTo>
                        <a:pt x="8" y="5"/>
                        <a:pt x="6" y="9"/>
                        <a:pt x="6" y="18"/>
                      </a:cubicBezTo>
                      <a:cubicBezTo>
                        <a:pt x="6" y="27"/>
                        <a:pt x="8" y="31"/>
                        <a:pt x="12" y="31"/>
                      </a:cubicBezTo>
                      <a:cubicBezTo>
                        <a:pt x="16" y="31"/>
                        <a:pt x="17" y="26"/>
                        <a:pt x="17" y="18"/>
                      </a:cubicBezTo>
                      <a:cubicBezTo>
                        <a:pt x="17" y="9"/>
                        <a:pt x="16" y="5"/>
                        <a:pt x="12" y="5"/>
                      </a:cubicBezTo>
                      <a:close/>
                      <a:moveTo>
                        <a:pt x="11" y="35"/>
                      </a:moveTo>
                      <a:cubicBezTo>
                        <a:pt x="11" y="35"/>
                        <a:pt x="11" y="35"/>
                        <a:pt x="11" y="35"/>
                      </a:cubicBezTo>
                      <a:cubicBezTo>
                        <a:pt x="8" y="35"/>
                        <a:pt x="5" y="34"/>
                        <a:pt x="3" y="31"/>
                      </a:cubicBezTo>
                      <a:cubicBezTo>
                        <a:pt x="1" y="28"/>
                        <a:pt x="0" y="24"/>
                        <a:pt x="0" y="18"/>
                      </a:cubicBezTo>
                      <a:cubicBezTo>
                        <a:pt x="0" y="12"/>
                        <a:pt x="1" y="8"/>
                        <a:pt x="3" y="5"/>
                      </a:cubicBezTo>
                      <a:cubicBezTo>
                        <a:pt x="5" y="2"/>
                        <a:pt x="8" y="0"/>
                        <a:pt x="12" y="0"/>
                      </a:cubicBezTo>
                      <a:cubicBezTo>
                        <a:pt x="19" y="0"/>
                        <a:pt x="23" y="6"/>
                        <a:pt x="23" y="18"/>
                      </a:cubicBezTo>
                      <a:cubicBezTo>
                        <a:pt x="23" y="23"/>
                        <a:pt x="22" y="28"/>
                        <a:pt x="20" y="31"/>
                      </a:cubicBezTo>
                      <a:cubicBezTo>
                        <a:pt x="18" y="34"/>
                        <a:pt x="15" y="35"/>
                        <a:pt x="11"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1" name="Freeform 90"/>
                <p:cNvSpPr>
                  <a:spLocks noEditPoints="1"/>
                </p:cNvSpPr>
                <p:nvPr/>
              </p:nvSpPr>
              <p:spPr bwMode="auto">
                <a:xfrm>
                  <a:off x="11389209" y="5120921"/>
                  <a:ext cx="67749" cy="100597"/>
                </a:xfrm>
                <a:custGeom>
                  <a:avLst/>
                  <a:gdLst>
                    <a:gd name="T0" fmla="*/ 12 w 23"/>
                    <a:gd name="T1" fmla="*/ 5 h 35"/>
                    <a:gd name="T2" fmla="*/ 12 w 23"/>
                    <a:gd name="T3" fmla="*/ 5 h 35"/>
                    <a:gd name="T4" fmla="*/ 5 w 23"/>
                    <a:gd name="T5" fmla="*/ 18 h 35"/>
                    <a:gd name="T6" fmla="*/ 12 w 23"/>
                    <a:gd name="T7" fmla="*/ 31 h 35"/>
                    <a:gd name="T8" fmla="*/ 17 w 23"/>
                    <a:gd name="T9" fmla="*/ 18 h 35"/>
                    <a:gd name="T10" fmla="*/ 12 w 23"/>
                    <a:gd name="T11" fmla="*/ 5 h 35"/>
                    <a:gd name="T12" fmla="*/ 11 w 23"/>
                    <a:gd name="T13" fmla="*/ 35 h 35"/>
                    <a:gd name="T14" fmla="*/ 11 w 23"/>
                    <a:gd name="T15" fmla="*/ 35 h 35"/>
                    <a:gd name="T16" fmla="*/ 3 w 23"/>
                    <a:gd name="T17" fmla="*/ 31 h 35"/>
                    <a:gd name="T18" fmla="*/ 0 w 23"/>
                    <a:gd name="T19" fmla="*/ 18 h 35"/>
                    <a:gd name="T20" fmla="*/ 3 w 23"/>
                    <a:gd name="T21" fmla="*/ 5 h 35"/>
                    <a:gd name="T22" fmla="*/ 12 w 23"/>
                    <a:gd name="T23" fmla="*/ 0 h 35"/>
                    <a:gd name="T24" fmla="*/ 23 w 23"/>
                    <a:gd name="T25" fmla="*/ 18 h 35"/>
                    <a:gd name="T26" fmla="*/ 20 w 23"/>
                    <a:gd name="T27" fmla="*/ 31 h 35"/>
                    <a:gd name="T28" fmla="*/ 11 w 23"/>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5">
                      <a:moveTo>
                        <a:pt x="12" y="5"/>
                      </a:moveTo>
                      <a:cubicBezTo>
                        <a:pt x="12" y="5"/>
                        <a:pt x="12" y="5"/>
                        <a:pt x="12" y="5"/>
                      </a:cubicBezTo>
                      <a:cubicBezTo>
                        <a:pt x="7" y="5"/>
                        <a:pt x="5" y="9"/>
                        <a:pt x="5" y="18"/>
                      </a:cubicBezTo>
                      <a:cubicBezTo>
                        <a:pt x="5" y="27"/>
                        <a:pt x="7" y="31"/>
                        <a:pt x="12" y="31"/>
                      </a:cubicBezTo>
                      <a:cubicBezTo>
                        <a:pt x="15" y="31"/>
                        <a:pt x="17" y="26"/>
                        <a:pt x="17" y="18"/>
                      </a:cubicBezTo>
                      <a:cubicBezTo>
                        <a:pt x="17" y="9"/>
                        <a:pt x="15" y="5"/>
                        <a:pt x="12" y="5"/>
                      </a:cubicBezTo>
                      <a:close/>
                      <a:moveTo>
                        <a:pt x="11" y="35"/>
                      </a:moveTo>
                      <a:cubicBezTo>
                        <a:pt x="11" y="35"/>
                        <a:pt x="11" y="35"/>
                        <a:pt x="11" y="35"/>
                      </a:cubicBezTo>
                      <a:cubicBezTo>
                        <a:pt x="7" y="35"/>
                        <a:pt x="5" y="34"/>
                        <a:pt x="3" y="31"/>
                      </a:cubicBezTo>
                      <a:cubicBezTo>
                        <a:pt x="1" y="28"/>
                        <a:pt x="0" y="24"/>
                        <a:pt x="0" y="18"/>
                      </a:cubicBezTo>
                      <a:cubicBezTo>
                        <a:pt x="0" y="12"/>
                        <a:pt x="1" y="8"/>
                        <a:pt x="3" y="5"/>
                      </a:cubicBezTo>
                      <a:cubicBezTo>
                        <a:pt x="5" y="2"/>
                        <a:pt x="8" y="0"/>
                        <a:pt x="12" y="0"/>
                      </a:cubicBezTo>
                      <a:cubicBezTo>
                        <a:pt x="19" y="0"/>
                        <a:pt x="23" y="6"/>
                        <a:pt x="23" y="18"/>
                      </a:cubicBezTo>
                      <a:cubicBezTo>
                        <a:pt x="23" y="23"/>
                        <a:pt x="22" y="28"/>
                        <a:pt x="20" y="31"/>
                      </a:cubicBezTo>
                      <a:cubicBezTo>
                        <a:pt x="18" y="34"/>
                        <a:pt x="15" y="35"/>
                        <a:pt x="11"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grpSp>
      <p:sp>
        <p:nvSpPr>
          <p:cNvPr id="102" name="Freeform 101"/>
          <p:cNvSpPr>
            <a:spLocks noChangeAspect="1" noEditPoints="1"/>
          </p:cNvSpPr>
          <p:nvPr/>
        </p:nvSpPr>
        <p:spPr bwMode="auto">
          <a:xfrm>
            <a:off x="8982218" y="4598227"/>
            <a:ext cx="244735" cy="352584"/>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a:ln w="0">
            <a:noFill/>
            <a:prstDash val="solid"/>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sp>
        <p:nvSpPr>
          <p:cNvPr id="6" name="Slide Number Placeholder 5"/>
          <p:cNvSpPr>
            <a:spLocks noGrp="1"/>
          </p:cNvSpPr>
          <p:nvPr>
            <p:ph type="sldNum" sz="quarter" idx="11"/>
          </p:nvPr>
        </p:nvSpPr>
        <p:spPr/>
        <p:txBody>
          <a:bodyPr/>
          <a:lstStyle/>
          <a:p>
            <a:fld id="{27258FFF-F925-446B-8502-81C933981705}" type="slidenum">
              <a:rPr lang="en-US" smtClean="0">
                <a:solidFill>
                  <a:schemeClr val="bg1"/>
                </a:solidFill>
              </a:rPr>
              <a:pPr/>
              <a:t>23</a:t>
            </a:fld>
            <a:endParaRPr lang="en-US" dirty="0">
              <a:solidFill>
                <a:schemeClr val="bg1"/>
              </a:solidFill>
            </a:endParaRPr>
          </a:p>
        </p:txBody>
      </p:sp>
    </p:spTree>
    <p:extLst>
      <p:ext uri="{BB962C8B-B14F-4D97-AF65-F5344CB8AC3E}">
        <p14:creationId xmlns:p14="http://schemas.microsoft.com/office/powerpoint/2010/main" val="217257136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ppt_x"/>
                                          </p:val>
                                        </p:tav>
                                        <p:tav tm="100000">
                                          <p:val>
                                            <p:strVal val="#ppt_x"/>
                                          </p:val>
                                        </p:tav>
                                      </p:tavLst>
                                    </p:anim>
                                    <p:anim calcmode="lin" valueType="num">
                                      <p:cBhvr additive="base">
                                        <p:cTn id="13"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2776"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IN" dirty="0"/>
              <a:t>Data access</a:t>
            </a:r>
          </a:p>
        </p:txBody>
      </p:sp>
      <p:sp>
        <p:nvSpPr>
          <p:cNvPr id="3" name="Slide Number Placeholder 2"/>
          <p:cNvSpPr>
            <a:spLocks noGrp="1"/>
          </p:cNvSpPr>
          <p:nvPr>
            <p:ph type="sldNum" sz="quarter" idx="11"/>
          </p:nvPr>
        </p:nvSpPr>
        <p:spPr/>
        <p:txBody>
          <a:bodyPr/>
          <a:lstStyle/>
          <a:p>
            <a:fld id="{27258FFF-F925-446B-8502-81C933981705}" type="slidenum">
              <a:rPr lang="en-US" smtClean="0"/>
              <a:pPr/>
              <a:t>24</a:t>
            </a:fld>
            <a:endParaRPr lang="en-US" dirty="0"/>
          </a:p>
        </p:txBody>
      </p:sp>
      <p:grpSp>
        <p:nvGrpSpPr>
          <p:cNvPr id="45" name="Group 44"/>
          <p:cNvGrpSpPr/>
          <p:nvPr/>
        </p:nvGrpSpPr>
        <p:grpSpPr>
          <a:xfrm>
            <a:off x="11070579" y="297389"/>
            <a:ext cx="932340" cy="913874"/>
            <a:chOff x="11070579" y="297389"/>
            <a:chExt cx="932340" cy="913874"/>
          </a:xfrm>
        </p:grpSpPr>
        <p:sp>
          <p:nvSpPr>
            <p:cNvPr id="52" name="Rectangle 51"/>
            <p:cNvSpPr/>
            <p:nvPr/>
          </p:nvSpPr>
          <p:spPr bwMode="auto">
            <a:xfrm>
              <a:off x="11070579" y="297389"/>
              <a:ext cx="932340" cy="913874"/>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p>
              <a:pPr algn="l" defTabSz="932563" fontAlgn="auto">
                <a:spcAft>
                  <a:spcPts val="587"/>
                </a:spcAft>
              </a:pPr>
              <a:endParaRPr lang="en-US" sz="2200" dirty="0">
                <a:solidFill>
                  <a:schemeClr val="bg1"/>
                </a:solidFill>
                <a:latin typeface="+mj-lt"/>
                <a:cs typeface="Segoe UI Semibold" panose="020B0702040204020203" pitchFamily="34" charset="0"/>
              </a:endParaRPr>
            </a:p>
          </p:txBody>
        </p:sp>
        <p:sp>
          <p:nvSpPr>
            <p:cNvPr id="53" name="Rectangle 52"/>
            <p:cNvSpPr/>
            <p:nvPr/>
          </p:nvSpPr>
          <p:spPr>
            <a:xfrm>
              <a:off x="11070579" y="1137623"/>
              <a:ext cx="932340" cy="73640"/>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grpSp>
          <p:nvGrpSpPr>
            <p:cNvPr id="54" name="Group 53"/>
            <p:cNvGrpSpPr/>
            <p:nvPr/>
          </p:nvGrpSpPr>
          <p:grpSpPr>
            <a:xfrm>
              <a:off x="11241857" y="470429"/>
              <a:ext cx="589786" cy="567796"/>
              <a:chOff x="11677282" y="2098248"/>
              <a:chExt cx="398821" cy="383953"/>
            </a:xfrm>
          </p:grpSpPr>
          <p:sp>
            <p:nvSpPr>
              <p:cNvPr id="55" name="Rounded Rectangle 10"/>
              <p:cNvSpPr/>
              <p:nvPr/>
            </p:nvSpPr>
            <p:spPr bwMode="auto">
              <a:xfrm>
                <a:off x="11824146" y="2098248"/>
                <a:ext cx="251957" cy="286218"/>
              </a:xfrm>
              <a:custGeom>
                <a:avLst/>
                <a:gdLst/>
                <a:ahLst/>
                <a:cxnLst/>
                <a:rect l="l" t="t" r="r" b="b"/>
                <a:pathLst>
                  <a:path w="457200" h="457200">
                    <a:moveTo>
                      <a:pt x="76202" y="0"/>
                    </a:moveTo>
                    <a:lnTo>
                      <a:pt x="380998" y="0"/>
                    </a:lnTo>
                    <a:cubicBezTo>
                      <a:pt x="423083" y="0"/>
                      <a:pt x="457200" y="34117"/>
                      <a:pt x="457200" y="76202"/>
                    </a:cubicBezTo>
                    <a:lnTo>
                      <a:pt x="457200" y="380998"/>
                    </a:lnTo>
                    <a:cubicBezTo>
                      <a:pt x="457200" y="423083"/>
                      <a:pt x="423083" y="457200"/>
                      <a:pt x="380998" y="457200"/>
                    </a:cubicBezTo>
                    <a:lnTo>
                      <a:pt x="190701" y="457200"/>
                    </a:lnTo>
                    <a:lnTo>
                      <a:pt x="190701" y="232559"/>
                    </a:lnTo>
                    <a:cubicBezTo>
                      <a:pt x="190701" y="190474"/>
                      <a:pt x="156584" y="156357"/>
                      <a:pt x="114499" y="156357"/>
                    </a:cubicBezTo>
                    <a:lnTo>
                      <a:pt x="0" y="156357"/>
                    </a:lnTo>
                    <a:lnTo>
                      <a:pt x="0" y="76202"/>
                    </a:lnTo>
                    <a:cubicBezTo>
                      <a:pt x="0" y="34117"/>
                      <a:pt x="34117" y="0"/>
                      <a:pt x="76202" y="0"/>
                    </a:cubicBezTo>
                    <a:close/>
                  </a:path>
                </a:pathLst>
              </a:custGeom>
              <a:noFill/>
              <a:ln w="9525">
                <a:solidFill>
                  <a:schemeClr val="bg1">
                    <a:alpha val="23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Rounded Rectangle 11"/>
              <p:cNvSpPr/>
              <p:nvPr/>
            </p:nvSpPr>
            <p:spPr bwMode="auto">
              <a:xfrm>
                <a:off x="11677282" y="2195983"/>
                <a:ext cx="251957" cy="286218"/>
              </a:xfrm>
              <a:custGeom>
                <a:avLst/>
                <a:gdLst/>
                <a:ahLst/>
                <a:cxnLst/>
                <a:rect l="l" t="t" r="r" b="b"/>
                <a:pathLst>
                  <a:path w="457200" h="457200">
                    <a:moveTo>
                      <a:pt x="76202" y="0"/>
                    </a:moveTo>
                    <a:lnTo>
                      <a:pt x="266499" y="0"/>
                    </a:lnTo>
                    <a:lnTo>
                      <a:pt x="266499" y="224641"/>
                    </a:lnTo>
                    <a:cubicBezTo>
                      <a:pt x="266499" y="266726"/>
                      <a:pt x="300616" y="300843"/>
                      <a:pt x="342701" y="300843"/>
                    </a:cubicBezTo>
                    <a:lnTo>
                      <a:pt x="457200" y="300843"/>
                    </a:lnTo>
                    <a:lnTo>
                      <a:pt x="457200" y="380998"/>
                    </a:lnTo>
                    <a:cubicBezTo>
                      <a:pt x="457200" y="423083"/>
                      <a:pt x="423083" y="457200"/>
                      <a:pt x="380998" y="457200"/>
                    </a:cubicBezTo>
                    <a:lnTo>
                      <a:pt x="76202" y="457200"/>
                    </a:lnTo>
                    <a:cubicBezTo>
                      <a:pt x="34117" y="457200"/>
                      <a:pt x="0" y="423083"/>
                      <a:pt x="0" y="380998"/>
                    </a:cubicBezTo>
                    <a:lnTo>
                      <a:pt x="0" y="76202"/>
                    </a:lnTo>
                    <a:cubicBezTo>
                      <a:pt x="0" y="34117"/>
                      <a:pt x="34117" y="0"/>
                      <a:pt x="76202" y="0"/>
                    </a:cubicBezTo>
                    <a:close/>
                  </a:path>
                </a:pathLst>
              </a:custGeom>
              <a:noFill/>
              <a:ln w="9525">
                <a:solidFill>
                  <a:schemeClr val="bg1">
                    <a:alpha val="23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4" name="Group 3"/>
          <p:cNvGrpSpPr/>
          <p:nvPr/>
        </p:nvGrpSpPr>
        <p:grpSpPr>
          <a:xfrm>
            <a:off x="-1" y="1401763"/>
            <a:ext cx="11576767" cy="5067300"/>
            <a:chOff x="-1" y="1401763"/>
            <a:chExt cx="11576767" cy="5067300"/>
          </a:xfrm>
        </p:grpSpPr>
        <p:sp>
          <p:nvSpPr>
            <p:cNvPr id="47" name="Rectangle 46"/>
            <p:cNvSpPr/>
            <p:nvPr/>
          </p:nvSpPr>
          <p:spPr bwMode="auto">
            <a:xfrm flipH="1">
              <a:off x="1930399" y="1407912"/>
              <a:ext cx="7068457" cy="1600200"/>
            </a:xfrm>
            <a:prstGeom prst="rect">
              <a:avLst/>
            </a:prstGeom>
            <a:solidFill>
              <a:schemeClr val="bg1">
                <a:lumMod val="95000"/>
              </a:schemeClr>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0" tIns="91440" rIns="91440" bIns="91440" numCol="1" spcCol="0" rtlCol="0" fromWordArt="0" anchor="ctr" anchorCtr="0" forceAA="0" compatLnSpc="1">
              <a:prstTxWarp prst="textNoShape">
                <a:avLst/>
              </a:prstTxWarp>
              <a:noAutofit/>
            </a:bodyPr>
            <a:lstStyle/>
            <a:p>
              <a:pPr defTabSz="932472">
                <a:spcBef>
                  <a:spcPct val="0"/>
                </a:spcBef>
                <a:spcAft>
                  <a:spcPct val="0"/>
                </a:spcAft>
              </a:pPr>
              <a:r>
                <a:rPr lang="en-GB" sz="2000" dirty="0">
                  <a:solidFill>
                    <a:schemeClr val="tx2"/>
                  </a:solidFill>
                  <a:cs typeface="Segoe UI" panose="020B0502040204020203" pitchFamily="34" charset="0"/>
                </a:rPr>
                <a:t>Customer controls who has access to Customer Data</a:t>
              </a:r>
            </a:p>
          </p:txBody>
        </p:sp>
        <p:sp>
          <p:nvSpPr>
            <p:cNvPr id="48" name="Rectangle 47"/>
            <p:cNvSpPr/>
            <p:nvPr/>
          </p:nvSpPr>
          <p:spPr bwMode="auto">
            <a:xfrm flipH="1">
              <a:off x="1930399" y="3138388"/>
              <a:ext cx="7068457" cy="1600200"/>
            </a:xfrm>
            <a:prstGeom prst="rect">
              <a:avLst/>
            </a:prstGeom>
            <a:solidFill>
              <a:schemeClr val="bg1">
                <a:lumMod val="95000"/>
              </a:schemeClr>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0" tIns="91440" rIns="91440" bIns="91440" numCol="1" spcCol="0" rtlCol="0" fromWordArt="0" anchor="ctr" anchorCtr="0" forceAA="0" compatLnSpc="1">
              <a:prstTxWarp prst="textNoShape">
                <a:avLst/>
              </a:prstTxWarp>
              <a:noAutofit/>
            </a:bodyPr>
            <a:lstStyle/>
            <a:p>
              <a:pPr defTabSz="932472">
                <a:spcBef>
                  <a:spcPct val="0"/>
                </a:spcBef>
                <a:spcAft>
                  <a:spcPct val="0"/>
                </a:spcAft>
              </a:pPr>
              <a:r>
                <a:rPr lang="en-GB" sz="2000" dirty="0">
                  <a:solidFill>
                    <a:schemeClr val="tx2"/>
                  </a:solidFill>
                  <a:cs typeface="Segoe UI" panose="020B0502040204020203" pitchFamily="34" charset="0"/>
                </a:rPr>
                <a:t>Microsoft may hire other companies to </a:t>
              </a:r>
              <a:r>
                <a:rPr lang="en-GB" sz="2000" dirty="0" smtClean="0">
                  <a:solidFill>
                    <a:schemeClr val="tx2"/>
                  </a:solidFill>
                  <a:cs typeface="Segoe UI" panose="020B0502040204020203" pitchFamily="34" charset="0"/>
                </a:rPr>
                <a:t>provide limited </a:t>
              </a:r>
              <a:r>
                <a:rPr lang="en-GB" sz="2000" dirty="0">
                  <a:solidFill>
                    <a:schemeClr val="tx2"/>
                  </a:solidFill>
                  <a:cs typeface="Segoe UI" panose="020B0502040204020203" pitchFamily="34" charset="0"/>
                </a:rPr>
                <a:t>services, such as customer support, on its behalf </a:t>
              </a:r>
            </a:p>
          </p:txBody>
        </p:sp>
        <p:sp>
          <p:nvSpPr>
            <p:cNvPr id="49" name="Rectangle 48"/>
            <p:cNvSpPr/>
            <p:nvPr/>
          </p:nvSpPr>
          <p:spPr bwMode="auto">
            <a:xfrm flipH="1">
              <a:off x="1930397" y="4868863"/>
              <a:ext cx="7068457" cy="1600200"/>
            </a:xfrm>
            <a:prstGeom prst="rect">
              <a:avLst/>
            </a:prstGeom>
            <a:solidFill>
              <a:schemeClr val="bg1">
                <a:lumMod val="95000"/>
              </a:schemeClr>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0" tIns="91440" rIns="91440" bIns="91440" numCol="1" spcCol="0" rtlCol="0" fromWordArt="0" anchor="ctr" anchorCtr="0" forceAA="0" compatLnSpc="1">
              <a:prstTxWarp prst="textNoShape">
                <a:avLst/>
              </a:prstTxWarp>
              <a:noAutofit/>
            </a:bodyPr>
            <a:lstStyle/>
            <a:p>
              <a:pPr defTabSz="932472">
                <a:spcBef>
                  <a:spcPct val="0"/>
                </a:spcBef>
                <a:spcAft>
                  <a:spcPct val="0"/>
                </a:spcAft>
              </a:pPr>
              <a:r>
                <a:rPr lang="en-GB" sz="2000" dirty="0">
                  <a:solidFill>
                    <a:schemeClr val="tx2"/>
                  </a:solidFill>
                  <a:cs typeface="Segoe UI" panose="020B0502040204020203" pitchFamily="34" charset="0"/>
                </a:rPr>
                <a:t>Subcontractors are prohibited from using customer </a:t>
              </a:r>
              <a:r>
                <a:rPr lang="en-GB" sz="2000" dirty="0" smtClean="0">
                  <a:solidFill>
                    <a:schemeClr val="tx2"/>
                  </a:solidFill>
                  <a:cs typeface="Segoe UI" panose="020B0502040204020203" pitchFamily="34" charset="0"/>
                </a:rPr>
                <a:t>data for </a:t>
              </a:r>
              <a:r>
                <a:rPr lang="en-GB" sz="2000" dirty="0">
                  <a:solidFill>
                    <a:schemeClr val="tx2"/>
                  </a:solidFill>
                  <a:cs typeface="Segoe UI" panose="020B0502040204020203" pitchFamily="34" charset="0"/>
                </a:rPr>
                <a:t>any other purpose</a:t>
              </a:r>
            </a:p>
          </p:txBody>
        </p:sp>
        <p:sp>
          <p:nvSpPr>
            <p:cNvPr id="51" name="Freeform 50"/>
            <p:cNvSpPr/>
            <p:nvPr/>
          </p:nvSpPr>
          <p:spPr>
            <a:xfrm>
              <a:off x="-1" y="1401763"/>
              <a:ext cx="3518628" cy="5067300"/>
            </a:xfrm>
            <a:custGeom>
              <a:avLst/>
              <a:gdLst>
                <a:gd name="connsiteX0" fmla="*/ 0 w 3283476"/>
                <a:gd name="connsiteY0" fmla="*/ 0 h 5067300"/>
                <a:gd name="connsiteX1" fmla="*/ 1801956 w 3283476"/>
                <a:gd name="connsiteY1" fmla="*/ 0 h 5067300"/>
                <a:gd name="connsiteX2" fmla="*/ 2000467 w 3283476"/>
                <a:gd name="connsiteY2" fmla="*/ 120599 h 5067300"/>
                <a:gd name="connsiteX3" fmla="*/ 3283476 w 3283476"/>
                <a:gd name="connsiteY3" fmla="*/ 2533650 h 5067300"/>
                <a:gd name="connsiteX4" fmla="*/ 2000467 w 3283476"/>
                <a:gd name="connsiteY4" fmla="*/ 4946702 h 5067300"/>
                <a:gd name="connsiteX5" fmla="*/ 1801956 w 3283476"/>
                <a:gd name="connsiteY5" fmla="*/ 5067300 h 5067300"/>
                <a:gd name="connsiteX6" fmla="*/ 0 w 3283476"/>
                <a:gd name="connsiteY6" fmla="*/ 5067300 h 506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3476" h="5067300">
                  <a:moveTo>
                    <a:pt x="0" y="0"/>
                  </a:moveTo>
                  <a:lnTo>
                    <a:pt x="1801956" y="0"/>
                  </a:lnTo>
                  <a:lnTo>
                    <a:pt x="2000467" y="120599"/>
                  </a:lnTo>
                  <a:cubicBezTo>
                    <a:pt x="2774543" y="643554"/>
                    <a:pt x="3283476" y="1529168"/>
                    <a:pt x="3283476" y="2533650"/>
                  </a:cubicBezTo>
                  <a:cubicBezTo>
                    <a:pt x="3283476" y="3538132"/>
                    <a:pt x="2774543" y="4423746"/>
                    <a:pt x="2000467" y="4946702"/>
                  </a:cubicBezTo>
                  <a:lnTo>
                    <a:pt x="1801956" y="5067300"/>
                  </a:lnTo>
                  <a:lnTo>
                    <a:pt x="0" y="5067300"/>
                  </a:lnTo>
                  <a:close/>
                </a:path>
              </a:pathLst>
            </a:custGeom>
            <a:solidFill>
              <a:schemeClr val="accent3"/>
            </a:solidFill>
            <a:ln w="107950">
              <a:noFill/>
              <a:miter lim="800000"/>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a:spcAft>
                  <a:spcPts val="1200"/>
                </a:spcAft>
              </a:pPr>
              <a:r>
                <a:rPr lang="en-GB" sz="3200" dirty="0">
                  <a:solidFill>
                    <a:schemeClr val="bg1"/>
                  </a:solidFill>
                  <a:latin typeface="Segoe UI Light"/>
                </a:rPr>
                <a:t>Customer knows who can access their data and under what conditions </a:t>
              </a:r>
            </a:p>
          </p:txBody>
        </p:sp>
        <p:grpSp>
          <p:nvGrpSpPr>
            <p:cNvPr id="87" name="Group 142"/>
            <p:cNvGrpSpPr>
              <a:grpSpLocks noChangeAspect="1"/>
            </p:cNvGrpSpPr>
            <p:nvPr/>
          </p:nvGrpSpPr>
          <p:grpSpPr bwMode="auto">
            <a:xfrm>
              <a:off x="9466496" y="2148683"/>
              <a:ext cx="2110270" cy="3781294"/>
              <a:chOff x="2911" y="400"/>
              <a:chExt cx="2013" cy="3607"/>
            </a:xfrm>
          </p:grpSpPr>
          <p:sp>
            <p:nvSpPr>
              <p:cNvPr id="88" name="AutoShape 141"/>
              <p:cNvSpPr>
                <a:spLocks noChangeAspect="1" noChangeArrowheads="1" noTextEdit="1"/>
              </p:cNvSpPr>
              <p:nvPr/>
            </p:nvSpPr>
            <p:spPr bwMode="auto">
              <a:xfrm>
                <a:off x="2911" y="400"/>
                <a:ext cx="2013" cy="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143"/>
              <p:cNvSpPr>
                <a:spLocks/>
              </p:cNvSpPr>
              <p:nvPr/>
            </p:nvSpPr>
            <p:spPr bwMode="auto">
              <a:xfrm>
                <a:off x="2913" y="2344"/>
                <a:ext cx="2009" cy="1512"/>
              </a:xfrm>
              <a:custGeom>
                <a:avLst/>
                <a:gdLst>
                  <a:gd name="T0" fmla="*/ 850 w 850"/>
                  <a:gd name="T1" fmla="*/ 17 h 640"/>
                  <a:gd name="T2" fmla="*/ 834 w 850"/>
                  <a:gd name="T3" fmla="*/ 0 h 640"/>
                  <a:gd name="T4" fmla="*/ 17 w 850"/>
                  <a:gd name="T5" fmla="*/ 0 h 640"/>
                  <a:gd name="T6" fmla="*/ 0 w 850"/>
                  <a:gd name="T7" fmla="*/ 17 h 640"/>
                  <a:gd name="T8" fmla="*/ 0 w 850"/>
                  <a:gd name="T9" fmla="*/ 573 h 640"/>
                  <a:gd name="T10" fmla="*/ 17 w 850"/>
                  <a:gd name="T11" fmla="*/ 590 h 640"/>
                  <a:gd name="T12" fmla="*/ 395 w 850"/>
                  <a:gd name="T13" fmla="*/ 590 h 640"/>
                  <a:gd name="T14" fmla="*/ 382 w 850"/>
                  <a:gd name="T15" fmla="*/ 627 h 640"/>
                  <a:gd name="T16" fmla="*/ 307 w 850"/>
                  <a:gd name="T17" fmla="*/ 627 h 640"/>
                  <a:gd name="T18" fmla="*/ 307 w 850"/>
                  <a:gd name="T19" fmla="*/ 640 h 640"/>
                  <a:gd name="T20" fmla="*/ 539 w 850"/>
                  <a:gd name="T21" fmla="*/ 640 h 640"/>
                  <a:gd name="T22" fmla="*/ 539 w 850"/>
                  <a:gd name="T23" fmla="*/ 627 h 640"/>
                  <a:gd name="T24" fmla="*/ 478 w 850"/>
                  <a:gd name="T25" fmla="*/ 627 h 640"/>
                  <a:gd name="T26" fmla="*/ 466 w 850"/>
                  <a:gd name="T27" fmla="*/ 590 h 640"/>
                  <a:gd name="T28" fmla="*/ 834 w 850"/>
                  <a:gd name="T29" fmla="*/ 590 h 640"/>
                  <a:gd name="T30" fmla="*/ 850 w 850"/>
                  <a:gd name="T31" fmla="*/ 573 h 640"/>
                  <a:gd name="T32" fmla="*/ 850 w 850"/>
                  <a:gd name="T33" fmla="*/ 1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0" h="640">
                    <a:moveTo>
                      <a:pt x="850" y="17"/>
                    </a:moveTo>
                    <a:cubicBezTo>
                      <a:pt x="850" y="8"/>
                      <a:pt x="843" y="0"/>
                      <a:pt x="834" y="0"/>
                    </a:cubicBezTo>
                    <a:cubicBezTo>
                      <a:pt x="17" y="0"/>
                      <a:pt x="17" y="0"/>
                      <a:pt x="17" y="0"/>
                    </a:cubicBezTo>
                    <a:cubicBezTo>
                      <a:pt x="7" y="0"/>
                      <a:pt x="0" y="8"/>
                      <a:pt x="0" y="17"/>
                    </a:cubicBezTo>
                    <a:cubicBezTo>
                      <a:pt x="0" y="573"/>
                      <a:pt x="0" y="573"/>
                      <a:pt x="0" y="573"/>
                    </a:cubicBezTo>
                    <a:cubicBezTo>
                      <a:pt x="0" y="582"/>
                      <a:pt x="7" y="590"/>
                      <a:pt x="17" y="590"/>
                    </a:cubicBezTo>
                    <a:cubicBezTo>
                      <a:pt x="395" y="590"/>
                      <a:pt x="395" y="590"/>
                      <a:pt x="395" y="590"/>
                    </a:cubicBezTo>
                    <a:cubicBezTo>
                      <a:pt x="382" y="627"/>
                      <a:pt x="382" y="627"/>
                      <a:pt x="382" y="627"/>
                    </a:cubicBezTo>
                    <a:cubicBezTo>
                      <a:pt x="307" y="627"/>
                      <a:pt x="307" y="627"/>
                      <a:pt x="307" y="627"/>
                    </a:cubicBezTo>
                    <a:cubicBezTo>
                      <a:pt x="307" y="640"/>
                      <a:pt x="307" y="640"/>
                      <a:pt x="307" y="640"/>
                    </a:cubicBezTo>
                    <a:cubicBezTo>
                      <a:pt x="539" y="640"/>
                      <a:pt x="539" y="640"/>
                      <a:pt x="539" y="640"/>
                    </a:cubicBezTo>
                    <a:cubicBezTo>
                      <a:pt x="539" y="627"/>
                      <a:pt x="539" y="627"/>
                      <a:pt x="539" y="627"/>
                    </a:cubicBezTo>
                    <a:cubicBezTo>
                      <a:pt x="478" y="627"/>
                      <a:pt x="478" y="627"/>
                      <a:pt x="478" y="627"/>
                    </a:cubicBezTo>
                    <a:cubicBezTo>
                      <a:pt x="466" y="590"/>
                      <a:pt x="466" y="590"/>
                      <a:pt x="466" y="590"/>
                    </a:cubicBezTo>
                    <a:cubicBezTo>
                      <a:pt x="834" y="590"/>
                      <a:pt x="834" y="590"/>
                      <a:pt x="834" y="590"/>
                    </a:cubicBezTo>
                    <a:cubicBezTo>
                      <a:pt x="843" y="590"/>
                      <a:pt x="850" y="582"/>
                      <a:pt x="850" y="573"/>
                    </a:cubicBezTo>
                    <a:lnTo>
                      <a:pt x="850" y="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144"/>
              <p:cNvSpPr>
                <a:spLocks noChangeArrowheads="1"/>
              </p:cNvSpPr>
              <p:nvPr/>
            </p:nvSpPr>
            <p:spPr bwMode="auto">
              <a:xfrm>
                <a:off x="2963" y="2394"/>
                <a:ext cx="1911" cy="10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145"/>
              <p:cNvSpPr>
                <a:spLocks/>
              </p:cNvSpPr>
              <p:nvPr/>
            </p:nvSpPr>
            <p:spPr bwMode="auto">
              <a:xfrm>
                <a:off x="4596" y="3903"/>
                <a:ext cx="208" cy="104"/>
              </a:xfrm>
              <a:custGeom>
                <a:avLst/>
                <a:gdLst>
                  <a:gd name="T0" fmla="*/ 44 w 88"/>
                  <a:gd name="T1" fmla="*/ 0 h 44"/>
                  <a:gd name="T2" fmla="*/ 0 w 88"/>
                  <a:gd name="T3" fmla="*/ 44 h 44"/>
                  <a:gd name="T4" fmla="*/ 88 w 88"/>
                  <a:gd name="T5" fmla="*/ 44 h 44"/>
                  <a:gd name="T6" fmla="*/ 44 w 88"/>
                  <a:gd name="T7" fmla="*/ 0 h 44"/>
                </a:gdLst>
                <a:ahLst/>
                <a:cxnLst>
                  <a:cxn ang="0">
                    <a:pos x="T0" y="T1"/>
                  </a:cxn>
                  <a:cxn ang="0">
                    <a:pos x="T2" y="T3"/>
                  </a:cxn>
                  <a:cxn ang="0">
                    <a:pos x="T4" y="T5"/>
                  </a:cxn>
                  <a:cxn ang="0">
                    <a:pos x="T6" y="T7"/>
                  </a:cxn>
                </a:cxnLst>
                <a:rect l="0" t="0" r="r" b="b"/>
                <a:pathLst>
                  <a:path w="88" h="44">
                    <a:moveTo>
                      <a:pt x="44" y="0"/>
                    </a:moveTo>
                    <a:cubicBezTo>
                      <a:pt x="19" y="0"/>
                      <a:pt x="0" y="20"/>
                      <a:pt x="0" y="44"/>
                    </a:cubicBezTo>
                    <a:cubicBezTo>
                      <a:pt x="88" y="44"/>
                      <a:pt x="88" y="44"/>
                      <a:pt x="88" y="44"/>
                    </a:cubicBezTo>
                    <a:cubicBezTo>
                      <a:pt x="88" y="20"/>
                      <a:pt x="68" y="0"/>
                      <a:pt x="4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46"/>
              <p:cNvSpPr>
                <a:spLocks/>
              </p:cNvSpPr>
              <p:nvPr/>
            </p:nvSpPr>
            <p:spPr bwMode="auto">
              <a:xfrm>
                <a:off x="2963" y="3896"/>
                <a:ext cx="1559" cy="109"/>
              </a:xfrm>
              <a:custGeom>
                <a:avLst/>
                <a:gdLst>
                  <a:gd name="T0" fmla="*/ 1559 w 1559"/>
                  <a:gd name="T1" fmla="*/ 109 h 109"/>
                  <a:gd name="T2" fmla="*/ 0 w 1559"/>
                  <a:gd name="T3" fmla="*/ 109 h 109"/>
                  <a:gd name="T4" fmla="*/ 0 w 1559"/>
                  <a:gd name="T5" fmla="*/ 64 h 109"/>
                  <a:gd name="T6" fmla="*/ 158 w 1559"/>
                  <a:gd name="T7" fmla="*/ 0 h 109"/>
                  <a:gd name="T8" fmla="*/ 1401 w 1559"/>
                  <a:gd name="T9" fmla="*/ 0 h 109"/>
                  <a:gd name="T10" fmla="*/ 1559 w 1559"/>
                  <a:gd name="T11" fmla="*/ 64 h 109"/>
                  <a:gd name="T12" fmla="*/ 1559 w 1559"/>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559" h="109">
                    <a:moveTo>
                      <a:pt x="1559" y="109"/>
                    </a:moveTo>
                    <a:lnTo>
                      <a:pt x="0" y="109"/>
                    </a:lnTo>
                    <a:lnTo>
                      <a:pt x="0" y="64"/>
                    </a:lnTo>
                    <a:lnTo>
                      <a:pt x="158" y="0"/>
                    </a:lnTo>
                    <a:lnTo>
                      <a:pt x="1401" y="0"/>
                    </a:lnTo>
                    <a:lnTo>
                      <a:pt x="1559" y="64"/>
                    </a:lnTo>
                    <a:lnTo>
                      <a:pt x="1559" y="10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147"/>
              <p:cNvSpPr>
                <a:spLocks/>
              </p:cNvSpPr>
              <p:nvPr/>
            </p:nvSpPr>
            <p:spPr bwMode="auto">
              <a:xfrm>
                <a:off x="4180" y="3832"/>
                <a:ext cx="522" cy="154"/>
              </a:xfrm>
              <a:custGeom>
                <a:avLst/>
                <a:gdLst>
                  <a:gd name="T0" fmla="*/ 218 w 221"/>
                  <a:gd name="T1" fmla="*/ 65 h 65"/>
                  <a:gd name="T2" fmla="*/ 0 w 221"/>
                  <a:gd name="T3" fmla="*/ 7 h 65"/>
                  <a:gd name="T4" fmla="*/ 0 w 221"/>
                  <a:gd name="T5" fmla="*/ 0 h 65"/>
                  <a:gd name="T6" fmla="*/ 221 w 221"/>
                  <a:gd name="T7" fmla="*/ 59 h 65"/>
                  <a:gd name="T8" fmla="*/ 218 w 221"/>
                  <a:gd name="T9" fmla="*/ 65 h 65"/>
                </a:gdLst>
                <a:ahLst/>
                <a:cxnLst>
                  <a:cxn ang="0">
                    <a:pos x="T0" y="T1"/>
                  </a:cxn>
                  <a:cxn ang="0">
                    <a:pos x="T2" y="T3"/>
                  </a:cxn>
                  <a:cxn ang="0">
                    <a:pos x="T4" y="T5"/>
                  </a:cxn>
                  <a:cxn ang="0">
                    <a:pos x="T6" y="T7"/>
                  </a:cxn>
                  <a:cxn ang="0">
                    <a:pos x="T8" y="T9"/>
                  </a:cxn>
                </a:cxnLst>
                <a:rect l="0" t="0" r="r" b="b"/>
                <a:pathLst>
                  <a:path w="221" h="65">
                    <a:moveTo>
                      <a:pt x="218" y="65"/>
                    </a:moveTo>
                    <a:cubicBezTo>
                      <a:pt x="152" y="27"/>
                      <a:pt x="76" y="7"/>
                      <a:pt x="0" y="7"/>
                    </a:cubicBezTo>
                    <a:cubicBezTo>
                      <a:pt x="0" y="0"/>
                      <a:pt x="0" y="0"/>
                      <a:pt x="0" y="0"/>
                    </a:cubicBezTo>
                    <a:cubicBezTo>
                      <a:pt x="77" y="0"/>
                      <a:pt x="154" y="21"/>
                      <a:pt x="221" y="59"/>
                    </a:cubicBezTo>
                    <a:lnTo>
                      <a:pt x="218" y="6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148"/>
              <p:cNvSpPr>
                <a:spLocks/>
              </p:cNvSpPr>
              <p:nvPr/>
            </p:nvSpPr>
            <p:spPr bwMode="auto">
              <a:xfrm>
                <a:off x="3953" y="402"/>
                <a:ext cx="484" cy="829"/>
              </a:xfrm>
              <a:custGeom>
                <a:avLst/>
                <a:gdLst>
                  <a:gd name="T0" fmla="*/ 205 w 205"/>
                  <a:gd name="T1" fmla="*/ 116 h 351"/>
                  <a:gd name="T2" fmla="*/ 205 w 205"/>
                  <a:gd name="T3" fmla="*/ 13 h 351"/>
                  <a:gd name="T4" fmla="*/ 191 w 205"/>
                  <a:gd name="T5" fmla="*/ 0 h 351"/>
                  <a:gd name="T6" fmla="*/ 13 w 205"/>
                  <a:gd name="T7" fmla="*/ 0 h 351"/>
                  <a:gd name="T8" fmla="*/ 0 w 205"/>
                  <a:gd name="T9" fmla="*/ 13 h 351"/>
                  <a:gd name="T10" fmla="*/ 0 w 205"/>
                  <a:gd name="T11" fmla="*/ 338 h 351"/>
                  <a:gd name="T12" fmla="*/ 13 w 205"/>
                  <a:gd name="T13" fmla="*/ 351 h 351"/>
                  <a:gd name="T14" fmla="*/ 191 w 205"/>
                  <a:gd name="T15" fmla="*/ 351 h 351"/>
                  <a:gd name="T16" fmla="*/ 205 w 205"/>
                  <a:gd name="T17" fmla="*/ 338 h 351"/>
                  <a:gd name="T18" fmla="*/ 205 w 205"/>
                  <a:gd name="T19" fmla="*/ 187 h 351"/>
                  <a:gd name="T20" fmla="*/ 205 w 205"/>
                  <a:gd name="T21" fmla="*/ 11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351">
                    <a:moveTo>
                      <a:pt x="205" y="116"/>
                    </a:moveTo>
                    <a:cubicBezTo>
                      <a:pt x="205" y="13"/>
                      <a:pt x="205" y="13"/>
                      <a:pt x="205" y="13"/>
                    </a:cubicBezTo>
                    <a:cubicBezTo>
                      <a:pt x="205" y="6"/>
                      <a:pt x="199" y="0"/>
                      <a:pt x="191" y="0"/>
                    </a:cubicBezTo>
                    <a:cubicBezTo>
                      <a:pt x="13" y="0"/>
                      <a:pt x="13" y="0"/>
                      <a:pt x="13" y="0"/>
                    </a:cubicBezTo>
                    <a:cubicBezTo>
                      <a:pt x="6" y="0"/>
                      <a:pt x="0" y="6"/>
                      <a:pt x="0" y="13"/>
                    </a:cubicBezTo>
                    <a:cubicBezTo>
                      <a:pt x="0" y="338"/>
                      <a:pt x="0" y="338"/>
                      <a:pt x="0" y="338"/>
                    </a:cubicBezTo>
                    <a:cubicBezTo>
                      <a:pt x="0" y="345"/>
                      <a:pt x="6" y="351"/>
                      <a:pt x="13" y="351"/>
                    </a:cubicBezTo>
                    <a:cubicBezTo>
                      <a:pt x="191" y="351"/>
                      <a:pt x="191" y="351"/>
                      <a:pt x="191" y="351"/>
                    </a:cubicBezTo>
                    <a:cubicBezTo>
                      <a:pt x="199" y="351"/>
                      <a:pt x="205" y="345"/>
                      <a:pt x="205" y="338"/>
                    </a:cubicBezTo>
                    <a:cubicBezTo>
                      <a:pt x="205" y="187"/>
                      <a:pt x="205" y="187"/>
                      <a:pt x="205" y="187"/>
                    </a:cubicBezTo>
                    <a:lnTo>
                      <a:pt x="205" y="11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149"/>
              <p:cNvSpPr>
                <a:spLocks/>
              </p:cNvSpPr>
              <p:nvPr/>
            </p:nvSpPr>
            <p:spPr bwMode="auto">
              <a:xfrm>
                <a:off x="3017" y="976"/>
                <a:ext cx="889" cy="1295"/>
              </a:xfrm>
              <a:custGeom>
                <a:avLst/>
                <a:gdLst>
                  <a:gd name="T0" fmla="*/ 0 w 376"/>
                  <a:gd name="T1" fmla="*/ 253 h 548"/>
                  <a:gd name="T2" fmla="*/ 0 w 376"/>
                  <a:gd name="T3" fmla="*/ 524 h 548"/>
                  <a:gd name="T4" fmla="*/ 25 w 376"/>
                  <a:gd name="T5" fmla="*/ 548 h 548"/>
                  <a:gd name="T6" fmla="*/ 351 w 376"/>
                  <a:gd name="T7" fmla="*/ 548 h 548"/>
                  <a:gd name="T8" fmla="*/ 376 w 376"/>
                  <a:gd name="T9" fmla="*/ 524 h 548"/>
                  <a:gd name="T10" fmla="*/ 376 w 376"/>
                  <a:gd name="T11" fmla="*/ 25 h 548"/>
                  <a:gd name="T12" fmla="*/ 351 w 376"/>
                  <a:gd name="T13" fmla="*/ 0 h 548"/>
                  <a:gd name="T14" fmla="*/ 25 w 376"/>
                  <a:gd name="T15" fmla="*/ 0 h 548"/>
                  <a:gd name="T16" fmla="*/ 0 w 376"/>
                  <a:gd name="T17" fmla="*/ 25 h 548"/>
                  <a:gd name="T18" fmla="*/ 0 w 376"/>
                  <a:gd name="T19" fmla="*/ 173 h 548"/>
                  <a:gd name="T20" fmla="*/ 0 w 376"/>
                  <a:gd name="T21" fmla="*/ 253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6" h="548">
                    <a:moveTo>
                      <a:pt x="0" y="253"/>
                    </a:moveTo>
                    <a:cubicBezTo>
                      <a:pt x="0" y="524"/>
                      <a:pt x="0" y="524"/>
                      <a:pt x="0" y="524"/>
                    </a:cubicBezTo>
                    <a:cubicBezTo>
                      <a:pt x="0" y="537"/>
                      <a:pt x="11" y="548"/>
                      <a:pt x="25" y="548"/>
                    </a:cubicBezTo>
                    <a:cubicBezTo>
                      <a:pt x="351" y="548"/>
                      <a:pt x="351" y="548"/>
                      <a:pt x="351" y="548"/>
                    </a:cubicBezTo>
                    <a:cubicBezTo>
                      <a:pt x="365" y="548"/>
                      <a:pt x="376" y="537"/>
                      <a:pt x="376" y="524"/>
                    </a:cubicBezTo>
                    <a:cubicBezTo>
                      <a:pt x="376" y="25"/>
                      <a:pt x="376" y="25"/>
                      <a:pt x="376" y="25"/>
                    </a:cubicBezTo>
                    <a:cubicBezTo>
                      <a:pt x="376" y="11"/>
                      <a:pt x="365" y="0"/>
                      <a:pt x="351" y="0"/>
                    </a:cubicBezTo>
                    <a:cubicBezTo>
                      <a:pt x="25" y="0"/>
                      <a:pt x="25" y="0"/>
                      <a:pt x="25" y="0"/>
                    </a:cubicBezTo>
                    <a:cubicBezTo>
                      <a:pt x="11" y="0"/>
                      <a:pt x="0" y="11"/>
                      <a:pt x="0" y="25"/>
                    </a:cubicBezTo>
                    <a:cubicBezTo>
                      <a:pt x="0" y="173"/>
                      <a:pt x="0" y="173"/>
                      <a:pt x="0" y="173"/>
                    </a:cubicBezTo>
                    <a:lnTo>
                      <a:pt x="0" y="2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150"/>
              <p:cNvSpPr>
                <a:spLocks noChangeArrowheads="1"/>
              </p:cNvSpPr>
              <p:nvPr/>
            </p:nvSpPr>
            <p:spPr bwMode="auto">
              <a:xfrm>
                <a:off x="3102" y="1061"/>
                <a:ext cx="719" cy="11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151"/>
              <p:cNvSpPr>
                <a:spLocks noChangeArrowheads="1"/>
              </p:cNvSpPr>
              <p:nvPr/>
            </p:nvSpPr>
            <p:spPr bwMode="auto">
              <a:xfrm>
                <a:off x="3176" y="1206"/>
                <a:ext cx="368" cy="36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152"/>
              <p:cNvSpPr>
                <a:spLocks noChangeArrowheads="1"/>
              </p:cNvSpPr>
              <p:nvPr/>
            </p:nvSpPr>
            <p:spPr bwMode="auto">
              <a:xfrm>
                <a:off x="3582" y="1206"/>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153"/>
              <p:cNvSpPr>
                <a:spLocks noChangeArrowheads="1"/>
              </p:cNvSpPr>
              <p:nvPr/>
            </p:nvSpPr>
            <p:spPr bwMode="auto">
              <a:xfrm>
                <a:off x="3176" y="1614"/>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Rectangle 154"/>
              <p:cNvSpPr>
                <a:spLocks noChangeArrowheads="1"/>
              </p:cNvSpPr>
              <p:nvPr/>
            </p:nvSpPr>
            <p:spPr bwMode="auto">
              <a:xfrm>
                <a:off x="3379"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155"/>
              <p:cNvSpPr>
                <a:spLocks noChangeArrowheads="1"/>
              </p:cNvSpPr>
              <p:nvPr/>
            </p:nvSpPr>
            <p:spPr bwMode="auto">
              <a:xfrm>
                <a:off x="3582"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156"/>
              <p:cNvSpPr>
                <a:spLocks noChangeArrowheads="1"/>
              </p:cNvSpPr>
              <p:nvPr/>
            </p:nvSpPr>
            <p:spPr bwMode="auto">
              <a:xfrm>
                <a:off x="3176" y="1817"/>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157"/>
              <p:cNvSpPr>
                <a:spLocks noChangeArrowheads="1"/>
              </p:cNvSpPr>
              <p:nvPr/>
            </p:nvSpPr>
            <p:spPr bwMode="auto">
              <a:xfrm>
                <a:off x="3379"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158"/>
              <p:cNvSpPr>
                <a:spLocks noChangeArrowheads="1"/>
              </p:cNvSpPr>
              <p:nvPr/>
            </p:nvSpPr>
            <p:spPr bwMode="auto">
              <a:xfrm>
                <a:off x="3582"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159"/>
              <p:cNvSpPr>
                <a:spLocks noChangeArrowheads="1"/>
              </p:cNvSpPr>
              <p:nvPr/>
            </p:nvSpPr>
            <p:spPr bwMode="auto">
              <a:xfrm>
                <a:off x="3176" y="2023"/>
                <a:ext cx="571"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160"/>
              <p:cNvSpPr>
                <a:spLocks noChangeArrowheads="1"/>
              </p:cNvSpPr>
              <p:nvPr/>
            </p:nvSpPr>
            <p:spPr bwMode="auto">
              <a:xfrm>
                <a:off x="3582" y="1409"/>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61"/>
              <p:cNvSpPr>
                <a:spLocks/>
              </p:cNvSpPr>
              <p:nvPr/>
            </p:nvSpPr>
            <p:spPr bwMode="auto">
              <a:xfrm>
                <a:off x="3941" y="1288"/>
                <a:ext cx="574" cy="983"/>
              </a:xfrm>
              <a:custGeom>
                <a:avLst/>
                <a:gdLst>
                  <a:gd name="T0" fmla="*/ 243 w 243"/>
                  <a:gd name="T1" fmla="*/ 400 h 416"/>
                  <a:gd name="T2" fmla="*/ 227 w 243"/>
                  <a:gd name="T3" fmla="*/ 416 h 416"/>
                  <a:gd name="T4" fmla="*/ 15 w 243"/>
                  <a:gd name="T5" fmla="*/ 416 h 416"/>
                  <a:gd name="T6" fmla="*/ 0 w 243"/>
                  <a:gd name="T7" fmla="*/ 400 h 416"/>
                  <a:gd name="T8" fmla="*/ 0 w 243"/>
                  <a:gd name="T9" fmla="*/ 15 h 416"/>
                  <a:gd name="T10" fmla="*/ 15 w 243"/>
                  <a:gd name="T11" fmla="*/ 0 h 416"/>
                  <a:gd name="T12" fmla="*/ 227 w 243"/>
                  <a:gd name="T13" fmla="*/ 0 h 416"/>
                  <a:gd name="T14" fmla="*/ 243 w 243"/>
                  <a:gd name="T15" fmla="*/ 15 h 416"/>
                  <a:gd name="T16" fmla="*/ 243 w 243"/>
                  <a:gd name="T17" fmla="*/ 40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6">
                    <a:moveTo>
                      <a:pt x="243" y="400"/>
                    </a:moveTo>
                    <a:cubicBezTo>
                      <a:pt x="243" y="409"/>
                      <a:pt x="236" y="416"/>
                      <a:pt x="227" y="416"/>
                    </a:cubicBezTo>
                    <a:cubicBezTo>
                      <a:pt x="15" y="416"/>
                      <a:pt x="15" y="416"/>
                      <a:pt x="15" y="416"/>
                    </a:cubicBezTo>
                    <a:cubicBezTo>
                      <a:pt x="7" y="416"/>
                      <a:pt x="0" y="409"/>
                      <a:pt x="0" y="400"/>
                    </a:cubicBezTo>
                    <a:cubicBezTo>
                      <a:pt x="0" y="15"/>
                      <a:pt x="0" y="15"/>
                      <a:pt x="0" y="15"/>
                    </a:cubicBezTo>
                    <a:cubicBezTo>
                      <a:pt x="0" y="7"/>
                      <a:pt x="7" y="0"/>
                      <a:pt x="15" y="0"/>
                    </a:cubicBezTo>
                    <a:cubicBezTo>
                      <a:pt x="227" y="0"/>
                      <a:pt x="227" y="0"/>
                      <a:pt x="227" y="0"/>
                    </a:cubicBezTo>
                    <a:cubicBezTo>
                      <a:pt x="236" y="0"/>
                      <a:pt x="243" y="7"/>
                      <a:pt x="243" y="15"/>
                    </a:cubicBezTo>
                    <a:lnTo>
                      <a:pt x="243" y="40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162"/>
              <p:cNvSpPr>
                <a:spLocks noChangeArrowheads="1"/>
              </p:cNvSpPr>
              <p:nvPr/>
            </p:nvSpPr>
            <p:spPr bwMode="auto">
              <a:xfrm>
                <a:off x="3996" y="1343"/>
                <a:ext cx="463" cy="7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163"/>
              <p:cNvSpPr>
                <a:spLocks noChangeArrowheads="1"/>
              </p:cNvSpPr>
              <p:nvPr/>
            </p:nvSpPr>
            <p:spPr bwMode="auto">
              <a:xfrm>
                <a:off x="4043" y="1435"/>
                <a:ext cx="371" cy="3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164"/>
              <p:cNvSpPr>
                <a:spLocks noChangeArrowheads="1"/>
              </p:cNvSpPr>
              <p:nvPr/>
            </p:nvSpPr>
            <p:spPr bwMode="auto">
              <a:xfrm>
                <a:off x="4043"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165"/>
              <p:cNvSpPr>
                <a:spLocks noChangeArrowheads="1"/>
              </p:cNvSpPr>
              <p:nvPr/>
            </p:nvSpPr>
            <p:spPr bwMode="auto">
              <a:xfrm>
                <a:off x="4175"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166"/>
              <p:cNvSpPr>
                <a:spLocks noChangeArrowheads="1"/>
              </p:cNvSpPr>
              <p:nvPr/>
            </p:nvSpPr>
            <p:spPr bwMode="auto">
              <a:xfrm>
                <a:off x="4307" y="1831"/>
                <a:ext cx="107"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167"/>
              <p:cNvSpPr>
                <a:spLocks noChangeArrowheads="1"/>
              </p:cNvSpPr>
              <p:nvPr/>
            </p:nvSpPr>
            <p:spPr bwMode="auto">
              <a:xfrm>
                <a:off x="4043" y="1964"/>
                <a:ext cx="371" cy="10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168"/>
              <p:cNvSpPr>
                <a:spLocks noChangeArrowheads="1"/>
              </p:cNvSpPr>
              <p:nvPr/>
            </p:nvSpPr>
            <p:spPr bwMode="auto">
              <a:xfrm>
                <a:off x="3998" y="450"/>
                <a:ext cx="392" cy="65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169"/>
              <p:cNvSpPr>
                <a:spLocks noChangeArrowheads="1"/>
              </p:cNvSpPr>
              <p:nvPr/>
            </p:nvSpPr>
            <p:spPr bwMode="auto">
              <a:xfrm>
                <a:off x="4038" y="528"/>
                <a:ext cx="201" cy="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Rectangle 170"/>
              <p:cNvSpPr>
                <a:spLocks noChangeArrowheads="1"/>
              </p:cNvSpPr>
              <p:nvPr/>
            </p:nvSpPr>
            <p:spPr bwMode="auto">
              <a:xfrm>
                <a:off x="4260" y="639"/>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171"/>
              <p:cNvSpPr>
                <a:spLocks noChangeArrowheads="1"/>
              </p:cNvSpPr>
              <p:nvPr/>
            </p:nvSpPr>
            <p:spPr bwMode="auto">
              <a:xfrm>
                <a:off x="4260" y="528"/>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172"/>
              <p:cNvSpPr>
                <a:spLocks noChangeArrowheads="1"/>
              </p:cNvSpPr>
              <p:nvPr/>
            </p:nvSpPr>
            <p:spPr bwMode="auto">
              <a:xfrm>
                <a:off x="4260"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173"/>
              <p:cNvSpPr>
                <a:spLocks noChangeArrowheads="1"/>
              </p:cNvSpPr>
              <p:nvPr/>
            </p:nvSpPr>
            <p:spPr bwMode="auto">
              <a:xfrm>
                <a:off x="4149"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174"/>
              <p:cNvSpPr>
                <a:spLocks noChangeArrowheads="1"/>
              </p:cNvSpPr>
              <p:nvPr/>
            </p:nvSpPr>
            <p:spPr bwMode="auto">
              <a:xfrm>
                <a:off x="4038"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175"/>
              <p:cNvSpPr>
                <a:spLocks noChangeArrowheads="1"/>
              </p:cNvSpPr>
              <p:nvPr/>
            </p:nvSpPr>
            <p:spPr bwMode="auto">
              <a:xfrm>
                <a:off x="4038"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176"/>
              <p:cNvSpPr>
                <a:spLocks noChangeArrowheads="1"/>
              </p:cNvSpPr>
              <p:nvPr/>
            </p:nvSpPr>
            <p:spPr bwMode="auto">
              <a:xfrm>
                <a:off x="4149"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177"/>
              <p:cNvSpPr>
                <a:spLocks noChangeArrowheads="1"/>
              </p:cNvSpPr>
              <p:nvPr/>
            </p:nvSpPr>
            <p:spPr bwMode="auto">
              <a:xfrm>
                <a:off x="4260"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Rectangle 178"/>
              <p:cNvSpPr>
                <a:spLocks noChangeArrowheads="1"/>
              </p:cNvSpPr>
              <p:nvPr/>
            </p:nvSpPr>
            <p:spPr bwMode="auto">
              <a:xfrm>
                <a:off x="4260"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Rectangle 179"/>
              <p:cNvSpPr>
                <a:spLocks noChangeArrowheads="1"/>
              </p:cNvSpPr>
              <p:nvPr/>
            </p:nvSpPr>
            <p:spPr bwMode="auto">
              <a:xfrm>
                <a:off x="4149"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Rectangle 180"/>
              <p:cNvSpPr>
                <a:spLocks noChangeArrowheads="1"/>
              </p:cNvSpPr>
              <p:nvPr/>
            </p:nvSpPr>
            <p:spPr bwMode="auto">
              <a:xfrm>
                <a:off x="4038"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Rectangle 181"/>
              <p:cNvSpPr>
                <a:spLocks noChangeArrowheads="1"/>
              </p:cNvSpPr>
              <p:nvPr/>
            </p:nvSpPr>
            <p:spPr bwMode="auto">
              <a:xfrm>
                <a:off x="4411"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Rectangle 182"/>
              <p:cNvSpPr>
                <a:spLocks noChangeArrowheads="1"/>
              </p:cNvSpPr>
              <p:nvPr/>
            </p:nvSpPr>
            <p:spPr bwMode="auto">
              <a:xfrm>
                <a:off x="3981" y="2533"/>
                <a:ext cx="397"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183"/>
              <p:cNvSpPr>
                <a:spLocks noChangeArrowheads="1"/>
              </p:cNvSpPr>
              <p:nvPr/>
            </p:nvSpPr>
            <p:spPr bwMode="auto">
              <a:xfrm>
                <a:off x="3554" y="2533"/>
                <a:ext cx="394"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Rectangle 184"/>
              <p:cNvSpPr>
                <a:spLocks noChangeArrowheads="1"/>
              </p:cNvSpPr>
              <p:nvPr/>
            </p:nvSpPr>
            <p:spPr bwMode="auto">
              <a:xfrm>
                <a:off x="4411"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185"/>
              <p:cNvSpPr>
                <a:spLocks noChangeArrowheads="1"/>
              </p:cNvSpPr>
              <p:nvPr/>
            </p:nvSpPr>
            <p:spPr bwMode="auto">
              <a:xfrm>
                <a:off x="3981" y="2961"/>
                <a:ext cx="397"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Rectangle 186"/>
              <p:cNvSpPr>
                <a:spLocks noChangeArrowheads="1"/>
              </p:cNvSpPr>
              <p:nvPr/>
            </p:nvSpPr>
            <p:spPr bwMode="auto">
              <a:xfrm>
                <a:off x="3554" y="2961"/>
                <a:ext cx="394"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Rectangle 187"/>
              <p:cNvSpPr>
                <a:spLocks noChangeArrowheads="1"/>
              </p:cNvSpPr>
              <p:nvPr/>
            </p:nvSpPr>
            <p:spPr bwMode="auto">
              <a:xfrm>
                <a:off x="3126"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Rectangle 188"/>
              <p:cNvSpPr>
                <a:spLocks noChangeArrowheads="1"/>
              </p:cNvSpPr>
              <p:nvPr/>
            </p:nvSpPr>
            <p:spPr bwMode="auto">
              <a:xfrm>
                <a:off x="3126"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04944420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4257"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IN" dirty="0"/>
              <a:t>Microsoft and compliance</a:t>
            </a:r>
          </a:p>
        </p:txBody>
      </p:sp>
      <p:grpSp>
        <p:nvGrpSpPr>
          <p:cNvPr id="4" name="Group 3"/>
          <p:cNvGrpSpPr/>
          <p:nvPr/>
        </p:nvGrpSpPr>
        <p:grpSpPr>
          <a:xfrm>
            <a:off x="-1" y="1437463"/>
            <a:ext cx="12436476" cy="4572001"/>
            <a:chOff x="-1" y="1437463"/>
            <a:chExt cx="12436476" cy="4572001"/>
          </a:xfrm>
        </p:grpSpPr>
        <p:grpSp>
          <p:nvGrpSpPr>
            <p:cNvPr id="6" name="Group 5"/>
            <p:cNvGrpSpPr/>
            <p:nvPr/>
          </p:nvGrpSpPr>
          <p:grpSpPr>
            <a:xfrm>
              <a:off x="-1" y="1437463"/>
              <a:ext cx="12436476" cy="4572001"/>
              <a:chOff x="-1" y="1437463"/>
              <a:chExt cx="12436476" cy="4572001"/>
            </a:xfrm>
          </p:grpSpPr>
          <p:pic>
            <p:nvPicPr>
              <p:cNvPr id="25" name="Picture 3" descr="C:\Users\Sarah\Documents\_SSD_Business\Client_collateral\MICROSOFT_DVD_ART\MICROSOFT PHOTOS\From Matt\005_India_India_Quadrasystems_Nagaraj Ponnuswamy_Prashanth Subramanian.jpg"/>
              <p:cNvPicPr>
                <a:picLocks noChangeArrowheads="1"/>
              </p:cNvPicPr>
              <p:nvPr/>
            </p:nvPicPr>
            <p:blipFill rotWithShape="1">
              <a:blip r:embed="rId7" cstate="email">
                <a:extLst>
                  <a:ext uri="{28A0092B-C50C-407E-A947-70E740481C1C}">
                    <a14:useLocalDpi xmlns:a14="http://schemas.microsoft.com/office/drawing/2010/main"/>
                  </a:ext>
                </a:extLst>
              </a:blip>
              <a:srcRect l="40276" t="7293" r="3786" b="19260"/>
              <a:stretch/>
            </p:blipFill>
            <p:spPr bwMode="auto">
              <a:xfrm>
                <a:off x="-1" y="1437463"/>
                <a:ext cx="6191275" cy="4571999"/>
              </a:xfrm>
              <a:prstGeom prst="rect">
                <a:avLst/>
              </a:prstGeom>
              <a:gradFill flip="none" rotWithShape="1">
                <a:gsLst>
                  <a:gs pos="1250">
                    <a:schemeClr val="tx1">
                      <a:alpha val="43000"/>
                    </a:schemeClr>
                  </a:gs>
                  <a:gs pos="59000">
                    <a:schemeClr val="tx1">
                      <a:alpha val="0"/>
                    </a:schemeClr>
                  </a:gs>
                </a:gsLst>
                <a:lin ang="2700000" scaled="1"/>
                <a:tileRect/>
              </a:gradFill>
              <a:ln>
                <a:noFill/>
              </a:ln>
              <a:extLst/>
            </p:spPr>
          </p:pic>
          <p:sp>
            <p:nvSpPr>
              <p:cNvPr id="14" name="Rectangle 14"/>
              <p:cNvSpPr/>
              <p:nvPr/>
            </p:nvSpPr>
            <p:spPr>
              <a:xfrm>
                <a:off x="3213401" y="1437464"/>
                <a:ext cx="6049356" cy="4572000"/>
              </a:xfrm>
              <a:custGeom>
                <a:avLst/>
                <a:gdLst/>
                <a:ahLst/>
                <a:cxnLst/>
                <a:rect l="l" t="t" r="r" b="b"/>
                <a:pathLst>
                  <a:path w="5537559" h="5549541">
                    <a:moveTo>
                      <a:pt x="0" y="0"/>
                    </a:moveTo>
                    <a:lnTo>
                      <a:pt x="5537559" y="0"/>
                    </a:lnTo>
                    <a:lnTo>
                      <a:pt x="5537559" y="5549541"/>
                    </a:lnTo>
                    <a:lnTo>
                      <a:pt x="0" y="5549541"/>
                    </a:lnTo>
                    <a:cubicBezTo>
                      <a:pt x="415349" y="4831645"/>
                      <a:pt x="669836" y="3853086"/>
                      <a:pt x="669836" y="2774771"/>
                    </a:cubicBezTo>
                    <a:cubicBezTo>
                      <a:pt x="669836" y="1696455"/>
                      <a:pt x="415349" y="717896"/>
                      <a:pt x="0" y="0"/>
                    </a:cubicBezTo>
                    <a:close/>
                  </a:path>
                </a:pathLst>
              </a:custGeom>
              <a:solidFill>
                <a:schemeClr val="accent4"/>
              </a:solidFill>
            </p:spPr>
            <p:txBody>
              <a:bodyPr wrap="square" rtlCol="0" anchor="ctr">
                <a:noAutofit/>
              </a:bodyPr>
              <a:lstStyle/>
              <a:p>
                <a:pPr algn="l"/>
                <a:endParaRPr lang="en-US" sz="2000" dirty="0">
                  <a:solidFill>
                    <a:srgbClr val="FFFFFF"/>
                  </a:solidFill>
                  <a:cs typeface="Segoe UI Light"/>
                </a:endParaRPr>
              </a:p>
            </p:txBody>
          </p:sp>
          <p:sp>
            <p:nvSpPr>
              <p:cNvPr id="15" name="Rectangle 14"/>
              <p:cNvSpPr/>
              <p:nvPr/>
            </p:nvSpPr>
            <p:spPr>
              <a:xfrm>
                <a:off x="8942119" y="1437463"/>
                <a:ext cx="3494356" cy="4572001"/>
              </a:xfrm>
              <a:prstGeom prst="rect">
                <a:avLst/>
              </a:prstGeom>
              <a:solidFill>
                <a:schemeClr val="accent4"/>
              </a:solidFill>
            </p:spPr>
            <p:txBody>
              <a:bodyPr wrap="square" rtlCol="0" anchor="ctr">
                <a:noAutofit/>
              </a:bodyPr>
              <a:lstStyle/>
              <a:p>
                <a:pPr algn="l"/>
                <a:endParaRPr lang="en-US" sz="2000" dirty="0">
                  <a:solidFill>
                    <a:srgbClr val="FFFFFF"/>
                  </a:solidFill>
                  <a:cs typeface="Segoe UI Light"/>
                </a:endParaRPr>
              </a:p>
            </p:txBody>
          </p:sp>
          <p:sp>
            <p:nvSpPr>
              <p:cNvPr id="17" name="Rectangle 14"/>
              <p:cNvSpPr/>
              <p:nvPr/>
            </p:nvSpPr>
            <p:spPr>
              <a:xfrm>
                <a:off x="2959264" y="1437464"/>
                <a:ext cx="1055555" cy="4572000"/>
              </a:xfrm>
              <a:custGeom>
                <a:avLst/>
                <a:gdLst/>
                <a:ahLst/>
                <a:cxnLst/>
                <a:rect l="l" t="t" r="r" b="b"/>
                <a:pathLst>
                  <a:path w="1055555" h="5177917">
                    <a:moveTo>
                      <a:pt x="0" y="0"/>
                    </a:moveTo>
                    <a:lnTo>
                      <a:pt x="353208" y="0"/>
                    </a:lnTo>
                    <a:cubicBezTo>
                      <a:pt x="788716" y="669822"/>
                      <a:pt x="1055555" y="1582852"/>
                      <a:pt x="1055555" y="2588959"/>
                    </a:cubicBezTo>
                    <a:cubicBezTo>
                      <a:pt x="1055555" y="3595065"/>
                      <a:pt x="788716" y="4508095"/>
                      <a:pt x="353208" y="5177917"/>
                    </a:cubicBezTo>
                    <a:lnTo>
                      <a:pt x="0" y="5177917"/>
                    </a:lnTo>
                    <a:cubicBezTo>
                      <a:pt x="453737" y="4508095"/>
                      <a:pt x="731744" y="3595065"/>
                      <a:pt x="731744" y="2588959"/>
                    </a:cubicBezTo>
                    <a:cubicBezTo>
                      <a:pt x="731744" y="1582852"/>
                      <a:pt x="453737" y="669822"/>
                      <a:pt x="0" y="0"/>
                    </a:cubicBezTo>
                    <a:close/>
                  </a:path>
                </a:pathLst>
              </a:custGeom>
              <a:solidFill>
                <a:schemeClr val="bg1">
                  <a:alpha val="25000"/>
                </a:schemeClr>
              </a:solidFill>
            </p:spPr>
            <p:txBody>
              <a:bodyPr wrap="square" rtlCol="0" anchor="ctr">
                <a:noAutofit/>
              </a:bodyPr>
              <a:lstStyle/>
              <a:p>
                <a:pPr algn="l"/>
                <a:endParaRPr lang="en-US" sz="2000" dirty="0">
                  <a:solidFill>
                    <a:srgbClr val="FFFFFF"/>
                  </a:solidFill>
                  <a:cs typeface="Segoe UI Light"/>
                </a:endParaRPr>
              </a:p>
            </p:txBody>
          </p:sp>
        </p:grpSp>
        <p:sp>
          <p:nvSpPr>
            <p:cNvPr id="16" name="Rectangle 15"/>
            <p:cNvSpPr/>
            <p:nvPr/>
          </p:nvSpPr>
          <p:spPr>
            <a:xfrm>
              <a:off x="4058153" y="2384635"/>
              <a:ext cx="8103685" cy="3108543"/>
            </a:xfrm>
            <a:prstGeom prst="rect">
              <a:avLst/>
            </a:prstGeom>
          </p:spPr>
          <p:txBody>
            <a:bodyPr wrap="square" lIns="91440" tIns="45720" rIns="91440" bIns="45720">
              <a:spAutoFit/>
            </a:bodyPr>
            <a:lstStyle/>
            <a:p>
              <a:pPr>
                <a:spcAft>
                  <a:spcPts val="800"/>
                </a:spcAft>
              </a:pPr>
              <a:r>
                <a:rPr lang="en-US" sz="2800" dirty="0">
                  <a:solidFill>
                    <a:schemeClr val="bg1"/>
                  </a:solidFill>
                  <a:latin typeface="+mj-lt"/>
                  <a:ea typeface="Segoe UI" panose="020B0502040204020203" pitchFamily="34" charset="0"/>
                  <a:cs typeface="Segoe UI" panose="020B0502040204020203" pitchFamily="34" charset="0"/>
                </a:rPr>
                <a:t>Microsoft invests heavily in the development of innovative compliance technology, processes and integration in Azure. The Microsoft compliance framework for online services maps controls to multiple regulatory standards, which helps drive the design and building of services that meet today’s high level of security and privacy </a:t>
              </a:r>
              <a:r>
                <a:rPr lang="en-US" sz="2800" dirty="0" smtClean="0">
                  <a:solidFill>
                    <a:schemeClr val="bg1"/>
                  </a:solidFill>
                  <a:latin typeface="+mj-lt"/>
                  <a:ea typeface="Segoe UI" panose="020B0502040204020203" pitchFamily="34" charset="0"/>
                  <a:cs typeface="Segoe UI" panose="020B0502040204020203" pitchFamily="34" charset="0"/>
                </a:rPr>
                <a:t>needs.</a:t>
              </a:r>
              <a:endParaRPr lang="en-IN" sz="2800" dirty="0">
                <a:solidFill>
                  <a:schemeClr val="bg1"/>
                </a:solidFill>
                <a:latin typeface="+mj-lt"/>
                <a:ea typeface="Segoe UI" panose="020B0502040204020203" pitchFamily="34" charset="0"/>
                <a:cs typeface="Segoe UI" panose="020B0502040204020203" pitchFamily="34" charset="0"/>
              </a:endParaRPr>
            </a:p>
          </p:txBody>
        </p:sp>
      </p:grpSp>
      <p:grpSp>
        <p:nvGrpSpPr>
          <p:cNvPr id="22" name="Group 21"/>
          <p:cNvGrpSpPr/>
          <p:nvPr/>
        </p:nvGrpSpPr>
        <p:grpSpPr>
          <a:xfrm>
            <a:off x="11070579" y="297389"/>
            <a:ext cx="932340" cy="913874"/>
            <a:chOff x="11070579" y="297389"/>
            <a:chExt cx="932340" cy="913874"/>
          </a:xfrm>
        </p:grpSpPr>
        <p:sp>
          <p:nvSpPr>
            <p:cNvPr id="23" name="Rectangle 22"/>
            <p:cNvSpPr/>
            <p:nvPr/>
          </p:nvSpPr>
          <p:spPr bwMode="auto">
            <a:xfrm>
              <a:off x="11070579" y="297389"/>
              <a:ext cx="932340" cy="913874"/>
            </a:xfrm>
            <a:prstGeom prst="rect">
              <a:avLst/>
            </a:prstGeom>
            <a:solidFill>
              <a:schemeClr val="accent4"/>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p>
              <a:pPr algn="l" defTabSz="932563" fontAlgn="auto">
                <a:spcAft>
                  <a:spcPts val="587"/>
                </a:spcAft>
              </a:pPr>
              <a:endParaRPr lang="en-US" sz="2200" dirty="0">
                <a:solidFill>
                  <a:schemeClr val="bg1"/>
                </a:solidFill>
                <a:latin typeface="+mj-lt"/>
                <a:cs typeface="Segoe UI Semibold" panose="020B0702040204020203" pitchFamily="34" charset="0"/>
              </a:endParaRPr>
            </a:p>
          </p:txBody>
        </p:sp>
        <p:sp>
          <p:nvSpPr>
            <p:cNvPr id="24" name="Rectangle 23"/>
            <p:cNvSpPr/>
            <p:nvPr/>
          </p:nvSpPr>
          <p:spPr>
            <a:xfrm>
              <a:off x="11070579" y="1137623"/>
              <a:ext cx="932340" cy="73640"/>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grpSp>
          <p:nvGrpSpPr>
            <p:cNvPr id="29" name="Group 28"/>
            <p:cNvGrpSpPr/>
            <p:nvPr/>
          </p:nvGrpSpPr>
          <p:grpSpPr>
            <a:xfrm>
              <a:off x="11255375" y="472799"/>
              <a:ext cx="562748" cy="563054"/>
              <a:chOff x="-4292600" y="-1301750"/>
              <a:chExt cx="5827713" cy="5830888"/>
            </a:xfrm>
            <a:solidFill>
              <a:schemeClr val="bg1">
                <a:alpha val="22000"/>
              </a:schemeClr>
            </a:solidFill>
          </p:grpSpPr>
          <p:sp>
            <p:nvSpPr>
              <p:cNvPr id="31" name="Freeform 30"/>
              <p:cNvSpPr>
                <a:spLocks noEditPoints="1"/>
              </p:cNvSpPr>
              <p:nvPr/>
            </p:nvSpPr>
            <p:spPr bwMode="auto">
              <a:xfrm>
                <a:off x="-4292600" y="-1301750"/>
                <a:ext cx="5827713" cy="5830888"/>
              </a:xfrm>
              <a:custGeom>
                <a:avLst/>
                <a:gdLst>
                  <a:gd name="T0" fmla="*/ 2874 w 3671"/>
                  <a:gd name="T1" fmla="*/ 3100 h 3673"/>
                  <a:gd name="T2" fmla="*/ 3236 w 3671"/>
                  <a:gd name="T3" fmla="*/ 2924 h 3673"/>
                  <a:gd name="T4" fmla="*/ 1108 w 3671"/>
                  <a:gd name="T5" fmla="*/ 1714 h 3673"/>
                  <a:gd name="T6" fmla="*/ 888 w 3671"/>
                  <a:gd name="T7" fmla="*/ 1739 h 3673"/>
                  <a:gd name="T8" fmla="*/ 687 w 3671"/>
                  <a:gd name="T9" fmla="*/ 1816 h 3673"/>
                  <a:gd name="T10" fmla="*/ 514 w 3671"/>
                  <a:gd name="T11" fmla="*/ 1937 h 3673"/>
                  <a:gd name="T12" fmla="*/ 376 w 3671"/>
                  <a:gd name="T13" fmla="*/ 2098 h 3673"/>
                  <a:gd name="T14" fmla="*/ 279 w 3671"/>
                  <a:gd name="T15" fmla="*/ 2289 h 3673"/>
                  <a:gd name="T16" fmla="*/ 231 w 3671"/>
                  <a:gd name="T17" fmla="*/ 2504 h 3673"/>
                  <a:gd name="T18" fmla="*/ 238 w 3671"/>
                  <a:gd name="T19" fmla="*/ 2730 h 3673"/>
                  <a:gd name="T20" fmla="*/ 305 w 3671"/>
                  <a:gd name="T21" fmla="*/ 2941 h 3673"/>
                  <a:gd name="T22" fmla="*/ 423 w 3671"/>
                  <a:gd name="T23" fmla="*/ 3129 h 3673"/>
                  <a:gd name="T24" fmla="*/ 581 w 3671"/>
                  <a:gd name="T25" fmla="*/ 3280 h 3673"/>
                  <a:gd name="T26" fmla="*/ 772 w 3671"/>
                  <a:gd name="T27" fmla="*/ 3390 h 3673"/>
                  <a:gd name="T28" fmla="*/ 986 w 3671"/>
                  <a:gd name="T29" fmla="*/ 3444 h 3673"/>
                  <a:gd name="T30" fmla="*/ 1214 w 3671"/>
                  <a:gd name="T31" fmla="*/ 3440 h 3673"/>
                  <a:gd name="T32" fmla="*/ 1428 w 3671"/>
                  <a:gd name="T33" fmla="*/ 3381 h 3673"/>
                  <a:gd name="T34" fmla="*/ 1614 w 3671"/>
                  <a:gd name="T35" fmla="*/ 3276 h 3673"/>
                  <a:gd name="T36" fmla="*/ 1767 w 3671"/>
                  <a:gd name="T37" fmla="*/ 3130 h 3673"/>
                  <a:gd name="T38" fmla="*/ 1880 w 3671"/>
                  <a:gd name="T39" fmla="*/ 2950 h 3673"/>
                  <a:gd name="T40" fmla="*/ 1946 w 3671"/>
                  <a:gd name="T41" fmla="*/ 2743 h 3673"/>
                  <a:gd name="T42" fmla="*/ 1959 w 3671"/>
                  <a:gd name="T43" fmla="*/ 2513 h 3673"/>
                  <a:gd name="T44" fmla="*/ 1911 w 3671"/>
                  <a:gd name="T45" fmla="*/ 2290 h 3673"/>
                  <a:gd name="T46" fmla="*/ 1809 w 3671"/>
                  <a:gd name="T47" fmla="*/ 2091 h 3673"/>
                  <a:gd name="T48" fmla="*/ 1661 w 3671"/>
                  <a:gd name="T49" fmla="*/ 1926 h 3673"/>
                  <a:gd name="T50" fmla="*/ 1477 w 3671"/>
                  <a:gd name="T51" fmla="*/ 1802 h 3673"/>
                  <a:gd name="T52" fmla="*/ 1263 w 3671"/>
                  <a:gd name="T53" fmla="*/ 1730 h 3673"/>
                  <a:gd name="T54" fmla="*/ 1210 w 3671"/>
                  <a:gd name="T55" fmla="*/ 225 h 3673"/>
                  <a:gd name="T56" fmla="*/ 1370 w 3671"/>
                  <a:gd name="T57" fmla="*/ 1526 h 3673"/>
                  <a:gd name="T58" fmla="*/ 1586 w 3671"/>
                  <a:gd name="T59" fmla="*/ 1605 h 3673"/>
                  <a:gd name="T60" fmla="*/ 1774 w 3671"/>
                  <a:gd name="T61" fmla="*/ 1721 h 3673"/>
                  <a:gd name="T62" fmla="*/ 1931 w 3671"/>
                  <a:gd name="T63" fmla="*/ 1874 h 3673"/>
                  <a:gd name="T64" fmla="*/ 2056 w 3671"/>
                  <a:gd name="T65" fmla="*/ 2064 h 3673"/>
                  <a:gd name="T66" fmla="*/ 2147 w 3671"/>
                  <a:gd name="T67" fmla="*/ 2297 h 3673"/>
                  <a:gd name="T68" fmla="*/ 2190 w 3671"/>
                  <a:gd name="T69" fmla="*/ 2543 h 3673"/>
                  <a:gd name="T70" fmla="*/ 2174 w 3671"/>
                  <a:gd name="T71" fmla="*/ 2777 h 3673"/>
                  <a:gd name="T72" fmla="*/ 2105 w 3671"/>
                  <a:gd name="T73" fmla="*/ 3001 h 3673"/>
                  <a:gd name="T74" fmla="*/ 1984 w 3671"/>
                  <a:gd name="T75" fmla="*/ 3214 h 3673"/>
                  <a:gd name="T76" fmla="*/ 2648 w 3671"/>
                  <a:gd name="T77" fmla="*/ 3351 h 3673"/>
                  <a:gd name="T78" fmla="*/ 3441 w 3671"/>
                  <a:gd name="T79" fmla="*/ 225 h 3673"/>
                  <a:gd name="T80" fmla="*/ 3668 w 3671"/>
                  <a:gd name="T81" fmla="*/ 0 h 3673"/>
                  <a:gd name="T82" fmla="*/ 3671 w 3671"/>
                  <a:gd name="T83" fmla="*/ 2178 h 3673"/>
                  <a:gd name="T84" fmla="*/ 3670 w 3671"/>
                  <a:gd name="T85" fmla="*/ 2793 h 3673"/>
                  <a:gd name="T86" fmla="*/ 3644 w 3671"/>
                  <a:gd name="T87" fmla="*/ 2841 h 3673"/>
                  <a:gd name="T88" fmla="*/ 2891 w 3671"/>
                  <a:gd name="T89" fmla="*/ 3571 h 3673"/>
                  <a:gd name="T90" fmla="*/ 1573 w 3671"/>
                  <a:gd name="T91" fmla="*/ 3578 h 3673"/>
                  <a:gd name="T92" fmla="*/ 1443 w 3671"/>
                  <a:gd name="T93" fmla="*/ 3617 h 3673"/>
                  <a:gd name="T94" fmla="*/ 1207 w 3671"/>
                  <a:gd name="T95" fmla="*/ 3667 h 3673"/>
                  <a:gd name="T96" fmla="*/ 973 w 3671"/>
                  <a:gd name="T97" fmla="*/ 3667 h 3673"/>
                  <a:gd name="T98" fmla="*/ 750 w 3671"/>
                  <a:gd name="T99" fmla="*/ 3619 h 3673"/>
                  <a:gd name="T100" fmla="*/ 543 w 3671"/>
                  <a:gd name="T101" fmla="*/ 3527 h 3673"/>
                  <a:gd name="T102" fmla="*/ 359 w 3671"/>
                  <a:gd name="T103" fmla="*/ 3391 h 3673"/>
                  <a:gd name="T104" fmla="*/ 205 w 3671"/>
                  <a:gd name="T105" fmla="*/ 3217 h 3673"/>
                  <a:gd name="T106" fmla="*/ 87 w 3671"/>
                  <a:gd name="T107" fmla="*/ 3005 h 3673"/>
                  <a:gd name="T108" fmla="*/ 17 w 3671"/>
                  <a:gd name="T109" fmla="*/ 2777 h 3673"/>
                  <a:gd name="T110" fmla="*/ 0 w 3671"/>
                  <a:gd name="T111" fmla="*/ 2548 h 3673"/>
                  <a:gd name="T112" fmla="*/ 32 w 3671"/>
                  <a:gd name="T113" fmla="*/ 2323 h 3673"/>
                  <a:gd name="T114" fmla="*/ 110 w 3671"/>
                  <a:gd name="T115" fmla="*/ 2109 h 3673"/>
                  <a:gd name="T116" fmla="*/ 230 w 3671"/>
                  <a:gd name="T117" fmla="*/ 1914 h 3673"/>
                  <a:gd name="T118" fmla="*/ 388 w 3671"/>
                  <a:gd name="T119" fmla="*/ 1748 h 3673"/>
                  <a:gd name="T120" fmla="*/ 582 w 3671"/>
                  <a:gd name="T121" fmla="*/ 1616 h 3673"/>
                  <a:gd name="T122" fmla="*/ 815 w 3671"/>
                  <a:gd name="T123" fmla="*/ 1526 h 3673"/>
                  <a:gd name="T124" fmla="*/ 983 w 3671"/>
                  <a:gd name="T125" fmla="*/ 0 h 3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71" h="3673">
                    <a:moveTo>
                      <a:pt x="2874" y="2746"/>
                    </a:moveTo>
                    <a:lnTo>
                      <a:pt x="2874" y="2922"/>
                    </a:lnTo>
                    <a:lnTo>
                      <a:pt x="2874" y="3100"/>
                    </a:lnTo>
                    <a:lnTo>
                      <a:pt x="2874" y="3278"/>
                    </a:lnTo>
                    <a:lnTo>
                      <a:pt x="3056" y="3101"/>
                    </a:lnTo>
                    <a:lnTo>
                      <a:pt x="3236" y="2924"/>
                    </a:lnTo>
                    <a:lnTo>
                      <a:pt x="3417" y="2746"/>
                    </a:lnTo>
                    <a:lnTo>
                      <a:pt x="2874" y="2746"/>
                    </a:lnTo>
                    <a:close/>
                    <a:moveTo>
                      <a:pt x="1108" y="1714"/>
                    </a:moveTo>
                    <a:lnTo>
                      <a:pt x="1033" y="1716"/>
                    </a:lnTo>
                    <a:lnTo>
                      <a:pt x="959" y="1724"/>
                    </a:lnTo>
                    <a:lnTo>
                      <a:pt x="888" y="1739"/>
                    </a:lnTo>
                    <a:lnTo>
                      <a:pt x="818" y="1759"/>
                    </a:lnTo>
                    <a:lnTo>
                      <a:pt x="751" y="1784"/>
                    </a:lnTo>
                    <a:lnTo>
                      <a:pt x="687" y="1816"/>
                    </a:lnTo>
                    <a:lnTo>
                      <a:pt x="626" y="1851"/>
                    </a:lnTo>
                    <a:lnTo>
                      <a:pt x="569" y="1893"/>
                    </a:lnTo>
                    <a:lnTo>
                      <a:pt x="514" y="1937"/>
                    </a:lnTo>
                    <a:lnTo>
                      <a:pt x="464" y="1987"/>
                    </a:lnTo>
                    <a:lnTo>
                      <a:pt x="418" y="2041"/>
                    </a:lnTo>
                    <a:lnTo>
                      <a:pt x="376" y="2098"/>
                    </a:lnTo>
                    <a:lnTo>
                      <a:pt x="339" y="2158"/>
                    </a:lnTo>
                    <a:lnTo>
                      <a:pt x="307" y="2222"/>
                    </a:lnTo>
                    <a:lnTo>
                      <a:pt x="279" y="2289"/>
                    </a:lnTo>
                    <a:lnTo>
                      <a:pt x="258" y="2358"/>
                    </a:lnTo>
                    <a:lnTo>
                      <a:pt x="241" y="2430"/>
                    </a:lnTo>
                    <a:lnTo>
                      <a:pt x="231" y="2504"/>
                    </a:lnTo>
                    <a:lnTo>
                      <a:pt x="226" y="2581"/>
                    </a:lnTo>
                    <a:lnTo>
                      <a:pt x="229" y="2656"/>
                    </a:lnTo>
                    <a:lnTo>
                      <a:pt x="238" y="2730"/>
                    </a:lnTo>
                    <a:lnTo>
                      <a:pt x="254" y="2803"/>
                    </a:lnTo>
                    <a:lnTo>
                      <a:pt x="277" y="2873"/>
                    </a:lnTo>
                    <a:lnTo>
                      <a:pt x="305" y="2941"/>
                    </a:lnTo>
                    <a:lnTo>
                      <a:pt x="339" y="3007"/>
                    </a:lnTo>
                    <a:lnTo>
                      <a:pt x="378" y="3069"/>
                    </a:lnTo>
                    <a:lnTo>
                      <a:pt x="423" y="3129"/>
                    </a:lnTo>
                    <a:lnTo>
                      <a:pt x="471" y="3183"/>
                    </a:lnTo>
                    <a:lnTo>
                      <a:pt x="524" y="3234"/>
                    </a:lnTo>
                    <a:lnTo>
                      <a:pt x="581" y="3280"/>
                    </a:lnTo>
                    <a:lnTo>
                      <a:pt x="641" y="3323"/>
                    </a:lnTo>
                    <a:lnTo>
                      <a:pt x="705" y="3358"/>
                    </a:lnTo>
                    <a:lnTo>
                      <a:pt x="772" y="3390"/>
                    </a:lnTo>
                    <a:lnTo>
                      <a:pt x="841" y="3414"/>
                    </a:lnTo>
                    <a:lnTo>
                      <a:pt x="912" y="3432"/>
                    </a:lnTo>
                    <a:lnTo>
                      <a:pt x="986" y="3444"/>
                    </a:lnTo>
                    <a:lnTo>
                      <a:pt x="1061" y="3449"/>
                    </a:lnTo>
                    <a:lnTo>
                      <a:pt x="1138" y="3448"/>
                    </a:lnTo>
                    <a:lnTo>
                      <a:pt x="1214" y="3440"/>
                    </a:lnTo>
                    <a:lnTo>
                      <a:pt x="1287" y="3425"/>
                    </a:lnTo>
                    <a:lnTo>
                      <a:pt x="1359" y="3406"/>
                    </a:lnTo>
                    <a:lnTo>
                      <a:pt x="1428" y="3381"/>
                    </a:lnTo>
                    <a:lnTo>
                      <a:pt x="1492" y="3351"/>
                    </a:lnTo>
                    <a:lnTo>
                      <a:pt x="1555" y="3316"/>
                    </a:lnTo>
                    <a:lnTo>
                      <a:pt x="1614" y="3276"/>
                    </a:lnTo>
                    <a:lnTo>
                      <a:pt x="1669" y="3231"/>
                    </a:lnTo>
                    <a:lnTo>
                      <a:pt x="1720" y="3182"/>
                    </a:lnTo>
                    <a:lnTo>
                      <a:pt x="1767" y="3130"/>
                    </a:lnTo>
                    <a:lnTo>
                      <a:pt x="1809" y="3073"/>
                    </a:lnTo>
                    <a:lnTo>
                      <a:pt x="1847" y="3014"/>
                    </a:lnTo>
                    <a:lnTo>
                      <a:pt x="1880" y="2950"/>
                    </a:lnTo>
                    <a:lnTo>
                      <a:pt x="1907" y="2883"/>
                    </a:lnTo>
                    <a:lnTo>
                      <a:pt x="1930" y="2814"/>
                    </a:lnTo>
                    <a:lnTo>
                      <a:pt x="1946" y="2743"/>
                    </a:lnTo>
                    <a:lnTo>
                      <a:pt x="1956" y="2668"/>
                    </a:lnTo>
                    <a:lnTo>
                      <a:pt x="1961" y="2592"/>
                    </a:lnTo>
                    <a:lnTo>
                      <a:pt x="1959" y="2513"/>
                    </a:lnTo>
                    <a:lnTo>
                      <a:pt x="1949" y="2437"/>
                    </a:lnTo>
                    <a:lnTo>
                      <a:pt x="1933" y="2362"/>
                    </a:lnTo>
                    <a:lnTo>
                      <a:pt x="1911" y="2290"/>
                    </a:lnTo>
                    <a:lnTo>
                      <a:pt x="1883" y="2221"/>
                    </a:lnTo>
                    <a:lnTo>
                      <a:pt x="1848" y="2155"/>
                    </a:lnTo>
                    <a:lnTo>
                      <a:pt x="1809" y="2091"/>
                    </a:lnTo>
                    <a:lnTo>
                      <a:pt x="1765" y="2032"/>
                    </a:lnTo>
                    <a:lnTo>
                      <a:pt x="1716" y="1977"/>
                    </a:lnTo>
                    <a:lnTo>
                      <a:pt x="1661" y="1926"/>
                    </a:lnTo>
                    <a:lnTo>
                      <a:pt x="1604" y="1880"/>
                    </a:lnTo>
                    <a:lnTo>
                      <a:pt x="1542" y="1839"/>
                    </a:lnTo>
                    <a:lnTo>
                      <a:pt x="1477" y="1802"/>
                    </a:lnTo>
                    <a:lnTo>
                      <a:pt x="1408" y="1772"/>
                    </a:lnTo>
                    <a:lnTo>
                      <a:pt x="1336" y="1748"/>
                    </a:lnTo>
                    <a:lnTo>
                      <a:pt x="1263" y="1730"/>
                    </a:lnTo>
                    <a:lnTo>
                      <a:pt x="1186" y="1719"/>
                    </a:lnTo>
                    <a:lnTo>
                      <a:pt x="1108" y="1714"/>
                    </a:lnTo>
                    <a:close/>
                    <a:moveTo>
                      <a:pt x="1210" y="225"/>
                    </a:moveTo>
                    <a:lnTo>
                      <a:pt x="1210" y="1491"/>
                    </a:lnTo>
                    <a:lnTo>
                      <a:pt x="1291" y="1507"/>
                    </a:lnTo>
                    <a:lnTo>
                      <a:pt x="1370" y="1526"/>
                    </a:lnTo>
                    <a:lnTo>
                      <a:pt x="1444" y="1548"/>
                    </a:lnTo>
                    <a:lnTo>
                      <a:pt x="1517" y="1575"/>
                    </a:lnTo>
                    <a:lnTo>
                      <a:pt x="1586" y="1605"/>
                    </a:lnTo>
                    <a:lnTo>
                      <a:pt x="1652" y="1639"/>
                    </a:lnTo>
                    <a:lnTo>
                      <a:pt x="1714" y="1678"/>
                    </a:lnTo>
                    <a:lnTo>
                      <a:pt x="1774" y="1721"/>
                    </a:lnTo>
                    <a:lnTo>
                      <a:pt x="1829" y="1768"/>
                    </a:lnTo>
                    <a:lnTo>
                      <a:pt x="1882" y="1819"/>
                    </a:lnTo>
                    <a:lnTo>
                      <a:pt x="1931" y="1874"/>
                    </a:lnTo>
                    <a:lnTo>
                      <a:pt x="1975" y="1933"/>
                    </a:lnTo>
                    <a:lnTo>
                      <a:pt x="2018" y="1996"/>
                    </a:lnTo>
                    <a:lnTo>
                      <a:pt x="2056" y="2064"/>
                    </a:lnTo>
                    <a:lnTo>
                      <a:pt x="2090" y="2137"/>
                    </a:lnTo>
                    <a:lnTo>
                      <a:pt x="2120" y="2214"/>
                    </a:lnTo>
                    <a:lnTo>
                      <a:pt x="2147" y="2297"/>
                    </a:lnTo>
                    <a:lnTo>
                      <a:pt x="2168" y="2380"/>
                    </a:lnTo>
                    <a:lnTo>
                      <a:pt x="2182" y="2463"/>
                    </a:lnTo>
                    <a:lnTo>
                      <a:pt x="2190" y="2543"/>
                    </a:lnTo>
                    <a:lnTo>
                      <a:pt x="2191" y="2622"/>
                    </a:lnTo>
                    <a:lnTo>
                      <a:pt x="2185" y="2700"/>
                    </a:lnTo>
                    <a:lnTo>
                      <a:pt x="2174" y="2777"/>
                    </a:lnTo>
                    <a:lnTo>
                      <a:pt x="2157" y="2853"/>
                    </a:lnTo>
                    <a:lnTo>
                      <a:pt x="2134" y="2928"/>
                    </a:lnTo>
                    <a:lnTo>
                      <a:pt x="2105" y="3001"/>
                    </a:lnTo>
                    <a:lnTo>
                      <a:pt x="2070" y="3074"/>
                    </a:lnTo>
                    <a:lnTo>
                      <a:pt x="2030" y="3144"/>
                    </a:lnTo>
                    <a:lnTo>
                      <a:pt x="1984" y="3214"/>
                    </a:lnTo>
                    <a:lnTo>
                      <a:pt x="1933" y="3282"/>
                    </a:lnTo>
                    <a:lnTo>
                      <a:pt x="1876" y="3351"/>
                    </a:lnTo>
                    <a:lnTo>
                      <a:pt x="2648" y="3351"/>
                    </a:lnTo>
                    <a:lnTo>
                      <a:pt x="2648" y="2519"/>
                    </a:lnTo>
                    <a:lnTo>
                      <a:pt x="3441" y="2519"/>
                    </a:lnTo>
                    <a:lnTo>
                      <a:pt x="3441" y="225"/>
                    </a:lnTo>
                    <a:lnTo>
                      <a:pt x="1210" y="225"/>
                    </a:lnTo>
                    <a:close/>
                    <a:moveTo>
                      <a:pt x="983" y="0"/>
                    </a:moveTo>
                    <a:lnTo>
                      <a:pt x="3668" y="0"/>
                    </a:lnTo>
                    <a:lnTo>
                      <a:pt x="3670" y="21"/>
                    </a:lnTo>
                    <a:lnTo>
                      <a:pt x="3670" y="42"/>
                    </a:lnTo>
                    <a:lnTo>
                      <a:pt x="3671" y="2178"/>
                    </a:lnTo>
                    <a:lnTo>
                      <a:pt x="3670" y="2476"/>
                    </a:lnTo>
                    <a:lnTo>
                      <a:pt x="3671" y="2774"/>
                    </a:lnTo>
                    <a:lnTo>
                      <a:pt x="3670" y="2793"/>
                    </a:lnTo>
                    <a:lnTo>
                      <a:pt x="3665" y="2811"/>
                    </a:lnTo>
                    <a:lnTo>
                      <a:pt x="3657" y="2825"/>
                    </a:lnTo>
                    <a:lnTo>
                      <a:pt x="3644" y="2841"/>
                    </a:lnTo>
                    <a:lnTo>
                      <a:pt x="2919" y="3552"/>
                    </a:lnTo>
                    <a:lnTo>
                      <a:pt x="2906" y="3564"/>
                    </a:lnTo>
                    <a:lnTo>
                      <a:pt x="2891" y="3571"/>
                    </a:lnTo>
                    <a:lnTo>
                      <a:pt x="2874" y="3577"/>
                    </a:lnTo>
                    <a:lnTo>
                      <a:pt x="2857" y="3578"/>
                    </a:lnTo>
                    <a:lnTo>
                      <a:pt x="1573" y="3578"/>
                    </a:lnTo>
                    <a:lnTo>
                      <a:pt x="1547" y="3580"/>
                    </a:lnTo>
                    <a:lnTo>
                      <a:pt x="1523" y="3588"/>
                    </a:lnTo>
                    <a:lnTo>
                      <a:pt x="1443" y="3617"/>
                    </a:lnTo>
                    <a:lnTo>
                      <a:pt x="1364" y="3639"/>
                    </a:lnTo>
                    <a:lnTo>
                      <a:pt x="1285" y="3656"/>
                    </a:lnTo>
                    <a:lnTo>
                      <a:pt x="1207" y="3667"/>
                    </a:lnTo>
                    <a:lnTo>
                      <a:pt x="1128" y="3673"/>
                    </a:lnTo>
                    <a:lnTo>
                      <a:pt x="1050" y="3673"/>
                    </a:lnTo>
                    <a:lnTo>
                      <a:pt x="973" y="3667"/>
                    </a:lnTo>
                    <a:lnTo>
                      <a:pt x="897" y="3657"/>
                    </a:lnTo>
                    <a:lnTo>
                      <a:pt x="823" y="3641"/>
                    </a:lnTo>
                    <a:lnTo>
                      <a:pt x="750" y="3619"/>
                    </a:lnTo>
                    <a:lnTo>
                      <a:pt x="679" y="3594"/>
                    </a:lnTo>
                    <a:lnTo>
                      <a:pt x="610" y="3562"/>
                    </a:lnTo>
                    <a:lnTo>
                      <a:pt x="543" y="3527"/>
                    </a:lnTo>
                    <a:lnTo>
                      <a:pt x="479" y="3485"/>
                    </a:lnTo>
                    <a:lnTo>
                      <a:pt x="417" y="3441"/>
                    </a:lnTo>
                    <a:lnTo>
                      <a:pt x="359" y="3391"/>
                    </a:lnTo>
                    <a:lnTo>
                      <a:pt x="305" y="3337"/>
                    </a:lnTo>
                    <a:lnTo>
                      <a:pt x="253" y="3279"/>
                    </a:lnTo>
                    <a:lnTo>
                      <a:pt x="205" y="3217"/>
                    </a:lnTo>
                    <a:lnTo>
                      <a:pt x="162" y="3150"/>
                    </a:lnTo>
                    <a:lnTo>
                      <a:pt x="122" y="3079"/>
                    </a:lnTo>
                    <a:lnTo>
                      <a:pt x="87" y="3005"/>
                    </a:lnTo>
                    <a:lnTo>
                      <a:pt x="57" y="2927"/>
                    </a:lnTo>
                    <a:lnTo>
                      <a:pt x="33" y="2852"/>
                    </a:lnTo>
                    <a:lnTo>
                      <a:pt x="17" y="2777"/>
                    </a:lnTo>
                    <a:lnTo>
                      <a:pt x="6" y="2700"/>
                    </a:lnTo>
                    <a:lnTo>
                      <a:pt x="0" y="2624"/>
                    </a:lnTo>
                    <a:lnTo>
                      <a:pt x="0" y="2548"/>
                    </a:lnTo>
                    <a:lnTo>
                      <a:pt x="6" y="2473"/>
                    </a:lnTo>
                    <a:lnTo>
                      <a:pt x="17" y="2397"/>
                    </a:lnTo>
                    <a:lnTo>
                      <a:pt x="32" y="2323"/>
                    </a:lnTo>
                    <a:lnTo>
                      <a:pt x="54" y="2250"/>
                    </a:lnTo>
                    <a:lnTo>
                      <a:pt x="79" y="2178"/>
                    </a:lnTo>
                    <a:lnTo>
                      <a:pt x="110" y="2109"/>
                    </a:lnTo>
                    <a:lnTo>
                      <a:pt x="145" y="2041"/>
                    </a:lnTo>
                    <a:lnTo>
                      <a:pt x="185" y="1976"/>
                    </a:lnTo>
                    <a:lnTo>
                      <a:pt x="230" y="1914"/>
                    </a:lnTo>
                    <a:lnTo>
                      <a:pt x="279" y="1855"/>
                    </a:lnTo>
                    <a:lnTo>
                      <a:pt x="331" y="1799"/>
                    </a:lnTo>
                    <a:lnTo>
                      <a:pt x="388" y="1748"/>
                    </a:lnTo>
                    <a:lnTo>
                      <a:pt x="450" y="1700"/>
                    </a:lnTo>
                    <a:lnTo>
                      <a:pt x="514" y="1655"/>
                    </a:lnTo>
                    <a:lnTo>
                      <a:pt x="582" y="1616"/>
                    </a:lnTo>
                    <a:lnTo>
                      <a:pt x="658" y="1580"/>
                    </a:lnTo>
                    <a:lnTo>
                      <a:pt x="735" y="1550"/>
                    </a:lnTo>
                    <a:lnTo>
                      <a:pt x="815" y="1526"/>
                    </a:lnTo>
                    <a:lnTo>
                      <a:pt x="897" y="1507"/>
                    </a:lnTo>
                    <a:lnTo>
                      <a:pt x="983" y="1494"/>
                    </a:lnTo>
                    <a:lnTo>
                      <a:pt x="983" y="0"/>
                    </a:lnTo>
                    <a:close/>
                  </a:path>
                </a:pathLst>
              </a:custGeom>
              <a:solidFill>
                <a:schemeClr val="bg1">
                  <a:alpha val="22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sp>
            <p:nvSpPr>
              <p:cNvPr id="32" name="Freeform 31"/>
              <p:cNvSpPr>
                <a:spLocks/>
              </p:cNvSpPr>
              <p:nvPr/>
            </p:nvSpPr>
            <p:spPr bwMode="auto">
              <a:xfrm>
                <a:off x="-3602038" y="2185988"/>
                <a:ext cx="1951038" cy="1366838"/>
              </a:xfrm>
              <a:custGeom>
                <a:avLst/>
                <a:gdLst>
                  <a:gd name="T0" fmla="*/ 1115 w 1229"/>
                  <a:gd name="T1" fmla="*/ 0 h 861"/>
                  <a:gd name="T2" fmla="*/ 1136 w 1229"/>
                  <a:gd name="T3" fmla="*/ 0 h 861"/>
                  <a:gd name="T4" fmla="*/ 1156 w 1229"/>
                  <a:gd name="T5" fmla="*/ 6 h 861"/>
                  <a:gd name="T6" fmla="*/ 1173 w 1229"/>
                  <a:gd name="T7" fmla="*/ 15 h 861"/>
                  <a:gd name="T8" fmla="*/ 1190 w 1229"/>
                  <a:gd name="T9" fmla="*/ 28 h 861"/>
                  <a:gd name="T10" fmla="*/ 1206 w 1229"/>
                  <a:gd name="T11" fmla="*/ 46 h 861"/>
                  <a:gd name="T12" fmla="*/ 1219 w 1229"/>
                  <a:gd name="T13" fmla="*/ 68 h 861"/>
                  <a:gd name="T14" fmla="*/ 1227 w 1229"/>
                  <a:gd name="T15" fmla="*/ 92 h 861"/>
                  <a:gd name="T16" fmla="*/ 1229 w 1229"/>
                  <a:gd name="T17" fmla="*/ 116 h 861"/>
                  <a:gd name="T18" fmla="*/ 1225 w 1229"/>
                  <a:gd name="T19" fmla="*/ 141 h 861"/>
                  <a:gd name="T20" fmla="*/ 1214 w 1229"/>
                  <a:gd name="T21" fmla="*/ 165 h 861"/>
                  <a:gd name="T22" fmla="*/ 1199 w 1229"/>
                  <a:gd name="T23" fmla="*/ 186 h 861"/>
                  <a:gd name="T24" fmla="*/ 1181 w 1229"/>
                  <a:gd name="T25" fmla="*/ 205 h 861"/>
                  <a:gd name="T26" fmla="*/ 577 w 1229"/>
                  <a:gd name="T27" fmla="*/ 811 h 861"/>
                  <a:gd name="T28" fmla="*/ 552 w 1229"/>
                  <a:gd name="T29" fmla="*/ 833 h 861"/>
                  <a:gd name="T30" fmla="*/ 528 w 1229"/>
                  <a:gd name="T31" fmla="*/ 849 h 861"/>
                  <a:gd name="T32" fmla="*/ 503 w 1229"/>
                  <a:gd name="T33" fmla="*/ 858 h 861"/>
                  <a:gd name="T34" fmla="*/ 480 w 1229"/>
                  <a:gd name="T35" fmla="*/ 861 h 861"/>
                  <a:gd name="T36" fmla="*/ 456 w 1229"/>
                  <a:gd name="T37" fmla="*/ 859 h 861"/>
                  <a:gd name="T38" fmla="*/ 433 w 1229"/>
                  <a:gd name="T39" fmla="*/ 849 h 861"/>
                  <a:gd name="T40" fmla="*/ 408 w 1229"/>
                  <a:gd name="T41" fmla="*/ 833 h 861"/>
                  <a:gd name="T42" fmla="*/ 384 w 1229"/>
                  <a:gd name="T43" fmla="*/ 812 h 861"/>
                  <a:gd name="T44" fmla="*/ 41 w 1229"/>
                  <a:gd name="T45" fmla="*/ 470 h 861"/>
                  <a:gd name="T46" fmla="*/ 22 w 1229"/>
                  <a:gd name="T47" fmla="*/ 446 h 861"/>
                  <a:gd name="T48" fmla="*/ 9 w 1229"/>
                  <a:gd name="T49" fmla="*/ 423 h 861"/>
                  <a:gd name="T50" fmla="*/ 2 w 1229"/>
                  <a:gd name="T51" fmla="*/ 397 h 861"/>
                  <a:gd name="T52" fmla="*/ 0 w 1229"/>
                  <a:gd name="T53" fmla="*/ 372 h 861"/>
                  <a:gd name="T54" fmla="*/ 6 w 1229"/>
                  <a:gd name="T55" fmla="*/ 347 h 861"/>
                  <a:gd name="T56" fmla="*/ 16 w 1229"/>
                  <a:gd name="T57" fmla="*/ 324 h 861"/>
                  <a:gd name="T58" fmla="*/ 32 w 1229"/>
                  <a:gd name="T59" fmla="*/ 302 h 861"/>
                  <a:gd name="T60" fmla="*/ 54 w 1229"/>
                  <a:gd name="T61" fmla="*/ 286 h 861"/>
                  <a:gd name="T62" fmla="*/ 76 w 1229"/>
                  <a:gd name="T63" fmla="*/ 275 h 861"/>
                  <a:gd name="T64" fmla="*/ 102 w 1229"/>
                  <a:gd name="T65" fmla="*/ 269 h 861"/>
                  <a:gd name="T66" fmla="*/ 126 w 1229"/>
                  <a:gd name="T67" fmla="*/ 270 h 861"/>
                  <a:gd name="T68" fmla="*/ 152 w 1229"/>
                  <a:gd name="T69" fmla="*/ 277 h 861"/>
                  <a:gd name="T70" fmla="*/ 176 w 1229"/>
                  <a:gd name="T71" fmla="*/ 290 h 861"/>
                  <a:gd name="T72" fmla="*/ 200 w 1229"/>
                  <a:gd name="T73" fmla="*/ 309 h 861"/>
                  <a:gd name="T74" fmla="*/ 291 w 1229"/>
                  <a:gd name="T75" fmla="*/ 402 h 861"/>
                  <a:gd name="T76" fmla="*/ 384 w 1229"/>
                  <a:gd name="T77" fmla="*/ 495 h 861"/>
                  <a:gd name="T78" fmla="*/ 479 w 1229"/>
                  <a:gd name="T79" fmla="*/ 591 h 861"/>
                  <a:gd name="T80" fmla="*/ 660 w 1229"/>
                  <a:gd name="T81" fmla="*/ 409 h 861"/>
                  <a:gd name="T82" fmla="*/ 839 w 1229"/>
                  <a:gd name="T83" fmla="*/ 230 h 861"/>
                  <a:gd name="T84" fmla="*/ 1017 w 1229"/>
                  <a:gd name="T85" fmla="*/ 53 h 861"/>
                  <a:gd name="T86" fmla="*/ 1041 w 1229"/>
                  <a:gd name="T87" fmla="*/ 32 h 861"/>
                  <a:gd name="T88" fmla="*/ 1066 w 1229"/>
                  <a:gd name="T89" fmla="*/ 16 h 861"/>
                  <a:gd name="T90" fmla="*/ 1093 w 1229"/>
                  <a:gd name="T91" fmla="*/ 5 h 861"/>
                  <a:gd name="T92" fmla="*/ 1115 w 1229"/>
                  <a:gd name="T93" fmla="*/ 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29" h="861">
                    <a:moveTo>
                      <a:pt x="1115" y="0"/>
                    </a:moveTo>
                    <a:lnTo>
                      <a:pt x="1136" y="0"/>
                    </a:lnTo>
                    <a:lnTo>
                      <a:pt x="1156" y="6"/>
                    </a:lnTo>
                    <a:lnTo>
                      <a:pt x="1173" y="15"/>
                    </a:lnTo>
                    <a:lnTo>
                      <a:pt x="1190" y="28"/>
                    </a:lnTo>
                    <a:lnTo>
                      <a:pt x="1206" y="46"/>
                    </a:lnTo>
                    <a:lnTo>
                      <a:pt x="1219" y="68"/>
                    </a:lnTo>
                    <a:lnTo>
                      <a:pt x="1227" y="92"/>
                    </a:lnTo>
                    <a:lnTo>
                      <a:pt x="1229" y="116"/>
                    </a:lnTo>
                    <a:lnTo>
                      <a:pt x="1225" y="141"/>
                    </a:lnTo>
                    <a:lnTo>
                      <a:pt x="1214" y="165"/>
                    </a:lnTo>
                    <a:lnTo>
                      <a:pt x="1199" y="186"/>
                    </a:lnTo>
                    <a:lnTo>
                      <a:pt x="1181" y="205"/>
                    </a:lnTo>
                    <a:lnTo>
                      <a:pt x="577" y="811"/>
                    </a:lnTo>
                    <a:lnTo>
                      <a:pt x="552" y="833"/>
                    </a:lnTo>
                    <a:lnTo>
                      <a:pt x="528" y="849"/>
                    </a:lnTo>
                    <a:lnTo>
                      <a:pt x="503" y="858"/>
                    </a:lnTo>
                    <a:lnTo>
                      <a:pt x="480" y="861"/>
                    </a:lnTo>
                    <a:lnTo>
                      <a:pt x="456" y="859"/>
                    </a:lnTo>
                    <a:lnTo>
                      <a:pt x="433" y="849"/>
                    </a:lnTo>
                    <a:lnTo>
                      <a:pt x="408" y="833"/>
                    </a:lnTo>
                    <a:lnTo>
                      <a:pt x="384" y="812"/>
                    </a:lnTo>
                    <a:lnTo>
                      <a:pt x="41" y="470"/>
                    </a:lnTo>
                    <a:lnTo>
                      <a:pt x="22" y="446"/>
                    </a:lnTo>
                    <a:lnTo>
                      <a:pt x="9" y="423"/>
                    </a:lnTo>
                    <a:lnTo>
                      <a:pt x="2" y="397"/>
                    </a:lnTo>
                    <a:lnTo>
                      <a:pt x="0" y="372"/>
                    </a:lnTo>
                    <a:lnTo>
                      <a:pt x="6" y="347"/>
                    </a:lnTo>
                    <a:lnTo>
                      <a:pt x="16" y="324"/>
                    </a:lnTo>
                    <a:lnTo>
                      <a:pt x="32" y="302"/>
                    </a:lnTo>
                    <a:lnTo>
                      <a:pt x="54" y="286"/>
                    </a:lnTo>
                    <a:lnTo>
                      <a:pt x="76" y="275"/>
                    </a:lnTo>
                    <a:lnTo>
                      <a:pt x="102" y="269"/>
                    </a:lnTo>
                    <a:lnTo>
                      <a:pt x="126" y="270"/>
                    </a:lnTo>
                    <a:lnTo>
                      <a:pt x="152" y="277"/>
                    </a:lnTo>
                    <a:lnTo>
                      <a:pt x="176" y="290"/>
                    </a:lnTo>
                    <a:lnTo>
                      <a:pt x="200" y="309"/>
                    </a:lnTo>
                    <a:lnTo>
                      <a:pt x="291" y="402"/>
                    </a:lnTo>
                    <a:lnTo>
                      <a:pt x="384" y="495"/>
                    </a:lnTo>
                    <a:lnTo>
                      <a:pt x="479" y="591"/>
                    </a:lnTo>
                    <a:lnTo>
                      <a:pt x="660" y="409"/>
                    </a:lnTo>
                    <a:lnTo>
                      <a:pt x="839" y="230"/>
                    </a:lnTo>
                    <a:lnTo>
                      <a:pt x="1017" y="53"/>
                    </a:lnTo>
                    <a:lnTo>
                      <a:pt x="1041" y="32"/>
                    </a:lnTo>
                    <a:lnTo>
                      <a:pt x="1066" y="16"/>
                    </a:lnTo>
                    <a:lnTo>
                      <a:pt x="1093" y="5"/>
                    </a:lnTo>
                    <a:lnTo>
                      <a:pt x="1115" y="0"/>
                    </a:lnTo>
                    <a:close/>
                  </a:path>
                </a:pathLst>
              </a:custGeom>
              <a:solidFill>
                <a:schemeClr val="bg1">
                  <a:alpha val="22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grpSp>
      </p:grpSp>
      <p:sp>
        <p:nvSpPr>
          <p:cNvPr id="7" name="Slide Number Placeholder 6"/>
          <p:cNvSpPr>
            <a:spLocks noGrp="1"/>
          </p:cNvSpPr>
          <p:nvPr>
            <p:ph type="sldNum" sz="quarter" idx="11"/>
          </p:nvPr>
        </p:nvSpPr>
        <p:spPr/>
        <p:txBody>
          <a:bodyPr/>
          <a:lstStyle/>
          <a:p>
            <a:fld id="{27258FFF-F925-446B-8502-81C933981705}" type="slidenum">
              <a:rPr lang="en-US" smtClean="0"/>
              <a:pPr/>
              <a:t>25</a:t>
            </a:fld>
            <a:endParaRPr lang="en-US" dirty="0"/>
          </a:p>
        </p:txBody>
      </p:sp>
    </p:spTree>
    <p:extLst>
      <p:ext uri="{BB962C8B-B14F-4D97-AF65-F5344CB8AC3E}">
        <p14:creationId xmlns:p14="http://schemas.microsoft.com/office/powerpoint/2010/main" val="155723695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50" fill="hold"/>
                                        <p:tgtEl>
                                          <p:spTgt spid="4"/>
                                        </p:tgtEl>
                                        <p:attrNameLst>
                                          <p:attrName>ppt_x</p:attrName>
                                        </p:attrNameLst>
                                      </p:cBhvr>
                                      <p:tavLst>
                                        <p:tav tm="0">
                                          <p:val>
                                            <p:strVal val="0-#ppt_w/2"/>
                                          </p:val>
                                        </p:tav>
                                        <p:tav tm="100000">
                                          <p:val>
                                            <p:strVal val="#ppt_x"/>
                                          </p:val>
                                        </p:tav>
                                      </p:tavLst>
                                    </p:anim>
                                    <p:anim calcmode="lin" valueType="num">
                                      <p:cBhvr additive="base">
                                        <p:cTn id="8" dur="7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39"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IN" dirty="0"/>
              <a:t>Azure </a:t>
            </a:r>
            <a:r>
              <a:rPr lang="en-IN" dirty="0" smtClean="0"/>
              <a:t>Compliance</a:t>
            </a:r>
            <a:endParaRPr lang="en-IN" dirty="0"/>
          </a:p>
        </p:txBody>
      </p:sp>
      <p:grpSp>
        <p:nvGrpSpPr>
          <p:cNvPr id="6" name="Group 5"/>
          <p:cNvGrpSpPr/>
          <p:nvPr/>
        </p:nvGrpSpPr>
        <p:grpSpPr>
          <a:xfrm>
            <a:off x="0" y="1450198"/>
            <a:ext cx="12436475" cy="4343400"/>
            <a:chOff x="0" y="1450198"/>
            <a:chExt cx="12436475" cy="4343400"/>
          </a:xfrm>
        </p:grpSpPr>
        <p:sp>
          <p:nvSpPr>
            <p:cNvPr id="47" name="Rectangle 46"/>
            <p:cNvSpPr/>
            <p:nvPr/>
          </p:nvSpPr>
          <p:spPr>
            <a:xfrm flipH="1">
              <a:off x="4144617" y="1450198"/>
              <a:ext cx="5396948" cy="4343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45720" rIns="1371600" bIns="45720" rtlCol="0" anchor="ctr"/>
            <a:lstStyle/>
            <a:p>
              <a:pPr marL="4763" lvl="1"/>
              <a:r>
                <a:rPr lang="en-US" sz="2400" dirty="0" smtClean="0">
                  <a:solidFill>
                    <a:schemeClr val="tx2"/>
                  </a:solidFill>
                  <a:latin typeface="+mj-lt"/>
                  <a:cs typeface="Segoe UI" panose="020B0502040204020203" pitchFamily="34" charset="0"/>
                </a:rPr>
                <a:t>Microsoft’s security </a:t>
              </a:r>
              <a:r>
                <a:rPr lang="en-US" sz="2400" dirty="0">
                  <a:solidFill>
                    <a:schemeClr val="tx2"/>
                  </a:solidFill>
                  <a:latin typeface="+mj-lt"/>
                  <a:cs typeface="Segoe UI" panose="020B0502040204020203" pitchFamily="34" charset="0"/>
                </a:rPr>
                <a:t>compliance </a:t>
              </a:r>
              <a:r>
                <a:rPr lang="en-US" sz="2400" dirty="0" smtClean="0">
                  <a:solidFill>
                    <a:schemeClr val="tx2"/>
                  </a:solidFill>
                  <a:latin typeface="+mj-lt"/>
                  <a:cs typeface="Segoe UI" panose="020B0502040204020203" pitchFamily="34" charset="0"/>
                </a:rPr>
                <a:t>program includes rigorous testing, the implementation of best practices, and many other functions </a:t>
              </a:r>
              <a:r>
                <a:rPr lang="en-US" sz="2400" dirty="0">
                  <a:solidFill>
                    <a:schemeClr val="tx2"/>
                  </a:solidFill>
                  <a:latin typeface="+mj-lt"/>
                  <a:cs typeface="Segoe UI" panose="020B0502040204020203" pitchFamily="34" charset="0"/>
                </a:rPr>
                <a:t>to achieve certificates and attestations.</a:t>
              </a:r>
            </a:p>
          </p:txBody>
        </p:sp>
        <p:sp>
          <p:nvSpPr>
            <p:cNvPr id="52" name="Rectangle 14"/>
            <p:cNvSpPr/>
            <p:nvPr/>
          </p:nvSpPr>
          <p:spPr>
            <a:xfrm>
              <a:off x="0" y="1450198"/>
              <a:ext cx="4144617" cy="4343400"/>
            </a:xfrm>
            <a:prstGeom prst="rect">
              <a:avLst/>
            </a:prstGeom>
            <a:solidFill>
              <a:schemeClr val="accent4"/>
            </a:solidFill>
          </p:spPr>
          <p:txBody>
            <a:bodyPr wrap="square" lIns="548640" rIns="274320" rtlCol="0" anchor="ctr">
              <a:noAutofit/>
            </a:bodyPr>
            <a:lstStyle/>
            <a:p>
              <a:pPr>
                <a:spcAft>
                  <a:spcPts val="1200"/>
                </a:spcAft>
              </a:pPr>
              <a:r>
                <a:rPr lang="en-US" sz="3200" dirty="0">
                  <a:solidFill>
                    <a:srgbClr val="FFFFFF"/>
                  </a:solidFill>
                  <a:latin typeface="+mj-lt"/>
                </a:rPr>
                <a:t>Azure meets a broad set of international, regional, and industry-specific compliance </a:t>
              </a:r>
              <a:r>
                <a:rPr lang="en-US" sz="3200" dirty="0" smtClean="0">
                  <a:solidFill>
                    <a:srgbClr val="FFFFFF"/>
                  </a:solidFill>
                  <a:latin typeface="+mj-lt"/>
                </a:rPr>
                <a:t>and regulatory standards</a:t>
              </a:r>
              <a:r>
                <a:rPr lang="en-US" sz="3200" dirty="0">
                  <a:solidFill>
                    <a:srgbClr val="FFFFFF"/>
                  </a:solidFill>
                  <a:latin typeface="+mj-lt"/>
                </a:rPr>
                <a:t>.</a:t>
              </a:r>
              <a:endParaRPr lang="en-IN" sz="3200" dirty="0">
                <a:solidFill>
                  <a:srgbClr val="FFFFFF"/>
                </a:solidFill>
                <a:latin typeface="+mj-lt"/>
              </a:endParaRPr>
            </a:p>
          </p:txBody>
        </p:sp>
        <p:sp>
          <p:nvSpPr>
            <p:cNvPr id="53" name="Rectangle 14"/>
            <p:cNvSpPr/>
            <p:nvPr/>
          </p:nvSpPr>
          <p:spPr>
            <a:xfrm>
              <a:off x="4071465" y="1450198"/>
              <a:ext cx="73152" cy="4343400"/>
            </a:xfrm>
            <a:prstGeom prst="rect">
              <a:avLst/>
            </a:prstGeom>
            <a:solidFill>
              <a:schemeClr val="bg1">
                <a:alpha val="25000"/>
              </a:schemeClr>
            </a:solidFill>
          </p:spPr>
          <p:txBody>
            <a:bodyPr wrap="square" rtlCol="0" anchor="ctr">
              <a:noAutofit/>
            </a:bodyPr>
            <a:lstStyle/>
            <a:p>
              <a:endParaRPr lang="en-IN" sz="2000" dirty="0">
                <a:solidFill>
                  <a:srgbClr val="FFFFFF"/>
                </a:solidFill>
                <a:cs typeface="Segoe UI Light"/>
              </a:endParaRPr>
            </a:p>
          </p:txBody>
        </p:sp>
        <p:sp>
          <p:nvSpPr>
            <p:cNvPr id="54" name="Freeform 53"/>
            <p:cNvSpPr/>
            <p:nvPr/>
          </p:nvSpPr>
          <p:spPr bwMode="auto">
            <a:xfrm>
              <a:off x="8460133" y="1450198"/>
              <a:ext cx="3976342" cy="4343400"/>
            </a:xfrm>
            <a:custGeom>
              <a:avLst/>
              <a:gdLst>
                <a:gd name="connsiteX0" fmla="*/ 1468270 w 3976342"/>
                <a:gd name="connsiteY0" fmla="*/ 0 h 4343400"/>
                <a:gd name="connsiteX1" fmla="*/ 3976342 w 3976342"/>
                <a:gd name="connsiteY1" fmla="*/ 0 h 4343400"/>
                <a:gd name="connsiteX2" fmla="*/ 3976342 w 3976342"/>
                <a:gd name="connsiteY2" fmla="*/ 4343399 h 4343400"/>
                <a:gd name="connsiteX3" fmla="*/ 2778692 w 3976342"/>
                <a:gd name="connsiteY3" fmla="*/ 4343399 h 4343400"/>
                <a:gd name="connsiteX4" fmla="*/ 2778691 w 3976342"/>
                <a:gd name="connsiteY4" fmla="*/ 4343400 h 4343400"/>
                <a:gd name="connsiteX5" fmla="*/ 717948 w 3976342"/>
                <a:gd name="connsiteY5" fmla="*/ 4343400 h 4343400"/>
                <a:gd name="connsiteX6" fmla="*/ 636226 w 3976342"/>
                <a:gd name="connsiteY6" fmla="*/ 4249301 h 4343400"/>
                <a:gd name="connsiteX7" fmla="*/ 0 w 3976342"/>
                <a:gd name="connsiteY7" fmla="*/ 2171947 h 4343400"/>
                <a:gd name="connsiteX8" fmla="*/ 636226 w 3976342"/>
                <a:gd name="connsiteY8" fmla="*/ 94593 h 4343400"/>
                <a:gd name="connsiteX9" fmla="*/ 718376 w 3976342"/>
                <a:gd name="connsiteY9" fmla="*/ 1 h 4343400"/>
                <a:gd name="connsiteX10" fmla="*/ 1468270 w 3976342"/>
                <a:gd name="connsiteY10" fmla="*/ 1 h 434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76342" h="4343400">
                  <a:moveTo>
                    <a:pt x="1468270" y="0"/>
                  </a:moveTo>
                  <a:lnTo>
                    <a:pt x="3976342" y="0"/>
                  </a:lnTo>
                  <a:lnTo>
                    <a:pt x="3976342" y="4343399"/>
                  </a:lnTo>
                  <a:lnTo>
                    <a:pt x="2778692" y="4343399"/>
                  </a:lnTo>
                  <a:lnTo>
                    <a:pt x="2778691" y="4343400"/>
                  </a:lnTo>
                  <a:lnTo>
                    <a:pt x="717948" y="4343400"/>
                  </a:lnTo>
                  <a:lnTo>
                    <a:pt x="636226" y="4249301"/>
                  </a:lnTo>
                  <a:cubicBezTo>
                    <a:pt x="247667" y="3755531"/>
                    <a:pt x="0" y="3008274"/>
                    <a:pt x="0" y="2171947"/>
                  </a:cubicBezTo>
                  <a:cubicBezTo>
                    <a:pt x="0" y="1335619"/>
                    <a:pt x="247667" y="588364"/>
                    <a:pt x="636226" y="94593"/>
                  </a:cubicBezTo>
                  <a:lnTo>
                    <a:pt x="718376" y="1"/>
                  </a:lnTo>
                  <a:lnTo>
                    <a:pt x="1468270" y="1"/>
                  </a:lnTo>
                  <a:close/>
                </a:path>
              </a:pathLst>
            </a:custGeom>
            <a:solidFill>
              <a:srgbClr val="E4E4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Freeform 54"/>
            <p:cNvSpPr/>
            <p:nvPr/>
          </p:nvSpPr>
          <p:spPr bwMode="auto">
            <a:xfrm>
              <a:off x="8381150" y="1450198"/>
              <a:ext cx="1612833" cy="4343400"/>
            </a:xfrm>
            <a:custGeom>
              <a:avLst/>
              <a:gdLst>
                <a:gd name="connsiteX0" fmla="*/ 718376 w 1612833"/>
                <a:gd name="connsiteY0" fmla="*/ 1 h 3946614"/>
                <a:gd name="connsiteX1" fmla="*/ 862939 w 1612833"/>
                <a:gd name="connsiteY1" fmla="*/ 1 h 3946614"/>
                <a:gd name="connsiteX2" fmla="*/ 780789 w 1612833"/>
                <a:gd name="connsiteY2" fmla="*/ 85951 h 3946614"/>
                <a:gd name="connsiteX3" fmla="*/ 144563 w 1612833"/>
                <a:gd name="connsiteY3" fmla="*/ 1973531 h 3946614"/>
                <a:gd name="connsiteX4" fmla="*/ 780789 w 1612833"/>
                <a:gd name="connsiteY4" fmla="*/ 3861111 h 3946614"/>
                <a:gd name="connsiteX5" fmla="*/ 862511 w 1612833"/>
                <a:gd name="connsiteY5" fmla="*/ 3946614 h 3946614"/>
                <a:gd name="connsiteX6" fmla="*/ 717948 w 1612833"/>
                <a:gd name="connsiteY6" fmla="*/ 3946614 h 3946614"/>
                <a:gd name="connsiteX7" fmla="*/ 636226 w 1612833"/>
                <a:gd name="connsiteY7" fmla="*/ 3861111 h 3946614"/>
                <a:gd name="connsiteX8" fmla="*/ 0 w 1612833"/>
                <a:gd name="connsiteY8" fmla="*/ 1973531 h 3946614"/>
                <a:gd name="connsiteX9" fmla="*/ 636226 w 1612833"/>
                <a:gd name="connsiteY9" fmla="*/ 85951 h 3946614"/>
                <a:gd name="connsiteX10" fmla="*/ 1468270 w 1612833"/>
                <a:gd name="connsiteY10" fmla="*/ 0 h 3946614"/>
                <a:gd name="connsiteX11" fmla="*/ 1612833 w 1612833"/>
                <a:gd name="connsiteY11" fmla="*/ 0 h 3946614"/>
                <a:gd name="connsiteX12" fmla="*/ 1612833 w 1612833"/>
                <a:gd name="connsiteY12" fmla="*/ 1 h 3946614"/>
                <a:gd name="connsiteX13" fmla="*/ 1468270 w 1612833"/>
                <a:gd name="connsiteY13" fmla="*/ 1 h 394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12833" h="3946614">
                  <a:moveTo>
                    <a:pt x="718376" y="1"/>
                  </a:moveTo>
                  <a:lnTo>
                    <a:pt x="862939" y="1"/>
                  </a:lnTo>
                  <a:lnTo>
                    <a:pt x="780789" y="85951"/>
                  </a:lnTo>
                  <a:cubicBezTo>
                    <a:pt x="392230" y="534614"/>
                    <a:pt x="144563" y="1213605"/>
                    <a:pt x="144563" y="1973531"/>
                  </a:cubicBezTo>
                  <a:cubicBezTo>
                    <a:pt x="144563" y="2733457"/>
                    <a:pt x="392230" y="3412449"/>
                    <a:pt x="780789" y="3861111"/>
                  </a:cubicBezTo>
                  <a:lnTo>
                    <a:pt x="862511" y="3946614"/>
                  </a:lnTo>
                  <a:lnTo>
                    <a:pt x="717948" y="3946614"/>
                  </a:lnTo>
                  <a:lnTo>
                    <a:pt x="636226" y="3861111"/>
                  </a:lnTo>
                  <a:cubicBezTo>
                    <a:pt x="247667" y="3412449"/>
                    <a:pt x="0" y="2733457"/>
                    <a:pt x="0" y="1973531"/>
                  </a:cubicBezTo>
                  <a:cubicBezTo>
                    <a:pt x="0" y="1213605"/>
                    <a:pt x="247667" y="534614"/>
                    <a:pt x="636226" y="85951"/>
                  </a:cubicBezTo>
                  <a:close/>
                  <a:moveTo>
                    <a:pt x="1468270" y="0"/>
                  </a:moveTo>
                  <a:lnTo>
                    <a:pt x="1612833" y="0"/>
                  </a:lnTo>
                  <a:lnTo>
                    <a:pt x="1612833" y="1"/>
                  </a:lnTo>
                  <a:lnTo>
                    <a:pt x="1468270" y="1"/>
                  </a:lnTo>
                  <a:close/>
                </a:path>
              </a:pathLst>
            </a:custGeom>
            <a:solidFill>
              <a:schemeClr val="bg1">
                <a:alpha val="25000"/>
              </a:schemeClr>
            </a:solidFill>
          </p:spPr>
          <p:txBody>
            <a:bodyPr wrap="square" rtlCol="0" anchor="ctr">
              <a:noAutofit/>
            </a:bodyPr>
            <a:lstStyle/>
            <a:p>
              <a:pPr fontAlgn="base"/>
              <a:endParaRPr lang="en-IN" sz="2000" dirty="0">
                <a:solidFill>
                  <a:srgbClr val="FFFFFF"/>
                </a:solidFill>
                <a:cs typeface="Segoe UI Light"/>
              </a:endParaRPr>
            </a:p>
          </p:txBody>
        </p:sp>
        <p:grpSp>
          <p:nvGrpSpPr>
            <p:cNvPr id="233" name="Group 232"/>
            <p:cNvGrpSpPr/>
            <p:nvPr/>
          </p:nvGrpSpPr>
          <p:grpSpPr>
            <a:xfrm>
              <a:off x="9146954" y="3089901"/>
              <a:ext cx="2817860" cy="1036285"/>
              <a:chOff x="6196351" y="4260679"/>
              <a:chExt cx="4630324" cy="1702830"/>
            </a:xfrm>
          </p:grpSpPr>
          <p:sp>
            <p:nvSpPr>
              <p:cNvPr id="234" name="Rectangle 79"/>
              <p:cNvSpPr/>
              <p:nvPr/>
            </p:nvSpPr>
            <p:spPr>
              <a:xfrm>
                <a:off x="6196351" y="4265732"/>
                <a:ext cx="1001630" cy="1697777"/>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316"/>
                <a:endParaRPr lang="en-US" sz="1836" dirty="0">
                  <a:solidFill>
                    <a:srgbClr val="FFFFFF"/>
                  </a:solidFill>
                </a:endParaRPr>
              </a:p>
            </p:txBody>
          </p:sp>
          <p:sp>
            <p:nvSpPr>
              <p:cNvPr id="235" name="Rectangle 79"/>
              <p:cNvSpPr/>
              <p:nvPr/>
            </p:nvSpPr>
            <p:spPr>
              <a:xfrm>
                <a:off x="9844853" y="4260679"/>
                <a:ext cx="981822" cy="1664208"/>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6" name="Freeform 235"/>
              <p:cNvSpPr/>
              <p:nvPr/>
            </p:nvSpPr>
            <p:spPr bwMode="auto">
              <a:xfrm>
                <a:off x="7435347" y="5572260"/>
                <a:ext cx="2115769" cy="352627"/>
              </a:xfrm>
              <a:custGeom>
                <a:avLst/>
                <a:gdLst>
                  <a:gd name="connsiteX0" fmla="*/ 357077 w 828676"/>
                  <a:gd name="connsiteY0" fmla="*/ 60274 h 138112"/>
                  <a:gd name="connsiteX1" fmla="*/ 337209 w 828676"/>
                  <a:gd name="connsiteY1" fmla="*/ 105993 h 138112"/>
                  <a:gd name="connsiteX2" fmla="*/ 491468 w 828676"/>
                  <a:gd name="connsiteY2" fmla="*/ 105993 h 138112"/>
                  <a:gd name="connsiteX3" fmla="*/ 471600 w 828676"/>
                  <a:gd name="connsiteY3" fmla="*/ 60274 h 138112"/>
                  <a:gd name="connsiteX4" fmla="*/ 98102 w 828676"/>
                  <a:gd name="connsiteY4" fmla="*/ 0 h 138112"/>
                  <a:gd name="connsiteX5" fmla="*/ 125736 w 828676"/>
                  <a:gd name="connsiteY5" fmla="*/ 0 h 138112"/>
                  <a:gd name="connsiteX6" fmla="*/ 127522 w 828676"/>
                  <a:gd name="connsiteY6" fmla="*/ 7143 h 138112"/>
                  <a:gd name="connsiteX7" fmla="*/ 701154 w 828676"/>
                  <a:gd name="connsiteY7" fmla="*/ 7143 h 138112"/>
                  <a:gd name="connsiteX8" fmla="*/ 702940 w 828676"/>
                  <a:gd name="connsiteY8" fmla="*/ 0 h 138112"/>
                  <a:gd name="connsiteX9" fmla="*/ 730574 w 828676"/>
                  <a:gd name="connsiteY9" fmla="*/ 0 h 138112"/>
                  <a:gd name="connsiteX10" fmla="*/ 732360 w 828676"/>
                  <a:gd name="connsiteY10" fmla="*/ 7143 h 138112"/>
                  <a:gd name="connsiteX11" fmla="*/ 764381 w 828676"/>
                  <a:gd name="connsiteY11" fmla="*/ 7143 h 138112"/>
                  <a:gd name="connsiteX12" fmla="*/ 828676 w 828676"/>
                  <a:gd name="connsiteY12" fmla="*/ 92869 h 138112"/>
                  <a:gd name="connsiteX13" fmla="*/ 828676 w 828676"/>
                  <a:gd name="connsiteY13" fmla="*/ 100732 h 138112"/>
                  <a:gd name="connsiteX14" fmla="*/ 791296 w 828676"/>
                  <a:gd name="connsiteY14" fmla="*/ 138112 h 138112"/>
                  <a:gd name="connsiteX15" fmla="*/ 37380 w 828676"/>
                  <a:gd name="connsiteY15" fmla="*/ 138112 h 138112"/>
                  <a:gd name="connsiteX16" fmla="*/ 0 w 828676"/>
                  <a:gd name="connsiteY16" fmla="*/ 100732 h 138112"/>
                  <a:gd name="connsiteX17" fmla="*/ 0 w 828676"/>
                  <a:gd name="connsiteY17" fmla="*/ 92869 h 138112"/>
                  <a:gd name="connsiteX18" fmla="*/ 64295 w 828676"/>
                  <a:gd name="connsiteY18" fmla="*/ 7143 h 138112"/>
                  <a:gd name="connsiteX19" fmla="*/ 96316 w 828676"/>
                  <a:gd name="connsiteY19" fmla="*/ 7143 h 13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28676" h="138112">
                    <a:moveTo>
                      <a:pt x="357077" y="60274"/>
                    </a:moveTo>
                    <a:lnTo>
                      <a:pt x="337209" y="105993"/>
                    </a:lnTo>
                    <a:lnTo>
                      <a:pt x="491468" y="105993"/>
                    </a:lnTo>
                    <a:lnTo>
                      <a:pt x="471600" y="60274"/>
                    </a:lnTo>
                    <a:close/>
                    <a:moveTo>
                      <a:pt x="98102" y="0"/>
                    </a:moveTo>
                    <a:lnTo>
                      <a:pt x="125736" y="0"/>
                    </a:lnTo>
                    <a:lnTo>
                      <a:pt x="127522" y="7143"/>
                    </a:lnTo>
                    <a:lnTo>
                      <a:pt x="701154" y="7143"/>
                    </a:lnTo>
                    <a:lnTo>
                      <a:pt x="702940" y="0"/>
                    </a:lnTo>
                    <a:lnTo>
                      <a:pt x="730574" y="0"/>
                    </a:lnTo>
                    <a:lnTo>
                      <a:pt x="732360" y="7143"/>
                    </a:lnTo>
                    <a:lnTo>
                      <a:pt x="764381" y="7143"/>
                    </a:lnTo>
                    <a:lnTo>
                      <a:pt x="828676" y="92869"/>
                    </a:lnTo>
                    <a:lnTo>
                      <a:pt x="828676" y="100732"/>
                    </a:lnTo>
                    <a:cubicBezTo>
                      <a:pt x="828676" y="121376"/>
                      <a:pt x="811940" y="138112"/>
                      <a:pt x="791296" y="138112"/>
                    </a:cubicBezTo>
                    <a:lnTo>
                      <a:pt x="37380" y="138112"/>
                    </a:lnTo>
                    <a:cubicBezTo>
                      <a:pt x="16736" y="138112"/>
                      <a:pt x="0" y="121376"/>
                      <a:pt x="0" y="100732"/>
                    </a:cubicBezTo>
                    <a:lnTo>
                      <a:pt x="0" y="92869"/>
                    </a:lnTo>
                    <a:lnTo>
                      <a:pt x="64295" y="7143"/>
                    </a:lnTo>
                    <a:lnTo>
                      <a:pt x="96316" y="7143"/>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37" name="Freeform 236"/>
              <p:cNvSpPr/>
              <p:nvPr/>
            </p:nvSpPr>
            <p:spPr bwMode="auto">
              <a:xfrm>
                <a:off x="7613527" y="4380330"/>
                <a:ext cx="1781380" cy="1153115"/>
              </a:xfrm>
              <a:custGeom>
                <a:avLst/>
                <a:gdLst>
                  <a:gd name="connsiteX0" fmla="*/ 45098 w 697707"/>
                  <a:gd name="connsiteY0" fmla="*/ 24180 h 451636"/>
                  <a:gd name="connsiteX1" fmla="*/ 28507 w 697707"/>
                  <a:gd name="connsiteY1" fmla="*/ 40771 h 451636"/>
                  <a:gd name="connsiteX2" fmla="*/ 28507 w 697707"/>
                  <a:gd name="connsiteY2" fmla="*/ 410866 h 451636"/>
                  <a:gd name="connsiteX3" fmla="*/ 45098 w 697707"/>
                  <a:gd name="connsiteY3" fmla="*/ 427457 h 451636"/>
                  <a:gd name="connsiteX4" fmla="*/ 652608 w 697707"/>
                  <a:gd name="connsiteY4" fmla="*/ 427457 h 451636"/>
                  <a:gd name="connsiteX5" fmla="*/ 669199 w 697707"/>
                  <a:gd name="connsiteY5" fmla="*/ 410866 h 451636"/>
                  <a:gd name="connsiteX6" fmla="*/ 669199 w 697707"/>
                  <a:gd name="connsiteY6" fmla="*/ 40771 h 451636"/>
                  <a:gd name="connsiteX7" fmla="*/ 652608 w 697707"/>
                  <a:gd name="connsiteY7" fmla="*/ 24180 h 451636"/>
                  <a:gd name="connsiteX8" fmla="*/ 348853 w 697707"/>
                  <a:gd name="connsiteY8" fmla="*/ 2364 h 451636"/>
                  <a:gd name="connsiteX9" fmla="*/ 339709 w 697707"/>
                  <a:gd name="connsiteY9" fmla="*/ 11508 h 451636"/>
                  <a:gd name="connsiteX10" fmla="*/ 348853 w 697707"/>
                  <a:gd name="connsiteY10" fmla="*/ 20652 h 451636"/>
                  <a:gd name="connsiteX11" fmla="*/ 357997 w 697707"/>
                  <a:gd name="connsiteY11" fmla="*/ 11508 h 451636"/>
                  <a:gd name="connsiteX12" fmla="*/ 348853 w 697707"/>
                  <a:gd name="connsiteY12" fmla="*/ 2364 h 451636"/>
                  <a:gd name="connsiteX13" fmla="*/ 28954 w 697707"/>
                  <a:gd name="connsiteY13" fmla="*/ 0 h 451636"/>
                  <a:gd name="connsiteX14" fmla="*/ 668753 w 697707"/>
                  <a:gd name="connsiteY14" fmla="*/ 0 h 451636"/>
                  <a:gd name="connsiteX15" fmla="*/ 697707 w 697707"/>
                  <a:gd name="connsiteY15" fmla="*/ 28954 h 451636"/>
                  <a:gd name="connsiteX16" fmla="*/ 697707 w 697707"/>
                  <a:gd name="connsiteY16" fmla="*/ 422682 h 451636"/>
                  <a:gd name="connsiteX17" fmla="*/ 668753 w 697707"/>
                  <a:gd name="connsiteY17" fmla="*/ 451636 h 451636"/>
                  <a:gd name="connsiteX18" fmla="*/ 28954 w 697707"/>
                  <a:gd name="connsiteY18" fmla="*/ 451636 h 451636"/>
                  <a:gd name="connsiteX19" fmla="*/ 0 w 697707"/>
                  <a:gd name="connsiteY19" fmla="*/ 422682 h 451636"/>
                  <a:gd name="connsiteX20" fmla="*/ 0 w 697707"/>
                  <a:gd name="connsiteY20" fmla="*/ 28954 h 451636"/>
                  <a:gd name="connsiteX21" fmla="*/ 28954 w 697707"/>
                  <a:gd name="connsiteY21" fmla="*/ 0 h 45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707" h="451636">
                    <a:moveTo>
                      <a:pt x="45098" y="24180"/>
                    </a:moveTo>
                    <a:cubicBezTo>
                      <a:pt x="35935" y="24180"/>
                      <a:pt x="28507" y="31608"/>
                      <a:pt x="28507" y="40771"/>
                    </a:cubicBezTo>
                    <a:lnTo>
                      <a:pt x="28507" y="410866"/>
                    </a:lnTo>
                    <a:cubicBezTo>
                      <a:pt x="28507" y="420029"/>
                      <a:pt x="35935" y="427457"/>
                      <a:pt x="45098" y="427457"/>
                    </a:cubicBezTo>
                    <a:lnTo>
                      <a:pt x="652608" y="427457"/>
                    </a:lnTo>
                    <a:cubicBezTo>
                      <a:pt x="661771" y="427457"/>
                      <a:pt x="669199" y="420029"/>
                      <a:pt x="669199" y="410866"/>
                    </a:cubicBezTo>
                    <a:lnTo>
                      <a:pt x="669199" y="40771"/>
                    </a:lnTo>
                    <a:cubicBezTo>
                      <a:pt x="669199" y="31608"/>
                      <a:pt x="661771" y="24180"/>
                      <a:pt x="652608" y="24180"/>
                    </a:cubicBezTo>
                    <a:close/>
                    <a:moveTo>
                      <a:pt x="348853" y="2364"/>
                    </a:moveTo>
                    <a:cubicBezTo>
                      <a:pt x="343803" y="2364"/>
                      <a:pt x="339709" y="6458"/>
                      <a:pt x="339709" y="11508"/>
                    </a:cubicBezTo>
                    <a:cubicBezTo>
                      <a:pt x="339709" y="16558"/>
                      <a:pt x="343803" y="20652"/>
                      <a:pt x="348853" y="20652"/>
                    </a:cubicBezTo>
                    <a:cubicBezTo>
                      <a:pt x="353903" y="20652"/>
                      <a:pt x="357997" y="16558"/>
                      <a:pt x="357997" y="11508"/>
                    </a:cubicBezTo>
                    <a:cubicBezTo>
                      <a:pt x="357997" y="6458"/>
                      <a:pt x="353903" y="2364"/>
                      <a:pt x="348853" y="2364"/>
                    </a:cubicBezTo>
                    <a:close/>
                    <a:moveTo>
                      <a:pt x="28954" y="0"/>
                    </a:moveTo>
                    <a:lnTo>
                      <a:pt x="668753" y="0"/>
                    </a:lnTo>
                    <a:cubicBezTo>
                      <a:pt x="684744" y="0"/>
                      <a:pt x="697707" y="12963"/>
                      <a:pt x="697707" y="28954"/>
                    </a:cubicBezTo>
                    <a:lnTo>
                      <a:pt x="697707" y="422682"/>
                    </a:lnTo>
                    <a:cubicBezTo>
                      <a:pt x="697707" y="438673"/>
                      <a:pt x="684744" y="451636"/>
                      <a:pt x="668753" y="451636"/>
                    </a:cubicBezTo>
                    <a:lnTo>
                      <a:pt x="28954" y="451636"/>
                    </a:lnTo>
                    <a:cubicBezTo>
                      <a:pt x="12963" y="451636"/>
                      <a:pt x="0" y="438673"/>
                      <a:pt x="0" y="422682"/>
                    </a:cubicBezTo>
                    <a:lnTo>
                      <a:pt x="0" y="28954"/>
                    </a:lnTo>
                    <a:cubicBezTo>
                      <a:pt x="0" y="12963"/>
                      <a:pt x="12963" y="0"/>
                      <a:pt x="28954"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38" name="Oval 237"/>
              <p:cNvSpPr/>
              <p:nvPr/>
            </p:nvSpPr>
            <p:spPr bwMode="auto">
              <a:xfrm>
                <a:off x="6525418" y="5340983"/>
                <a:ext cx="364331" cy="364331"/>
              </a:xfrm>
              <a:prstGeom prst="ellipse">
                <a:avLst/>
              </a:prstGeom>
              <a:solidFill>
                <a:schemeClr val="accent4"/>
              </a:solidFill>
              <a:ln>
                <a:noFill/>
                <a:headEnd type="none" w="med" len="med"/>
                <a:tailEnd type="none" w="med" len="med"/>
              </a:ln>
              <a:effectLst>
                <a:outerShdw dist="88900" dir="2700000" sx="96000" sy="96000" algn="tl"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39" name="Oval 238"/>
              <p:cNvSpPr/>
              <p:nvPr/>
            </p:nvSpPr>
            <p:spPr bwMode="auto">
              <a:xfrm>
                <a:off x="6525418" y="4448940"/>
                <a:ext cx="364331" cy="364331"/>
              </a:xfrm>
              <a:prstGeom prst="ellipse">
                <a:avLst/>
              </a:prstGeom>
              <a:solidFill>
                <a:schemeClr val="accent2"/>
              </a:solidFill>
              <a:ln>
                <a:noFill/>
                <a:headEnd type="none" w="med" len="med"/>
                <a:tailEnd type="none" w="med" len="med"/>
              </a:ln>
              <a:effectLst>
                <a:outerShdw dist="88900" dir="2700000" sx="96000" sy="96000" algn="tl"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0" name="Oval 239"/>
              <p:cNvSpPr/>
              <p:nvPr/>
            </p:nvSpPr>
            <p:spPr bwMode="auto">
              <a:xfrm>
                <a:off x="6525418" y="4894962"/>
                <a:ext cx="364331" cy="364331"/>
              </a:xfrm>
              <a:prstGeom prst="ellipse">
                <a:avLst/>
              </a:prstGeom>
              <a:solidFill>
                <a:schemeClr val="accent3"/>
              </a:solidFill>
              <a:ln>
                <a:noFill/>
                <a:headEnd type="none" w="med" len="med"/>
                <a:tailEnd type="none" w="med" len="med"/>
              </a:ln>
              <a:effectLst>
                <a:outerShdw dist="88900" dir="2700000" sx="96000" sy="96000" algn="tl"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1" name="Oval 240"/>
              <p:cNvSpPr/>
              <p:nvPr/>
            </p:nvSpPr>
            <p:spPr bwMode="auto">
              <a:xfrm>
                <a:off x="8813533" y="4731384"/>
                <a:ext cx="452386" cy="452386"/>
              </a:xfrm>
              <a:prstGeom prst="ellipse">
                <a:avLst/>
              </a:prstGeom>
              <a:solidFill>
                <a:schemeClr val="accent4"/>
              </a:solidFill>
              <a:ln>
                <a:noFill/>
                <a:headEnd type="none" w="med" len="med"/>
                <a:tailEnd type="none" w="med" len="med"/>
              </a:ln>
              <a:effectLst>
                <a:outerShdw dist="88900" dir="2700000" sx="96000" sy="96000" algn="tl"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42" name="Oval 241"/>
              <p:cNvSpPr/>
              <p:nvPr/>
            </p:nvSpPr>
            <p:spPr bwMode="auto">
              <a:xfrm>
                <a:off x="7741919" y="4731384"/>
                <a:ext cx="452386" cy="452386"/>
              </a:xfrm>
              <a:prstGeom prst="ellipse">
                <a:avLst/>
              </a:prstGeom>
              <a:solidFill>
                <a:schemeClr val="accent2"/>
              </a:solidFill>
              <a:ln>
                <a:noFill/>
                <a:headEnd type="none" w="med" len="med"/>
                <a:tailEnd type="none" w="med" len="med"/>
              </a:ln>
              <a:effectLst>
                <a:outerShdw dist="88900" dir="2700000" sx="96000" sy="96000" algn="tl"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3" name="Oval 242"/>
              <p:cNvSpPr/>
              <p:nvPr/>
            </p:nvSpPr>
            <p:spPr bwMode="auto">
              <a:xfrm>
                <a:off x="8277726" y="4731384"/>
                <a:ext cx="452386" cy="452386"/>
              </a:xfrm>
              <a:prstGeom prst="ellipse">
                <a:avLst/>
              </a:prstGeom>
              <a:solidFill>
                <a:schemeClr val="accent3"/>
              </a:solidFill>
              <a:ln>
                <a:noFill/>
                <a:headEnd type="none" w="med" len="med"/>
                <a:tailEnd type="none" w="med" len="med"/>
              </a:ln>
              <a:effectLst>
                <a:outerShdw dist="88900" dir="2700000" sx="96000" sy="96000" algn="tl"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4" name="Oval 243"/>
              <p:cNvSpPr/>
              <p:nvPr/>
            </p:nvSpPr>
            <p:spPr bwMode="auto">
              <a:xfrm>
                <a:off x="10165238" y="5340983"/>
                <a:ext cx="364331" cy="364331"/>
              </a:xfrm>
              <a:prstGeom prst="ellipse">
                <a:avLst/>
              </a:prstGeom>
              <a:solidFill>
                <a:schemeClr val="accent4"/>
              </a:solidFill>
              <a:ln>
                <a:noFill/>
                <a:headEnd type="none" w="med" len="med"/>
                <a:tailEnd type="none" w="med" len="med"/>
              </a:ln>
              <a:effectLst>
                <a:outerShdw dist="88900" dir="2700000" sx="96000" sy="96000" algn="tl"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45" name="Oval 244"/>
              <p:cNvSpPr/>
              <p:nvPr/>
            </p:nvSpPr>
            <p:spPr bwMode="auto">
              <a:xfrm>
                <a:off x="10165238" y="4448940"/>
                <a:ext cx="364331" cy="364331"/>
              </a:xfrm>
              <a:prstGeom prst="ellipse">
                <a:avLst/>
              </a:prstGeom>
              <a:solidFill>
                <a:schemeClr val="accent2"/>
              </a:solidFill>
              <a:ln>
                <a:noFill/>
                <a:headEnd type="none" w="med" len="med"/>
                <a:tailEnd type="none" w="med" len="med"/>
              </a:ln>
              <a:effectLst>
                <a:outerShdw dist="88900" dir="2700000" sx="96000" sy="96000" algn="tl"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6" name="Oval 245"/>
              <p:cNvSpPr/>
              <p:nvPr/>
            </p:nvSpPr>
            <p:spPr bwMode="auto">
              <a:xfrm>
                <a:off x="10165238" y="4894962"/>
                <a:ext cx="364331" cy="364331"/>
              </a:xfrm>
              <a:prstGeom prst="ellipse">
                <a:avLst/>
              </a:prstGeom>
              <a:solidFill>
                <a:schemeClr val="accent3"/>
              </a:solidFill>
              <a:ln>
                <a:noFill/>
                <a:headEnd type="none" w="med" len="med"/>
                <a:tailEnd type="none" w="med" len="med"/>
              </a:ln>
              <a:effectLst>
                <a:outerShdw dist="88900" dir="2700000" sx="96000" sy="96000" algn="tl"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7" name="Freeform 246"/>
              <p:cNvSpPr>
                <a:spLocks noChangeAspect="1"/>
              </p:cNvSpPr>
              <p:nvPr/>
            </p:nvSpPr>
            <p:spPr bwMode="auto">
              <a:xfrm>
                <a:off x="6593262" y="4546680"/>
                <a:ext cx="213938" cy="180895"/>
              </a:xfrm>
              <a:custGeom>
                <a:avLst/>
                <a:gdLst>
                  <a:gd name="connsiteX0" fmla="*/ 351727 w 418566"/>
                  <a:gd name="connsiteY0" fmla="*/ 459 h 353919"/>
                  <a:gd name="connsiteX1" fmla="*/ 377934 w 418566"/>
                  <a:gd name="connsiteY1" fmla="*/ 12265 h 353919"/>
                  <a:gd name="connsiteX2" fmla="*/ 406557 w 418566"/>
                  <a:gd name="connsiteY2" fmla="*/ 52337 h 353919"/>
                  <a:gd name="connsiteX3" fmla="*/ 405841 w 418566"/>
                  <a:gd name="connsiteY3" fmla="*/ 97417 h 353919"/>
                  <a:gd name="connsiteX4" fmla="*/ 186164 w 418566"/>
                  <a:gd name="connsiteY4" fmla="*/ 335699 h 353919"/>
                  <a:gd name="connsiteX5" fmla="*/ 130350 w 418566"/>
                  <a:gd name="connsiteY5" fmla="*/ 334268 h 353919"/>
                  <a:gd name="connsiteX6" fmla="*/ 7274 w 418566"/>
                  <a:gd name="connsiteY6" fmla="*/ 204036 h 353919"/>
                  <a:gd name="connsiteX7" fmla="*/ 17292 w 418566"/>
                  <a:gd name="connsiteY7" fmla="*/ 153947 h 353919"/>
                  <a:gd name="connsiteX8" fmla="*/ 43052 w 418566"/>
                  <a:gd name="connsiteY8" fmla="*/ 128186 h 353919"/>
                  <a:gd name="connsiteX9" fmla="*/ 91710 w 418566"/>
                  <a:gd name="connsiteY9" fmla="*/ 136773 h 353919"/>
                  <a:gd name="connsiteX10" fmla="*/ 150386 w 418566"/>
                  <a:gd name="connsiteY10" fmla="*/ 195449 h 353919"/>
                  <a:gd name="connsiteX11" fmla="*/ 329276 w 418566"/>
                  <a:gd name="connsiteY11" fmla="*/ 12265 h 353919"/>
                  <a:gd name="connsiteX12" fmla="*/ 351727 w 418566"/>
                  <a:gd name="connsiteY12" fmla="*/ 459 h 35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8566" h="353919">
                    <a:moveTo>
                      <a:pt x="351727" y="459"/>
                    </a:moveTo>
                    <a:cubicBezTo>
                      <a:pt x="359568" y="-1151"/>
                      <a:pt x="368036" y="1174"/>
                      <a:pt x="377934" y="12265"/>
                    </a:cubicBezTo>
                    <a:lnTo>
                      <a:pt x="406557" y="52337"/>
                    </a:lnTo>
                    <a:cubicBezTo>
                      <a:pt x="410611" y="59492"/>
                      <a:pt x="431840" y="70942"/>
                      <a:pt x="405841" y="97417"/>
                    </a:cubicBezTo>
                    <a:cubicBezTo>
                      <a:pt x="307332" y="172790"/>
                      <a:pt x="245317" y="249593"/>
                      <a:pt x="186164" y="335699"/>
                    </a:cubicBezTo>
                    <a:cubicBezTo>
                      <a:pt x="166844" y="363845"/>
                      <a:pt x="144662" y="356212"/>
                      <a:pt x="130350" y="334268"/>
                    </a:cubicBezTo>
                    <a:cubicBezTo>
                      <a:pt x="90040" y="287279"/>
                      <a:pt x="51162" y="246015"/>
                      <a:pt x="7274" y="204036"/>
                    </a:cubicBezTo>
                    <a:cubicBezTo>
                      <a:pt x="-2983" y="187339"/>
                      <a:pt x="-4652" y="180661"/>
                      <a:pt x="17292" y="153947"/>
                    </a:cubicBezTo>
                    <a:lnTo>
                      <a:pt x="43052" y="128186"/>
                    </a:lnTo>
                    <a:cubicBezTo>
                      <a:pt x="55694" y="117453"/>
                      <a:pt x="78353" y="114591"/>
                      <a:pt x="91710" y="136773"/>
                    </a:cubicBezTo>
                    <a:lnTo>
                      <a:pt x="150386" y="195449"/>
                    </a:lnTo>
                    <a:cubicBezTo>
                      <a:pt x="193558" y="145121"/>
                      <a:pt x="233868" y="74043"/>
                      <a:pt x="329276" y="12265"/>
                    </a:cubicBezTo>
                    <a:cubicBezTo>
                      <a:pt x="336670" y="7614"/>
                      <a:pt x="343885" y="2069"/>
                      <a:pt x="351727" y="459"/>
                    </a:cubicBezTo>
                    <a:close/>
                  </a:path>
                </a:pathLst>
              </a:custGeom>
              <a:solidFill>
                <a:schemeClr val="bg1"/>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248" name="Freeform 247"/>
              <p:cNvSpPr>
                <a:spLocks noChangeAspect="1"/>
              </p:cNvSpPr>
              <p:nvPr/>
            </p:nvSpPr>
            <p:spPr bwMode="auto">
              <a:xfrm>
                <a:off x="6593262" y="4984830"/>
                <a:ext cx="213938" cy="180895"/>
              </a:xfrm>
              <a:custGeom>
                <a:avLst/>
                <a:gdLst>
                  <a:gd name="connsiteX0" fmla="*/ 351727 w 418566"/>
                  <a:gd name="connsiteY0" fmla="*/ 459 h 353919"/>
                  <a:gd name="connsiteX1" fmla="*/ 377934 w 418566"/>
                  <a:gd name="connsiteY1" fmla="*/ 12265 h 353919"/>
                  <a:gd name="connsiteX2" fmla="*/ 406557 w 418566"/>
                  <a:gd name="connsiteY2" fmla="*/ 52337 h 353919"/>
                  <a:gd name="connsiteX3" fmla="*/ 405841 w 418566"/>
                  <a:gd name="connsiteY3" fmla="*/ 97417 h 353919"/>
                  <a:gd name="connsiteX4" fmla="*/ 186164 w 418566"/>
                  <a:gd name="connsiteY4" fmla="*/ 335699 h 353919"/>
                  <a:gd name="connsiteX5" fmla="*/ 130350 w 418566"/>
                  <a:gd name="connsiteY5" fmla="*/ 334268 h 353919"/>
                  <a:gd name="connsiteX6" fmla="*/ 7274 w 418566"/>
                  <a:gd name="connsiteY6" fmla="*/ 204036 h 353919"/>
                  <a:gd name="connsiteX7" fmla="*/ 17292 w 418566"/>
                  <a:gd name="connsiteY7" fmla="*/ 153947 h 353919"/>
                  <a:gd name="connsiteX8" fmla="*/ 43052 w 418566"/>
                  <a:gd name="connsiteY8" fmla="*/ 128186 h 353919"/>
                  <a:gd name="connsiteX9" fmla="*/ 91710 w 418566"/>
                  <a:gd name="connsiteY9" fmla="*/ 136773 h 353919"/>
                  <a:gd name="connsiteX10" fmla="*/ 150386 w 418566"/>
                  <a:gd name="connsiteY10" fmla="*/ 195449 h 353919"/>
                  <a:gd name="connsiteX11" fmla="*/ 329276 w 418566"/>
                  <a:gd name="connsiteY11" fmla="*/ 12265 h 353919"/>
                  <a:gd name="connsiteX12" fmla="*/ 351727 w 418566"/>
                  <a:gd name="connsiteY12" fmla="*/ 459 h 35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8566" h="353919">
                    <a:moveTo>
                      <a:pt x="351727" y="459"/>
                    </a:moveTo>
                    <a:cubicBezTo>
                      <a:pt x="359568" y="-1151"/>
                      <a:pt x="368036" y="1174"/>
                      <a:pt x="377934" y="12265"/>
                    </a:cubicBezTo>
                    <a:lnTo>
                      <a:pt x="406557" y="52337"/>
                    </a:lnTo>
                    <a:cubicBezTo>
                      <a:pt x="410611" y="59492"/>
                      <a:pt x="431840" y="70942"/>
                      <a:pt x="405841" y="97417"/>
                    </a:cubicBezTo>
                    <a:cubicBezTo>
                      <a:pt x="307332" y="172790"/>
                      <a:pt x="245317" y="249593"/>
                      <a:pt x="186164" y="335699"/>
                    </a:cubicBezTo>
                    <a:cubicBezTo>
                      <a:pt x="166844" y="363845"/>
                      <a:pt x="144662" y="356212"/>
                      <a:pt x="130350" y="334268"/>
                    </a:cubicBezTo>
                    <a:cubicBezTo>
                      <a:pt x="90040" y="287279"/>
                      <a:pt x="51162" y="246015"/>
                      <a:pt x="7274" y="204036"/>
                    </a:cubicBezTo>
                    <a:cubicBezTo>
                      <a:pt x="-2983" y="187339"/>
                      <a:pt x="-4652" y="180661"/>
                      <a:pt x="17292" y="153947"/>
                    </a:cubicBezTo>
                    <a:lnTo>
                      <a:pt x="43052" y="128186"/>
                    </a:lnTo>
                    <a:cubicBezTo>
                      <a:pt x="55694" y="117453"/>
                      <a:pt x="78353" y="114591"/>
                      <a:pt x="91710" y="136773"/>
                    </a:cubicBezTo>
                    <a:lnTo>
                      <a:pt x="150386" y="195449"/>
                    </a:lnTo>
                    <a:cubicBezTo>
                      <a:pt x="193558" y="145121"/>
                      <a:pt x="233868" y="74043"/>
                      <a:pt x="329276" y="12265"/>
                    </a:cubicBezTo>
                    <a:cubicBezTo>
                      <a:pt x="336670" y="7614"/>
                      <a:pt x="343885" y="2069"/>
                      <a:pt x="351727" y="459"/>
                    </a:cubicBezTo>
                    <a:close/>
                  </a:path>
                </a:pathLst>
              </a:custGeom>
              <a:solidFill>
                <a:schemeClr val="bg1"/>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249" name="Freeform 248"/>
              <p:cNvSpPr>
                <a:spLocks noChangeAspect="1"/>
              </p:cNvSpPr>
              <p:nvPr/>
            </p:nvSpPr>
            <p:spPr bwMode="auto">
              <a:xfrm>
                <a:off x="6593262" y="5429330"/>
                <a:ext cx="213938" cy="180895"/>
              </a:xfrm>
              <a:custGeom>
                <a:avLst/>
                <a:gdLst>
                  <a:gd name="connsiteX0" fmla="*/ 351727 w 418566"/>
                  <a:gd name="connsiteY0" fmla="*/ 459 h 353919"/>
                  <a:gd name="connsiteX1" fmla="*/ 377934 w 418566"/>
                  <a:gd name="connsiteY1" fmla="*/ 12265 h 353919"/>
                  <a:gd name="connsiteX2" fmla="*/ 406557 w 418566"/>
                  <a:gd name="connsiteY2" fmla="*/ 52337 h 353919"/>
                  <a:gd name="connsiteX3" fmla="*/ 405841 w 418566"/>
                  <a:gd name="connsiteY3" fmla="*/ 97417 h 353919"/>
                  <a:gd name="connsiteX4" fmla="*/ 186164 w 418566"/>
                  <a:gd name="connsiteY4" fmla="*/ 335699 h 353919"/>
                  <a:gd name="connsiteX5" fmla="*/ 130350 w 418566"/>
                  <a:gd name="connsiteY5" fmla="*/ 334268 h 353919"/>
                  <a:gd name="connsiteX6" fmla="*/ 7274 w 418566"/>
                  <a:gd name="connsiteY6" fmla="*/ 204036 h 353919"/>
                  <a:gd name="connsiteX7" fmla="*/ 17292 w 418566"/>
                  <a:gd name="connsiteY7" fmla="*/ 153947 h 353919"/>
                  <a:gd name="connsiteX8" fmla="*/ 43052 w 418566"/>
                  <a:gd name="connsiteY8" fmla="*/ 128186 h 353919"/>
                  <a:gd name="connsiteX9" fmla="*/ 91710 w 418566"/>
                  <a:gd name="connsiteY9" fmla="*/ 136773 h 353919"/>
                  <a:gd name="connsiteX10" fmla="*/ 150386 w 418566"/>
                  <a:gd name="connsiteY10" fmla="*/ 195449 h 353919"/>
                  <a:gd name="connsiteX11" fmla="*/ 329276 w 418566"/>
                  <a:gd name="connsiteY11" fmla="*/ 12265 h 353919"/>
                  <a:gd name="connsiteX12" fmla="*/ 351727 w 418566"/>
                  <a:gd name="connsiteY12" fmla="*/ 459 h 35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8566" h="353919">
                    <a:moveTo>
                      <a:pt x="351727" y="459"/>
                    </a:moveTo>
                    <a:cubicBezTo>
                      <a:pt x="359568" y="-1151"/>
                      <a:pt x="368036" y="1174"/>
                      <a:pt x="377934" y="12265"/>
                    </a:cubicBezTo>
                    <a:lnTo>
                      <a:pt x="406557" y="52337"/>
                    </a:lnTo>
                    <a:cubicBezTo>
                      <a:pt x="410611" y="59492"/>
                      <a:pt x="431840" y="70942"/>
                      <a:pt x="405841" y="97417"/>
                    </a:cubicBezTo>
                    <a:cubicBezTo>
                      <a:pt x="307332" y="172790"/>
                      <a:pt x="245317" y="249593"/>
                      <a:pt x="186164" y="335699"/>
                    </a:cubicBezTo>
                    <a:cubicBezTo>
                      <a:pt x="166844" y="363845"/>
                      <a:pt x="144662" y="356212"/>
                      <a:pt x="130350" y="334268"/>
                    </a:cubicBezTo>
                    <a:cubicBezTo>
                      <a:pt x="90040" y="287279"/>
                      <a:pt x="51162" y="246015"/>
                      <a:pt x="7274" y="204036"/>
                    </a:cubicBezTo>
                    <a:cubicBezTo>
                      <a:pt x="-2983" y="187339"/>
                      <a:pt x="-4652" y="180661"/>
                      <a:pt x="17292" y="153947"/>
                    </a:cubicBezTo>
                    <a:lnTo>
                      <a:pt x="43052" y="128186"/>
                    </a:lnTo>
                    <a:cubicBezTo>
                      <a:pt x="55694" y="117453"/>
                      <a:pt x="78353" y="114591"/>
                      <a:pt x="91710" y="136773"/>
                    </a:cubicBezTo>
                    <a:lnTo>
                      <a:pt x="150386" y="195449"/>
                    </a:lnTo>
                    <a:cubicBezTo>
                      <a:pt x="193558" y="145121"/>
                      <a:pt x="233868" y="74043"/>
                      <a:pt x="329276" y="12265"/>
                    </a:cubicBezTo>
                    <a:cubicBezTo>
                      <a:pt x="336670" y="7614"/>
                      <a:pt x="343885" y="2069"/>
                      <a:pt x="351727" y="459"/>
                    </a:cubicBezTo>
                    <a:close/>
                  </a:path>
                </a:pathLst>
              </a:custGeom>
              <a:solidFill>
                <a:schemeClr val="bg1"/>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250" name="Freeform 249"/>
              <p:cNvSpPr>
                <a:spLocks noChangeAspect="1"/>
              </p:cNvSpPr>
              <p:nvPr/>
            </p:nvSpPr>
            <p:spPr bwMode="auto">
              <a:xfrm>
                <a:off x="7831512" y="4850034"/>
                <a:ext cx="245688" cy="207741"/>
              </a:xfrm>
              <a:custGeom>
                <a:avLst/>
                <a:gdLst>
                  <a:gd name="connsiteX0" fmla="*/ 351727 w 418566"/>
                  <a:gd name="connsiteY0" fmla="*/ 459 h 353919"/>
                  <a:gd name="connsiteX1" fmla="*/ 377934 w 418566"/>
                  <a:gd name="connsiteY1" fmla="*/ 12265 h 353919"/>
                  <a:gd name="connsiteX2" fmla="*/ 406557 w 418566"/>
                  <a:gd name="connsiteY2" fmla="*/ 52337 h 353919"/>
                  <a:gd name="connsiteX3" fmla="*/ 405841 w 418566"/>
                  <a:gd name="connsiteY3" fmla="*/ 97417 h 353919"/>
                  <a:gd name="connsiteX4" fmla="*/ 186164 w 418566"/>
                  <a:gd name="connsiteY4" fmla="*/ 335699 h 353919"/>
                  <a:gd name="connsiteX5" fmla="*/ 130350 w 418566"/>
                  <a:gd name="connsiteY5" fmla="*/ 334268 h 353919"/>
                  <a:gd name="connsiteX6" fmla="*/ 7274 w 418566"/>
                  <a:gd name="connsiteY6" fmla="*/ 204036 h 353919"/>
                  <a:gd name="connsiteX7" fmla="*/ 17292 w 418566"/>
                  <a:gd name="connsiteY7" fmla="*/ 153947 h 353919"/>
                  <a:gd name="connsiteX8" fmla="*/ 43052 w 418566"/>
                  <a:gd name="connsiteY8" fmla="*/ 128186 h 353919"/>
                  <a:gd name="connsiteX9" fmla="*/ 91710 w 418566"/>
                  <a:gd name="connsiteY9" fmla="*/ 136773 h 353919"/>
                  <a:gd name="connsiteX10" fmla="*/ 150386 w 418566"/>
                  <a:gd name="connsiteY10" fmla="*/ 195449 h 353919"/>
                  <a:gd name="connsiteX11" fmla="*/ 329276 w 418566"/>
                  <a:gd name="connsiteY11" fmla="*/ 12265 h 353919"/>
                  <a:gd name="connsiteX12" fmla="*/ 351727 w 418566"/>
                  <a:gd name="connsiteY12" fmla="*/ 459 h 35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8566" h="353919">
                    <a:moveTo>
                      <a:pt x="351727" y="459"/>
                    </a:moveTo>
                    <a:cubicBezTo>
                      <a:pt x="359568" y="-1151"/>
                      <a:pt x="368036" y="1174"/>
                      <a:pt x="377934" y="12265"/>
                    </a:cubicBezTo>
                    <a:lnTo>
                      <a:pt x="406557" y="52337"/>
                    </a:lnTo>
                    <a:cubicBezTo>
                      <a:pt x="410611" y="59492"/>
                      <a:pt x="431840" y="70942"/>
                      <a:pt x="405841" y="97417"/>
                    </a:cubicBezTo>
                    <a:cubicBezTo>
                      <a:pt x="307332" y="172790"/>
                      <a:pt x="245317" y="249593"/>
                      <a:pt x="186164" y="335699"/>
                    </a:cubicBezTo>
                    <a:cubicBezTo>
                      <a:pt x="166844" y="363845"/>
                      <a:pt x="144662" y="356212"/>
                      <a:pt x="130350" y="334268"/>
                    </a:cubicBezTo>
                    <a:cubicBezTo>
                      <a:pt x="90040" y="287279"/>
                      <a:pt x="51162" y="246015"/>
                      <a:pt x="7274" y="204036"/>
                    </a:cubicBezTo>
                    <a:cubicBezTo>
                      <a:pt x="-2983" y="187339"/>
                      <a:pt x="-4652" y="180661"/>
                      <a:pt x="17292" y="153947"/>
                    </a:cubicBezTo>
                    <a:lnTo>
                      <a:pt x="43052" y="128186"/>
                    </a:lnTo>
                    <a:cubicBezTo>
                      <a:pt x="55694" y="117453"/>
                      <a:pt x="78353" y="114591"/>
                      <a:pt x="91710" y="136773"/>
                    </a:cubicBezTo>
                    <a:lnTo>
                      <a:pt x="150386" y="195449"/>
                    </a:lnTo>
                    <a:cubicBezTo>
                      <a:pt x="193558" y="145121"/>
                      <a:pt x="233868" y="74043"/>
                      <a:pt x="329276" y="12265"/>
                    </a:cubicBezTo>
                    <a:cubicBezTo>
                      <a:pt x="336670" y="7614"/>
                      <a:pt x="343885" y="2069"/>
                      <a:pt x="351727" y="459"/>
                    </a:cubicBezTo>
                    <a:close/>
                  </a:path>
                </a:pathLst>
              </a:custGeom>
              <a:solidFill>
                <a:schemeClr val="bg1"/>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251" name="Freeform 250"/>
              <p:cNvSpPr>
                <a:spLocks noChangeAspect="1"/>
              </p:cNvSpPr>
              <p:nvPr/>
            </p:nvSpPr>
            <p:spPr bwMode="auto">
              <a:xfrm>
                <a:off x="8377612" y="4850034"/>
                <a:ext cx="245688" cy="207741"/>
              </a:xfrm>
              <a:custGeom>
                <a:avLst/>
                <a:gdLst>
                  <a:gd name="connsiteX0" fmla="*/ 351727 w 418566"/>
                  <a:gd name="connsiteY0" fmla="*/ 459 h 353919"/>
                  <a:gd name="connsiteX1" fmla="*/ 377934 w 418566"/>
                  <a:gd name="connsiteY1" fmla="*/ 12265 h 353919"/>
                  <a:gd name="connsiteX2" fmla="*/ 406557 w 418566"/>
                  <a:gd name="connsiteY2" fmla="*/ 52337 h 353919"/>
                  <a:gd name="connsiteX3" fmla="*/ 405841 w 418566"/>
                  <a:gd name="connsiteY3" fmla="*/ 97417 h 353919"/>
                  <a:gd name="connsiteX4" fmla="*/ 186164 w 418566"/>
                  <a:gd name="connsiteY4" fmla="*/ 335699 h 353919"/>
                  <a:gd name="connsiteX5" fmla="*/ 130350 w 418566"/>
                  <a:gd name="connsiteY5" fmla="*/ 334268 h 353919"/>
                  <a:gd name="connsiteX6" fmla="*/ 7274 w 418566"/>
                  <a:gd name="connsiteY6" fmla="*/ 204036 h 353919"/>
                  <a:gd name="connsiteX7" fmla="*/ 17292 w 418566"/>
                  <a:gd name="connsiteY7" fmla="*/ 153947 h 353919"/>
                  <a:gd name="connsiteX8" fmla="*/ 43052 w 418566"/>
                  <a:gd name="connsiteY8" fmla="*/ 128186 h 353919"/>
                  <a:gd name="connsiteX9" fmla="*/ 91710 w 418566"/>
                  <a:gd name="connsiteY9" fmla="*/ 136773 h 353919"/>
                  <a:gd name="connsiteX10" fmla="*/ 150386 w 418566"/>
                  <a:gd name="connsiteY10" fmla="*/ 195449 h 353919"/>
                  <a:gd name="connsiteX11" fmla="*/ 329276 w 418566"/>
                  <a:gd name="connsiteY11" fmla="*/ 12265 h 353919"/>
                  <a:gd name="connsiteX12" fmla="*/ 351727 w 418566"/>
                  <a:gd name="connsiteY12" fmla="*/ 459 h 35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8566" h="353919">
                    <a:moveTo>
                      <a:pt x="351727" y="459"/>
                    </a:moveTo>
                    <a:cubicBezTo>
                      <a:pt x="359568" y="-1151"/>
                      <a:pt x="368036" y="1174"/>
                      <a:pt x="377934" y="12265"/>
                    </a:cubicBezTo>
                    <a:lnTo>
                      <a:pt x="406557" y="52337"/>
                    </a:lnTo>
                    <a:cubicBezTo>
                      <a:pt x="410611" y="59492"/>
                      <a:pt x="431840" y="70942"/>
                      <a:pt x="405841" y="97417"/>
                    </a:cubicBezTo>
                    <a:cubicBezTo>
                      <a:pt x="307332" y="172790"/>
                      <a:pt x="245317" y="249593"/>
                      <a:pt x="186164" y="335699"/>
                    </a:cubicBezTo>
                    <a:cubicBezTo>
                      <a:pt x="166844" y="363845"/>
                      <a:pt x="144662" y="356212"/>
                      <a:pt x="130350" y="334268"/>
                    </a:cubicBezTo>
                    <a:cubicBezTo>
                      <a:pt x="90040" y="287279"/>
                      <a:pt x="51162" y="246015"/>
                      <a:pt x="7274" y="204036"/>
                    </a:cubicBezTo>
                    <a:cubicBezTo>
                      <a:pt x="-2983" y="187339"/>
                      <a:pt x="-4652" y="180661"/>
                      <a:pt x="17292" y="153947"/>
                    </a:cubicBezTo>
                    <a:lnTo>
                      <a:pt x="43052" y="128186"/>
                    </a:lnTo>
                    <a:cubicBezTo>
                      <a:pt x="55694" y="117453"/>
                      <a:pt x="78353" y="114591"/>
                      <a:pt x="91710" y="136773"/>
                    </a:cubicBezTo>
                    <a:lnTo>
                      <a:pt x="150386" y="195449"/>
                    </a:lnTo>
                    <a:cubicBezTo>
                      <a:pt x="193558" y="145121"/>
                      <a:pt x="233868" y="74043"/>
                      <a:pt x="329276" y="12265"/>
                    </a:cubicBezTo>
                    <a:cubicBezTo>
                      <a:pt x="336670" y="7614"/>
                      <a:pt x="343885" y="2069"/>
                      <a:pt x="351727" y="459"/>
                    </a:cubicBezTo>
                    <a:close/>
                  </a:path>
                </a:pathLst>
              </a:custGeom>
              <a:solidFill>
                <a:schemeClr val="bg1"/>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252" name="Freeform 251"/>
              <p:cNvSpPr>
                <a:spLocks noChangeAspect="1"/>
              </p:cNvSpPr>
              <p:nvPr/>
            </p:nvSpPr>
            <p:spPr bwMode="auto">
              <a:xfrm>
                <a:off x="8917362" y="4850034"/>
                <a:ext cx="245688" cy="207741"/>
              </a:xfrm>
              <a:custGeom>
                <a:avLst/>
                <a:gdLst>
                  <a:gd name="connsiteX0" fmla="*/ 351727 w 418566"/>
                  <a:gd name="connsiteY0" fmla="*/ 459 h 353919"/>
                  <a:gd name="connsiteX1" fmla="*/ 377934 w 418566"/>
                  <a:gd name="connsiteY1" fmla="*/ 12265 h 353919"/>
                  <a:gd name="connsiteX2" fmla="*/ 406557 w 418566"/>
                  <a:gd name="connsiteY2" fmla="*/ 52337 h 353919"/>
                  <a:gd name="connsiteX3" fmla="*/ 405841 w 418566"/>
                  <a:gd name="connsiteY3" fmla="*/ 97417 h 353919"/>
                  <a:gd name="connsiteX4" fmla="*/ 186164 w 418566"/>
                  <a:gd name="connsiteY4" fmla="*/ 335699 h 353919"/>
                  <a:gd name="connsiteX5" fmla="*/ 130350 w 418566"/>
                  <a:gd name="connsiteY5" fmla="*/ 334268 h 353919"/>
                  <a:gd name="connsiteX6" fmla="*/ 7274 w 418566"/>
                  <a:gd name="connsiteY6" fmla="*/ 204036 h 353919"/>
                  <a:gd name="connsiteX7" fmla="*/ 17292 w 418566"/>
                  <a:gd name="connsiteY7" fmla="*/ 153947 h 353919"/>
                  <a:gd name="connsiteX8" fmla="*/ 43052 w 418566"/>
                  <a:gd name="connsiteY8" fmla="*/ 128186 h 353919"/>
                  <a:gd name="connsiteX9" fmla="*/ 91710 w 418566"/>
                  <a:gd name="connsiteY9" fmla="*/ 136773 h 353919"/>
                  <a:gd name="connsiteX10" fmla="*/ 150386 w 418566"/>
                  <a:gd name="connsiteY10" fmla="*/ 195449 h 353919"/>
                  <a:gd name="connsiteX11" fmla="*/ 329276 w 418566"/>
                  <a:gd name="connsiteY11" fmla="*/ 12265 h 353919"/>
                  <a:gd name="connsiteX12" fmla="*/ 351727 w 418566"/>
                  <a:gd name="connsiteY12" fmla="*/ 459 h 35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8566" h="353919">
                    <a:moveTo>
                      <a:pt x="351727" y="459"/>
                    </a:moveTo>
                    <a:cubicBezTo>
                      <a:pt x="359568" y="-1151"/>
                      <a:pt x="368036" y="1174"/>
                      <a:pt x="377934" y="12265"/>
                    </a:cubicBezTo>
                    <a:lnTo>
                      <a:pt x="406557" y="52337"/>
                    </a:lnTo>
                    <a:cubicBezTo>
                      <a:pt x="410611" y="59492"/>
                      <a:pt x="431840" y="70942"/>
                      <a:pt x="405841" y="97417"/>
                    </a:cubicBezTo>
                    <a:cubicBezTo>
                      <a:pt x="307332" y="172790"/>
                      <a:pt x="245317" y="249593"/>
                      <a:pt x="186164" y="335699"/>
                    </a:cubicBezTo>
                    <a:cubicBezTo>
                      <a:pt x="166844" y="363845"/>
                      <a:pt x="144662" y="356212"/>
                      <a:pt x="130350" y="334268"/>
                    </a:cubicBezTo>
                    <a:cubicBezTo>
                      <a:pt x="90040" y="287279"/>
                      <a:pt x="51162" y="246015"/>
                      <a:pt x="7274" y="204036"/>
                    </a:cubicBezTo>
                    <a:cubicBezTo>
                      <a:pt x="-2983" y="187339"/>
                      <a:pt x="-4652" y="180661"/>
                      <a:pt x="17292" y="153947"/>
                    </a:cubicBezTo>
                    <a:lnTo>
                      <a:pt x="43052" y="128186"/>
                    </a:lnTo>
                    <a:cubicBezTo>
                      <a:pt x="55694" y="117453"/>
                      <a:pt x="78353" y="114591"/>
                      <a:pt x="91710" y="136773"/>
                    </a:cubicBezTo>
                    <a:lnTo>
                      <a:pt x="150386" y="195449"/>
                    </a:lnTo>
                    <a:cubicBezTo>
                      <a:pt x="193558" y="145121"/>
                      <a:pt x="233868" y="74043"/>
                      <a:pt x="329276" y="12265"/>
                    </a:cubicBezTo>
                    <a:cubicBezTo>
                      <a:pt x="336670" y="7614"/>
                      <a:pt x="343885" y="2069"/>
                      <a:pt x="351727" y="459"/>
                    </a:cubicBezTo>
                    <a:close/>
                  </a:path>
                </a:pathLst>
              </a:custGeom>
              <a:solidFill>
                <a:schemeClr val="bg1"/>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253" name="Freeform 252"/>
              <p:cNvSpPr>
                <a:spLocks noChangeAspect="1"/>
              </p:cNvSpPr>
              <p:nvPr/>
            </p:nvSpPr>
            <p:spPr bwMode="auto">
              <a:xfrm>
                <a:off x="10244512" y="4546680"/>
                <a:ext cx="213938" cy="180895"/>
              </a:xfrm>
              <a:custGeom>
                <a:avLst/>
                <a:gdLst>
                  <a:gd name="connsiteX0" fmla="*/ 351727 w 418566"/>
                  <a:gd name="connsiteY0" fmla="*/ 459 h 353919"/>
                  <a:gd name="connsiteX1" fmla="*/ 377934 w 418566"/>
                  <a:gd name="connsiteY1" fmla="*/ 12265 h 353919"/>
                  <a:gd name="connsiteX2" fmla="*/ 406557 w 418566"/>
                  <a:gd name="connsiteY2" fmla="*/ 52337 h 353919"/>
                  <a:gd name="connsiteX3" fmla="*/ 405841 w 418566"/>
                  <a:gd name="connsiteY3" fmla="*/ 97417 h 353919"/>
                  <a:gd name="connsiteX4" fmla="*/ 186164 w 418566"/>
                  <a:gd name="connsiteY4" fmla="*/ 335699 h 353919"/>
                  <a:gd name="connsiteX5" fmla="*/ 130350 w 418566"/>
                  <a:gd name="connsiteY5" fmla="*/ 334268 h 353919"/>
                  <a:gd name="connsiteX6" fmla="*/ 7274 w 418566"/>
                  <a:gd name="connsiteY6" fmla="*/ 204036 h 353919"/>
                  <a:gd name="connsiteX7" fmla="*/ 17292 w 418566"/>
                  <a:gd name="connsiteY7" fmla="*/ 153947 h 353919"/>
                  <a:gd name="connsiteX8" fmla="*/ 43052 w 418566"/>
                  <a:gd name="connsiteY8" fmla="*/ 128186 h 353919"/>
                  <a:gd name="connsiteX9" fmla="*/ 91710 w 418566"/>
                  <a:gd name="connsiteY9" fmla="*/ 136773 h 353919"/>
                  <a:gd name="connsiteX10" fmla="*/ 150386 w 418566"/>
                  <a:gd name="connsiteY10" fmla="*/ 195449 h 353919"/>
                  <a:gd name="connsiteX11" fmla="*/ 329276 w 418566"/>
                  <a:gd name="connsiteY11" fmla="*/ 12265 h 353919"/>
                  <a:gd name="connsiteX12" fmla="*/ 351727 w 418566"/>
                  <a:gd name="connsiteY12" fmla="*/ 459 h 35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8566" h="353919">
                    <a:moveTo>
                      <a:pt x="351727" y="459"/>
                    </a:moveTo>
                    <a:cubicBezTo>
                      <a:pt x="359568" y="-1151"/>
                      <a:pt x="368036" y="1174"/>
                      <a:pt x="377934" y="12265"/>
                    </a:cubicBezTo>
                    <a:lnTo>
                      <a:pt x="406557" y="52337"/>
                    </a:lnTo>
                    <a:cubicBezTo>
                      <a:pt x="410611" y="59492"/>
                      <a:pt x="431840" y="70942"/>
                      <a:pt x="405841" y="97417"/>
                    </a:cubicBezTo>
                    <a:cubicBezTo>
                      <a:pt x="307332" y="172790"/>
                      <a:pt x="245317" y="249593"/>
                      <a:pt x="186164" y="335699"/>
                    </a:cubicBezTo>
                    <a:cubicBezTo>
                      <a:pt x="166844" y="363845"/>
                      <a:pt x="144662" y="356212"/>
                      <a:pt x="130350" y="334268"/>
                    </a:cubicBezTo>
                    <a:cubicBezTo>
                      <a:pt x="90040" y="287279"/>
                      <a:pt x="51162" y="246015"/>
                      <a:pt x="7274" y="204036"/>
                    </a:cubicBezTo>
                    <a:cubicBezTo>
                      <a:pt x="-2983" y="187339"/>
                      <a:pt x="-4652" y="180661"/>
                      <a:pt x="17292" y="153947"/>
                    </a:cubicBezTo>
                    <a:lnTo>
                      <a:pt x="43052" y="128186"/>
                    </a:lnTo>
                    <a:cubicBezTo>
                      <a:pt x="55694" y="117453"/>
                      <a:pt x="78353" y="114591"/>
                      <a:pt x="91710" y="136773"/>
                    </a:cubicBezTo>
                    <a:lnTo>
                      <a:pt x="150386" y="195449"/>
                    </a:lnTo>
                    <a:cubicBezTo>
                      <a:pt x="193558" y="145121"/>
                      <a:pt x="233868" y="74043"/>
                      <a:pt x="329276" y="12265"/>
                    </a:cubicBezTo>
                    <a:cubicBezTo>
                      <a:pt x="336670" y="7614"/>
                      <a:pt x="343885" y="2069"/>
                      <a:pt x="351727" y="459"/>
                    </a:cubicBezTo>
                    <a:close/>
                  </a:path>
                </a:pathLst>
              </a:custGeom>
              <a:solidFill>
                <a:schemeClr val="bg1"/>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254" name="Freeform 253"/>
              <p:cNvSpPr>
                <a:spLocks noChangeAspect="1"/>
              </p:cNvSpPr>
              <p:nvPr/>
            </p:nvSpPr>
            <p:spPr bwMode="auto">
              <a:xfrm>
                <a:off x="10244512" y="4984830"/>
                <a:ext cx="213938" cy="180895"/>
              </a:xfrm>
              <a:custGeom>
                <a:avLst/>
                <a:gdLst>
                  <a:gd name="connsiteX0" fmla="*/ 351727 w 418566"/>
                  <a:gd name="connsiteY0" fmla="*/ 459 h 353919"/>
                  <a:gd name="connsiteX1" fmla="*/ 377934 w 418566"/>
                  <a:gd name="connsiteY1" fmla="*/ 12265 h 353919"/>
                  <a:gd name="connsiteX2" fmla="*/ 406557 w 418566"/>
                  <a:gd name="connsiteY2" fmla="*/ 52337 h 353919"/>
                  <a:gd name="connsiteX3" fmla="*/ 405841 w 418566"/>
                  <a:gd name="connsiteY3" fmla="*/ 97417 h 353919"/>
                  <a:gd name="connsiteX4" fmla="*/ 186164 w 418566"/>
                  <a:gd name="connsiteY4" fmla="*/ 335699 h 353919"/>
                  <a:gd name="connsiteX5" fmla="*/ 130350 w 418566"/>
                  <a:gd name="connsiteY5" fmla="*/ 334268 h 353919"/>
                  <a:gd name="connsiteX6" fmla="*/ 7274 w 418566"/>
                  <a:gd name="connsiteY6" fmla="*/ 204036 h 353919"/>
                  <a:gd name="connsiteX7" fmla="*/ 17292 w 418566"/>
                  <a:gd name="connsiteY7" fmla="*/ 153947 h 353919"/>
                  <a:gd name="connsiteX8" fmla="*/ 43052 w 418566"/>
                  <a:gd name="connsiteY8" fmla="*/ 128186 h 353919"/>
                  <a:gd name="connsiteX9" fmla="*/ 91710 w 418566"/>
                  <a:gd name="connsiteY9" fmla="*/ 136773 h 353919"/>
                  <a:gd name="connsiteX10" fmla="*/ 150386 w 418566"/>
                  <a:gd name="connsiteY10" fmla="*/ 195449 h 353919"/>
                  <a:gd name="connsiteX11" fmla="*/ 329276 w 418566"/>
                  <a:gd name="connsiteY11" fmla="*/ 12265 h 353919"/>
                  <a:gd name="connsiteX12" fmla="*/ 351727 w 418566"/>
                  <a:gd name="connsiteY12" fmla="*/ 459 h 35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8566" h="353919">
                    <a:moveTo>
                      <a:pt x="351727" y="459"/>
                    </a:moveTo>
                    <a:cubicBezTo>
                      <a:pt x="359568" y="-1151"/>
                      <a:pt x="368036" y="1174"/>
                      <a:pt x="377934" y="12265"/>
                    </a:cubicBezTo>
                    <a:lnTo>
                      <a:pt x="406557" y="52337"/>
                    </a:lnTo>
                    <a:cubicBezTo>
                      <a:pt x="410611" y="59492"/>
                      <a:pt x="431840" y="70942"/>
                      <a:pt x="405841" y="97417"/>
                    </a:cubicBezTo>
                    <a:cubicBezTo>
                      <a:pt x="307332" y="172790"/>
                      <a:pt x="245317" y="249593"/>
                      <a:pt x="186164" y="335699"/>
                    </a:cubicBezTo>
                    <a:cubicBezTo>
                      <a:pt x="166844" y="363845"/>
                      <a:pt x="144662" y="356212"/>
                      <a:pt x="130350" y="334268"/>
                    </a:cubicBezTo>
                    <a:cubicBezTo>
                      <a:pt x="90040" y="287279"/>
                      <a:pt x="51162" y="246015"/>
                      <a:pt x="7274" y="204036"/>
                    </a:cubicBezTo>
                    <a:cubicBezTo>
                      <a:pt x="-2983" y="187339"/>
                      <a:pt x="-4652" y="180661"/>
                      <a:pt x="17292" y="153947"/>
                    </a:cubicBezTo>
                    <a:lnTo>
                      <a:pt x="43052" y="128186"/>
                    </a:lnTo>
                    <a:cubicBezTo>
                      <a:pt x="55694" y="117453"/>
                      <a:pt x="78353" y="114591"/>
                      <a:pt x="91710" y="136773"/>
                    </a:cubicBezTo>
                    <a:lnTo>
                      <a:pt x="150386" y="195449"/>
                    </a:lnTo>
                    <a:cubicBezTo>
                      <a:pt x="193558" y="145121"/>
                      <a:pt x="233868" y="74043"/>
                      <a:pt x="329276" y="12265"/>
                    </a:cubicBezTo>
                    <a:cubicBezTo>
                      <a:pt x="336670" y="7614"/>
                      <a:pt x="343885" y="2069"/>
                      <a:pt x="351727" y="459"/>
                    </a:cubicBezTo>
                    <a:close/>
                  </a:path>
                </a:pathLst>
              </a:custGeom>
              <a:solidFill>
                <a:schemeClr val="bg1"/>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255" name="Freeform 254"/>
              <p:cNvSpPr>
                <a:spLocks noChangeAspect="1"/>
              </p:cNvSpPr>
              <p:nvPr/>
            </p:nvSpPr>
            <p:spPr bwMode="auto">
              <a:xfrm>
                <a:off x="10244512" y="5429330"/>
                <a:ext cx="213938" cy="180895"/>
              </a:xfrm>
              <a:custGeom>
                <a:avLst/>
                <a:gdLst>
                  <a:gd name="connsiteX0" fmla="*/ 351727 w 418566"/>
                  <a:gd name="connsiteY0" fmla="*/ 459 h 353919"/>
                  <a:gd name="connsiteX1" fmla="*/ 377934 w 418566"/>
                  <a:gd name="connsiteY1" fmla="*/ 12265 h 353919"/>
                  <a:gd name="connsiteX2" fmla="*/ 406557 w 418566"/>
                  <a:gd name="connsiteY2" fmla="*/ 52337 h 353919"/>
                  <a:gd name="connsiteX3" fmla="*/ 405841 w 418566"/>
                  <a:gd name="connsiteY3" fmla="*/ 97417 h 353919"/>
                  <a:gd name="connsiteX4" fmla="*/ 186164 w 418566"/>
                  <a:gd name="connsiteY4" fmla="*/ 335699 h 353919"/>
                  <a:gd name="connsiteX5" fmla="*/ 130350 w 418566"/>
                  <a:gd name="connsiteY5" fmla="*/ 334268 h 353919"/>
                  <a:gd name="connsiteX6" fmla="*/ 7274 w 418566"/>
                  <a:gd name="connsiteY6" fmla="*/ 204036 h 353919"/>
                  <a:gd name="connsiteX7" fmla="*/ 17292 w 418566"/>
                  <a:gd name="connsiteY7" fmla="*/ 153947 h 353919"/>
                  <a:gd name="connsiteX8" fmla="*/ 43052 w 418566"/>
                  <a:gd name="connsiteY8" fmla="*/ 128186 h 353919"/>
                  <a:gd name="connsiteX9" fmla="*/ 91710 w 418566"/>
                  <a:gd name="connsiteY9" fmla="*/ 136773 h 353919"/>
                  <a:gd name="connsiteX10" fmla="*/ 150386 w 418566"/>
                  <a:gd name="connsiteY10" fmla="*/ 195449 h 353919"/>
                  <a:gd name="connsiteX11" fmla="*/ 329276 w 418566"/>
                  <a:gd name="connsiteY11" fmla="*/ 12265 h 353919"/>
                  <a:gd name="connsiteX12" fmla="*/ 351727 w 418566"/>
                  <a:gd name="connsiteY12" fmla="*/ 459 h 35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8566" h="353919">
                    <a:moveTo>
                      <a:pt x="351727" y="459"/>
                    </a:moveTo>
                    <a:cubicBezTo>
                      <a:pt x="359568" y="-1151"/>
                      <a:pt x="368036" y="1174"/>
                      <a:pt x="377934" y="12265"/>
                    </a:cubicBezTo>
                    <a:lnTo>
                      <a:pt x="406557" y="52337"/>
                    </a:lnTo>
                    <a:cubicBezTo>
                      <a:pt x="410611" y="59492"/>
                      <a:pt x="431840" y="70942"/>
                      <a:pt x="405841" y="97417"/>
                    </a:cubicBezTo>
                    <a:cubicBezTo>
                      <a:pt x="307332" y="172790"/>
                      <a:pt x="245317" y="249593"/>
                      <a:pt x="186164" y="335699"/>
                    </a:cubicBezTo>
                    <a:cubicBezTo>
                      <a:pt x="166844" y="363845"/>
                      <a:pt x="144662" y="356212"/>
                      <a:pt x="130350" y="334268"/>
                    </a:cubicBezTo>
                    <a:cubicBezTo>
                      <a:pt x="90040" y="287279"/>
                      <a:pt x="51162" y="246015"/>
                      <a:pt x="7274" y="204036"/>
                    </a:cubicBezTo>
                    <a:cubicBezTo>
                      <a:pt x="-2983" y="187339"/>
                      <a:pt x="-4652" y="180661"/>
                      <a:pt x="17292" y="153947"/>
                    </a:cubicBezTo>
                    <a:lnTo>
                      <a:pt x="43052" y="128186"/>
                    </a:lnTo>
                    <a:cubicBezTo>
                      <a:pt x="55694" y="117453"/>
                      <a:pt x="78353" y="114591"/>
                      <a:pt x="91710" y="136773"/>
                    </a:cubicBezTo>
                    <a:lnTo>
                      <a:pt x="150386" y="195449"/>
                    </a:lnTo>
                    <a:cubicBezTo>
                      <a:pt x="193558" y="145121"/>
                      <a:pt x="233868" y="74043"/>
                      <a:pt x="329276" y="12265"/>
                    </a:cubicBezTo>
                    <a:cubicBezTo>
                      <a:pt x="336670" y="7614"/>
                      <a:pt x="343885" y="2069"/>
                      <a:pt x="351727" y="459"/>
                    </a:cubicBezTo>
                    <a:close/>
                  </a:path>
                </a:pathLst>
              </a:custGeom>
              <a:solidFill>
                <a:schemeClr val="bg1"/>
              </a:solidFill>
              <a:ln w="984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2" name="Slide Number Placeholder 1"/>
          <p:cNvSpPr>
            <a:spLocks noGrp="1"/>
          </p:cNvSpPr>
          <p:nvPr>
            <p:ph type="sldNum" sz="quarter" idx="11"/>
          </p:nvPr>
        </p:nvSpPr>
        <p:spPr/>
        <p:txBody>
          <a:bodyPr/>
          <a:lstStyle/>
          <a:p>
            <a:fld id="{27258FFF-F925-446B-8502-81C933981705}" type="slidenum">
              <a:rPr lang="en-US" smtClean="0"/>
              <a:pPr/>
              <a:t>26</a:t>
            </a:fld>
            <a:endParaRPr lang="en-US" dirty="0"/>
          </a:p>
        </p:txBody>
      </p:sp>
      <p:grpSp>
        <p:nvGrpSpPr>
          <p:cNvPr id="38" name="Group 37"/>
          <p:cNvGrpSpPr/>
          <p:nvPr/>
        </p:nvGrpSpPr>
        <p:grpSpPr>
          <a:xfrm>
            <a:off x="11070579" y="297389"/>
            <a:ext cx="932340" cy="913874"/>
            <a:chOff x="11070579" y="297389"/>
            <a:chExt cx="932340" cy="913874"/>
          </a:xfrm>
        </p:grpSpPr>
        <p:sp>
          <p:nvSpPr>
            <p:cNvPr id="39" name="Rectangle 38"/>
            <p:cNvSpPr/>
            <p:nvPr/>
          </p:nvSpPr>
          <p:spPr bwMode="auto">
            <a:xfrm>
              <a:off x="11070579" y="297389"/>
              <a:ext cx="932340" cy="913874"/>
            </a:xfrm>
            <a:prstGeom prst="rect">
              <a:avLst/>
            </a:prstGeom>
            <a:solidFill>
              <a:schemeClr val="accent4"/>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p>
              <a:pPr algn="l" defTabSz="932563" fontAlgn="auto">
                <a:spcAft>
                  <a:spcPts val="587"/>
                </a:spcAft>
              </a:pPr>
              <a:endParaRPr lang="en-US" sz="2200" dirty="0">
                <a:solidFill>
                  <a:schemeClr val="bg1"/>
                </a:solidFill>
                <a:latin typeface="+mj-lt"/>
                <a:cs typeface="Segoe UI Semibold" panose="020B0702040204020203" pitchFamily="34" charset="0"/>
              </a:endParaRPr>
            </a:p>
          </p:txBody>
        </p:sp>
        <p:sp>
          <p:nvSpPr>
            <p:cNvPr id="40" name="Rectangle 39"/>
            <p:cNvSpPr/>
            <p:nvPr/>
          </p:nvSpPr>
          <p:spPr>
            <a:xfrm>
              <a:off x="11070579" y="1137623"/>
              <a:ext cx="932340" cy="73640"/>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grpSp>
          <p:nvGrpSpPr>
            <p:cNvPr id="41" name="Group 40"/>
            <p:cNvGrpSpPr/>
            <p:nvPr/>
          </p:nvGrpSpPr>
          <p:grpSpPr>
            <a:xfrm>
              <a:off x="11255375" y="472799"/>
              <a:ext cx="562748" cy="563054"/>
              <a:chOff x="-4292600" y="-1301750"/>
              <a:chExt cx="5827713" cy="5830888"/>
            </a:xfrm>
            <a:solidFill>
              <a:schemeClr val="bg1">
                <a:alpha val="22000"/>
              </a:schemeClr>
            </a:solidFill>
          </p:grpSpPr>
          <p:sp>
            <p:nvSpPr>
              <p:cNvPr id="42" name="Freeform 41"/>
              <p:cNvSpPr>
                <a:spLocks noEditPoints="1"/>
              </p:cNvSpPr>
              <p:nvPr/>
            </p:nvSpPr>
            <p:spPr bwMode="auto">
              <a:xfrm>
                <a:off x="-4292600" y="-1301750"/>
                <a:ext cx="5827713" cy="5830888"/>
              </a:xfrm>
              <a:custGeom>
                <a:avLst/>
                <a:gdLst>
                  <a:gd name="T0" fmla="*/ 2874 w 3671"/>
                  <a:gd name="T1" fmla="*/ 3100 h 3673"/>
                  <a:gd name="T2" fmla="*/ 3236 w 3671"/>
                  <a:gd name="T3" fmla="*/ 2924 h 3673"/>
                  <a:gd name="T4" fmla="*/ 1108 w 3671"/>
                  <a:gd name="T5" fmla="*/ 1714 h 3673"/>
                  <a:gd name="T6" fmla="*/ 888 w 3671"/>
                  <a:gd name="T7" fmla="*/ 1739 h 3673"/>
                  <a:gd name="T8" fmla="*/ 687 w 3671"/>
                  <a:gd name="T9" fmla="*/ 1816 h 3673"/>
                  <a:gd name="T10" fmla="*/ 514 w 3671"/>
                  <a:gd name="T11" fmla="*/ 1937 h 3673"/>
                  <a:gd name="T12" fmla="*/ 376 w 3671"/>
                  <a:gd name="T13" fmla="*/ 2098 h 3673"/>
                  <a:gd name="T14" fmla="*/ 279 w 3671"/>
                  <a:gd name="T15" fmla="*/ 2289 h 3673"/>
                  <a:gd name="T16" fmla="*/ 231 w 3671"/>
                  <a:gd name="T17" fmla="*/ 2504 h 3673"/>
                  <a:gd name="T18" fmla="*/ 238 w 3671"/>
                  <a:gd name="T19" fmla="*/ 2730 h 3673"/>
                  <a:gd name="T20" fmla="*/ 305 w 3671"/>
                  <a:gd name="T21" fmla="*/ 2941 h 3673"/>
                  <a:gd name="T22" fmla="*/ 423 w 3671"/>
                  <a:gd name="T23" fmla="*/ 3129 h 3673"/>
                  <a:gd name="T24" fmla="*/ 581 w 3671"/>
                  <a:gd name="T25" fmla="*/ 3280 h 3673"/>
                  <a:gd name="T26" fmla="*/ 772 w 3671"/>
                  <a:gd name="T27" fmla="*/ 3390 h 3673"/>
                  <a:gd name="T28" fmla="*/ 986 w 3671"/>
                  <a:gd name="T29" fmla="*/ 3444 h 3673"/>
                  <a:gd name="T30" fmla="*/ 1214 w 3671"/>
                  <a:gd name="T31" fmla="*/ 3440 h 3673"/>
                  <a:gd name="T32" fmla="*/ 1428 w 3671"/>
                  <a:gd name="T33" fmla="*/ 3381 h 3673"/>
                  <a:gd name="T34" fmla="*/ 1614 w 3671"/>
                  <a:gd name="T35" fmla="*/ 3276 h 3673"/>
                  <a:gd name="T36" fmla="*/ 1767 w 3671"/>
                  <a:gd name="T37" fmla="*/ 3130 h 3673"/>
                  <a:gd name="T38" fmla="*/ 1880 w 3671"/>
                  <a:gd name="T39" fmla="*/ 2950 h 3673"/>
                  <a:gd name="T40" fmla="*/ 1946 w 3671"/>
                  <a:gd name="T41" fmla="*/ 2743 h 3673"/>
                  <a:gd name="T42" fmla="*/ 1959 w 3671"/>
                  <a:gd name="T43" fmla="*/ 2513 h 3673"/>
                  <a:gd name="T44" fmla="*/ 1911 w 3671"/>
                  <a:gd name="T45" fmla="*/ 2290 h 3673"/>
                  <a:gd name="T46" fmla="*/ 1809 w 3671"/>
                  <a:gd name="T47" fmla="*/ 2091 h 3673"/>
                  <a:gd name="T48" fmla="*/ 1661 w 3671"/>
                  <a:gd name="T49" fmla="*/ 1926 h 3673"/>
                  <a:gd name="T50" fmla="*/ 1477 w 3671"/>
                  <a:gd name="T51" fmla="*/ 1802 h 3673"/>
                  <a:gd name="T52" fmla="*/ 1263 w 3671"/>
                  <a:gd name="T53" fmla="*/ 1730 h 3673"/>
                  <a:gd name="T54" fmla="*/ 1210 w 3671"/>
                  <a:gd name="T55" fmla="*/ 225 h 3673"/>
                  <a:gd name="T56" fmla="*/ 1370 w 3671"/>
                  <a:gd name="T57" fmla="*/ 1526 h 3673"/>
                  <a:gd name="T58" fmla="*/ 1586 w 3671"/>
                  <a:gd name="T59" fmla="*/ 1605 h 3673"/>
                  <a:gd name="T60" fmla="*/ 1774 w 3671"/>
                  <a:gd name="T61" fmla="*/ 1721 h 3673"/>
                  <a:gd name="T62" fmla="*/ 1931 w 3671"/>
                  <a:gd name="T63" fmla="*/ 1874 h 3673"/>
                  <a:gd name="T64" fmla="*/ 2056 w 3671"/>
                  <a:gd name="T65" fmla="*/ 2064 h 3673"/>
                  <a:gd name="T66" fmla="*/ 2147 w 3671"/>
                  <a:gd name="T67" fmla="*/ 2297 h 3673"/>
                  <a:gd name="T68" fmla="*/ 2190 w 3671"/>
                  <a:gd name="T69" fmla="*/ 2543 h 3673"/>
                  <a:gd name="T70" fmla="*/ 2174 w 3671"/>
                  <a:gd name="T71" fmla="*/ 2777 h 3673"/>
                  <a:gd name="T72" fmla="*/ 2105 w 3671"/>
                  <a:gd name="T73" fmla="*/ 3001 h 3673"/>
                  <a:gd name="T74" fmla="*/ 1984 w 3671"/>
                  <a:gd name="T75" fmla="*/ 3214 h 3673"/>
                  <a:gd name="T76" fmla="*/ 2648 w 3671"/>
                  <a:gd name="T77" fmla="*/ 3351 h 3673"/>
                  <a:gd name="T78" fmla="*/ 3441 w 3671"/>
                  <a:gd name="T79" fmla="*/ 225 h 3673"/>
                  <a:gd name="T80" fmla="*/ 3668 w 3671"/>
                  <a:gd name="T81" fmla="*/ 0 h 3673"/>
                  <a:gd name="T82" fmla="*/ 3671 w 3671"/>
                  <a:gd name="T83" fmla="*/ 2178 h 3673"/>
                  <a:gd name="T84" fmla="*/ 3670 w 3671"/>
                  <a:gd name="T85" fmla="*/ 2793 h 3673"/>
                  <a:gd name="T86" fmla="*/ 3644 w 3671"/>
                  <a:gd name="T87" fmla="*/ 2841 h 3673"/>
                  <a:gd name="T88" fmla="*/ 2891 w 3671"/>
                  <a:gd name="T89" fmla="*/ 3571 h 3673"/>
                  <a:gd name="T90" fmla="*/ 1573 w 3671"/>
                  <a:gd name="T91" fmla="*/ 3578 h 3673"/>
                  <a:gd name="T92" fmla="*/ 1443 w 3671"/>
                  <a:gd name="T93" fmla="*/ 3617 h 3673"/>
                  <a:gd name="T94" fmla="*/ 1207 w 3671"/>
                  <a:gd name="T95" fmla="*/ 3667 h 3673"/>
                  <a:gd name="T96" fmla="*/ 973 w 3671"/>
                  <a:gd name="T97" fmla="*/ 3667 h 3673"/>
                  <a:gd name="T98" fmla="*/ 750 w 3671"/>
                  <a:gd name="T99" fmla="*/ 3619 h 3673"/>
                  <a:gd name="T100" fmla="*/ 543 w 3671"/>
                  <a:gd name="T101" fmla="*/ 3527 h 3673"/>
                  <a:gd name="T102" fmla="*/ 359 w 3671"/>
                  <a:gd name="T103" fmla="*/ 3391 h 3673"/>
                  <a:gd name="T104" fmla="*/ 205 w 3671"/>
                  <a:gd name="T105" fmla="*/ 3217 h 3673"/>
                  <a:gd name="T106" fmla="*/ 87 w 3671"/>
                  <a:gd name="T107" fmla="*/ 3005 h 3673"/>
                  <a:gd name="T108" fmla="*/ 17 w 3671"/>
                  <a:gd name="T109" fmla="*/ 2777 h 3673"/>
                  <a:gd name="T110" fmla="*/ 0 w 3671"/>
                  <a:gd name="T111" fmla="*/ 2548 h 3673"/>
                  <a:gd name="T112" fmla="*/ 32 w 3671"/>
                  <a:gd name="T113" fmla="*/ 2323 h 3673"/>
                  <a:gd name="T114" fmla="*/ 110 w 3671"/>
                  <a:gd name="T115" fmla="*/ 2109 h 3673"/>
                  <a:gd name="T116" fmla="*/ 230 w 3671"/>
                  <a:gd name="T117" fmla="*/ 1914 h 3673"/>
                  <a:gd name="T118" fmla="*/ 388 w 3671"/>
                  <a:gd name="T119" fmla="*/ 1748 h 3673"/>
                  <a:gd name="T120" fmla="*/ 582 w 3671"/>
                  <a:gd name="T121" fmla="*/ 1616 h 3673"/>
                  <a:gd name="T122" fmla="*/ 815 w 3671"/>
                  <a:gd name="T123" fmla="*/ 1526 h 3673"/>
                  <a:gd name="T124" fmla="*/ 983 w 3671"/>
                  <a:gd name="T125" fmla="*/ 0 h 3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71" h="3673">
                    <a:moveTo>
                      <a:pt x="2874" y="2746"/>
                    </a:moveTo>
                    <a:lnTo>
                      <a:pt x="2874" y="2922"/>
                    </a:lnTo>
                    <a:lnTo>
                      <a:pt x="2874" y="3100"/>
                    </a:lnTo>
                    <a:lnTo>
                      <a:pt x="2874" y="3278"/>
                    </a:lnTo>
                    <a:lnTo>
                      <a:pt x="3056" y="3101"/>
                    </a:lnTo>
                    <a:lnTo>
                      <a:pt x="3236" y="2924"/>
                    </a:lnTo>
                    <a:lnTo>
                      <a:pt x="3417" y="2746"/>
                    </a:lnTo>
                    <a:lnTo>
                      <a:pt x="2874" y="2746"/>
                    </a:lnTo>
                    <a:close/>
                    <a:moveTo>
                      <a:pt x="1108" y="1714"/>
                    </a:moveTo>
                    <a:lnTo>
                      <a:pt x="1033" y="1716"/>
                    </a:lnTo>
                    <a:lnTo>
                      <a:pt x="959" y="1724"/>
                    </a:lnTo>
                    <a:lnTo>
                      <a:pt x="888" y="1739"/>
                    </a:lnTo>
                    <a:lnTo>
                      <a:pt x="818" y="1759"/>
                    </a:lnTo>
                    <a:lnTo>
                      <a:pt x="751" y="1784"/>
                    </a:lnTo>
                    <a:lnTo>
                      <a:pt x="687" y="1816"/>
                    </a:lnTo>
                    <a:lnTo>
                      <a:pt x="626" y="1851"/>
                    </a:lnTo>
                    <a:lnTo>
                      <a:pt x="569" y="1893"/>
                    </a:lnTo>
                    <a:lnTo>
                      <a:pt x="514" y="1937"/>
                    </a:lnTo>
                    <a:lnTo>
                      <a:pt x="464" y="1987"/>
                    </a:lnTo>
                    <a:lnTo>
                      <a:pt x="418" y="2041"/>
                    </a:lnTo>
                    <a:lnTo>
                      <a:pt x="376" y="2098"/>
                    </a:lnTo>
                    <a:lnTo>
                      <a:pt x="339" y="2158"/>
                    </a:lnTo>
                    <a:lnTo>
                      <a:pt x="307" y="2222"/>
                    </a:lnTo>
                    <a:lnTo>
                      <a:pt x="279" y="2289"/>
                    </a:lnTo>
                    <a:lnTo>
                      <a:pt x="258" y="2358"/>
                    </a:lnTo>
                    <a:lnTo>
                      <a:pt x="241" y="2430"/>
                    </a:lnTo>
                    <a:lnTo>
                      <a:pt x="231" y="2504"/>
                    </a:lnTo>
                    <a:lnTo>
                      <a:pt x="226" y="2581"/>
                    </a:lnTo>
                    <a:lnTo>
                      <a:pt x="229" y="2656"/>
                    </a:lnTo>
                    <a:lnTo>
                      <a:pt x="238" y="2730"/>
                    </a:lnTo>
                    <a:lnTo>
                      <a:pt x="254" y="2803"/>
                    </a:lnTo>
                    <a:lnTo>
                      <a:pt x="277" y="2873"/>
                    </a:lnTo>
                    <a:lnTo>
                      <a:pt x="305" y="2941"/>
                    </a:lnTo>
                    <a:lnTo>
                      <a:pt x="339" y="3007"/>
                    </a:lnTo>
                    <a:lnTo>
                      <a:pt x="378" y="3069"/>
                    </a:lnTo>
                    <a:lnTo>
                      <a:pt x="423" y="3129"/>
                    </a:lnTo>
                    <a:lnTo>
                      <a:pt x="471" y="3183"/>
                    </a:lnTo>
                    <a:lnTo>
                      <a:pt x="524" y="3234"/>
                    </a:lnTo>
                    <a:lnTo>
                      <a:pt x="581" y="3280"/>
                    </a:lnTo>
                    <a:lnTo>
                      <a:pt x="641" y="3323"/>
                    </a:lnTo>
                    <a:lnTo>
                      <a:pt x="705" y="3358"/>
                    </a:lnTo>
                    <a:lnTo>
                      <a:pt x="772" y="3390"/>
                    </a:lnTo>
                    <a:lnTo>
                      <a:pt x="841" y="3414"/>
                    </a:lnTo>
                    <a:lnTo>
                      <a:pt x="912" y="3432"/>
                    </a:lnTo>
                    <a:lnTo>
                      <a:pt x="986" y="3444"/>
                    </a:lnTo>
                    <a:lnTo>
                      <a:pt x="1061" y="3449"/>
                    </a:lnTo>
                    <a:lnTo>
                      <a:pt x="1138" y="3448"/>
                    </a:lnTo>
                    <a:lnTo>
                      <a:pt x="1214" y="3440"/>
                    </a:lnTo>
                    <a:lnTo>
                      <a:pt x="1287" y="3425"/>
                    </a:lnTo>
                    <a:lnTo>
                      <a:pt x="1359" y="3406"/>
                    </a:lnTo>
                    <a:lnTo>
                      <a:pt x="1428" y="3381"/>
                    </a:lnTo>
                    <a:lnTo>
                      <a:pt x="1492" y="3351"/>
                    </a:lnTo>
                    <a:lnTo>
                      <a:pt x="1555" y="3316"/>
                    </a:lnTo>
                    <a:lnTo>
                      <a:pt x="1614" y="3276"/>
                    </a:lnTo>
                    <a:lnTo>
                      <a:pt x="1669" y="3231"/>
                    </a:lnTo>
                    <a:lnTo>
                      <a:pt x="1720" y="3182"/>
                    </a:lnTo>
                    <a:lnTo>
                      <a:pt x="1767" y="3130"/>
                    </a:lnTo>
                    <a:lnTo>
                      <a:pt x="1809" y="3073"/>
                    </a:lnTo>
                    <a:lnTo>
                      <a:pt x="1847" y="3014"/>
                    </a:lnTo>
                    <a:lnTo>
                      <a:pt x="1880" y="2950"/>
                    </a:lnTo>
                    <a:lnTo>
                      <a:pt x="1907" y="2883"/>
                    </a:lnTo>
                    <a:lnTo>
                      <a:pt x="1930" y="2814"/>
                    </a:lnTo>
                    <a:lnTo>
                      <a:pt x="1946" y="2743"/>
                    </a:lnTo>
                    <a:lnTo>
                      <a:pt x="1956" y="2668"/>
                    </a:lnTo>
                    <a:lnTo>
                      <a:pt x="1961" y="2592"/>
                    </a:lnTo>
                    <a:lnTo>
                      <a:pt x="1959" y="2513"/>
                    </a:lnTo>
                    <a:lnTo>
                      <a:pt x="1949" y="2437"/>
                    </a:lnTo>
                    <a:lnTo>
                      <a:pt x="1933" y="2362"/>
                    </a:lnTo>
                    <a:lnTo>
                      <a:pt x="1911" y="2290"/>
                    </a:lnTo>
                    <a:lnTo>
                      <a:pt x="1883" y="2221"/>
                    </a:lnTo>
                    <a:lnTo>
                      <a:pt x="1848" y="2155"/>
                    </a:lnTo>
                    <a:lnTo>
                      <a:pt x="1809" y="2091"/>
                    </a:lnTo>
                    <a:lnTo>
                      <a:pt x="1765" y="2032"/>
                    </a:lnTo>
                    <a:lnTo>
                      <a:pt x="1716" y="1977"/>
                    </a:lnTo>
                    <a:lnTo>
                      <a:pt x="1661" y="1926"/>
                    </a:lnTo>
                    <a:lnTo>
                      <a:pt x="1604" y="1880"/>
                    </a:lnTo>
                    <a:lnTo>
                      <a:pt x="1542" y="1839"/>
                    </a:lnTo>
                    <a:lnTo>
                      <a:pt x="1477" y="1802"/>
                    </a:lnTo>
                    <a:lnTo>
                      <a:pt x="1408" y="1772"/>
                    </a:lnTo>
                    <a:lnTo>
                      <a:pt x="1336" y="1748"/>
                    </a:lnTo>
                    <a:lnTo>
                      <a:pt x="1263" y="1730"/>
                    </a:lnTo>
                    <a:lnTo>
                      <a:pt x="1186" y="1719"/>
                    </a:lnTo>
                    <a:lnTo>
                      <a:pt x="1108" y="1714"/>
                    </a:lnTo>
                    <a:close/>
                    <a:moveTo>
                      <a:pt x="1210" y="225"/>
                    </a:moveTo>
                    <a:lnTo>
                      <a:pt x="1210" y="1491"/>
                    </a:lnTo>
                    <a:lnTo>
                      <a:pt x="1291" y="1507"/>
                    </a:lnTo>
                    <a:lnTo>
                      <a:pt x="1370" y="1526"/>
                    </a:lnTo>
                    <a:lnTo>
                      <a:pt x="1444" y="1548"/>
                    </a:lnTo>
                    <a:lnTo>
                      <a:pt x="1517" y="1575"/>
                    </a:lnTo>
                    <a:lnTo>
                      <a:pt x="1586" y="1605"/>
                    </a:lnTo>
                    <a:lnTo>
                      <a:pt x="1652" y="1639"/>
                    </a:lnTo>
                    <a:lnTo>
                      <a:pt x="1714" y="1678"/>
                    </a:lnTo>
                    <a:lnTo>
                      <a:pt x="1774" y="1721"/>
                    </a:lnTo>
                    <a:lnTo>
                      <a:pt x="1829" y="1768"/>
                    </a:lnTo>
                    <a:lnTo>
                      <a:pt x="1882" y="1819"/>
                    </a:lnTo>
                    <a:lnTo>
                      <a:pt x="1931" y="1874"/>
                    </a:lnTo>
                    <a:lnTo>
                      <a:pt x="1975" y="1933"/>
                    </a:lnTo>
                    <a:lnTo>
                      <a:pt x="2018" y="1996"/>
                    </a:lnTo>
                    <a:lnTo>
                      <a:pt x="2056" y="2064"/>
                    </a:lnTo>
                    <a:lnTo>
                      <a:pt x="2090" y="2137"/>
                    </a:lnTo>
                    <a:lnTo>
                      <a:pt x="2120" y="2214"/>
                    </a:lnTo>
                    <a:lnTo>
                      <a:pt x="2147" y="2297"/>
                    </a:lnTo>
                    <a:lnTo>
                      <a:pt x="2168" y="2380"/>
                    </a:lnTo>
                    <a:lnTo>
                      <a:pt x="2182" y="2463"/>
                    </a:lnTo>
                    <a:lnTo>
                      <a:pt x="2190" y="2543"/>
                    </a:lnTo>
                    <a:lnTo>
                      <a:pt x="2191" y="2622"/>
                    </a:lnTo>
                    <a:lnTo>
                      <a:pt x="2185" y="2700"/>
                    </a:lnTo>
                    <a:lnTo>
                      <a:pt x="2174" y="2777"/>
                    </a:lnTo>
                    <a:lnTo>
                      <a:pt x="2157" y="2853"/>
                    </a:lnTo>
                    <a:lnTo>
                      <a:pt x="2134" y="2928"/>
                    </a:lnTo>
                    <a:lnTo>
                      <a:pt x="2105" y="3001"/>
                    </a:lnTo>
                    <a:lnTo>
                      <a:pt x="2070" y="3074"/>
                    </a:lnTo>
                    <a:lnTo>
                      <a:pt x="2030" y="3144"/>
                    </a:lnTo>
                    <a:lnTo>
                      <a:pt x="1984" y="3214"/>
                    </a:lnTo>
                    <a:lnTo>
                      <a:pt x="1933" y="3282"/>
                    </a:lnTo>
                    <a:lnTo>
                      <a:pt x="1876" y="3351"/>
                    </a:lnTo>
                    <a:lnTo>
                      <a:pt x="2648" y="3351"/>
                    </a:lnTo>
                    <a:lnTo>
                      <a:pt x="2648" y="2519"/>
                    </a:lnTo>
                    <a:lnTo>
                      <a:pt x="3441" y="2519"/>
                    </a:lnTo>
                    <a:lnTo>
                      <a:pt x="3441" y="225"/>
                    </a:lnTo>
                    <a:lnTo>
                      <a:pt x="1210" y="225"/>
                    </a:lnTo>
                    <a:close/>
                    <a:moveTo>
                      <a:pt x="983" y="0"/>
                    </a:moveTo>
                    <a:lnTo>
                      <a:pt x="3668" y="0"/>
                    </a:lnTo>
                    <a:lnTo>
                      <a:pt x="3670" y="21"/>
                    </a:lnTo>
                    <a:lnTo>
                      <a:pt x="3670" y="42"/>
                    </a:lnTo>
                    <a:lnTo>
                      <a:pt x="3671" y="2178"/>
                    </a:lnTo>
                    <a:lnTo>
                      <a:pt x="3670" y="2476"/>
                    </a:lnTo>
                    <a:lnTo>
                      <a:pt x="3671" y="2774"/>
                    </a:lnTo>
                    <a:lnTo>
                      <a:pt x="3670" y="2793"/>
                    </a:lnTo>
                    <a:lnTo>
                      <a:pt x="3665" y="2811"/>
                    </a:lnTo>
                    <a:lnTo>
                      <a:pt x="3657" y="2825"/>
                    </a:lnTo>
                    <a:lnTo>
                      <a:pt x="3644" y="2841"/>
                    </a:lnTo>
                    <a:lnTo>
                      <a:pt x="2919" y="3552"/>
                    </a:lnTo>
                    <a:lnTo>
                      <a:pt x="2906" y="3564"/>
                    </a:lnTo>
                    <a:lnTo>
                      <a:pt x="2891" y="3571"/>
                    </a:lnTo>
                    <a:lnTo>
                      <a:pt x="2874" y="3577"/>
                    </a:lnTo>
                    <a:lnTo>
                      <a:pt x="2857" y="3578"/>
                    </a:lnTo>
                    <a:lnTo>
                      <a:pt x="1573" y="3578"/>
                    </a:lnTo>
                    <a:lnTo>
                      <a:pt x="1547" y="3580"/>
                    </a:lnTo>
                    <a:lnTo>
                      <a:pt x="1523" y="3588"/>
                    </a:lnTo>
                    <a:lnTo>
                      <a:pt x="1443" y="3617"/>
                    </a:lnTo>
                    <a:lnTo>
                      <a:pt x="1364" y="3639"/>
                    </a:lnTo>
                    <a:lnTo>
                      <a:pt x="1285" y="3656"/>
                    </a:lnTo>
                    <a:lnTo>
                      <a:pt x="1207" y="3667"/>
                    </a:lnTo>
                    <a:lnTo>
                      <a:pt x="1128" y="3673"/>
                    </a:lnTo>
                    <a:lnTo>
                      <a:pt x="1050" y="3673"/>
                    </a:lnTo>
                    <a:lnTo>
                      <a:pt x="973" y="3667"/>
                    </a:lnTo>
                    <a:lnTo>
                      <a:pt x="897" y="3657"/>
                    </a:lnTo>
                    <a:lnTo>
                      <a:pt x="823" y="3641"/>
                    </a:lnTo>
                    <a:lnTo>
                      <a:pt x="750" y="3619"/>
                    </a:lnTo>
                    <a:lnTo>
                      <a:pt x="679" y="3594"/>
                    </a:lnTo>
                    <a:lnTo>
                      <a:pt x="610" y="3562"/>
                    </a:lnTo>
                    <a:lnTo>
                      <a:pt x="543" y="3527"/>
                    </a:lnTo>
                    <a:lnTo>
                      <a:pt x="479" y="3485"/>
                    </a:lnTo>
                    <a:lnTo>
                      <a:pt x="417" y="3441"/>
                    </a:lnTo>
                    <a:lnTo>
                      <a:pt x="359" y="3391"/>
                    </a:lnTo>
                    <a:lnTo>
                      <a:pt x="305" y="3337"/>
                    </a:lnTo>
                    <a:lnTo>
                      <a:pt x="253" y="3279"/>
                    </a:lnTo>
                    <a:lnTo>
                      <a:pt x="205" y="3217"/>
                    </a:lnTo>
                    <a:lnTo>
                      <a:pt x="162" y="3150"/>
                    </a:lnTo>
                    <a:lnTo>
                      <a:pt x="122" y="3079"/>
                    </a:lnTo>
                    <a:lnTo>
                      <a:pt x="87" y="3005"/>
                    </a:lnTo>
                    <a:lnTo>
                      <a:pt x="57" y="2927"/>
                    </a:lnTo>
                    <a:lnTo>
                      <a:pt x="33" y="2852"/>
                    </a:lnTo>
                    <a:lnTo>
                      <a:pt x="17" y="2777"/>
                    </a:lnTo>
                    <a:lnTo>
                      <a:pt x="6" y="2700"/>
                    </a:lnTo>
                    <a:lnTo>
                      <a:pt x="0" y="2624"/>
                    </a:lnTo>
                    <a:lnTo>
                      <a:pt x="0" y="2548"/>
                    </a:lnTo>
                    <a:lnTo>
                      <a:pt x="6" y="2473"/>
                    </a:lnTo>
                    <a:lnTo>
                      <a:pt x="17" y="2397"/>
                    </a:lnTo>
                    <a:lnTo>
                      <a:pt x="32" y="2323"/>
                    </a:lnTo>
                    <a:lnTo>
                      <a:pt x="54" y="2250"/>
                    </a:lnTo>
                    <a:lnTo>
                      <a:pt x="79" y="2178"/>
                    </a:lnTo>
                    <a:lnTo>
                      <a:pt x="110" y="2109"/>
                    </a:lnTo>
                    <a:lnTo>
                      <a:pt x="145" y="2041"/>
                    </a:lnTo>
                    <a:lnTo>
                      <a:pt x="185" y="1976"/>
                    </a:lnTo>
                    <a:lnTo>
                      <a:pt x="230" y="1914"/>
                    </a:lnTo>
                    <a:lnTo>
                      <a:pt x="279" y="1855"/>
                    </a:lnTo>
                    <a:lnTo>
                      <a:pt x="331" y="1799"/>
                    </a:lnTo>
                    <a:lnTo>
                      <a:pt x="388" y="1748"/>
                    </a:lnTo>
                    <a:lnTo>
                      <a:pt x="450" y="1700"/>
                    </a:lnTo>
                    <a:lnTo>
                      <a:pt x="514" y="1655"/>
                    </a:lnTo>
                    <a:lnTo>
                      <a:pt x="582" y="1616"/>
                    </a:lnTo>
                    <a:lnTo>
                      <a:pt x="658" y="1580"/>
                    </a:lnTo>
                    <a:lnTo>
                      <a:pt x="735" y="1550"/>
                    </a:lnTo>
                    <a:lnTo>
                      <a:pt x="815" y="1526"/>
                    </a:lnTo>
                    <a:lnTo>
                      <a:pt x="897" y="1507"/>
                    </a:lnTo>
                    <a:lnTo>
                      <a:pt x="983" y="1494"/>
                    </a:lnTo>
                    <a:lnTo>
                      <a:pt x="983" y="0"/>
                    </a:lnTo>
                    <a:close/>
                  </a:path>
                </a:pathLst>
              </a:custGeom>
              <a:solidFill>
                <a:schemeClr val="bg1">
                  <a:alpha val="22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sp>
            <p:nvSpPr>
              <p:cNvPr id="43" name="Freeform 42"/>
              <p:cNvSpPr>
                <a:spLocks/>
              </p:cNvSpPr>
              <p:nvPr/>
            </p:nvSpPr>
            <p:spPr bwMode="auto">
              <a:xfrm>
                <a:off x="-3602038" y="2185988"/>
                <a:ext cx="1951038" cy="1366838"/>
              </a:xfrm>
              <a:custGeom>
                <a:avLst/>
                <a:gdLst>
                  <a:gd name="T0" fmla="*/ 1115 w 1229"/>
                  <a:gd name="T1" fmla="*/ 0 h 861"/>
                  <a:gd name="T2" fmla="*/ 1136 w 1229"/>
                  <a:gd name="T3" fmla="*/ 0 h 861"/>
                  <a:gd name="T4" fmla="*/ 1156 w 1229"/>
                  <a:gd name="T5" fmla="*/ 6 h 861"/>
                  <a:gd name="T6" fmla="*/ 1173 w 1229"/>
                  <a:gd name="T7" fmla="*/ 15 h 861"/>
                  <a:gd name="T8" fmla="*/ 1190 w 1229"/>
                  <a:gd name="T9" fmla="*/ 28 h 861"/>
                  <a:gd name="T10" fmla="*/ 1206 w 1229"/>
                  <a:gd name="T11" fmla="*/ 46 h 861"/>
                  <a:gd name="T12" fmla="*/ 1219 w 1229"/>
                  <a:gd name="T13" fmla="*/ 68 h 861"/>
                  <a:gd name="T14" fmla="*/ 1227 w 1229"/>
                  <a:gd name="T15" fmla="*/ 92 h 861"/>
                  <a:gd name="T16" fmla="*/ 1229 w 1229"/>
                  <a:gd name="T17" fmla="*/ 116 h 861"/>
                  <a:gd name="T18" fmla="*/ 1225 w 1229"/>
                  <a:gd name="T19" fmla="*/ 141 h 861"/>
                  <a:gd name="T20" fmla="*/ 1214 w 1229"/>
                  <a:gd name="T21" fmla="*/ 165 h 861"/>
                  <a:gd name="T22" fmla="*/ 1199 w 1229"/>
                  <a:gd name="T23" fmla="*/ 186 h 861"/>
                  <a:gd name="T24" fmla="*/ 1181 w 1229"/>
                  <a:gd name="T25" fmla="*/ 205 h 861"/>
                  <a:gd name="T26" fmla="*/ 577 w 1229"/>
                  <a:gd name="T27" fmla="*/ 811 h 861"/>
                  <a:gd name="T28" fmla="*/ 552 w 1229"/>
                  <a:gd name="T29" fmla="*/ 833 h 861"/>
                  <a:gd name="T30" fmla="*/ 528 w 1229"/>
                  <a:gd name="T31" fmla="*/ 849 h 861"/>
                  <a:gd name="T32" fmla="*/ 503 w 1229"/>
                  <a:gd name="T33" fmla="*/ 858 h 861"/>
                  <a:gd name="T34" fmla="*/ 480 w 1229"/>
                  <a:gd name="T35" fmla="*/ 861 h 861"/>
                  <a:gd name="T36" fmla="*/ 456 w 1229"/>
                  <a:gd name="T37" fmla="*/ 859 h 861"/>
                  <a:gd name="T38" fmla="*/ 433 w 1229"/>
                  <a:gd name="T39" fmla="*/ 849 h 861"/>
                  <a:gd name="T40" fmla="*/ 408 w 1229"/>
                  <a:gd name="T41" fmla="*/ 833 h 861"/>
                  <a:gd name="T42" fmla="*/ 384 w 1229"/>
                  <a:gd name="T43" fmla="*/ 812 h 861"/>
                  <a:gd name="T44" fmla="*/ 41 w 1229"/>
                  <a:gd name="T45" fmla="*/ 470 h 861"/>
                  <a:gd name="T46" fmla="*/ 22 w 1229"/>
                  <a:gd name="T47" fmla="*/ 446 h 861"/>
                  <a:gd name="T48" fmla="*/ 9 w 1229"/>
                  <a:gd name="T49" fmla="*/ 423 h 861"/>
                  <a:gd name="T50" fmla="*/ 2 w 1229"/>
                  <a:gd name="T51" fmla="*/ 397 h 861"/>
                  <a:gd name="T52" fmla="*/ 0 w 1229"/>
                  <a:gd name="T53" fmla="*/ 372 h 861"/>
                  <a:gd name="T54" fmla="*/ 6 w 1229"/>
                  <a:gd name="T55" fmla="*/ 347 h 861"/>
                  <a:gd name="T56" fmla="*/ 16 w 1229"/>
                  <a:gd name="T57" fmla="*/ 324 h 861"/>
                  <a:gd name="T58" fmla="*/ 32 w 1229"/>
                  <a:gd name="T59" fmla="*/ 302 h 861"/>
                  <a:gd name="T60" fmla="*/ 54 w 1229"/>
                  <a:gd name="T61" fmla="*/ 286 h 861"/>
                  <a:gd name="T62" fmla="*/ 76 w 1229"/>
                  <a:gd name="T63" fmla="*/ 275 h 861"/>
                  <a:gd name="T64" fmla="*/ 102 w 1229"/>
                  <a:gd name="T65" fmla="*/ 269 h 861"/>
                  <a:gd name="T66" fmla="*/ 126 w 1229"/>
                  <a:gd name="T67" fmla="*/ 270 h 861"/>
                  <a:gd name="T68" fmla="*/ 152 w 1229"/>
                  <a:gd name="T69" fmla="*/ 277 h 861"/>
                  <a:gd name="T70" fmla="*/ 176 w 1229"/>
                  <a:gd name="T71" fmla="*/ 290 h 861"/>
                  <a:gd name="T72" fmla="*/ 200 w 1229"/>
                  <a:gd name="T73" fmla="*/ 309 h 861"/>
                  <a:gd name="T74" fmla="*/ 291 w 1229"/>
                  <a:gd name="T75" fmla="*/ 402 h 861"/>
                  <a:gd name="T76" fmla="*/ 384 w 1229"/>
                  <a:gd name="T77" fmla="*/ 495 h 861"/>
                  <a:gd name="T78" fmla="*/ 479 w 1229"/>
                  <a:gd name="T79" fmla="*/ 591 h 861"/>
                  <a:gd name="T80" fmla="*/ 660 w 1229"/>
                  <a:gd name="T81" fmla="*/ 409 h 861"/>
                  <a:gd name="T82" fmla="*/ 839 w 1229"/>
                  <a:gd name="T83" fmla="*/ 230 h 861"/>
                  <a:gd name="T84" fmla="*/ 1017 w 1229"/>
                  <a:gd name="T85" fmla="*/ 53 h 861"/>
                  <a:gd name="T86" fmla="*/ 1041 w 1229"/>
                  <a:gd name="T87" fmla="*/ 32 h 861"/>
                  <a:gd name="T88" fmla="*/ 1066 w 1229"/>
                  <a:gd name="T89" fmla="*/ 16 h 861"/>
                  <a:gd name="T90" fmla="*/ 1093 w 1229"/>
                  <a:gd name="T91" fmla="*/ 5 h 861"/>
                  <a:gd name="T92" fmla="*/ 1115 w 1229"/>
                  <a:gd name="T93" fmla="*/ 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29" h="861">
                    <a:moveTo>
                      <a:pt x="1115" y="0"/>
                    </a:moveTo>
                    <a:lnTo>
                      <a:pt x="1136" y="0"/>
                    </a:lnTo>
                    <a:lnTo>
                      <a:pt x="1156" y="6"/>
                    </a:lnTo>
                    <a:lnTo>
                      <a:pt x="1173" y="15"/>
                    </a:lnTo>
                    <a:lnTo>
                      <a:pt x="1190" y="28"/>
                    </a:lnTo>
                    <a:lnTo>
                      <a:pt x="1206" y="46"/>
                    </a:lnTo>
                    <a:lnTo>
                      <a:pt x="1219" y="68"/>
                    </a:lnTo>
                    <a:lnTo>
                      <a:pt x="1227" y="92"/>
                    </a:lnTo>
                    <a:lnTo>
                      <a:pt x="1229" y="116"/>
                    </a:lnTo>
                    <a:lnTo>
                      <a:pt x="1225" y="141"/>
                    </a:lnTo>
                    <a:lnTo>
                      <a:pt x="1214" y="165"/>
                    </a:lnTo>
                    <a:lnTo>
                      <a:pt x="1199" y="186"/>
                    </a:lnTo>
                    <a:lnTo>
                      <a:pt x="1181" y="205"/>
                    </a:lnTo>
                    <a:lnTo>
                      <a:pt x="577" y="811"/>
                    </a:lnTo>
                    <a:lnTo>
                      <a:pt x="552" y="833"/>
                    </a:lnTo>
                    <a:lnTo>
                      <a:pt x="528" y="849"/>
                    </a:lnTo>
                    <a:lnTo>
                      <a:pt x="503" y="858"/>
                    </a:lnTo>
                    <a:lnTo>
                      <a:pt x="480" y="861"/>
                    </a:lnTo>
                    <a:lnTo>
                      <a:pt x="456" y="859"/>
                    </a:lnTo>
                    <a:lnTo>
                      <a:pt x="433" y="849"/>
                    </a:lnTo>
                    <a:lnTo>
                      <a:pt x="408" y="833"/>
                    </a:lnTo>
                    <a:lnTo>
                      <a:pt x="384" y="812"/>
                    </a:lnTo>
                    <a:lnTo>
                      <a:pt x="41" y="470"/>
                    </a:lnTo>
                    <a:lnTo>
                      <a:pt x="22" y="446"/>
                    </a:lnTo>
                    <a:lnTo>
                      <a:pt x="9" y="423"/>
                    </a:lnTo>
                    <a:lnTo>
                      <a:pt x="2" y="397"/>
                    </a:lnTo>
                    <a:lnTo>
                      <a:pt x="0" y="372"/>
                    </a:lnTo>
                    <a:lnTo>
                      <a:pt x="6" y="347"/>
                    </a:lnTo>
                    <a:lnTo>
                      <a:pt x="16" y="324"/>
                    </a:lnTo>
                    <a:lnTo>
                      <a:pt x="32" y="302"/>
                    </a:lnTo>
                    <a:lnTo>
                      <a:pt x="54" y="286"/>
                    </a:lnTo>
                    <a:lnTo>
                      <a:pt x="76" y="275"/>
                    </a:lnTo>
                    <a:lnTo>
                      <a:pt x="102" y="269"/>
                    </a:lnTo>
                    <a:lnTo>
                      <a:pt x="126" y="270"/>
                    </a:lnTo>
                    <a:lnTo>
                      <a:pt x="152" y="277"/>
                    </a:lnTo>
                    <a:lnTo>
                      <a:pt x="176" y="290"/>
                    </a:lnTo>
                    <a:lnTo>
                      <a:pt x="200" y="309"/>
                    </a:lnTo>
                    <a:lnTo>
                      <a:pt x="291" y="402"/>
                    </a:lnTo>
                    <a:lnTo>
                      <a:pt x="384" y="495"/>
                    </a:lnTo>
                    <a:lnTo>
                      <a:pt x="479" y="591"/>
                    </a:lnTo>
                    <a:lnTo>
                      <a:pt x="660" y="409"/>
                    </a:lnTo>
                    <a:lnTo>
                      <a:pt x="839" y="230"/>
                    </a:lnTo>
                    <a:lnTo>
                      <a:pt x="1017" y="53"/>
                    </a:lnTo>
                    <a:lnTo>
                      <a:pt x="1041" y="32"/>
                    </a:lnTo>
                    <a:lnTo>
                      <a:pt x="1066" y="16"/>
                    </a:lnTo>
                    <a:lnTo>
                      <a:pt x="1093" y="5"/>
                    </a:lnTo>
                    <a:lnTo>
                      <a:pt x="1115" y="0"/>
                    </a:lnTo>
                    <a:close/>
                  </a:path>
                </a:pathLst>
              </a:custGeom>
              <a:solidFill>
                <a:schemeClr val="bg1">
                  <a:alpha val="22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grpSp>
      </p:grpSp>
    </p:spTree>
    <p:extLst>
      <p:ext uri="{BB962C8B-B14F-4D97-AF65-F5344CB8AC3E}">
        <p14:creationId xmlns:p14="http://schemas.microsoft.com/office/powerpoint/2010/main" val="208451895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750" fill="hold"/>
                                        <p:tgtEl>
                                          <p:spTgt spid="6"/>
                                        </p:tgtEl>
                                        <p:attrNameLst>
                                          <p:attrName>ppt_x</p:attrName>
                                        </p:attrNameLst>
                                      </p:cBhvr>
                                      <p:tavLst>
                                        <p:tav tm="0">
                                          <p:val>
                                            <p:strVal val="0-#ppt_w/2"/>
                                          </p:val>
                                        </p:tav>
                                        <p:tav tm="100000">
                                          <p:val>
                                            <p:strVal val="#ppt_x"/>
                                          </p:val>
                                        </p:tav>
                                      </p:tavLst>
                                    </p:anim>
                                    <p:anim calcmode="lin" valueType="num">
                                      <p:cBhvr additive="base">
                                        <p:cTn id="8" dur="75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913197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159"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IN" dirty="0" smtClean="0"/>
              <a:t>Compliance framework</a:t>
            </a:r>
            <a:endParaRPr lang="en-IN" dirty="0"/>
          </a:p>
        </p:txBody>
      </p:sp>
      <p:grpSp>
        <p:nvGrpSpPr>
          <p:cNvPr id="15" name="Group 14"/>
          <p:cNvGrpSpPr/>
          <p:nvPr/>
        </p:nvGrpSpPr>
        <p:grpSpPr>
          <a:xfrm>
            <a:off x="590625" y="1401763"/>
            <a:ext cx="2212849" cy="2921898"/>
            <a:chOff x="590625" y="1401763"/>
            <a:chExt cx="2212849" cy="2921898"/>
          </a:xfrm>
        </p:grpSpPr>
        <p:sp>
          <p:nvSpPr>
            <p:cNvPr id="42" name="Rectangle 41"/>
            <p:cNvSpPr/>
            <p:nvPr/>
          </p:nvSpPr>
          <p:spPr bwMode="auto">
            <a:xfrm>
              <a:off x="590626" y="2311981"/>
              <a:ext cx="2212848" cy="201168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1440" rIns="91440" bIns="45720" numCol="1" rtlCol="0" anchor="t" anchorCtr="0" compatLnSpc="1">
              <a:prstTxWarp prst="textNoShape">
                <a:avLst/>
              </a:prstTxWarp>
              <a:noAutofit/>
            </a:bodyPr>
            <a:lstStyle/>
            <a:p>
              <a:pPr defTabSz="914050"/>
              <a:r>
                <a:rPr lang="en-IN" sz="1400" dirty="0">
                  <a:solidFill>
                    <a:schemeClr val="tx2"/>
                  </a:solidFill>
                  <a:ea typeface="Segoe UI" panose="020B0502040204020203" pitchFamily="34" charset="0"/>
                  <a:cs typeface="Segoe UI" panose="020B0502040204020203" pitchFamily="34" charset="0"/>
                </a:rPr>
                <a:t>Microsoft maintains a team of </a:t>
              </a:r>
              <a:r>
                <a:rPr lang="en-IN" sz="1400" dirty="0" smtClean="0">
                  <a:solidFill>
                    <a:schemeClr val="tx2"/>
                  </a:solidFill>
                  <a:ea typeface="Segoe UI" panose="020B0502040204020203" pitchFamily="34" charset="0"/>
                  <a:cs typeface="Segoe UI" panose="020B0502040204020203" pitchFamily="34" charset="0"/>
                </a:rPr>
                <a:t>experts </a:t>
              </a:r>
              <a:r>
                <a:rPr lang="en-IN" sz="1400" dirty="0">
                  <a:solidFill>
                    <a:schemeClr val="tx2"/>
                  </a:solidFill>
                  <a:ea typeface="Segoe UI" panose="020B0502040204020203" pitchFamily="34" charset="0"/>
                  <a:cs typeface="Segoe UI" panose="020B0502040204020203" pitchFamily="34" charset="0"/>
                </a:rPr>
                <a:t>focused on ensuring that Azure meets its own </a:t>
              </a:r>
              <a:r>
                <a:rPr lang="en-IN" sz="1400" dirty="0" smtClean="0">
                  <a:solidFill>
                    <a:schemeClr val="tx2"/>
                  </a:solidFill>
                  <a:ea typeface="Segoe UI" panose="020B0502040204020203" pitchFamily="34" charset="0"/>
                  <a:cs typeface="Segoe UI" panose="020B0502040204020203" pitchFamily="34" charset="0"/>
                </a:rPr>
                <a:t>compliance obligations, </a:t>
              </a:r>
              <a:r>
                <a:rPr lang="en-US" sz="1400" dirty="0" smtClean="0">
                  <a:solidFill>
                    <a:schemeClr val="tx2"/>
                  </a:solidFill>
                  <a:ea typeface="Segoe UI" panose="020B0502040204020203" pitchFamily="34" charset="0"/>
                  <a:cs typeface="Segoe UI" panose="020B0502040204020203" pitchFamily="34" charset="0"/>
                </a:rPr>
                <a:t>which </a:t>
              </a:r>
              <a:r>
                <a:rPr lang="en-US" sz="1400" dirty="0">
                  <a:solidFill>
                    <a:schemeClr val="tx2"/>
                  </a:solidFill>
                  <a:ea typeface="Segoe UI" panose="020B0502040204020203" pitchFamily="34" charset="0"/>
                  <a:cs typeface="Segoe UI" panose="020B0502040204020203" pitchFamily="34" charset="0"/>
                </a:rPr>
                <a:t>helps customers meet their own </a:t>
              </a:r>
              <a:r>
                <a:rPr lang="en-US" sz="1400" dirty="0" smtClean="0">
                  <a:solidFill>
                    <a:schemeClr val="tx2"/>
                  </a:solidFill>
                  <a:ea typeface="Segoe UI" panose="020B0502040204020203" pitchFamily="34" charset="0"/>
                  <a:cs typeface="Segoe UI" panose="020B0502040204020203" pitchFamily="34" charset="0"/>
                </a:rPr>
                <a:t>compliance requirements.</a:t>
              </a:r>
              <a:endParaRPr lang="en-IN" sz="1400" dirty="0">
                <a:solidFill>
                  <a:schemeClr val="tx2"/>
                </a:solidFill>
                <a:ea typeface="Segoe UI" panose="020B0502040204020203" pitchFamily="34" charset="0"/>
                <a:cs typeface="Segoe UI" panose="020B0502040204020203" pitchFamily="34" charset="0"/>
              </a:endParaRPr>
            </a:p>
          </p:txBody>
        </p:sp>
        <p:sp>
          <p:nvSpPr>
            <p:cNvPr id="43" name="Rectangle 42"/>
            <p:cNvSpPr/>
            <p:nvPr/>
          </p:nvSpPr>
          <p:spPr bwMode="auto">
            <a:xfrm>
              <a:off x="590626" y="1401763"/>
              <a:ext cx="2212848" cy="908564"/>
            </a:xfrm>
            <a:prstGeom prst="rect">
              <a:avLst/>
            </a:prstGeom>
            <a:solidFill>
              <a:schemeClr val="accent4"/>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73152" numCol="1" rtlCol="0" anchor="ctr" anchorCtr="0" compatLnSpc="1">
              <a:prstTxWarp prst="textNoShape">
                <a:avLst/>
              </a:prstTxWarp>
              <a:noAutofit/>
            </a:bodyPr>
            <a:lstStyle/>
            <a:p>
              <a:pPr defTabSz="932563">
                <a:spcAft>
                  <a:spcPts val="587"/>
                </a:spcAft>
              </a:pPr>
              <a:r>
                <a:rPr lang="en-US" sz="1400" dirty="0">
                  <a:solidFill>
                    <a:schemeClr val="bg1"/>
                  </a:solidFill>
                  <a:latin typeface="Segoe UI Semibold" panose="020B0702040204020203" pitchFamily="34" charset="0"/>
                  <a:cs typeface="Segoe UI Semibold" panose="020B0702040204020203" pitchFamily="34" charset="0"/>
                </a:rPr>
                <a:t>Compliance certifications</a:t>
              </a:r>
            </a:p>
          </p:txBody>
        </p:sp>
        <p:sp>
          <p:nvSpPr>
            <p:cNvPr id="44" name="Rectangle 43"/>
            <p:cNvSpPr/>
            <p:nvPr/>
          </p:nvSpPr>
          <p:spPr>
            <a:xfrm>
              <a:off x="590625" y="2255463"/>
              <a:ext cx="2212848" cy="54864"/>
            </a:xfrm>
            <a:prstGeom prst="rect">
              <a:avLst/>
            </a:prstGeom>
            <a:solidFill>
              <a:schemeClr val="bg1">
                <a:alpha val="30000"/>
              </a:schemeClr>
            </a:solidFill>
          </p:spPr>
          <p:txBody>
            <a:bodyPr wrap="square" rtlCol="0" anchor="ctr">
              <a:noAutofit/>
            </a:bodyPr>
            <a:lstStyle/>
            <a:p>
              <a:pPr algn="l"/>
              <a:endParaRPr lang="en-US" sz="1400" dirty="0">
                <a:solidFill>
                  <a:srgbClr val="FFFFFF"/>
                </a:solidFill>
                <a:cs typeface="Segoe UI Light"/>
              </a:endParaRPr>
            </a:p>
          </p:txBody>
        </p:sp>
      </p:grpSp>
      <p:grpSp>
        <p:nvGrpSpPr>
          <p:cNvPr id="16" name="Group 15"/>
          <p:cNvGrpSpPr/>
          <p:nvPr/>
        </p:nvGrpSpPr>
        <p:grpSpPr>
          <a:xfrm>
            <a:off x="2854106" y="1401763"/>
            <a:ext cx="2212849" cy="2921898"/>
            <a:chOff x="2854106" y="1401763"/>
            <a:chExt cx="2212849" cy="2921898"/>
          </a:xfrm>
        </p:grpSpPr>
        <p:sp>
          <p:nvSpPr>
            <p:cNvPr id="46" name="Rectangle 45"/>
            <p:cNvSpPr/>
            <p:nvPr/>
          </p:nvSpPr>
          <p:spPr bwMode="auto">
            <a:xfrm>
              <a:off x="2854107" y="2311981"/>
              <a:ext cx="2212848" cy="201168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1440" rIns="91440" bIns="45720" numCol="1" rtlCol="0" anchor="t" anchorCtr="0" compatLnSpc="1">
              <a:prstTxWarp prst="textNoShape">
                <a:avLst/>
              </a:prstTxWarp>
              <a:noAutofit/>
            </a:bodyPr>
            <a:lstStyle/>
            <a:p>
              <a:pPr defTabSz="914050"/>
              <a:r>
                <a:rPr lang="en-IN" sz="1400" dirty="0">
                  <a:solidFill>
                    <a:schemeClr val="tx2"/>
                  </a:solidFill>
                  <a:ea typeface="Segoe UI" panose="020B0502040204020203" pitchFamily="34" charset="0"/>
                  <a:cs typeface="Segoe UI" panose="020B0502040204020203" pitchFamily="34" charset="0"/>
                </a:rPr>
                <a:t>Compliance strategy helps customers address business objectives and industry standards &amp; </a:t>
              </a:r>
              <a:r>
                <a:rPr lang="en-IN" sz="1400" dirty="0" smtClean="0">
                  <a:solidFill>
                    <a:schemeClr val="tx2"/>
                  </a:solidFill>
                  <a:ea typeface="Segoe UI" panose="020B0502040204020203" pitchFamily="34" charset="0"/>
                  <a:cs typeface="Segoe UI" panose="020B0502040204020203" pitchFamily="34" charset="0"/>
                </a:rPr>
                <a:t>regulations, including ongoing evaluation and adoption of emerging standards and practices. </a:t>
              </a:r>
              <a:endParaRPr lang="en-IN" sz="1400" dirty="0">
                <a:solidFill>
                  <a:schemeClr val="tx2"/>
                </a:solidFill>
                <a:ea typeface="Segoe UI" panose="020B0502040204020203" pitchFamily="34" charset="0"/>
                <a:cs typeface="Segoe UI" panose="020B0502040204020203" pitchFamily="34" charset="0"/>
              </a:endParaRPr>
            </a:p>
          </p:txBody>
        </p:sp>
        <p:sp>
          <p:nvSpPr>
            <p:cNvPr id="47" name="Rectangle 46"/>
            <p:cNvSpPr/>
            <p:nvPr/>
          </p:nvSpPr>
          <p:spPr bwMode="auto">
            <a:xfrm>
              <a:off x="2854107" y="1401763"/>
              <a:ext cx="2212848" cy="908564"/>
            </a:xfrm>
            <a:prstGeom prst="rect">
              <a:avLst/>
            </a:prstGeom>
            <a:solidFill>
              <a:schemeClr val="accent4"/>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73152" numCol="1" rtlCol="0" anchor="ctr" anchorCtr="0" compatLnSpc="1">
              <a:prstTxWarp prst="textNoShape">
                <a:avLst/>
              </a:prstTxWarp>
              <a:noAutofit/>
            </a:bodyPr>
            <a:lstStyle/>
            <a:p>
              <a:pPr defTabSz="932563">
                <a:spcAft>
                  <a:spcPts val="587"/>
                </a:spcAft>
              </a:pPr>
              <a:r>
                <a:rPr lang="en-US" sz="1400" dirty="0" smtClean="0">
                  <a:solidFill>
                    <a:schemeClr val="bg1"/>
                  </a:solidFill>
                  <a:latin typeface="Segoe UI Semibold" panose="020B0702040204020203" pitchFamily="34" charset="0"/>
                  <a:cs typeface="Segoe UI Semibold" panose="020B0702040204020203" pitchFamily="34" charset="0"/>
                </a:rPr>
                <a:t>Continual evaluation, benchmarking</a:t>
              </a:r>
              <a:r>
                <a:rPr lang="en-US" sz="1400" dirty="0">
                  <a:solidFill>
                    <a:schemeClr val="bg1"/>
                  </a:solidFill>
                  <a:latin typeface="Segoe UI Semibold" panose="020B0702040204020203" pitchFamily="34" charset="0"/>
                  <a:cs typeface="Segoe UI Semibold" panose="020B0702040204020203" pitchFamily="34" charset="0"/>
                </a:rPr>
                <a:t>, </a:t>
              </a:r>
              <a:r>
                <a:rPr lang="en-US" sz="1400" dirty="0" smtClean="0">
                  <a:solidFill>
                    <a:schemeClr val="bg1"/>
                  </a:solidFill>
                  <a:latin typeface="Segoe UI Semibold" panose="020B0702040204020203" pitchFamily="34" charset="0"/>
                  <a:cs typeface="Segoe UI Semibold" panose="020B0702040204020203" pitchFamily="34" charset="0"/>
                </a:rPr>
                <a:t>adoption, test </a:t>
              </a:r>
              <a:r>
                <a:rPr lang="en-US" sz="1400" dirty="0">
                  <a:solidFill>
                    <a:schemeClr val="bg1"/>
                  </a:solidFill>
                  <a:latin typeface="Segoe UI Semibold" panose="020B0702040204020203" pitchFamily="34" charset="0"/>
                  <a:cs typeface="Segoe UI Semibold" panose="020B0702040204020203" pitchFamily="34" charset="0"/>
                </a:rPr>
                <a:t>&amp; audit</a:t>
              </a:r>
            </a:p>
          </p:txBody>
        </p:sp>
        <p:sp>
          <p:nvSpPr>
            <p:cNvPr id="48" name="Rectangle 47"/>
            <p:cNvSpPr/>
            <p:nvPr/>
          </p:nvSpPr>
          <p:spPr>
            <a:xfrm>
              <a:off x="2854106" y="2255463"/>
              <a:ext cx="2212848" cy="54864"/>
            </a:xfrm>
            <a:prstGeom prst="rect">
              <a:avLst/>
            </a:prstGeom>
            <a:solidFill>
              <a:schemeClr val="bg1">
                <a:alpha val="30000"/>
              </a:schemeClr>
            </a:solidFill>
          </p:spPr>
          <p:txBody>
            <a:bodyPr wrap="square" rtlCol="0" anchor="ctr">
              <a:noAutofit/>
            </a:bodyPr>
            <a:lstStyle/>
            <a:p>
              <a:pPr algn="l"/>
              <a:endParaRPr lang="en-US" sz="1400" dirty="0">
                <a:solidFill>
                  <a:srgbClr val="FFFFFF"/>
                </a:solidFill>
                <a:cs typeface="Segoe UI Light"/>
              </a:endParaRPr>
            </a:p>
          </p:txBody>
        </p:sp>
      </p:grpSp>
      <p:grpSp>
        <p:nvGrpSpPr>
          <p:cNvPr id="17" name="Group 16"/>
          <p:cNvGrpSpPr/>
          <p:nvPr/>
        </p:nvGrpSpPr>
        <p:grpSpPr>
          <a:xfrm>
            <a:off x="5117587" y="1401763"/>
            <a:ext cx="2212849" cy="2921898"/>
            <a:chOff x="5117587" y="1401763"/>
            <a:chExt cx="2212849" cy="2921898"/>
          </a:xfrm>
        </p:grpSpPr>
        <p:sp>
          <p:nvSpPr>
            <p:cNvPr id="50" name="Rectangle 49"/>
            <p:cNvSpPr/>
            <p:nvPr/>
          </p:nvSpPr>
          <p:spPr bwMode="auto">
            <a:xfrm>
              <a:off x="5117588" y="2311981"/>
              <a:ext cx="2212848" cy="201168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1440" rIns="91440" bIns="45720" numCol="1" rtlCol="0" anchor="t" anchorCtr="0" compatLnSpc="1">
              <a:prstTxWarp prst="textNoShape">
                <a:avLst/>
              </a:prstTxWarp>
              <a:noAutofit/>
            </a:bodyPr>
            <a:lstStyle/>
            <a:p>
              <a:pPr defTabSz="914050"/>
              <a:r>
                <a:rPr lang="en-IN" sz="1400" dirty="0">
                  <a:solidFill>
                    <a:schemeClr val="tx2"/>
                  </a:solidFill>
                  <a:ea typeface="Segoe UI" panose="020B0502040204020203" pitchFamily="34" charset="0"/>
                  <a:cs typeface="Segoe UI" panose="020B0502040204020203" pitchFamily="34" charset="0"/>
                </a:rPr>
                <a:t>Ongoing verification by third party audit firms.</a:t>
              </a:r>
            </a:p>
          </p:txBody>
        </p:sp>
        <p:sp>
          <p:nvSpPr>
            <p:cNvPr id="51" name="Rectangle 50"/>
            <p:cNvSpPr/>
            <p:nvPr/>
          </p:nvSpPr>
          <p:spPr bwMode="auto">
            <a:xfrm>
              <a:off x="5117588" y="1401763"/>
              <a:ext cx="2212848" cy="908564"/>
            </a:xfrm>
            <a:prstGeom prst="rect">
              <a:avLst/>
            </a:prstGeom>
            <a:solidFill>
              <a:schemeClr val="accent4"/>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73152" numCol="1" rtlCol="0" anchor="ctr" anchorCtr="0" compatLnSpc="1">
              <a:prstTxWarp prst="textNoShape">
                <a:avLst/>
              </a:prstTxWarp>
              <a:noAutofit/>
            </a:bodyPr>
            <a:lstStyle/>
            <a:p>
              <a:pPr defTabSz="932563">
                <a:spcAft>
                  <a:spcPts val="587"/>
                </a:spcAft>
              </a:pPr>
              <a:r>
                <a:rPr lang="en-US" sz="1400" dirty="0">
                  <a:solidFill>
                    <a:schemeClr val="bg1"/>
                  </a:solidFill>
                  <a:latin typeface="Segoe UI Semibold" panose="020B0702040204020203" pitchFamily="34" charset="0"/>
                  <a:cs typeface="Segoe UI Semibold" panose="020B0702040204020203" pitchFamily="34" charset="0"/>
                </a:rPr>
                <a:t>Independent verification</a:t>
              </a:r>
            </a:p>
          </p:txBody>
        </p:sp>
        <p:sp>
          <p:nvSpPr>
            <p:cNvPr id="52" name="Rectangle 51"/>
            <p:cNvSpPr/>
            <p:nvPr/>
          </p:nvSpPr>
          <p:spPr>
            <a:xfrm>
              <a:off x="5117587" y="2255463"/>
              <a:ext cx="2212848" cy="54864"/>
            </a:xfrm>
            <a:prstGeom prst="rect">
              <a:avLst/>
            </a:prstGeom>
            <a:solidFill>
              <a:schemeClr val="bg1">
                <a:alpha val="30000"/>
              </a:schemeClr>
            </a:solidFill>
          </p:spPr>
          <p:txBody>
            <a:bodyPr wrap="square" rtlCol="0" anchor="ctr">
              <a:noAutofit/>
            </a:bodyPr>
            <a:lstStyle/>
            <a:p>
              <a:pPr algn="l"/>
              <a:endParaRPr lang="en-US" sz="1400" dirty="0">
                <a:solidFill>
                  <a:srgbClr val="FFFFFF"/>
                </a:solidFill>
                <a:cs typeface="Segoe UI Light"/>
              </a:endParaRPr>
            </a:p>
          </p:txBody>
        </p:sp>
      </p:grpSp>
      <p:grpSp>
        <p:nvGrpSpPr>
          <p:cNvPr id="18" name="Group 17"/>
          <p:cNvGrpSpPr/>
          <p:nvPr/>
        </p:nvGrpSpPr>
        <p:grpSpPr>
          <a:xfrm>
            <a:off x="7381068" y="1401763"/>
            <a:ext cx="2212849" cy="2921898"/>
            <a:chOff x="7381068" y="1401763"/>
            <a:chExt cx="2212849" cy="2921898"/>
          </a:xfrm>
        </p:grpSpPr>
        <p:sp>
          <p:nvSpPr>
            <p:cNvPr id="54" name="Rectangle 53"/>
            <p:cNvSpPr/>
            <p:nvPr/>
          </p:nvSpPr>
          <p:spPr bwMode="auto">
            <a:xfrm>
              <a:off x="7381069" y="2311981"/>
              <a:ext cx="2212848" cy="201168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1440" rIns="91440" bIns="45720" numCol="1" rtlCol="0" anchor="t" anchorCtr="0" compatLnSpc="1">
              <a:prstTxWarp prst="textNoShape">
                <a:avLst/>
              </a:prstTxWarp>
              <a:noAutofit/>
            </a:bodyPr>
            <a:lstStyle/>
            <a:p>
              <a:pPr defTabSz="914050"/>
              <a:r>
                <a:rPr lang="en-IN" sz="1400" dirty="0">
                  <a:solidFill>
                    <a:schemeClr val="tx2"/>
                  </a:solidFill>
                  <a:ea typeface="Segoe UI" panose="020B0502040204020203" pitchFamily="34" charset="0"/>
                  <a:cs typeface="Segoe UI" panose="020B0502040204020203" pitchFamily="34" charset="0"/>
                </a:rPr>
                <a:t>Microsoft shares audit report findings and compliance packages with customers.</a:t>
              </a:r>
            </a:p>
          </p:txBody>
        </p:sp>
        <p:sp>
          <p:nvSpPr>
            <p:cNvPr id="55" name="Rectangle 54"/>
            <p:cNvSpPr/>
            <p:nvPr/>
          </p:nvSpPr>
          <p:spPr bwMode="auto">
            <a:xfrm>
              <a:off x="7381069" y="1401763"/>
              <a:ext cx="2212848" cy="908564"/>
            </a:xfrm>
            <a:prstGeom prst="rect">
              <a:avLst/>
            </a:prstGeom>
            <a:solidFill>
              <a:schemeClr val="accent4"/>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73152" numCol="1" rtlCol="0" anchor="ctr" anchorCtr="0" compatLnSpc="1">
              <a:prstTxWarp prst="textNoShape">
                <a:avLst/>
              </a:prstTxWarp>
              <a:noAutofit/>
            </a:bodyPr>
            <a:lstStyle/>
            <a:p>
              <a:pPr defTabSz="932563">
                <a:spcAft>
                  <a:spcPts val="587"/>
                </a:spcAft>
              </a:pPr>
              <a:r>
                <a:rPr lang="en-US" sz="1400" dirty="0">
                  <a:solidFill>
                    <a:schemeClr val="bg1"/>
                  </a:solidFill>
                  <a:latin typeface="Segoe UI Semibold" panose="020B0702040204020203" pitchFamily="34" charset="0"/>
                  <a:cs typeface="Segoe UI Semibold" panose="020B0702040204020203" pitchFamily="34" charset="0"/>
                </a:rPr>
                <a:t>Access to audit reports</a:t>
              </a:r>
            </a:p>
          </p:txBody>
        </p:sp>
        <p:sp>
          <p:nvSpPr>
            <p:cNvPr id="56" name="Rectangle 55"/>
            <p:cNvSpPr/>
            <p:nvPr/>
          </p:nvSpPr>
          <p:spPr>
            <a:xfrm>
              <a:off x="7381068" y="2255463"/>
              <a:ext cx="2212848" cy="54864"/>
            </a:xfrm>
            <a:prstGeom prst="rect">
              <a:avLst/>
            </a:prstGeom>
            <a:solidFill>
              <a:schemeClr val="bg1">
                <a:alpha val="30000"/>
              </a:schemeClr>
            </a:solidFill>
          </p:spPr>
          <p:txBody>
            <a:bodyPr wrap="square" rtlCol="0" anchor="ctr">
              <a:noAutofit/>
            </a:bodyPr>
            <a:lstStyle/>
            <a:p>
              <a:pPr algn="l"/>
              <a:endParaRPr lang="en-US" sz="1400" dirty="0">
                <a:solidFill>
                  <a:srgbClr val="FFFFFF"/>
                </a:solidFill>
                <a:cs typeface="Segoe UI Light"/>
              </a:endParaRPr>
            </a:p>
          </p:txBody>
        </p:sp>
      </p:grpSp>
      <p:grpSp>
        <p:nvGrpSpPr>
          <p:cNvPr id="19" name="Group 18"/>
          <p:cNvGrpSpPr/>
          <p:nvPr/>
        </p:nvGrpSpPr>
        <p:grpSpPr>
          <a:xfrm>
            <a:off x="9644547" y="1401763"/>
            <a:ext cx="2212849" cy="2921898"/>
            <a:chOff x="9644547" y="1401763"/>
            <a:chExt cx="2212849" cy="2921898"/>
          </a:xfrm>
        </p:grpSpPr>
        <p:sp>
          <p:nvSpPr>
            <p:cNvPr id="58" name="Rectangle 57"/>
            <p:cNvSpPr/>
            <p:nvPr/>
          </p:nvSpPr>
          <p:spPr bwMode="auto">
            <a:xfrm>
              <a:off x="9644548" y="2311981"/>
              <a:ext cx="2212848" cy="201168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1440" rIns="91440" bIns="45720" numCol="1" rtlCol="0" anchor="t" anchorCtr="0" compatLnSpc="1">
              <a:prstTxWarp prst="textNoShape">
                <a:avLst/>
              </a:prstTxWarp>
              <a:noAutofit/>
            </a:bodyPr>
            <a:lstStyle/>
            <a:p>
              <a:pPr defTabSz="914050"/>
              <a:r>
                <a:rPr lang="en-IN" sz="1400" dirty="0">
                  <a:solidFill>
                    <a:schemeClr val="tx2"/>
                  </a:solidFill>
                  <a:ea typeface="Segoe UI" panose="020B0502040204020203" pitchFamily="34" charset="0"/>
                  <a:cs typeface="Segoe UI" panose="020B0502040204020203" pitchFamily="34" charset="0"/>
                </a:rPr>
                <a:t>Prescriptive guidance on securing data, apps, and infrastructure in Azure makes it easier for customers to achieve compliance.</a:t>
              </a:r>
            </a:p>
          </p:txBody>
        </p:sp>
        <p:sp>
          <p:nvSpPr>
            <p:cNvPr id="59" name="Rectangle 58"/>
            <p:cNvSpPr/>
            <p:nvPr/>
          </p:nvSpPr>
          <p:spPr bwMode="auto">
            <a:xfrm>
              <a:off x="9644548" y="1401763"/>
              <a:ext cx="2212848" cy="908564"/>
            </a:xfrm>
            <a:prstGeom prst="rect">
              <a:avLst/>
            </a:prstGeom>
            <a:solidFill>
              <a:schemeClr val="accent4"/>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73152" numCol="1" rtlCol="0" anchor="ctr" anchorCtr="0" compatLnSpc="1">
              <a:prstTxWarp prst="textNoShape">
                <a:avLst/>
              </a:prstTxWarp>
              <a:noAutofit/>
            </a:bodyPr>
            <a:lstStyle/>
            <a:p>
              <a:pPr defTabSz="932563">
                <a:spcAft>
                  <a:spcPts val="587"/>
                </a:spcAft>
              </a:pPr>
              <a:r>
                <a:rPr lang="en-US" sz="1400" dirty="0">
                  <a:solidFill>
                    <a:schemeClr val="bg1"/>
                  </a:solidFill>
                  <a:latin typeface="Segoe UI Semibold" panose="020B0702040204020203" pitchFamily="34" charset="0"/>
                  <a:cs typeface="Segoe UI Semibold" panose="020B0702040204020203" pitchFamily="34" charset="0"/>
                </a:rPr>
                <a:t>Best practices</a:t>
              </a:r>
            </a:p>
          </p:txBody>
        </p:sp>
        <p:sp>
          <p:nvSpPr>
            <p:cNvPr id="60" name="Rectangle 59"/>
            <p:cNvSpPr/>
            <p:nvPr/>
          </p:nvSpPr>
          <p:spPr>
            <a:xfrm>
              <a:off x="9644547" y="2255463"/>
              <a:ext cx="2212848" cy="54864"/>
            </a:xfrm>
            <a:prstGeom prst="rect">
              <a:avLst/>
            </a:prstGeom>
            <a:solidFill>
              <a:schemeClr val="bg1">
                <a:alpha val="30000"/>
              </a:schemeClr>
            </a:solidFill>
          </p:spPr>
          <p:txBody>
            <a:bodyPr wrap="square" rtlCol="0" anchor="ctr">
              <a:noAutofit/>
            </a:bodyPr>
            <a:lstStyle/>
            <a:p>
              <a:pPr algn="l"/>
              <a:endParaRPr lang="en-US" sz="1400" dirty="0">
                <a:solidFill>
                  <a:srgbClr val="FFFFFF"/>
                </a:solidFill>
                <a:cs typeface="Segoe UI Light"/>
              </a:endParaRPr>
            </a:p>
          </p:txBody>
        </p:sp>
      </p:grpSp>
      <p:sp>
        <p:nvSpPr>
          <p:cNvPr id="106" name="Rectangle 105"/>
          <p:cNvSpPr/>
          <p:nvPr/>
        </p:nvSpPr>
        <p:spPr bwMode="auto">
          <a:xfrm>
            <a:off x="1" y="4323662"/>
            <a:ext cx="12436474" cy="26708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7" name="Group 106"/>
          <p:cNvGrpSpPr/>
          <p:nvPr/>
        </p:nvGrpSpPr>
        <p:grpSpPr>
          <a:xfrm>
            <a:off x="2" y="5009406"/>
            <a:ext cx="12436475" cy="1993503"/>
            <a:chOff x="2" y="5009406"/>
            <a:chExt cx="12436475" cy="1993503"/>
          </a:xfrm>
        </p:grpSpPr>
        <p:grpSp>
          <p:nvGrpSpPr>
            <p:cNvPr id="108" name="Group 107"/>
            <p:cNvGrpSpPr/>
            <p:nvPr/>
          </p:nvGrpSpPr>
          <p:grpSpPr>
            <a:xfrm>
              <a:off x="2" y="6113677"/>
              <a:ext cx="5378058" cy="889232"/>
              <a:chOff x="-104693" y="5602741"/>
              <a:chExt cx="8468154" cy="1400162"/>
            </a:xfrm>
          </p:grpSpPr>
          <p:sp>
            <p:nvSpPr>
              <p:cNvPr id="270" name="Rectangle 5"/>
              <p:cNvSpPr>
                <a:spLocks noChangeArrowheads="1"/>
              </p:cNvSpPr>
              <p:nvPr/>
            </p:nvSpPr>
            <p:spPr bwMode="auto">
              <a:xfrm flipH="1">
                <a:off x="3418306" y="5868865"/>
                <a:ext cx="550363" cy="53060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1" name="Rectangle 6"/>
              <p:cNvSpPr>
                <a:spLocks noChangeArrowheads="1"/>
              </p:cNvSpPr>
              <p:nvPr/>
            </p:nvSpPr>
            <p:spPr bwMode="auto">
              <a:xfrm flipH="1">
                <a:off x="3506923" y="5706386"/>
                <a:ext cx="238802" cy="603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2" name="Rectangle 7"/>
              <p:cNvSpPr>
                <a:spLocks noChangeArrowheads="1"/>
              </p:cNvSpPr>
              <p:nvPr/>
            </p:nvSpPr>
            <p:spPr bwMode="auto">
              <a:xfrm flipH="1">
                <a:off x="5208386" y="6427624"/>
                <a:ext cx="352605" cy="283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3" name="Rectangle 8"/>
              <p:cNvSpPr>
                <a:spLocks noChangeArrowheads="1"/>
              </p:cNvSpPr>
              <p:nvPr/>
            </p:nvSpPr>
            <p:spPr bwMode="auto">
              <a:xfrm flipH="1">
                <a:off x="5067531" y="6297029"/>
                <a:ext cx="349807" cy="4141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4" name="Rectangle 9"/>
              <p:cNvSpPr>
                <a:spLocks noChangeArrowheads="1"/>
              </p:cNvSpPr>
              <p:nvPr/>
            </p:nvSpPr>
            <p:spPr bwMode="auto">
              <a:xfrm flipH="1">
                <a:off x="1592780" y="6089908"/>
                <a:ext cx="546632" cy="70311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5" name="Rectangle 10"/>
              <p:cNvSpPr>
                <a:spLocks noChangeArrowheads="1"/>
              </p:cNvSpPr>
              <p:nvPr/>
            </p:nvSpPr>
            <p:spPr bwMode="auto">
              <a:xfrm flipH="1">
                <a:off x="1370769" y="5665510"/>
                <a:ext cx="546632" cy="1127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6" name="Freeform 11"/>
              <p:cNvSpPr>
                <a:spLocks/>
              </p:cNvSpPr>
              <p:nvPr/>
            </p:nvSpPr>
            <p:spPr bwMode="auto">
              <a:xfrm flipH="1">
                <a:off x="4392841" y="6489852"/>
                <a:ext cx="3970620" cy="51025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7" name="Freeform 18"/>
              <p:cNvSpPr>
                <a:spLocks/>
              </p:cNvSpPr>
              <p:nvPr/>
            </p:nvSpPr>
            <p:spPr bwMode="auto">
              <a:xfrm flipH="1">
                <a:off x="984" y="6027174"/>
                <a:ext cx="6091253" cy="97293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8" name="Freeform 29"/>
              <p:cNvSpPr>
                <a:spLocks/>
              </p:cNvSpPr>
              <p:nvPr/>
            </p:nvSpPr>
            <p:spPr bwMode="auto">
              <a:xfrm flipH="1">
                <a:off x="432647" y="6571940"/>
                <a:ext cx="3340253" cy="42816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9" name="AutoShape 3"/>
              <p:cNvSpPr>
                <a:spLocks noChangeAspect="1" noChangeArrowheads="1" noTextEdit="1"/>
              </p:cNvSpPr>
              <p:nvPr/>
            </p:nvSpPr>
            <p:spPr bwMode="auto">
              <a:xfrm flipH="1">
                <a:off x="984" y="5602741"/>
                <a:ext cx="4298430"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80" name="Group 279"/>
              <p:cNvGrpSpPr/>
              <p:nvPr/>
            </p:nvGrpSpPr>
            <p:grpSpPr>
              <a:xfrm flipH="1">
                <a:off x="4803495" y="6266909"/>
                <a:ext cx="188333" cy="365034"/>
                <a:chOff x="6229350" y="5232400"/>
                <a:chExt cx="539750" cy="1046162"/>
              </a:xfrm>
            </p:grpSpPr>
            <p:sp>
              <p:nvSpPr>
                <p:cNvPr id="287"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8"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9"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281" name="Freeform 17"/>
              <p:cNvSpPr>
                <a:spLocks/>
              </p:cNvSpPr>
              <p:nvPr/>
            </p:nvSpPr>
            <p:spPr bwMode="auto">
              <a:xfrm flipH="1">
                <a:off x="-104693" y="6414293"/>
                <a:ext cx="1545276" cy="58581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2" name="Freeform 55"/>
              <p:cNvSpPr>
                <a:spLocks/>
              </p:cNvSpPr>
              <p:nvPr/>
            </p:nvSpPr>
            <p:spPr bwMode="auto">
              <a:xfrm flipH="1">
                <a:off x="3919230" y="6815407"/>
                <a:ext cx="549431" cy="118468"/>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283" name="Group 282"/>
              <p:cNvGrpSpPr/>
              <p:nvPr/>
            </p:nvGrpSpPr>
            <p:grpSpPr>
              <a:xfrm flipH="1">
                <a:off x="4579666" y="6201145"/>
                <a:ext cx="188333" cy="365034"/>
                <a:chOff x="6229350" y="5232400"/>
                <a:chExt cx="539750" cy="1046162"/>
              </a:xfrm>
            </p:grpSpPr>
            <p:sp>
              <p:nvSpPr>
                <p:cNvPr id="284"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5"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6"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grpSp>
          <p:nvGrpSpPr>
            <p:cNvPr id="109" name="Group 108"/>
            <p:cNvGrpSpPr/>
            <p:nvPr/>
          </p:nvGrpSpPr>
          <p:grpSpPr>
            <a:xfrm>
              <a:off x="5464018" y="5915044"/>
              <a:ext cx="1197530" cy="618591"/>
              <a:chOff x="5464016" y="5710906"/>
              <a:chExt cx="1197530" cy="618591"/>
            </a:xfrm>
          </p:grpSpPr>
          <p:sp>
            <p:nvSpPr>
              <p:cNvPr id="263" name="Freeform 12"/>
              <p:cNvSpPr>
                <a:spLocks/>
              </p:cNvSpPr>
              <p:nvPr/>
            </p:nvSpPr>
            <p:spPr bwMode="auto">
              <a:xfrm>
                <a:off x="6020748" y="5991651"/>
                <a:ext cx="137994" cy="131650"/>
              </a:xfrm>
              <a:custGeom>
                <a:avLst/>
                <a:gdLst>
                  <a:gd name="T0" fmla="*/ 23 w 87"/>
                  <a:gd name="T1" fmla="*/ 83 h 83"/>
                  <a:gd name="T2" fmla="*/ 87 w 87"/>
                  <a:gd name="T3" fmla="*/ 25 h 83"/>
                  <a:gd name="T4" fmla="*/ 64 w 87"/>
                  <a:gd name="T5" fmla="*/ 0 h 83"/>
                  <a:gd name="T6" fmla="*/ 0 w 87"/>
                  <a:gd name="T7" fmla="*/ 58 h 83"/>
                  <a:gd name="T8" fmla="*/ 23 w 87"/>
                  <a:gd name="T9" fmla="*/ 83 h 83"/>
                </a:gdLst>
                <a:ahLst/>
                <a:cxnLst>
                  <a:cxn ang="0">
                    <a:pos x="T0" y="T1"/>
                  </a:cxn>
                  <a:cxn ang="0">
                    <a:pos x="T2" y="T3"/>
                  </a:cxn>
                  <a:cxn ang="0">
                    <a:pos x="T4" y="T5"/>
                  </a:cxn>
                  <a:cxn ang="0">
                    <a:pos x="T6" y="T7"/>
                  </a:cxn>
                  <a:cxn ang="0">
                    <a:pos x="T8" y="T9"/>
                  </a:cxn>
                </a:cxnLst>
                <a:rect l="0" t="0" r="r" b="b"/>
                <a:pathLst>
                  <a:path w="87" h="83">
                    <a:moveTo>
                      <a:pt x="23" y="83"/>
                    </a:moveTo>
                    <a:lnTo>
                      <a:pt x="87" y="25"/>
                    </a:lnTo>
                    <a:lnTo>
                      <a:pt x="64" y="0"/>
                    </a:lnTo>
                    <a:lnTo>
                      <a:pt x="0" y="58"/>
                    </a:lnTo>
                    <a:lnTo>
                      <a:pt x="2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4" name="Rectangle 16"/>
              <p:cNvSpPr>
                <a:spLocks noChangeArrowheads="1"/>
              </p:cNvSpPr>
              <p:nvPr/>
            </p:nvSpPr>
            <p:spPr bwMode="auto">
              <a:xfrm>
                <a:off x="5597251"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5" name="Rectangle 18"/>
              <p:cNvSpPr>
                <a:spLocks noChangeArrowheads="1"/>
              </p:cNvSpPr>
              <p:nvPr/>
            </p:nvSpPr>
            <p:spPr bwMode="auto">
              <a:xfrm>
                <a:off x="5464016"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6" name="Rectangle 24"/>
              <p:cNvSpPr>
                <a:spLocks noChangeArrowheads="1"/>
              </p:cNvSpPr>
              <p:nvPr/>
            </p:nvSpPr>
            <p:spPr bwMode="auto">
              <a:xfrm>
                <a:off x="6434729"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7" name="Rectangle 32"/>
              <p:cNvSpPr>
                <a:spLocks noChangeArrowheads="1"/>
              </p:cNvSpPr>
              <p:nvPr/>
            </p:nvSpPr>
            <p:spPr bwMode="auto">
              <a:xfrm>
                <a:off x="6150811" y="5710906"/>
                <a:ext cx="483771" cy="32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8" name="Freeform 34"/>
              <p:cNvSpPr>
                <a:spLocks/>
              </p:cNvSpPr>
              <p:nvPr/>
            </p:nvSpPr>
            <p:spPr bwMode="auto">
              <a:xfrm>
                <a:off x="6634581" y="6061441"/>
                <a:ext cx="26965" cy="53929"/>
              </a:xfrm>
              <a:custGeom>
                <a:avLst/>
                <a:gdLst>
                  <a:gd name="T0" fmla="*/ 36 w 36"/>
                  <a:gd name="T1" fmla="*/ 0 h 72"/>
                  <a:gd name="T2" fmla="*/ 36 w 36"/>
                  <a:gd name="T3" fmla="*/ 36 h 72"/>
                  <a:gd name="T4" fmla="*/ 0 w 36"/>
                  <a:gd name="T5" fmla="*/ 72 h 72"/>
                  <a:gd name="T6" fmla="*/ 0 w 36"/>
                  <a:gd name="T7" fmla="*/ 72 h 72"/>
                  <a:gd name="T8" fmla="*/ 36 w 36"/>
                  <a:gd name="T9" fmla="*/ 36 h 72"/>
                  <a:gd name="T10" fmla="*/ 36 w 36"/>
                  <a:gd name="T11" fmla="*/ 0 h 72"/>
                  <a:gd name="T12" fmla="*/ 36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0"/>
                    </a:moveTo>
                    <a:cubicBezTo>
                      <a:pt x="36" y="36"/>
                      <a:pt x="36" y="36"/>
                      <a:pt x="36" y="36"/>
                    </a:cubicBezTo>
                    <a:cubicBezTo>
                      <a:pt x="36" y="72"/>
                      <a:pt x="0" y="72"/>
                      <a:pt x="0" y="72"/>
                    </a:cubicBezTo>
                    <a:cubicBezTo>
                      <a:pt x="0" y="72"/>
                      <a:pt x="0" y="72"/>
                      <a:pt x="0" y="72"/>
                    </a:cubicBezTo>
                    <a:cubicBezTo>
                      <a:pt x="0" y="72"/>
                      <a:pt x="36" y="72"/>
                      <a:pt x="36" y="36"/>
                    </a:cubicBezTo>
                    <a:cubicBezTo>
                      <a:pt x="36" y="0"/>
                      <a:pt x="36" y="0"/>
                      <a:pt x="36" y="0"/>
                    </a:cubicBezTo>
                    <a:cubicBezTo>
                      <a:pt x="36" y="0"/>
                      <a:pt x="36" y="0"/>
                      <a:pt x="36"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9" name="Freeform 37"/>
              <p:cNvSpPr>
                <a:spLocks/>
              </p:cNvSpPr>
              <p:nvPr/>
            </p:nvSpPr>
            <p:spPr bwMode="auto">
              <a:xfrm>
                <a:off x="6150811" y="5753731"/>
                <a:ext cx="466323" cy="280746"/>
              </a:xfrm>
              <a:custGeom>
                <a:avLst/>
                <a:gdLst>
                  <a:gd name="T0" fmla="*/ 0 w 294"/>
                  <a:gd name="T1" fmla="*/ 0 h 177"/>
                  <a:gd name="T2" fmla="*/ 0 w 294"/>
                  <a:gd name="T3" fmla="*/ 177 h 177"/>
                  <a:gd name="T4" fmla="*/ 294 w 294"/>
                  <a:gd name="T5" fmla="*/ 177 h 177"/>
                  <a:gd name="T6" fmla="*/ 0 w 294"/>
                  <a:gd name="T7" fmla="*/ 0 h 177"/>
                </a:gdLst>
                <a:ahLst/>
                <a:cxnLst>
                  <a:cxn ang="0">
                    <a:pos x="T0" y="T1"/>
                  </a:cxn>
                  <a:cxn ang="0">
                    <a:pos x="T2" y="T3"/>
                  </a:cxn>
                  <a:cxn ang="0">
                    <a:pos x="T4" y="T5"/>
                  </a:cxn>
                  <a:cxn ang="0">
                    <a:pos x="T6" y="T7"/>
                  </a:cxn>
                </a:cxnLst>
                <a:rect l="0" t="0" r="r" b="b"/>
                <a:pathLst>
                  <a:path w="294" h="177">
                    <a:moveTo>
                      <a:pt x="0" y="0"/>
                    </a:moveTo>
                    <a:lnTo>
                      <a:pt x="0" y="177"/>
                    </a:lnTo>
                    <a:lnTo>
                      <a:pt x="294" y="1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0" name="Group 256"/>
            <p:cNvGrpSpPr>
              <a:grpSpLocks noChangeAspect="1"/>
            </p:cNvGrpSpPr>
            <p:nvPr/>
          </p:nvGrpSpPr>
          <p:grpSpPr bwMode="auto">
            <a:xfrm>
              <a:off x="12038882" y="5009406"/>
              <a:ext cx="397594" cy="1555750"/>
              <a:chOff x="6440" y="2795"/>
              <a:chExt cx="333" cy="1303"/>
            </a:xfrm>
          </p:grpSpPr>
          <p:sp>
            <p:nvSpPr>
              <p:cNvPr id="212" name="AutoShape 255"/>
              <p:cNvSpPr>
                <a:spLocks noChangeAspect="1" noChangeArrowheads="1" noTextEdit="1"/>
              </p:cNvSpPr>
              <p:nvPr/>
            </p:nvSpPr>
            <p:spPr bwMode="auto">
              <a:xfrm>
                <a:off x="6440" y="2795"/>
                <a:ext cx="333" cy="1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3" name="Rectangle 257"/>
              <p:cNvSpPr>
                <a:spLocks noChangeArrowheads="1"/>
              </p:cNvSpPr>
              <p:nvPr/>
            </p:nvSpPr>
            <p:spPr bwMode="auto">
              <a:xfrm>
                <a:off x="6438" y="3493"/>
                <a:ext cx="137" cy="60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4" name="Rectangle 258"/>
              <p:cNvSpPr>
                <a:spLocks noChangeArrowheads="1"/>
              </p:cNvSpPr>
              <p:nvPr/>
            </p:nvSpPr>
            <p:spPr bwMode="auto">
              <a:xfrm>
                <a:off x="6505" y="3144"/>
                <a:ext cx="270" cy="95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5" name="Freeform 259"/>
              <p:cNvSpPr>
                <a:spLocks/>
              </p:cNvSpPr>
              <p:nvPr/>
            </p:nvSpPr>
            <p:spPr bwMode="auto">
              <a:xfrm>
                <a:off x="6505" y="2843"/>
                <a:ext cx="270" cy="275"/>
              </a:xfrm>
              <a:custGeom>
                <a:avLst/>
                <a:gdLst>
                  <a:gd name="T0" fmla="*/ 150 w 270"/>
                  <a:gd name="T1" fmla="*/ 0 h 275"/>
                  <a:gd name="T2" fmla="*/ 121 w 270"/>
                  <a:gd name="T3" fmla="*/ 0 h 275"/>
                  <a:gd name="T4" fmla="*/ 0 w 270"/>
                  <a:gd name="T5" fmla="*/ 275 h 275"/>
                  <a:gd name="T6" fmla="*/ 270 w 270"/>
                  <a:gd name="T7" fmla="*/ 275 h 275"/>
                  <a:gd name="T8" fmla="*/ 150 w 270"/>
                  <a:gd name="T9" fmla="*/ 0 h 275"/>
                </a:gdLst>
                <a:ahLst/>
                <a:cxnLst>
                  <a:cxn ang="0">
                    <a:pos x="T0" y="T1"/>
                  </a:cxn>
                  <a:cxn ang="0">
                    <a:pos x="T2" y="T3"/>
                  </a:cxn>
                  <a:cxn ang="0">
                    <a:pos x="T4" y="T5"/>
                  </a:cxn>
                  <a:cxn ang="0">
                    <a:pos x="T6" y="T7"/>
                  </a:cxn>
                  <a:cxn ang="0">
                    <a:pos x="T8" y="T9"/>
                  </a:cxn>
                </a:cxnLst>
                <a:rect l="0" t="0" r="r" b="b"/>
                <a:pathLst>
                  <a:path w="270" h="275">
                    <a:moveTo>
                      <a:pt x="150" y="0"/>
                    </a:moveTo>
                    <a:lnTo>
                      <a:pt x="121" y="0"/>
                    </a:lnTo>
                    <a:lnTo>
                      <a:pt x="0" y="275"/>
                    </a:lnTo>
                    <a:lnTo>
                      <a:pt x="270" y="275"/>
                    </a:lnTo>
                    <a:lnTo>
                      <a:pt x="15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6" name="Oval 260"/>
              <p:cNvSpPr>
                <a:spLocks noChangeArrowheads="1"/>
              </p:cNvSpPr>
              <p:nvPr/>
            </p:nvSpPr>
            <p:spPr bwMode="auto">
              <a:xfrm>
                <a:off x="6621" y="2795"/>
                <a:ext cx="36" cy="36"/>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7" name="Rectangle 261"/>
              <p:cNvSpPr>
                <a:spLocks noChangeArrowheads="1"/>
              </p:cNvSpPr>
              <p:nvPr/>
            </p:nvSpPr>
            <p:spPr bwMode="auto">
              <a:xfrm>
                <a:off x="6541" y="3177"/>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8" name="Rectangle 262"/>
              <p:cNvSpPr>
                <a:spLocks noChangeArrowheads="1"/>
              </p:cNvSpPr>
              <p:nvPr/>
            </p:nvSpPr>
            <p:spPr bwMode="auto">
              <a:xfrm>
                <a:off x="6597" y="3177"/>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9" name="Rectangle 263"/>
              <p:cNvSpPr>
                <a:spLocks noChangeArrowheads="1"/>
              </p:cNvSpPr>
              <p:nvPr/>
            </p:nvSpPr>
            <p:spPr bwMode="auto">
              <a:xfrm>
                <a:off x="6655" y="3177"/>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0" name="Rectangle 264"/>
              <p:cNvSpPr>
                <a:spLocks noChangeArrowheads="1"/>
              </p:cNvSpPr>
              <p:nvPr/>
            </p:nvSpPr>
            <p:spPr bwMode="auto">
              <a:xfrm>
                <a:off x="6713" y="3177"/>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1" name="Rectangle 265"/>
              <p:cNvSpPr>
                <a:spLocks noChangeArrowheads="1"/>
              </p:cNvSpPr>
              <p:nvPr/>
            </p:nvSpPr>
            <p:spPr bwMode="auto">
              <a:xfrm>
                <a:off x="6541" y="3265"/>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2" name="Rectangle 266"/>
              <p:cNvSpPr>
                <a:spLocks noChangeArrowheads="1"/>
              </p:cNvSpPr>
              <p:nvPr/>
            </p:nvSpPr>
            <p:spPr bwMode="auto">
              <a:xfrm>
                <a:off x="6597" y="3265"/>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3" name="Rectangle 267"/>
              <p:cNvSpPr>
                <a:spLocks noChangeArrowheads="1"/>
              </p:cNvSpPr>
              <p:nvPr/>
            </p:nvSpPr>
            <p:spPr bwMode="auto">
              <a:xfrm>
                <a:off x="6655" y="3265"/>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4" name="Rectangle 268"/>
              <p:cNvSpPr>
                <a:spLocks noChangeArrowheads="1"/>
              </p:cNvSpPr>
              <p:nvPr/>
            </p:nvSpPr>
            <p:spPr bwMode="auto">
              <a:xfrm>
                <a:off x="6713" y="3265"/>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5" name="Rectangle 269"/>
              <p:cNvSpPr>
                <a:spLocks noChangeArrowheads="1"/>
              </p:cNvSpPr>
              <p:nvPr/>
            </p:nvSpPr>
            <p:spPr bwMode="auto">
              <a:xfrm>
                <a:off x="6541" y="3355"/>
                <a:ext cx="27"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6" name="Rectangle 270"/>
              <p:cNvSpPr>
                <a:spLocks noChangeArrowheads="1"/>
              </p:cNvSpPr>
              <p:nvPr/>
            </p:nvSpPr>
            <p:spPr bwMode="auto">
              <a:xfrm>
                <a:off x="6597" y="3355"/>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7" name="Rectangle 271"/>
              <p:cNvSpPr>
                <a:spLocks noChangeArrowheads="1"/>
              </p:cNvSpPr>
              <p:nvPr/>
            </p:nvSpPr>
            <p:spPr bwMode="auto">
              <a:xfrm>
                <a:off x="6655" y="3355"/>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8" name="Rectangle 272"/>
              <p:cNvSpPr>
                <a:spLocks noChangeArrowheads="1"/>
              </p:cNvSpPr>
              <p:nvPr/>
            </p:nvSpPr>
            <p:spPr bwMode="auto">
              <a:xfrm>
                <a:off x="6713" y="3355"/>
                <a:ext cx="26"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9" name="Rectangle 273"/>
              <p:cNvSpPr>
                <a:spLocks noChangeArrowheads="1"/>
              </p:cNvSpPr>
              <p:nvPr/>
            </p:nvSpPr>
            <p:spPr bwMode="auto">
              <a:xfrm>
                <a:off x="6541" y="3445"/>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0" name="Rectangle 274"/>
              <p:cNvSpPr>
                <a:spLocks noChangeArrowheads="1"/>
              </p:cNvSpPr>
              <p:nvPr/>
            </p:nvSpPr>
            <p:spPr bwMode="auto">
              <a:xfrm>
                <a:off x="6597" y="3445"/>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1" name="Rectangle 275"/>
              <p:cNvSpPr>
                <a:spLocks noChangeArrowheads="1"/>
              </p:cNvSpPr>
              <p:nvPr/>
            </p:nvSpPr>
            <p:spPr bwMode="auto">
              <a:xfrm>
                <a:off x="6655" y="3445"/>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 name="Rectangle 276"/>
              <p:cNvSpPr>
                <a:spLocks noChangeArrowheads="1"/>
              </p:cNvSpPr>
              <p:nvPr/>
            </p:nvSpPr>
            <p:spPr bwMode="auto">
              <a:xfrm>
                <a:off x="6713" y="3445"/>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3" name="Rectangle 277"/>
              <p:cNvSpPr>
                <a:spLocks noChangeArrowheads="1"/>
              </p:cNvSpPr>
              <p:nvPr/>
            </p:nvSpPr>
            <p:spPr bwMode="auto">
              <a:xfrm>
                <a:off x="6541" y="3533"/>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 name="Rectangle 278"/>
              <p:cNvSpPr>
                <a:spLocks noChangeArrowheads="1"/>
              </p:cNvSpPr>
              <p:nvPr/>
            </p:nvSpPr>
            <p:spPr bwMode="auto">
              <a:xfrm>
                <a:off x="6597" y="3533"/>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 name="Rectangle 279"/>
              <p:cNvSpPr>
                <a:spLocks noChangeArrowheads="1"/>
              </p:cNvSpPr>
              <p:nvPr/>
            </p:nvSpPr>
            <p:spPr bwMode="auto">
              <a:xfrm>
                <a:off x="6655" y="3533"/>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 name="Rectangle 280"/>
              <p:cNvSpPr>
                <a:spLocks noChangeArrowheads="1"/>
              </p:cNvSpPr>
              <p:nvPr/>
            </p:nvSpPr>
            <p:spPr bwMode="auto">
              <a:xfrm>
                <a:off x="6713" y="3533"/>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 name="Rectangle 281"/>
              <p:cNvSpPr>
                <a:spLocks noChangeArrowheads="1"/>
              </p:cNvSpPr>
              <p:nvPr/>
            </p:nvSpPr>
            <p:spPr bwMode="auto">
              <a:xfrm>
                <a:off x="6541" y="3623"/>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Rectangle 282"/>
              <p:cNvSpPr>
                <a:spLocks noChangeArrowheads="1"/>
              </p:cNvSpPr>
              <p:nvPr/>
            </p:nvSpPr>
            <p:spPr bwMode="auto">
              <a:xfrm>
                <a:off x="6597" y="3623"/>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 name="Rectangle 283"/>
              <p:cNvSpPr>
                <a:spLocks noChangeArrowheads="1"/>
              </p:cNvSpPr>
              <p:nvPr/>
            </p:nvSpPr>
            <p:spPr bwMode="auto">
              <a:xfrm>
                <a:off x="6655" y="3623"/>
                <a:ext cx="29" cy="62"/>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 name="Rectangle 284"/>
              <p:cNvSpPr>
                <a:spLocks noChangeArrowheads="1"/>
              </p:cNvSpPr>
              <p:nvPr/>
            </p:nvSpPr>
            <p:spPr bwMode="auto">
              <a:xfrm>
                <a:off x="6713" y="3623"/>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 name="Rectangle 285"/>
              <p:cNvSpPr>
                <a:spLocks noChangeArrowheads="1"/>
              </p:cNvSpPr>
              <p:nvPr/>
            </p:nvSpPr>
            <p:spPr bwMode="auto">
              <a:xfrm>
                <a:off x="6541" y="3714"/>
                <a:ext cx="27"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 name="Rectangle 286"/>
              <p:cNvSpPr>
                <a:spLocks noChangeArrowheads="1"/>
              </p:cNvSpPr>
              <p:nvPr/>
            </p:nvSpPr>
            <p:spPr bwMode="auto">
              <a:xfrm>
                <a:off x="6597" y="3714"/>
                <a:ext cx="29"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 name="Rectangle 287"/>
              <p:cNvSpPr>
                <a:spLocks noChangeArrowheads="1"/>
              </p:cNvSpPr>
              <p:nvPr/>
            </p:nvSpPr>
            <p:spPr bwMode="auto">
              <a:xfrm>
                <a:off x="6655" y="3714"/>
                <a:ext cx="29"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 name="Rectangle 288"/>
              <p:cNvSpPr>
                <a:spLocks noChangeArrowheads="1"/>
              </p:cNvSpPr>
              <p:nvPr/>
            </p:nvSpPr>
            <p:spPr bwMode="auto">
              <a:xfrm>
                <a:off x="6713" y="3714"/>
                <a:ext cx="26"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 name="Rectangle 289"/>
              <p:cNvSpPr>
                <a:spLocks noChangeArrowheads="1"/>
              </p:cNvSpPr>
              <p:nvPr/>
            </p:nvSpPr>
            <p:spPr bwMode="auto">
              <a:xfrm>
                <a:off x="6541" y="3801"/>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 name="Rectangle 290"/>
              <p:cNvSpPr>
                <a:spLocks noChangeArrowheads="1"/>
              </p:cNvSpPr>
              <p:nvPr/>
            </p:nvSpPr>
            <p:spPr bwMode="auto">
              <a:xfrm>
                <a:off x="6597" y="3801"/>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 name="Rectangle 291"/>
              <p:cNvSpPr>
                <a:spLocks noChangeArrowheads="1"/>
              </p:cNvSpPr>
              <p:nvPr/>
            </p:nvSpPr>
            <p:spPr bwMode="auto">
              <a:xfrm>
                <a:off x="6655" y="3801"/>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 name="Rectangle 292"/>
              <p:cNvSpPr>
                <a:spLocks noChangeArrowheads="1"/>
              </p:cNvSpPr>
              <p:nvPr/>
            </p:nvSpPr>
            <p:spPr bwMode="auto">
              <a:xfrm>
                <a:off x="6713" y="3801"/>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 name="Rectangle 293"/>
              <p:cNvSpPr>
                <a:spLocks noChangeArrowheads="1"/>
              </p:cNvSpPr>
              <p:nvPr/>
            </p:nvSpPr>
            <p:spPr bwMode="auto">
              <a:xfrm>
                <a:off x="6541" y="3892"/>
                <a:ext cx="27"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 name="Rectangle 294"/>
              <p:cNvSpPr>
                <a:spLocks noChangeArrowheads="1"/>
              </p:cNvSpPr>
              <p:nvPr/>
            </p:nvSpPr>
            <p:spPr bwMode="auto">
              <a:xfrm>
                <a:off x="6597" y="3892"/>
                <a:ext cx="29"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 name="Rectangle 295"/>
              <p:cNvSpPr>
                <a:spLocks noChangeArrowheads="1"/>
              </p:cNvSpPr>
              <p:nvPr/>
            </p:nvSpPr>
            <p:spPr bwMode="auto">
              <a:xfrm>
                <a:off x="6655" y="3892"/>
                <a:ext cx="29"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 name="Rectangle 296"/>
              <p:cNvSpPr>
                <a:spLocks noChangeArrowheads="1"/>
              </p:cNvSpPr>
              <p:nvPr/>
            </p:nvSpPr>
            <p:spPr bwMode="auto">
              <a:xfrm>
                <a:off x="6713" y="3892"/>
                <a:ext cx="26" cy="6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 name="Rectangle 297"/>
              <p:cNvSpPr>
                <a:spLocks noChangeArrowheads="1"/>
              </p:cNvSpPr>
              <p:nvPr/>
            </p:nvSpPr>
            <p:spPr bwMode="auto">
              <a:xfrm>
                <a:off x="6541" y="3979"/>
                <a:ext cx="27"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 name="Rectangle 298"/>
              <p:cNvSpPr>
                <a:spLocks noChangeArrowheads="1"/>
              </p:cNvSpPr>
              <p:nvPr/>
            </p:nvSpPr>
            <p:spPr bwMode="auto">
              <a:xfrm>
                <a:off x="6597" y="3979"/>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5" name="Rectangle 299"/>
              <p:cNvSpPr>
                <a:spLocks noChangeArrowheads="1"/>
              </p:cNvSpPr>
              <p:nvPr/>
            </p:nvSpPr>
            <p:spPr bwMode="auto">
              <a:xfrm>
                <a:off x="6655" y="3979"/>
                <a:ext cx="29"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6" name="Rectangle 300"/>
              <p:cNvSpPr>
                <a:spLocks noChangeArrowheads="1"/>
              </p:cNvSpPr>
              <p:nvPr/>
            </p:nvSpPr>
            <p:spPr bwMode="auto">
              <a:xfrm>
                <a:off x="6713" y="3979"/>
                <a:ext cx="26" cy="6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7" name="Freeform 301"/>
              <p:cNvSpPr>
                <a:spLocks/>
              </p:cNvSpPr>
              <p:nvPr/>
            </p:nvSpPr>
            <p:spPr bwMode="auto">
              <a:xfrm>
                <a:off x="6631" y="3040"/>
                <a:ext cx="17" cy="37"/>
              </a:xfrm>
              <a:custGeom>
                <a:avLst/>
                <a:gdLst>
                  <a:gd name="T0" fmla="*/ 7 w 7"/>
                  <a:gd name="T1" fmla="*/ 16 h 16"/>
                  <a:gd name="T2" fmla="*/ 7 w 7"/>
                  <a:gd name="T3" fmla="*/ 4 h 16"/>
                  <a:gd name="T4" fmla="*/ 4 w 7"/>
                  <a:gd name="T5" fmla="*/ 0 h 16"/>
                  <a:gd name="T6" fmla="*/ 0 w 7"/>
                  <a:gd name="T7" fmla="*/ 4 h 16"/>
                  <a:gd name="T8" fmla="*/ 0 w 7"/>
                  <a:gd name="T9" fmla="*/ 16 h 16"/>
                  <a:gd name="T10" fmla="*/ 7 w 7"/>
                  <a:gd name="T11" fmla="*/ 16 h 16"/>
                </a:gdLst>
                <a:ahLst/>
                <a:cxnLst>
                  <a:cxn ang="0">
                    <a:pos x="T0" y="T1"/>
                  </a:cxn>
                  <a:cxn ang="0">
                    <a:pos x="T2" y="T3"/>
                  </a:cxn>
                  <a:cxn ang="0">
                    <a:pos x="T4" y="T5"/>
                  </a:cxn>
                  <a:cxn ang="0">
                    <a:pos x="T6" y="T7"/>
                  </a:cxn>
                  <a:cxn ang="0">
                    <a:pos x="T8" y="T9"/>
                  </a:cxn>
                  <a:cxn ang="0">
                    <a:pos x="T10" y="T11"/>
                  </a:cxn>
                </a:cxnLst>
                <a:rect l="0" t="0" r="r" b="b"/>
                <a:pathLst>
                  <a:path w="7" h="16">
                    <a:moveTo>
                      <a:pt x="7" y="16"/>
                    </a:moveTo>
                    <a:cubicBezTo>
                      <a:pt x="7" y="4"/>
                      <a:pt x="7" y="4"/>
                      <a:pt x="7" y="4"/>
                    </a:cubicBezTo>
                    <a:cubicBezTo>
                      <a:pt x="7" y="2"/>
                      <a:pt x="6" y="0"/>
                      <a:pt x="4" y="0"/>
                    </a:cubicBezTo>
                    <a:cubicBezTo>
                      <a:pt x="1" y="0"/>
                      <a:pt x="0" y="2"/>
                      <a:pt x="0" y="4"/>
                    </a:cubicBezTo>
                    <a:cubicBezTo>
                      <a:pt x="0" y="16"/>
                      <a:pt x="0" y="16"/>
                      <a:pt x="0" y="16"/>
                    </a:cubicBezTo>
                    <a:lnTo>
                      <a:pt x="7" y="1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8" name="Freeform 302"/>
              <p:cNvSpPr>
                <a:spLocks/>
              </p:cNvSpPr>
              <p:nvPr/>
            </p:nvSpPr>
            <p:spPr bwMode="auto">
              <a:xfrm>
                <a:off x="6631" y="2909"/>
                <a:ext cx="17" cy="38"/>
              </a:xfrm>
              <a:custGeom>
                <a:avLst/>
                <a:gdLst>
                  <a:gd name="T0" fmla="*/ 7 w 7"/>
                  <a:gd name="T1" fmla="*/ 16 h 16"/>
                  <a:gd name="T2" fmla="*/ 7 w 7"/>
                  <a:gd name="T3" fmla="*/ 4 h 16"/>
                  <a:gd name="T4" fmla="*/ 4 w 7"/>
                  <a:gd name="T5" fmla="*/ 0 h 16"/>
                  <a:gd name="T6" fmla="*/ 0 w 7"/>
                  <a:gd name="T7" fmla="*/ 4 h 16"/>
                  <a:gd name="T8" fmla="*/ 0 w 7"/>
                  <a:gd name="T9" fmla="*/ 16 h 16"/>
                  <a:gd name="T10" fmla="*/ 7 w 7"/>
                  <a:gd name="T11" fmla="*/ 16 h 16"/>
                </a:gdLst>
                <a:ahLst/>
                <a:cxnLst>
                  <a:cxn ang="0">
                    <a:pos x="T0" y="T1"/>
                  </a:cxn>
                  <a:cxn ang="0">
                    <a:pos x="T2" y="T3"/>
                  </a:cxn>
                  <a:cxn ang="0">
                    <a:pos x="T4" y="T5"/>
                  </a:cxn>
                  <a:cxn ang="0">
                    <a:pos x="T6" y="T7"/>
                  </a:cxn>
                  <a:cxn ang="0">
                    <a:pos x="T8" y="T9"/>
                  </a:cxn>
                  <a:cxn ang="0">
                    <a:pos x="T10" y="T11"/>
                  </a:cxn>
                </a:cxnLst>
                <a:rect l="0" t="0" r="r" b="b"/>
                <a:pathLst>
                  <a:path w="7" h="16">
                    <a:moveTo>
                      <a:pt x="7" y="16"/>
                    </a:moveTo>
                    <a:cubicBezTo>
                      <a:pt x="7" y="4"/>
                      <a:pt x="7" y="4"/>
                      <a:pt x="7" y="4"/>
                    </a:cubicBezTo>
                    <a:cubicBezTo>
                      <a:pt x="7" y="1"/>
                      <a:pt x="6" y="0"/>
                      <a:pt x="4" y="0"/>
                    </a:cubicBezTo>
                    <a:cubicBezTo>
                      <a:pt x="1" y="0"/>
                      <a:pt x="0" y="1"/>
                      <a:pt x="0" y="4"/>
                    </a:cubicBezTo>
                    <a:cubicBezTo>
                      <a:pt x="0" y="16"/>
                      <a:pt x="0" y="16"/>
                      <a:pt x="0" y="16"/>
                    </a:cubicBezTo>
                    <a:lnTo>
                      <a:pt x="7" y="1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9" name="Freeform 303"/>
              <p:cNvSpPr>
                <a:spLocks/>
              </p:cNvSpPr>
              <p:nvPr/>
            </p:nvSpPr>
            <p:spPr bwMode="auto">
              <a:xfrm>
                <a:off x="6573" y="3040"/>
                <a:ext cx="19" cy="37"/>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0" name="Freeform 304"/>
              <p:cNvSpPr>
                <a:spLocks/>
              </p:cNvSpPr>
              <p:nvPr/>
            </p:nvSpPr>
            <p:spPr bwMode="auto">
              <a:xfrm>
                <a:off x="6686" y="3040"/>
                <a:ext cx="19" cy="37"/>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1" name="Freeform 305"/>
              <p:cNvSpPr>
                <a:spLocks/>
              </p:cNvSpPr>
              <p:nvPr/>
            </p:nvSpPr>
            <p:spPr bwMode="auto">
              <a:xfrm>
                <a:off x="6660" y="2975"/>
                <a:ext cx="19" cy="38"/>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2" name="Freeform 306"/>
              <p:cNvSpPr>
                <a:spLocks/>
              </p:cNvSpPr>
              <p:nvPr/>
            </p:nvSpPr>
            <p:spPr bwMode="auto">
              <a:xfrm>
                <a:off x="6602" y="2975"/>
                <a:ext cx="19" cy="38"/>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1" name="AutoShape 199"/>
            <p:cNvSpPr>
              <a:spLocks noChangeAspect="1" noChangeArrowheads="1" noTextEdit="1"/>
            </p:cNvSpPr>
            <p:nvPr/>
          </p:nvSpPr>
          <p:spPr bwMode="auto">
            <a:xfrm>
              <a:off x="11556427" y="5317381"/>
              <a:ext cx="415925"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Rectangle 201"/>
            <p:cNvSpPr>
              <a:spLocks noChangeArrowheads="1"/>
            </p:cNvSpPr>
            <p:nvPr/>
          </p:nvSpPr>
          <p:spPr bwMode="auto">
            <a:xfrm>
              <a:off x="11556427" y="5317381"/>
              <a:ext cx="420688" cy="125095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Rectangle 202"/>
            <p:cNvSpPr>
              <a:spLocks noChangeArrowheads="1"/>
            </p:cNvSpPr>
            <p:nvPr/>
          </p:nvSpPr>
          <p:spPr bwMode="auto">
            <a:xfrm>
              <a:off x="11883452" y="537770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14" name="Rectangle 203"/>
            <p:cNvSpPr>
              <a:spLocks noChangeArrowheads="1"/>
            </p:cNvSpPr>
            <p:nvPr/>
          </p:nvSpPr>
          <p:spPr bwMode="auto">
            <a:xfrm>
              <a:off x="11796140" y="5377706"/>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15" name="Rectangle 204"/>
            <p:cNvSpPr>
              <a:spLocks noChangeArrowheads="1"/>
            </p:cNvSpPr>
            <p:nvPr/>
          </p:nvSpPr>
          <p:spPr bwMode="auto">
            <a:xfrm>
              <a:off x="11702477" y="537770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16" name="Rectangle 205"/>
            <p:cNvSpPr>
              <a:spLocks noChangeArrowheads="1"/>
            </p:cNvSpPr>
            <p:nvPr/>
          </p:nvSpPr>
          <p:spPr bwMode="auto">
            <a:xfrm>
              <a:off x="11610402" y="537770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17" name="Rectangle 206"/>
            <p:cNvSpPr>
              <a:spLocks noChangeArrowheads="1"/>
            </p:cNvSpPr>
            <p:nvPr/>
          </p:nvSpPr>
          <p:spPr bwMode="auto">
            <a:xfrm>
              <a:off x="11883452" y="546501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18" name="Rectangle 207"/>
            <p:cNvSpPr>
              <a:spLocks noChangeArrowheads="1"/>
            </p:cNvSpPr>
            <p:nvPr/>
          </p:nvSpPr>
          <p:spPr bwMode="auto">
            <a:xfrm>
              <a:off x="11796140" y="5465019"/>
              <a:ext cx="33338"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19" name="Rectangle 208"/>
            <p:cNvSpPr>
              <a:spLocks noChangeArrowheads="1"/>
            </p:cNvSpPr>
            <p:nvPr/>
          </p:nvSpPr>
          <p:spPr bwMode="auto">
            <a:xfrm>
              <a:off x="11702477" y="5465019"/>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0" name="Rectangle 209"/>
            <p:cNvSpPr>
              <a:spLocks noChangeArrowheads="1"/>
            </p:cNvSpPr>
            <p:nvPr/>
          </p:nvSpPr>
          <p:spPr bwMode="auto">
            <a:xfrm>
              <a:off x="11610402" y="5465019"/>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1" name="Rectangle 210"/>
            <p:cNvSpPr>
              <a:spLocks noChangeArrowheads="1"/>
            </p:cNvSpPr>
            <p:nvPr/>
          </p:nvSpPr>
          <p:spPr bwMode="auto">
            <a:xfrm>
              <a:off x="11883452" y="555550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2" name="Rectangle 211"/>
            <p:cNvSpPr>
              <a:spLocks noChangeArrowheads="1"/>
            </p:cNvSpPr>
            <p:nvPr/>
          </p:nvSpPr>
          <p:spPr bwMode="auto">
            <a:xfrm>
              <a:off x="11796140" y="5555506"/>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3" name="Rectangle 212"/>
            <p:cNvSpPr>
              <a:spLocks noChangeArrowheads="1"/>
            </p:cNvSpPr>
            <p:nvPr/>
          </p:nvSpPr>
          <p:spPr bwMode="auto">
            <a:xfrm>
              <a:off x="11702477" y="555550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4" name="Rectangle 213"/>
            <p:cNvSpPr>
              <a:spLocks noChangeArrowheads="1"/>
            </p:cNvSpPr>
            <p:nvPr/>
          </p:nvSpPr>
          <p:spPr bwMode="auto">
            <a:xfrm>
              <a:off x="11610402" y="555550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5" name="Rectangle 214"/>
            <p:cNvSpPr>
              <a:spLocks noChangeArrowheads="1"/>
            </p:cNvSpPr>
            <p:nvPr/>
          </p:nvSpPr>
          <p:spPr bwMode="auto">
            <a:xfrm>
              <a:off x="11883452" y="5645994"/>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6" name="Rectangle 215"/>
            <p:cNvSpPr>
              <a:spLocks noChangeArrowheads="1"/>
            </p:cNvSpPr>
            <p:nvPr/>
          </p:nvSpPr>
          <p:spPr bwMode="auto">
            <a:xfrm>
              <a:off x="11796140" y="5645994"/>
              <a:ext cx="33338"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7" name="Rectangle 216"/>
            <p:cNvSpPr>
              <a:spLocks noChangeArrowheads="1"/>
            </p:cNvSpPr>
            <p:nvPr/>
          </p:nvSpPr>
          <p:spPr bwMode="auto">
            <a:xfrm>
              <a:off x="11702477" y="5645994"/>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8" name="Rectangle 217"/>
            <p:cNvSpPr>
              <a:spLocks noChangeArrowheads="1"/>
            </p:cNvSpPr>
            <p:nvPr/>
          </p:nvSpPr>
          <p:spPr bwMode="auto">
            <a:xfrm>
              <a:off x="11610402" y="5645994"/>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9" name="Rectangle 218"/>
            <p:cNvSpPr>
              <a:spLocks noChangeArrowheads="1"/>
            </p:cNvSpPr>
            <p:nvPr/>
          </p:nvSpPr>
          <p:spPr bwMode="auto">
            <a:xfrm>
              <a:off x="11883452" y="5736481"/>
              <a:ext cx="34925" cy="61913"/>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0" name="Rectangle 219"/>
            <p:cNvSpPr>
              <a:spLocks noChangeArrowheads="1"/>
            </p:cNvSpPr>
            <p:nvPr/>
          </p:nvSpPr>
          <p:spPr bwMode="auto">
            <a:xfrm>
              <a:off x="11796140" y="5736481"/>
              <a:ext cx="33338"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1" name="Rectangle 220"/>
            <p:cNvSpPr>
              <a:spLocks noChangeArrowheads="1"/>
            </p:cNvSpPr>
            <p:nvPr/>
          </p:nvSpPr>
          <p:spPr bwMode="auto">
            <a:xfrm>
              <a:off x="11702477" y="5736481"/>
              <a:ext cx="34925"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2" name="Rectangle 221"/>
            <p:cNvSpPr>
              <a:spLocks noChangeArrowheads="1"/>
            </p:cNvSpPr>
            <p:nvPr/>
          </p:nvSpPr>
          <p:spPr bwMode="auto">
            <a:xfrm>
              <a:off x="11610402" y="5736481"/>
              <a:ext cx="34925" cy="61913"/>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3" name="Rectangle 222"/>
            <p:cNvSpPr>
              <a:spLocks noChangeArrowheads="1"/>
            </p:cNvSpPr>
            <p:nvPr/>
          </p:nvSpPr>
          <p:spPr bwMode="auto">
            <a:xfrm>
              <a:off x="11883452" y="5823794"/>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4" name="Rectangle 223"/>
            <p:cNvSpPr>
              <a:spLocks noChangeArrowheads="1"/>
            </p:cNvSpPr>
            <p:nvPr/>
          </p:nvSpPr>
          <p:spPr bwMode="auto">
            <a:xfrm>
              <a:off x="11796140" y="5823794"/>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5" name="Rectangle 224"/>
            <p:cNvSpPr>
              <a:spLocks noChangeArrowheads="1"/>
            </p:cNvSpPr>
            <p:nvPr/>
          </p:nvSpPr>
          <p:spPr bwMode="auto">
            <a:xfrm>
              <a:off x="11702477" y="5823794"/>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6" name="Rectangle 225"/>
            <p:cNvSpPr>
              <a:spLocks noChangeArrowheads="1"/>
            </p:cNvSpPr>
            <p:nvPr/>
          </p:nvSpPr>
          <p:spPr bwMode="auto">
            <a:xfrm>
              <a:off x="11610402" y="5823794"/>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7" name="Rectangle 226"/>
            <p:cNvSpPr>
              <a:spLocks noChangeArrowheads="1"/>
            </p:cNvSpPr>
            <p:nvPr/>
          </p:nvSpPr>
          <p:spPr bwMode="auto">
            <a:xfrm>
              <a:off x="11883452" y="5914281"/>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8" name="Rectangle 227"/>
            <p:cNvSpPr>
              <a:spLocks noChangeArrowheads="1"/>
            </p:cNvSpPr>
            <p:nvPr/>
          </p:nvSpPr>
          <p:spPr bwMode="auto">
            <a:xfrm>
              <a:off x="11796140" y="5914281"/>
              <a:ext cx="33338"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9" name="Rectangle 228"/>
            <p:cNvSpPr>
              <a:spLocks noChangeArrowheads="1"/>
            </p:cNvSpPr>
            <p:nvPr/>
          </p:nvSpPr>
          <p:spPr bwMode="auto">
            <a:xfrm>
              <a:off x="11702477" y="5914281"/>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40" name="Rectangle 229"/>
            <p:cNvSpPr>
              <a:spLocks noChangeArrowheads="1"/>
            </p:cNvSpPr>
            <p:nvPr/>
          </p:nvSpPr>
          <p:spPr bwMode="auto">
            <a:xfrm>
              <a:off x="11610402" y="5914281"/>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41" name="Rectangle 230"/>
            <p:cNvSpPr>
              <a:spLocks noChangeArrowheads="1"/>
            </p:cNvSpPr>
            <p:nvPr/>
          </p:nvSpPr>
          <p:spPr bwMode="auto">
            <a:xfrm>
              <a:off x="11883452" y="60063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42" name="Rectangle 231"/>
            <p:cNvSpPr>
              <a:spLocks noChangeArrowheads="1"/>
            </p:cNvSpPr>
            <p:nvPr/>
          </p:nvSpPr>
          <p:spPr bwMode="auto">
            <a:xfrm>
              <a:off x="11796140" y="6006356"/>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43" name="Rectangle 232"/>
            <p:cNvSpPr>
              <a:spLocks noChangeArrowheads="1"/>
            </p:cNvSpPr>
            <p:nvPr/>
          </p:nvSpPr>
          <p:spPr bwMode="auto">
            <a:xfrm>
              <a:off x="11702477" y="600635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44" name="Rectangle 233"/>
            <p:cNvSpPr>
              <a:spLocks noChangeArrowheads="1"/>
            </p:cNvSpPr>
            <p:nvPr/>
          </p:nvSpPr>
          <p:spPr bwMode="auto">
            <a:xfrm>
              <a:off x="11610402" y="600635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45" name="Rectangle 234"/>
            <p:cNvSpPr>
              <a:spLocks noChangeArrowheads="1"/>
            </p:cNvSpPr>
            <p:nvPr/>
          </p:nvSpPr>
          <p:spPr bwMode="auto">
            <a:xfrm>
              <a:off x="11883452" y="6103194"/>
              <a:ext cx="34925"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46" name="Rectangle 235"/>
            <p:cNvSpPr>
              <a:spLocks noChangeArrowheads="1"/>
            </p:cNvSpPr>
            <p:nvPr/>
          </p:nvSpPr>
          <p:spPr bwMode="auto">
            <a:xfrm>
              <a:off x="11796140" y="6103194"/>
              <a:ext cx="33338"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47" name="Rectangle 236"/>
            <p:cNvSpPr>
              <a:spLocks noChangeArrowheads="1"/>
            </p:cNvSpPr>
            <p:nvPr/>
          </p:nvSpPr>
          <p:spPr bwMode="auto">
            <a:xfrm>
              <a:off x="11702477" y="6103194"/>
              <a:ext cx="34925" cy="61913"/>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48" name="Rectangle 237"/>
            <p:cNvSpPr>
              <a:spLocks noChangeArrowheads="1"/>
            </p:cNvSpPr>
            <p:nvPr/>
          </p:nvSpPr>
          <p:spPr bwMode="auto">
            <a:xfrm>
              <a:off x="11610402" y="6103194"/>
              <a:ext cx="34925" cy="61913"/>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49" name="Rectangle 238"/>
            <p:cNvSpPr>
              <a:spLocks noChangeArrowheads="1"/>
            </p:cNvSpPr>
            <p:nvPr/>
          </p:nvSpPr>
          <p:spPr bwMode="auto">
            <a:xfrm>
              <a:off x="11883452" y="619526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50" name="Rectangle 239"/>
            <p:cNvSpPr>
              <a:spLocks noChangeArrowheads="1"/>
            </p:cNvSpPr>
            <p:nvPr/>
          </p:nvSpPr>
          <p:spPr bwMode="auto">
            <a:xfrm>
              <a:off x="11796140" y="6195269"/>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51" name="Rectangle 240"/>
            <p:cNvSpPr>
              <a:spLocks noChangeArrowheads="1"/>
            </p:cNvSpPr>
            <p:nvPr/>
          </p:nvSpPr>
          <p:spPr bwMode="auto">
            <a:xfrm>
              <a:off x="11702477" y="6195269"/>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52" name="Rectangle 241"/>
            <p:cNvSpPr>
              <a:spLocks noChangeArrowheads="1"/>
            </p:cNvSpPr>
            <p:nvPr/>
          </p:nvSpPr>
          <p:spPr bwMode="auto">
            <a:xfrm>
              <a:off x="11610402" y="619526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53" name="Rectangle 242"/>
            <p:cNvSpPr>
              <a:spLocks noChangeArrowheads="1"/>
            </p:cNvSpPr>
            <p:nvPr/>
          </p:nvSpPr>
          <p:spPr bwMode="auto">
            <a:xfrm>
              <a:off x="11883452" y="62857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54" name="Rectangle 243"/>
            <p:cNvSpPr>
              <a:spLocks noChangeArrowheads="1"/>
            </p:cNvSpPr>
            <p:nvPr/>
          </p:nvSpPr>
          <p:spPr bwMode="auto">
            <a:xfrm>
              <a:off x="11796140" y="6285756"/>
              <a:ext cx="33338"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55" name="Rectangle 244"/>
            <p:cNvSpPr>
              <a:spLocks noChangeArrowheads="1"/>
            </p:cNvSpPr>
            <p:nvPr/>
          </p:nvSpPr>
          <p:spPr bwMode="auto">
            <a:xfrm>
              <a:off x="11702477" y="62857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56" name="Rectangle 245"/>
            <p:cNvSpPr>
              <a:spLocks noChangeArrowheads="1"/>
            </p:cNvSpPr>
            <p:nvPr/>
          </p:nvSpPr>
          <p:spPr bwMode="auto">
            <a:xfrm>
              <a:off x="11610402" y="628575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57" name="Rectangle 246"/>
            <p:cNvSpPr>
              <a:spLocks noChangeArrowheads="1"/>
            </p:cNvSpPr>
            <p:nvPr/>
          </p:nvSpPr>
          <p:spPr bwMode="auto">
            <a:xfrm>
              <a:off x="11883452" y="637306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58" name="Rectangle 247"/>
            <p:cNvSpPr>
              <a:spLocks noChangeArrowheads="1"/>
            </p:cNvSpPr>
            <p:nvPr/>
          </p:nvSpPr>
          <p:spPr bwMode="auto">
            <a:xfrm>
              <a:off x="11796140" y="6373069"/>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59" name="Rectangle 248"/>
            <p:cNvSpPr>
              <a:spLocks noChangeArrowheads="1"/>
            </p:cNvSpPr>
            <p:nvPr/>
          </p:nvSpPr>
          <p:spPr bwMode="auto">
            <a:xfrm>
              <a:off x="11702477" y="6373069"/>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0" name="Rectangle 249"/>
            <p:cNvSpPr>
              <a:spLocks noChangeArrowheads="1"/>
            </p:cNvSpPr>
            <p:nvPr/>
          </p:nvSpPr>
          <p:spPr bwMode="auto">
            <a:xfrm>
              <a:off x="11610402" y="6373069"/>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1" name="Rectangle 250"/>
            <p:cNvSpPr>
              <a:spLocks noChangeArrowheads="1"/>
            </p:cNvSpPr>
            <p:nvPr/>
          </p:nvSpPr>
          <p:spPr bwMode="auto">
            <a:xfrm>
              <a:off x="11883452" y="6463556"/>
              <a:ext cx="34925" cy="60325"/>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2" name="Rectangle 251"/>
            <p:cNvSpPr>
              <a:spLocks noChangeArrowheads="1"/>
            </p:cNvSpPr>
            <p:nvPr/>
          </p:nvSpPr>
          <p:spPr bwMode="auto">
            <a:xfrm>
              <a:off x="11796140" y="6463556"/>
              <a:ext cx="33338"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3" name="Rectangle 252"/>
            <p:cNvSpPr>
              <a:spLocks noChangeArrowheads="1"/>
            </p:cNvSpPr>
            <p:nvPr/>
          </p:nvSpPr>
          <p:spPr bwMode="auto">
            <a:xfrm>
              <a:off x="11702477" y="64635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4" name="Rectangle 253"/>
            <p:cNvSpPr>
              <a:spLocks noChangeArrowheads="1"/>
            </p:cNvSpPr>
            <p:nvPr/>
          </p:nvSpPr>
          <p:spPr bwMode="auto">
            <a:xfrm>
              <a:off x="11610402" y="6463556"/>
              <a:ext cx="34925" cy="60325"/>
            </a:xfrm>
            <a:prstGeom prst="rect">
              <a:avLst/>
            </a:pr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5" name="AutoShape 172"/>
            <p:cNvSpPr>
              <a:spLocks noChangeAspect="1" noChangeArrowheads="1" noTextEdit="1"/>
            </p:cNvSpPr>
            <p:nvPr/>
          </p:nvSpPr>
          <p:spPr bwMode="auto">
            <a:xfrm>
              <a:off x="11073725" y="5091309"/>
              <a:ext cx="416172" cy="1473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Rectangle 174"/>
            <p:cNvSpPr>
              <a:spLocks noChangeArrowheads="1"/>
            </p:cNvSpPr>
            <p:nvPr/>
          </p:nvSpPr>
          <p:spPr bwMode="auto">
            <a:xfrm>
              <a:off x="11073725" y="5202825"/>
              <a:ext cx="419621" cy="1364631"/>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7" name="Line 175"/>
            <p:cNvSpPr>
              <a:spLocks noChangeShapeType="1"/>
            </p:cNvSpPr>
            <p:nvPr/>
          </p:nvSpPr>
          <p:spPr bwMode="auto">
            <a:xfrm>
              <a:off x="11073725" y="5260307"/>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8" name="Line 176"/>
            <p:cNvSpPr>
              <a:spLocks noChangeShapeType="1"/>
            </p:cNvSpPr>
            <p:nvPr/>
          </p:nvSpPr>
          <p:spPr bwMode="auto">
            <a:xfrm>
              <a:off x="11073725" y="5323538"/>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9" name="Line 177"/>
            <p:cNvSpPr>
              <a:spLocks noChangeShapeType="1"/>
            </p:cNvSpPr>
            <p:nvPr/>
          </p:nvSpPr>
          <p:spPr bwMode="auto">
            <a:xfrm>
              <a:off x="11073725" y="5383319"/>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0" name="Line 178"/>
            <p:cNvSpPr>
              <a:spLocks noChangeShapeType="1"/>
            </p:cNvSpPr>
            <p:nvPr/>
          </p:nvSpPr>
          <p:spPr bwMode="auto">
            <a:xfrm>
              <a:off x="11073725" y="5446550"/>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1" name="Line 179"/>
            <p:cNvSpPr>
              <a:spLocks noChangeShapeType="1"/>
            </p:cNvSpPr>
            <p:nvPr/>
          </p:nvSpPr>
          <p:spPr bwMode="auto">
            <a:xfrm>
              <a:off x="11073725" y="5506331"/>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2" name="Line 180"/>
            <p:cNvSpPr>
              <a:spLocks noChangeShapeType="1"/>
            </p:cNvSpPr>
            <p:nvPr/>
          </p:nvSpPr>
          <p:spPr bwMode="auto">
            <a:xfrm>
              <a:off x="11073725" y="5568412"/>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3" name="Line 181"/>
            <p:cNvSpPr>
              <a:spLocks noChangeShapeType="1"/>
            </p:cNvSpPr>
            <p:nvPr/>
          </p:nvSpPr>
          <p:spPr bwMode="auto">
            <a:xfrm>
              <a:off x="11073725" y="5629344"/>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4" name="Line 182"/>
            <p:cNvSpPr>
              <a:spLocks noChangeShapeType="1"/>
            </p:cNvSpPr>
            <p:nvPr/>
          </p:nvSpPr>
          <p:spPr bwMode="auto">
            <a:xfrm>
              <a:off x="11073725" y="5691425"/>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5" name="Line 183"/>
            <p:cNvSpPr>
              <a:spLocks noChangeShapeType="1"/>
            </p:cNvSpPr>
            <p:nvPr/>
          </p:nvSpPr>
          <p:spPr bwMode="auto">
            <a:xfrm>
              <a:off x="11073725" y="5752356"/>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6" name="Line 184"/>
            <p:cNvSpPr>
              <a:spLocks noChangeShapeType="1"/>
            </p:cNvSpPr>
            <p:nvPr/>
          </p:nvSpPr>
          <p:spPr bwMode="auto">
            <a:xfrm>
              <a:off x="11073725" y="5812137"/>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7" name="Line 185"/>
            <p:cNvSpPr>
              <a:spLocks noChangeShapeType="1"/>
            </p:cNvSpPr>
            <p:nvPr/>
          </p:nvSpPr>
          <p:spPr bwMode="auto">
            <a:xfrm>
              <a:off x="11073725" y="5874218"/>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8" name="Line 186"/>
            <p:cNvSpPr>
              <a:spLocks noChangeShapeType="1"/>
            </p:cNvSpPr>
            <p:nvPr/>
          </p:nvSpPr>
          <p:spPr bwMode="auto">
            <a:xfrm>
              <a:off x="11073725" y="5935150"/>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9" name="Line 187"/>
            <p:cNvSpPr>
              <a:spLocks noChangeShapeType="1"/>
            </p:cNvSpPr>
            <p:nvPr/>
          </p:nvSpPr>
          <p:spPr bwMode="auto">
            <a:xfrm>
              <a:off x="11073725" y="5997231"/>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0" name="Line 188"/>
            <p:cNvSpPr>
              <a:spLocks noChangeShapeType="1"/>
            </p:cNvSpPr>
            <p:nvPr/>
          </p:nvSpPr>
          <p:spPr bwMode="auto">
            <a:xfrm>
              <a:off x="11073725" y="6057012"/>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1" name="Line 189"/>
            <p:cNvSpPr>
              <a:spLocks noChangeShapeType="1"/>
            </p:cNvSpPr>
            <p:nvPr/>
          </p:nvSpPr>
          <p:spPr bwMode="auto">
            <a:xfrm>
              <a:off x="11073725" y="6117943"/>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2" name="Line 190"/>
            <p:cNvSpPr>
              <a:spLocks noChangeShapeType="1"/>
            </p:cNvSpPr>
            <p:nvPr/>
          </p:nvSpPr>
          <p:spPr bwMode="auto">
            <a:xfrm>
              <a:off x="11073725" y="6180024"/>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3" name="Line 191"/>
            <p:cNvSpPr>
              <a:spLocks noChangeShapeType="1"/>
            </p:cNvSpPr>
            <p:nvPr/>
          </p:nvSpPr>
          <p:spPr bwMode="auto">
            <a:xfrm>
              <a:off x="11073725" y="6239806"/>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4" name="Line 192"/>
            <p:cNvSpPr>
              <a:spLocks noChangeShapeType="1"/>
            </p:cNvSpPr>
            <p:nvPr/>
          </p:nvSpPr>
          <p:spPr bwMode="auto">
            <a:xfrm>
              <a:off x="11073725" y="6303037"/>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5" name="Line 193"/>
            <p:cNvSpPr>
              <a:spLocks noChangeShapeType="1"/>
            </p:cNvSpPr>
            <p:nvPr/>
          </p:nvSpPr>
          <p:spPr bwMode="auto">
            <a:xfrm>
              <a:off x="11073725" y="6362818"/>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6" name="Line 194"/>
            <p:cNvSpPr>
              <a:spLocks noChangeShapeType="1"/>
            </p:cNvSpPr>
            <p:nvPr/>
          </p:nvSpPr>
          <p:spPr bwMode="auto">
            <a:xfrm>
              <a:off x="11073725" y="6426049"/>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7" name="Line 195"/>
            <p:cNvSpPr>
              <a:spLocks noChangeShapeType="1"/>
            </p:cNvSpPr>
            <p:nvPr/>
          </p:nvSpPr>
          <p:spPr bwMode="auto">
            <a:xfrm>
              <a:off x="11073725" y="6485830"/>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8" name="Line 196"/>
            <p:cNvSpPr>
              <a:spLocks noChangeShapeType="1"/>
            </p:cNvSpPr>
            <p:nvPr/>
          </p:nvSpPr>
          <p:spPr bwMode="auto">
            <a:xfrm>
              <a:off x="11073725" y="6549061"/>
              <a:ext cx="419621"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9" name="Freeform 197"/>
            <p:cNvSpPr>
              <a:spLocks/>
            </p:cNvSpPr>
            <p:nvPr/>
          </p:nvSpPr>
          <p:spPr bwMode="auto">
            <a:xfrm>
              <a:off x="11120861" y="5089010"/>
              <a:ext cx="316153" cy="113815"/>
            </a:xfrm>
            <a:custGeom>
              <a:avLst/>
              <a:gdLst>
                <a:gd name="T0" fmla="*/ 275 w 275"/>
                <a:gd name="T1" fmla="*/ 0 h 99"/>
                <a:gd name="T2" fmla="*/ 0 w 275"/>
                <a:gd name="T3" fmla="*/ 38 h 99"/>
                <a:gd name="T4" fmla="*/ 0 w 275"/>
                <a:gd name="T5" fmla="*/ 99 h 99"/>
                <a:gd name="T6" fmla="*/ 275 w 275"/>
                <a:gd name="T7" fmla="*/ 99 h 99"/>
                <a:gd name="T8" fmla="*/ 275 w 275"/>
                <a:gd name="T9" fmla="*/ 0 h 99"/>
              </a:gdLst>
              <a:ahLst/>
              <a:cxnLst>
                <a:cxn ang="0">
                  <a:pos x="T0" y="T1"/>
                </a:cxn>
                <a:cxn ang="0">
                  <a:pos x="T2" y="T3"/>
                </a:cxn>
                <a:cxn ang="0">
                  <a:pos x="T4" y="T5"/>
                </a:cxn>
                <a:cxn ang="0">
                  <a:pos x="T6" y="T7"/>
                </a:cxn>
                <a:cxn ang="0">
                  <a:pos x="T8" y="T9"/>
                </a:cxn>
              </a:cxnLst>
              <a:rect l="0" t="0" r="r" b="b"/>
              <a:pathLst>
                <a:path w="275" h="99">
                  <a:moveTo>
                    <a:pt x="275" y="0"/>
                  </a:moveTo>
                  <a:lnTo>
                    <a:pt x="0" y="38"/>
                  </a:lnTo>
                  <a:lnTo>
                    <a:pt x="0" y="99"/>
                  </a:lnTo>
                  <a:lnTo>
                    <a:pt x="275" y="99"/>
                  </a:lnTo>
                  <a:lnTo>
                    <a:pt x="275"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190" name="Group 189"/>
            <p:cNvGrpSpPr/>
            <p:nvPr/>
          </p:nvGrpSpPr>
          <p:grpSpPr>
            <a:xfrm flipH="1">
              <a:off x="4067728" y="5602747"/>
              <a:ext cx="8368749" cy="1400162"/>
              <a:chOff x="-5288" y="5602741"/>
              <a:chExt cx="8368749" cy="1400162"/>
            </a:xfrm>
          </p:grpSpPr>
          <p:sp>
            <p:nvSpPr>
              <p:cNvPr id="191" name="Rectangle 5"/>
              <p:cNvSpPr>
                <a:spLocks noChangeArrowheads="1"/>
              </p:cNvSpPr>
              <p:nvPr/>
            </p:nvSpPr>
            <p:spPr bwMode="auto">
              <a:xfrm flipH="1">
                <a:off x="3418306" y="5868865"/>
                <a:ext cx="550363" cy="53060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2" name="Rectangle 6"/>
              <p:cNvSpPr>
                <a:spLocks noChangeArrowheads="1"/>
              </p:cNvSpPr>
              <p:nvPr/>
            </p:nvSpPr>
            <p:spPr bwMode="auto">
              <a:xfrm flipH="1">
                <a:off x="3506925" y="5752350"/>
                <a:ext cx="238802" cy="5577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3" name="Rectangle 7"/>
              <p:cNvSpPr>
                <a:spLocks noChangeArrowheads="1"/>
              </p:cNvSpPr>
              <p:nvPr/>
            </p:nvSpPr>
            <p:spPr bwMode="auto">
              <a:xfrm flipH="1">
                <a:off x="5208386" y="6427624"/>
                <a:ext cx="352605" cy="283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4" name="Rectangle 8"/>
              <p:cNvSpPr>
                <a:spLocks noChangeArrowheads="1"/>
              </p:cNvSpPr>
              <p:nvPr/>
            </p:nvSpPr>
            <p:spPr bwMode="auto">
              <a:xfrm flipH="1">
                <a:off x="5067531" y="6297029"/>
                <a:ext cx="349807" cy="4141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5" name="Freeform 11"/>
              <p:cNvSpPr>
                <a:spLocks/>
              </p:cNvSpPr>
              <p:nvPr/>
            </p:nvSpPr>
            <p:spPr bwMode="auto">
              <a:xfrm flipH="1">
                <a:off x="4392841" y="6489852"/>
                <a:ext cx="3970620" cy="51025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6" name="Freeform 18"/>
              <p:cNvSpPr>
                <a:spLocks/>
              </p:cNvSpPr>
              <p:nvPr/>
            </p:nvSpPr>
            <p:spPr bwMode="auto">
              <a:xfrm flipH="1">
                <a:off x="984" y="6027174"/>
                <a:ext cx="6091253" cy="97293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7" name="Freeform 29"/>
              <p:cNvSpPr>
                <a:spLocks/>
              </p:cNvSpPr>
              <p:nvPr/>
            </p:nvSpPr>
            <p:spPr bwMode="auto">
              <a:xfrm flipH="1">
                <a:off x="432647" y="6571940"/>
                <a:ext cx="3340253" cy="42816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8" name="AutoShape 3"/>
              <p:cNvSpPr>
                <a:spLocks noChangeAspect="1" noChangeArrowheads="1" noTextEdit="1"/>
              </p:cNvSpPr>
              <p:nvPr/>
            </p:nvSpPr>
            <p:spPr bwMode="auto">
              <a:xfrm flipH="1">
                <a:off x="984" y="5602741"/>
                <a:ext cx="4298430"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99" name="Group 198"/>
              <p:cNvGrpSpPr/>
              <p:nvPr/>
            </p:nvGrpSpPr>
            <p:grpSpPr>
              <a:xfrm flipH="1">
                <a:off x="2682360" y="5937788"/>
                <a:ext cx="188333" cy="365034"/>
                <a:chOff x="6229350" y="5232400"/>
                <a:chExt cx="539750" cy="1046162"/>
              </a:xfrm>
            </p:grpSpPr>
            <p:sp>
              <p:nvSpPr>
                <p:cNvPr id="20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0" name="Group 199"/>
              <p:cNvGrpSpPr/>
              <p:nvPr/>
            </p:nvGrpSpPr>
            <p:grpSpPr>
              <a:xfrm flipH="1">
                <a:off x="4803495" y="6266909"/>
                <a:ext cx="188333" cy="365034"/>
                <a:chOff x="6229350" y="5232400"/>
                <a:chExt cx="539750" cy="1046162"/>
              </a:xfrm>
            </p:grpSpPr>
            <p:sp>
              <p:nvSpPr>
                <p:cNvPr id="20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1" name="Freeform 17"/>
              <p:cNvSpPr>
                <a:spLocks/>
              </p:cNvSpPr>
              <p:nvPr/>
            </p:nvSpPr>
            <p:spPr bwMode="auto">
              <a:xfrm flipH="1">
                <a:off x="-5288" y="6414294"/>
                <a:ext cx="1445870" cy="58581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02" name="Group 201"/>
              <p:cNvGrpSpPr/>
              <p:nvPr/>
            </p:nvGrpSpPr>
            <p:grpSpPr>
              <a:xfrm flipH="1">
                <a:off x="4579666" y="6201145"/>
                <a:ext cx="188333" cy="365034"/>
                <a:chOff x="6229350" y="5232400"/>
                <a:chExt cx="539750" cy="1046162"/>
              </a:xfrm>
            </p:grpSpPr>
            <p:sp>
              <p:nvSpPr>
                <p:cNvPr id="203"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4"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5"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302" name="Group 301"/>
          <p:cNvGrpSpPr/>
          <p:nvPr/>
        </p:nvGrpSpPr>
        <p:grpSpPr>
          <a:xfrm>
            <a:off x="11070579" y="297389"/>
            <a:ext cx="932340" cy="913874"/>
            <a:chOff x="11070579" y="297389"/>
            <a:chExt cx="932340" cy="913874"/>
          </a:xfrm>
        </p:grpSpPr>
        <p:sp>
          <p:nvSpPr>
            <p:cNvPr id="303" name="Rectangle 302"/>
            <p:cNvSpPr/>
            <p:nvPr/>
          </p:nvSpPr>
          <p:spPr bwMode="auto">
            <a:xfrm>
              <a:off x="11070579" y="297389"/>
              <a:ext cx="932340" cy="913874"/>
            </a:xfrm>
            <a:prstGeom prst="rect">
              <a:avLst/>
            </a:prstGeom>
            <a:solidFill>
              <a:schemeClr val="accent4"/>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p>
              <a:pPr algn="l" defTabSz="932563" fontAlgn="auto">
                <a:spcAft>
                  <a:spcPts val="587"/>
                </a:spcAft>
              </a:pPr>
              <a:endParaRPr lang="en-US" sz="2200" dirty="0">
                <a:solidFill>
                  <a:schemeClr val="bg1"/>
                </a:solidFill>
                <a:latin typeface="+mj-lt"/>
                <a:cs typeface="Segoe UI Semibold" panose="020B0702040204020203" pitchFamily="34" charset="0"/>
              </a:endParaRPr>
            </a:p>
          </p:txBody>
        </p:sp>
        <p:sp>
          <p:nvSpPr>
            <p:cNvPr id="304" name="Rectangle 303"/>
            <p:cNvSpPr/>
            <p:nvPr/>
          </p:nvSpPr>
          <p:spPr>
            <a:xfrm>
              <a:off x="11070579" y="1137623"/>
              <a:ext cx="932340" cy="73640"/>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grpSp>
          <p:nvGrpSpPr>
            <p:cNvPr id="305" name="Group 304"/>
            <p:cNvGrpSpPr/>
            <p:nvPr/>
          </p:nvGrpSpPr>
          <p:grpSpPr>
            <a:xfrm>
              <a:off x="11255375" y="472799"/>
              <a:ext cx="562748" cy="563054"/>
              <a:chOff x="-4292600" y="-1301750"/>
              <a:chExt cx="5827713" cy="5830888"/>
            </a:xfrm>
            <a:solidFill>
              <a:schemeClr val="bg1">
                <a:alpha val="22000"/>
              </a:schemeClr>
            </a:solidFill>
          </p:grpSpPr>
          <p:sp>
            <p:nvSpPr>
              <p:cNvPr id="306" name="Freeform 305"/>
              <p:cNvSpPr>
                <a:spLocks noEditPoints="1"/>
              </p:cNvSpPr>
              <p:nvPr/>
            </p:nvSpPr>
            <p:spPr bwMode="auto">
              <a:xfrm>
                <a:off x="-4292600" y="-1301750"/>
                <a:ext cx="5827713" cy="5830888"/>
              </a:xfrm>
              <a:custGeom>
                <a:avLst/>
                <a:gdLst>
                  <a:gd name="T0" fmla="*/ 2874 w 3671"/>
                  <a:gd name="T1" fmla="*/ 3100 h 3673"/>
                  <a:gd name="T2" fmla="*/ 3236 w 3671"/>
                  <a:gd name="T3" fmla="*/ 2924 h 3673"/>
                  <a:gd name="T4" fmla="*/ 1108 w 3671"/>
                  <a:gd name="T5" fmla="*/ 1714 h 3673"/>
                  <a:gd name="T6" fmla="*/ 888 w 3671"/>
                  <a:gd name="T7" fmla="*/ 1739 h 3673"/>
                  <a:gd name="T8" fmla="*/ 687 w 3671"/>
                  <a:gd name="T9" fmla="*/ 1816 h 3673"/>
                  <a:gd name="T10" fmla="*/ 514 w 3671"/>
                  <a:gd name="T11" fmla="*/ 1937 h 3673"/>
                  <a:gd name="T12" fmla="*/ 376 w 3671"/>
                  <a:gd name="T13" fmla="*/ 2098 h 3673"/>
                  <a:gd name="T14" fmla="*/ 279 w 3671"/>
                  <a:gd name="T15" fmla="*/ 2289 h 3673"/>
                  <a:gd name="T16" fmla="*/ 231 w 3671"/>
                  <a:gd name="T17" fmla="*/ 2504 h 3673"/>
                  <a:gd name="T18" fmla="*/ 238 w 3671"/>
                  <a:gd name="T19" fmla="*/ 2730 h 3673"/>
                  <a:gd name="T20" fmla="*/ 305 w 3671"/>
                  <a:gd name="T21" fmla="*/ 2941 h 3673"/>
                  <a:gd name="T22" fmla="*/ 423 w 3671"/>
                  <a:gd name="T23" fmla="*/ 3129 h 3673"/>
                  <a:gd name="T24" fmla="*/ 581 w 3671"/>
                  <a:gd name="T25" fmla="*/ 3280 h 3673"/>
                  <a:gd name="T26" fmla="*/ 772 w 3671"/>
                  <a:gd name="T27" fmla="*/ 3390 h 3673"/>
                  <a:gd name="T28" fmla="*/ 986 w 3671"/>
                  <a:gd name="T29" fmla="*/ 3444 h 3673"/>
                  <a:gd name="T30" fmla="*/ 1214 w 3671"/>
                  <a:gd name="T31" fmla="*/ 3440 h 3673"/>
                  <a:gd name="T32" fmla="*/ 1428 w 3671"/>
                  <a:gd name="T33" fmla="*/ 3381 h 3673"/>
                  <a:gd name="T34" fmla="*/ 1614 w 3671"/>
                  <a:gd name="T35" fmla="*/ 3276 h 3673"/>
                  <a:gd name="T36" fmla="*/ 1767 w 3671"/>
                  <a:gd name="T37" fmla="*/ 3130 h 3673"/>
                  <a:gd name="T38" fmla="*/ 1880 w 3671"/>
                  <a:gd name="T39" fmla="*/ 2950 h 3673"/>
                  <a:gd name="T40" fmla="*/ 1946 w 3671"/>
                  <a:gd name="T41" fmla="*/ 2743 h 3673"/>
                  <a:gd name="T42" fmla="*/ 1959 w 3671"/>
                  <a:gd name="T43" fmla="*/ 2513 h 3673"/>
                  <a:gd name="T44" fmla="*/ 1911 w 3671"/>
                  <a:gd name="T45" fmla="*/ 2290 h 3673"/>
                  <a:gd name="T46" fmla="*/ 1809 w 3671"/>
                  <a:gd name="T47" fmla="*/ 2091 h 3673"/>
                  <a:gd name="T48" fmla="*/ 1661 w 3671"/>
                  <a:gd name="T49" fmla="*/ 1926 h 3673"/>
                  <a:gd name="T50" fmla="*/ 1477 w 3671"/>
                  <a:gd name="T51" fmla="*/ 1802 h 3673"/>
                  <a:gd name="T52" fmla="*/ 1263 w 3671"/>
                  <a:gd name="T53" fmla="*/ 1730 h 3673"/>
                  <a:gd name="T54" fmla="*/ 1210 w 3671"/>
                  <a:gd name="T55" fmla="*/ 225 h 3673"/>
                  <a:gd name="T56" fmla="*/ 1370 w 3671"/>
                  <a:gd name="T57" fmla="*/ 1526 h 3673"/>
                  <a:gd name="T58" fmla="*/ 1586 w 3671"/>
                  <a:gd name="T59" fmla="*/ 1605 h 3673"/>
                  <a:gd name="T60" fmla="*/ 1774 w 3671"/>
                  <a:gd name="T61" fmla="*/ 1721 h 3673"/>
                  <a:gd name="T62" fmla="*/ 1931 w 3671"/>
                  <a:gd name="T63" fmla="*/ 1874 h 3673"/>
                  <a:gd name="T64" fmla="*/ 2056 w 3671"/>
                  <a:gd name="T65" fmla="*/ 2064 h 3673"/>
                  <a:gd name="T66" fmla="*/ 2147 w 3671"/>
                  <a:gd name="T67" fmla="*/ 2297 h 3673"/>
                  <a:gd name="T68" fmla="*/ 2190 w 3671"/>
                  <a:gd name="T69" fmla="*/ 2543 h 3673"/>
                  <a:gd name="T70" fmla="*/ 2174 w 3671"/>
                  <a:gd name="T71" fmla="*/ 2777 h 3673"/>
                  <a:gd name="T72" fmla="*/ 2105 w 3671"/>
                  <a:gd name="T73" fmla="*/ 3001 h 3673"/>
                  <a:gd name="T74" fmla="*/ 1984 w 3671"/>
                  <a:gd name="T75" fmla="*/ 3214 h 3673"/>
                  <a:gd name="T76" fmla="*/ 2648 w 3671"/>
                  <a:gd name="T77" fmla="*/ 3351 h 3673"/>
                  <a:gd name="T78" fmla="*/ 3441 w 3671"/>
                  <a:gd name="T79" fmla="*/ 225 h 3673"/>
                  <a:gd name="T80" fmla="*/ 3668 w 3671"/>
                  <a:gd name="T81" fmla="*/ 0 h 3673"/>
                  <a:gd name="T82" fmla="*/ 3671 w 3671"/>
                  <a:gd name="T83" fmla="*/ 2178 h 3673"/>
                  <a:gd name="T84" fmla="*/ 3670 w 3671"/>
                  <a:gd name="T85" fmla="*/ 2793 h 3673"/>
                  <a:gd name="T86" fmla="*/ 3644 w 3671"/>
                  <a:gd name="T87" fmla="*/ 2841 h 3673"/>
                  <a:gd name="T88" fmla="*/ 2891 w 3671"/>
                  <a:gd name="T89" fmla="*/ 3571 h 3673"/>
                  <a:gd name="T90" fmla="*/ 1573 w 3671"/>
                  <a:gd name="T91" fmla="*/ 3578 h 3673"/>
                  <a:gd name="T92" fmla="*/ 1443 w 3671"/>
                  <a:gd name="T93" fmla="*/ 3617 h 3673"/>
                  <a:gd name="T94" fmla="*/ 1207 w 3671"/>
                  <a:gd name="T95" fmla="*/ 3667 h 3673"/>
                  <a:gd name="T96" fmla="*/ 973 w 3671"/>
                  <a:gd name="T97" fmla="*/ 3667 h 3673"/>
                  <a:gd name="T98" fmla="*/ 750 w 3671"/>
                  <a:gd name="T99" fmla="*/ 3619 h 3673"/>
                  <a:gd name="T100" fmla="*/ 543 w 3671"/>
                  <a:gd name="T101" fmla="*/ 3527 h 3673"/>
                  <a:gd name="T102" fmla="*/ 359 w 3671"/>
                  <a:gd name="T103" fmla="*/ 3391 h 3673"/>
                  <a:gd name="T104" fmla="*/ 205 w 3671"/>
                  <a:gd name="T105" fmla="*/ 3217 h 3673"/>
                  <a:gd name="T106" fmla="*/ 87 w 3671"/>
                  <a:gd name="T107" fmla="*/ 3005 h 3673"/>
                  <a:gd name="T108" fmla="*/ 17 w 3671"/>
                  <a:gd name="T109" fmla="*/ 2777 h 3673"/>
                  <a:gd name="T110" fmla="*/ 0 w 3671"/>
                  <a:gd name="T111" fmla="*/ 2548 h 3673"/>
                  <a:gd name="T112" fmla="*/ 32 w 3671"/>
                  <a:gd name="T113" fmla="*/ 2323 h 3673"/>
                  <a:gd name="T114" fmla="*/ 110 w 3671"/>
                  <a:gd name="T115" fmla="*/ 2109 h 3673"/>
                  <a:gd name="T116" fmla="*/ 230 w 3671"/>
                  <a:gd name="T117" fmla="*/ 1914 h 3673"/>
                  <a:gd name="T118" fmla="*/ 388 w 3671"/>
                  <a:gd name="T119" fmla="*/ 1748 h 3673"/>
                  <a:gd name="T120" fmla="*/ 582 w 3671"/>
                  <a:gd name="T121" fmla="*/ 1616 h 3673"/>
                  <a:gd name="T122" fmla="*/ 815 w 3671"/>
                  <a:gd name="T123" fmla="*/ 1526 h 3673"/>
                  <a:gd name="T124" fmla="*/ 983 w 3671"/>
                  <a:gd name="T125" fmla="*/ 0 h 3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71" h="3673">
                    <a:moveTo>
                      <a:pt x="2874" y="2746"/>
                    </a:moveTo>
                    <a:lnTo>
                      <a:pt x="2874" y="2922"/>
                    </a:lnTo>
                    <a:lnTo>
                      <a:pt x="2874" y="3100"/>
                    </a:lnTo>
                    <a:lnTo>
                      <a:pt x="2874" y="3278"/>
                    </a:lnTo>
                    <a:lnTo>
                      <a:pt x="3056" y="3101"/>
                    </a:lnTo>
                    <a:lnTo>
                      <a:pt x="3236" y="2924"/>
                    </a:lnTo>
                    <a:lnTo>
                      <a:pt x="3417" y="2746"/>
                    </a:lnTo>
                    <a:lnTo>
                      <a:pt x="2874" y="2746"/>
                    </a:lnTo>
                    <a:close/>
                    <a:moveTo>
                      <a:pt x="1108" y="1714"/>
                    </a:moveTo>
                    <a:lnTo>
                      <a:pt x="1033" y="1716"/>
                    </a:lnTo>
                    <a:lnTo>
                      <a:pt x="959" y="1724"/>
                    </a:lnTo>
                    <a:lnTo>
                      <a:pt x="888" y="1739"/>
                    </a:lnTo>
                    <a:lnTo>
                      <a:pt x="818" y="1759"/>
                    </a:lnTo>
                    <a:lnTo>
                      <a:pt x="751" y="1784"/>
                    </a:lnTo>
                    <a:lnTo>
                      <a:pt x="687" y="1816"/>
                    </a:lnTo>
                    <a:lnTo>
                      <a:pt x="626" y="1851"/>
                    </a:lnTo>
                    <a:lnTo>
                      <a:pt x="569" y="1893"/>
                    </a:lnTo>
                    <a:lnTo>
                      <a:pt x="514" y="1937"/>
                    </a:lnTo>
                    <a:lnTo>
                      <a:pt x="464" y="1987"/>
                    </a:lnTo>
                    <a:lnTo>
                      <a:pt x="418" y="2041"/>
                    </a:lnTo>
                    <a:lnTo>
                      <a:pt x="376" y="2098"/>
                    </a:lnTo>
                    <a:lnTo>
                      <a:pt x="339" y="2158"/>
                    </a:lnTo>
                    <a:lnTo>
                      <a:pt x="307" y="2222"/>
                    </a:lnTo>
                    <a:lnTo>
                      <a:pt x="279" y="2289"/>
                    </a:lnTo>
                    <a:lnTo>
                      <a:pt x="258" y="2358"/>
                    </a:lnTo>
                    <a:lnTo>
                      <a:pt x="241" y="2430"/>
                    </a:lnTo>
                    <a:lnTo>
                      <a:pt x="231" y="2504"/>
                    </a:lnTo>
                    <a:lnTo>
                      <a:pt x="226" y="2581"/>
                    </a:lnTo>
                    <a:lnTo>
                      <a:pt x="229" y="2656"/>
                    </a:lnTo>
                    <a:lnTo>
                      <a:pt x="238" y="2730"/>
                    </a:lnTo>
                    <a:lnTo>
                      <a:pt x="254" y="2803"/>
                    </a:lnTo>
                    <a:lnTo>
                      <a:pt x="277" y="2873"/>
                    </a:lnTo>
                    <a:lnTo>
                      <a:pt x="305" y="2941"/>
                    </a:lnTo>
                    <a:lnTo>
                      <a:pt x="339" y="3007"/>
                    </a:lnTo>
                    <a:lnTo>
                      <a:pt x="378" y="3069"/>
                    </a:lnTo>
                    <a:lnTo>
                      <a:pt x="423" y="3129"/>
                    </a:lnTo>
                    <a:lnTo>
                      <a:pt x="471" y="3183"/>
                    </a:lnTo>
                    <a:lnTo>
                      <a:pt x="524" y="3234"/>
                    </a:lnTo>
                    <a:lnTo>
                      <a:pt x="581" y="3280"/>
                    </a:lnTo>
                    <a:lnTo>
                      <a:pt x="641" y="3323"/>
                    </a:lnTo>
                    <a:lnTo>
                      <a:pt x="705" y="3358"/>
                    </a:lnTo>
                    <a:lnTo>
                      <a:pt x="772" y="3390"/>
                    </a:lnTo>
                    <a:lnTo>
                      <a:pt x="841" y="3414"/>
                    </a:lnTo>
                    <a:lnTo>
                      <a:pt x="912" y="3432"/>
                    </a:lnTo>
                    <a:lnTo>
                      <a:pt x="986" y="3444"/>
                    </a:lnTo>
                    <a:lnTo>
                      <a:pt x="1061" y="3449"/>
                    </a:lnTo>
                    <a:lnTo>
                      <a:pt x="1138" y="3448"/>
                    </a:lnTo>
                    <a:lnTo>
                      <a:pt x="1214" y="3440"/>
                    </a:lnTo>
                    <a:lnTo>
                      <a:pt x="1287" y="3425"/>
                    </a:lnTo>
                    <a:lnTo>
                      <a:pt x="1359" y="3406"/>
                    </a:lnTo>
                    <a:lnTo>
                      <a:pt x="1428" y="3381"/>
                    </a:lnTo>
                    <a:lnTo>
                      <a:pt x="1492" y="3351"/>
                    </a:lnTo>
                    <a:lnTo>
                      <a:pt x="1555" y="3316"/>
                    </a:lnTo>
                    <a:lnTo>
                      <a:pt x="1614" y="3276"/>
                    </a:lnTo>
                    <a:lnTo>
                      <a:pt x="1669" y="3231"/>
                    </a:lnTo>
                    <a:lnTo>
                      <a:pt x="1720" y="3182"/>
                    </a:lnTo>
                    <a:lnTo>
                      <a:pt x="1767" y="3130"/>
                    </a:lnTo>
                    <a:lnTo>
                      <a:pt x="1809" y="3073"/>
                    </a:lnTo>
                    <a:lnTo>
                      <a:pt x="1847" y="3014"/>
                    </a:lnTo>
                    <a:lnTo>
                      <a:pt x="1880" y="2950"/>
                    </a:lnTo>
                    <a:lnTo>
                      <a:pt x="1907" y="2883"/>
                    </a:lnTo>
                    <a:lnTo>
                      <a:pt x="1930" y="2814"/>
                    </a:lnTo>
                    <a:lnTo>
                      <a:pt x="1946" y="2743"/>
                    </a:lnTo>
                    <a:lnTo>
                      <a:pt x="1956" y="2668"/>
                    </a:lnTo>
                    <a:lnTo>
                      <a:pt x="1961" y="2592"/>
                    </a:lnTo>
                    <a:lnTo>
                      <a:pt x="1959" y="2513"/>
                    </a:lnTo>
                    <a:lnTo>
                      <a:pt x="1949" y="2437"/>
                    </a:lnTo>
                    <a:lnTo>
                      <a:pt x="1933" y="2362"/>
                    </a:lnTo>
                    <a:lnTo>
                      <a:pt x="1911" y="2290"/>
                    </a:lnTo>
                    <a:lnTo>
                      <a:pt x="1883" y="2221"/>
                    </a:lnTo>
                    <a:lnTo>
                      <a:pt x="1848" y="2155"/>
                    </a:lnTo>
                    <a:lnTo>
                      <a:pt x="1809" y="2091"/>
                    </a:lnTo>
                    <a:lnTo>
                      <a:pt x="1765" y="2032"/>
                    </a:lnTo>
                    <a:lnTo>
                      <a:pt x="1716" y="1977"/>
                    </a:lnTo>
                    <a:lnTo>
                      <a:pt x="1661" y="1926"/>
                    </a:lnTo>
                    <a:lnTo>
                      <a:pt x="1604" y="1880"/>
                    </a:lnTo>
                    <a:lnTo>
                      <a:pt x="1542" y="1839"/>
                    </a:lnTo>
                    <a:lnTo>
                      <a:pt x="1477" y="1802"/>
                    </a:lnTo>
                    <a:lnTo>
                      <a:pt x="1408" y="1772"/>
                    </a:lnTo>
                    <a:lnTo>
                      <a:pt x="1336" y="1748"/>
                    </a:lnTo>
                    <a:lnTo>
                      <a:pt x="1263" y="1730"/>
                    </a:lnTo>
                    <a:lnTo>
                      <a:pt x="1186" y="1719"/>
                    </a:lnTo>
                    <a:lnTo>
                      <a:pt x="1108" y="1714"/>
                    </a:lnTo>
                    <a:close/>
                    <a:moveTo>
                      <a:pt x="1210" y="225"/>
                    </a:moveTo>
                    <a:lnTo>
                      <a:pt x="1210" y="1491"/>
                    </a:lnTo>
                    <a:lnTo>
                      <a:pt x="1291" y="1507"/>
                    </a:lnTo>
                    <a:lnTo>
                      <a:pt x="1370" y="1526"/>
                    </a:lnTo>
                    <a:lnTo>
                      <a:pt x="1444" y="1548"/>
                    </a:lnTo>
                    <a:lnTo>
                      <a:pt x="1517" y="1575"/>
                    </a:lnTo>
                    <a:lnTo>
                      <a:pt x="1586" y="1605"/>
                    </a:lnTo>
                    <a:lnTo>
                      <a:pt x="1652" y="1639"/>
                    </a:lnTo>
                    <a:lnTo>
                      <a:pt x="1714" y="1678"/>
                    </a:lnTo>
                    <a:lnTo>
                      <a:pt x="1774" y="1721"/>
                    </a:lnTo>
                    <a:lnTo>
                      <a:pt x="1829" y="1768"/>
                    </a:lnTo>
                    <a:lnTo>
                      <a:pt x="1882" y="1819"/>
                    </a:lnTo>
                    <a:lnTo>
                      <a:pt x="1931" y="1874"/>
                    </a:lnTo>
                    <a:lnTo>
                      <a:pt x="1975" y="1933"/>
                    </a:lnTo>
                    <a:lnTo>
                      <a:pt x="2018" y="1996"/>
                    </a:lnTo>
                    <a:lnTo>
                      <a:pt x="2056" y="2064"/>
                    </a:lnTo>
                    <a:lnTo>
                      <a:pt x="2090" y="2137"/>
                    </a:lnTo>
                    <a:lnTo>
                      <a:pt x="2120" y="2214"/>
                    </a:lnTo>
                    <a:lnTo>
                      <a:pt x="2147" y="2297"/>
                    </a:lnTo>
                    <a:lnTo>
                      <a:pt x="2168" y="2380"/>
                    </a:lnTo>
                    <a:lnTo>
                      <a:pt x="2182" y="2463"/>
                    </a:lnTo>
                    <a:lnTo>
                      <a:pt x="2190" y="2543"/>
                    </a:lnTo>
                    <a:lnTo>
                      <a:pt x="2191" y="2622"/>
                    </a:lnTo>
                    <a:lnTo>
                      <a:pt x="2185" y="2700"/>
                    </a:lnTo>
                    <a:lnTo>
                      <a:pt x="2174" y="2777"/>
                    </a:lnTo>
                    <a:lnTo>
                      <a:pt x="2157" y="2853"/>
                    </a:lnTo>
                    <a:lnTo>
                      <a:pt x="2134" y="2928"/>
                    </a:lnTo>
                    <a:lnTo>
                      <a:pt x="2105" y="3001"/>
                    </a:lnTo>
                    <a:lnTo>
                      <a:pt x="2070" y="3074"/>
                    </a:lnTo>
                    <a:lnTo>
                      <a:pt x="2030" y="3144"/>
                    </a:lnTo>
                    <a:lnTo>
                      <a:pt x="1984" y="3214"/>
                    </a:lnTo>
                    <a:lnTo>
                      <a:pt x="1933" y="3282"/>
                    </a:lnTo>
                    <a:lnTo>
                      <a:pt x="1876" y="3351"/>
                    </a:lnTo>
                    <a:lnTo>
                      <a:pt x="2648" y="3351"/>
                    </a:lnTo>
                    <a:lnTo>
                      <a:pt x="2648" y="2519"/>
                    </a:lnTo>
                    <a:lnTo>
                      <a:pt x="3441" y="2519"/>
                    </a:lnTo>
                    <a:lnTo>
                      <a:pt x="3441" y="225"/>
                    </a:lnTo>
                    <a:lnTo>
                      <a:pt x="1210" y="225"/>
                    </a:lnTo>
                    <a:close/>
                    <a:moveTo>
                      <a:pt x="983" y="0"/>
                    </a:moveTo>
                    <a:lnTo>
                      <a:pt x="3668" y="0"/>
                    </a:lnTo>
                    <a:lnTo>
                      <a:pt x="3670" y="21"/>
                    </a:lnTo>
                    <a:lnTo>
                      <a:pt x="3670" y="42"/>
                    </a:lnTo>
                    <a:lnTo>
                      <a:pt x="3671" y="2178"/>
                    </a:lnTo>
                    <a:lnTo>
                      <a:pt x="3670" y="2476"/>
                    </a:lnTo>
                    <a:lnTo>
                      <a:pt x="3671" y="2774"/>
                    </a:lnTo>
                    <a:lnTo>
                      <a:pt x="3670" y="2793"/>
                    </a:lnTo>
                    <a:lnTo>
                      <a:pt x="3665" y="2811"/>
                    </a:lnTo>
                    <a:lnTo>
                      <a:pt x="3657" y="2825"/>
                    </a:lnTo>
                    <a:lnTo>
                      <a:pt x="3644" y="2841"/>
                    </a:lnTo>
                    <a:lnTo>
                      <a:pt x="2919" y="3552"/>
                    </a:lnTo>
                    <a:lnTo>
                      <a:pt x="2906" y="3564"/>
                    </a:lnTo>
                    <a:lnTo>
                      <a:pt x="2891" y="3571"/>
                    </a:lnTo>
                    <a:lnTo>
                      <a:pt x="2874" y="3577"/>
                    </a:lnTo>
                    <a:lnTo>
                      <a:pt x="2857" y="3578"/>
                    </a:lnTo>
                    <a:lnTo>
                      <a:pt x="1573" y="3578"/>
                    </a:lnTo>
                    <a:lnTo>
                      <a:pt x="1547" y="3580"/>
                    </a:lnTo>
                    <a:lnTo>
                      <a:pt x="1523" y="3588"/>
                    </a:lnTo>
                    <a:lnTo>
                      <a:pt x="1443" y="3617"/>
                    </a:lnTo>
                    <a:lnTo>
                      <a:pt x="1364" y="3639"/>
                    </a:lnTo>
                    <a:lnTo>
                      <a:pt x="1285" y="3656"/>
                    </a:lnTo>
                    <a:lnTo>
                      <a:pt x="1207" y="3667"/>
                    </a:lnTo>
                    <a:lnTo>
                      <a:pt x="1128" y="3673"/>
                    </a:lnTo>
                    <a:lnTo>
                      <a:pt x="1050" y="3673"/>
                    </a:lnTo>
                    <a:lnTo>
                      <a:pt x="973" y="3667"/>
                    </a:lnTo>
                    <a:lnTo>
                      <a:pt x="897" y="3657"/>
                    </a:lnTo>
                    <a:lnTo>
                      <a:pt x="823" y="3641"/>
                    </a:lnTo>
                    <a:lnTo>
                      <a:pt x="750" y="3619"/>
                    </a:lnTo>
                    <a:lnTo>
                      <a:pt x="679" y="3594"/>
                    </a:lnTo>
                    <a:lnTo>
                      <a:pt x="610" y="3562"/>
                    </a:lnTo>
                    <a:lnTo>
                      <a:pt x="543" y="3527"/>
                    </a:lnTo>
                    <a:lnTo>
                      <a:pt x="479" y="3485"/>
                    </a:lnTo>
                    <a:lnTo>
                      <a:pt x="417" y="3441"/>
                    </a:lnTo>
                    <a:lnTo>
                      <a:pt x="359" y="3391"/>
                    </a:lnTo>
                    <a:lnTo>
                      <a:pt x="305" y="3337"/>
                    </a:lnTo>
                    <a:lnTo>
                      <a:pt x="253" y="3279"/>
                    </a:lnTo>
                    <a:lnTo>
                      <a:pt x="205" y="3217"/>
                    </a:lnTo>
                    <a:lnTo>
                      <a:pt x="162" y="3150"/>
                    </a:lnTo>
                    <a:lnTo>
                      <a:pt x="122" y="3079"/>
                    </a:lnTo>
                    <a:lnTo>
                      <a:pt x="87" y="3005"/>
                    </a:lnTo>
                    <a:lnTo>
                      <a:pt x="57" y="2927"/>
                    </a:lnTo>
                    <a:lnTo>
                      <a:pt x="33" y="2852"/>
                    </a:lnTo>
                    <a:lnTo>
                      <a:pt x="17" y="2777"/>
                    </a:lnTo>
                    <a:lnTo>
                      <a:pt x="6" y="2700"/>
                    </a:lnTo>
                    <a:lnTo>
                      <a:pt x="0" y="2624"/>
                    </a:lnTo>
                    <a:lnTo>
                      <a:pt x="0" y="2548"/>
                    </a:lnTo>
                    <a:lnTo>
                      <a:pt x="6" y="2473"/>
                    </a:lnTo>
                    <a:lnTo>
                      <a:pt x="17" y="2397"/>
                    </a:lnTo>
                    <a:lnTo>
                      <a:pt x="32" y="2323"/>
                    </a:lnTo>
                    <a:lnTo>
                      <a:pt x="54" y="2250"/>
                    </a:lnTo>
                    <a:lnTo>
                      <a:pt x="79" y="2178"/>
                    </a:lnTo>
                    <a:lnTo>
                      <a:pt x="110" y="2109"/>
                    </a:lnTo>
                    <a:lnTo>
                      <a:pt x="145" y="2041"/>
                    </a:lnTo>
                    <a:lnTo>
                      <a:pt x="185" y="1976"/>
                    </a:lnTo>
                    <a:lnTo>
                      <a:pt x="230" y="1914"/>
                    </a:lnTo>
                    <a:lnTo>
                      <a:pt x="279" y="1855"/>
                    </a:lnTo>
                    <a:lnTo>
                      <a:pt x="331" y="1799"/>
                    </a:lnTo>
                    <a:lnTo>
                      <a:pt x="388" y="1748"/>
                    </a:lnTo>
                    <a:lnTo>
                      <a:pt x="450" y="1700"/>
                    </a:lnTo>
                    <a:lnTo>
                      <a:pt x="514" y="1655"/>
                    </a:lnTo>
                    <a:lnTo>
                      <a:pt x="582" y="1616"/>
                    </a:lnTo>
                    <a:lnTo>
                      <a:pt x="658" y="1580"/>
                    </a:lnTo>
                    <a:lnTo>
                      <a:pt x="735" y="1550"/>
                    </a:lnTo>
                    <a:lnTo>
                      <a:pt x="815" y="1526"/>
                    </a:lnTo>
                    <a:lnTo>
                      <a:pt x="897" y="1507"/>
                    </a:lnTo>
                    <a:lnTo>
                      <a:pt x="983" y="1494"/>
                    </a:lnTo>
                    <a:lnTo>
                      <a:pt x="983" y="0"/>
                    </a:lnTo>
                    <a:close/>
                  </a:path>
                </a:pathLst>
              </a:custGeom>
              <a:solidFill>
                <a:schemeClr val="bg1">
                  <a:alpha val="22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sp>
            <p:nvSpPr>
              <p:cNvPr id="307" name="Freeform 306"/>
              <p:cNvSpPr>
                <a:spLocks/>
              </p:cNvSpPr>
              <p:nvPr/>
            </p:nvSpPr>
            <p:spPr bwMode="auto">
              <a:xfrm>
                <a:off x="-3602038" y="2185988"/>
                <a:ext cx="1951038" cy="1366838"/>
              </a:xfrm>
              <a:custGeom>
                <a:avLst/>
                <a:gdLst>
                  <a:gd name="T0" fmla="*/ 1115 w 1229"/>
                  <a:gd name="T1" fmla="*/ 0 h 861"/>
                  <a:gd name="T2" fmla="*/ 1136 w 1229"/>
                  <a:gd name="T3" fmla="*/ 0 h 861"/>
                  <a:gd name="T4" fmla="*/ 1156 w 1229"/>
                  <a:gd name="T5" fmla="*/ 6 h 861"/>
                  <a:gd name="T6" fmla="*/ 1173 w 1229"/>
                  <a:gd name="T7" fmla="*/ 15 h 861"/>
                  <a:gd name="T8" fmla="*/ 1190 w 1229"/>
                  <a:gd name="T9" fmla="*/ 28 h 861"/>
                  <a:gd name="T10" fmla="*/ 1206 w 1229"/>
                  <a:gd name="T11" fmla="*/ 46 h 861"/>
                  <a:gd name="T12" fmla="*/ 1219 w 1229"/>
                  <a:gd name="T13" fmla="*/ 68 h 861"/>
                  <a:gd name="T14" fmla="*/ 1227 w 1229"/>
                  <a:gd name="T15" fmla="*/ 92 h 861"/>
                  <a:gd name="T16" fmla="*/ 1229 w 1229"/>
                  <a:gd name="T17" fmla="*/ 116 h 861"/>
                  <a:gd name="T18" fmla="*/ 1225 w 1229"/>
                  <a:gd name="T19" fmla="*/ 141 h 861"/>
                  <a:gd name="T20" fmla="*/ 1214 w 1229"/>
                  <a:gd name="T21" fmla="*/ 165 h 861"/>
                  <a:gd name="T22" fmla="*/ 1199 w 1229"/>
                  <a:gd name="T23" fmla="*/ 186 h 861"/>
                  <a:gd name="T24" fmla="*/ 1181 w 1229"/>
                  <a:gd name="T25" fmla="*/ 205 h 861"/>
                  <a:gd name="T26" fmla="*/ 577 w 1229"/>
                  <a:gd name="T27" fmla="*/ 811 h 861"/>
                  <a:gd name="T28" fmla="*/ 552 w 1229"/>
                  <a:gd name="T29" fmla="*/ 833 h 861"/>
                  <a:gd name="T30" fmla="*/ 528 w 1229"/>
                  <a:gd name="T31" fmla="*/ 849 h 861"/>
                  <a:gd name="T32" fmla="*/ 503 w 1229"/>
                  <a:gd name="T33" fmla="*/ 858 h 861"/>
                  <a:gd name="T34" fmla="*/ 480 w 1229"/>
                  <a:gd name="T35" fmla="*/ 861 h 861"/>
                  <a:gd name="T36" fmla="*/ 456 w 1229"/>
                  <a:gd name="T37" fmla="*/ 859 h 861"/>
                  <a:gd name="T38" fmla="*/ 433 w 1229"/>
                  <a:gd name="T39" fmla="*/ 849 h 861"/>
                  <a:gd name="T40" fmla="*/ 408 w 1229"/>
                  <a:gd name="T41" fmla="*/ 833 h 861"/>
                  <a:gd name="T42" fmla="*/ 384 w 1229"/>
                  <a:gd name="T43" fmla="*/ 812 h 861"/>
                  <a:gd name="T44" fmla="*/ 41 w 1229"/>
                  <a:gd name="T45" fmla="*/ 470 h 861"/>
                  <a:gd name="T46" fmla="*/ 22 w 1229"/>
                  <a:gd name="T47" fmla="*/ 446 h 861"/>
                  <a:gd name="T48" fmla="*/ 9 w 1229"/>
                  <a:gd name="T49" fmla="*/ 423 h 861"/>
                  <a:gd name="T50" fmla="*/ 2 w 1229"/>
                  <a:gd name="T51" fmla="*/ 397 h 861"/>
                  <a:gd name="T52" fmla="*/ 0 w 1229"/>
                  <a:gd name="T53" fmla="*/ 372 h 861"/>
                  <a:gd name="T54" fmla="*/ 6 w 1229"/>
                  <a:gd name="T55" fmla="*/ 347 h 861"/>
                  <a:gd name="T56" fmla="*/ 16 w 1229"/>
                  <a:gd name="T57" fmla="*/ 324 h 861"/>
                  <a:gd name="T58" fmla="*/ 32 w 1229"/>
                  <a:gd name="T59" fmla="*/ 302 h 861"/>
                  <a:gd name="T60" fmla="*/ 54 w 1229"/>
                  <a:gd name="T61" fmla="*/ 286 h 861"/>
                  <a:gd name="T62" fmla="*/ 76 w 1229"/>
                  <a:gd name="T63" fmla="*/ 275 h 861"/>
                  <a:gd name="T64" fmla="*/ 102 w 1229"/>
                  <a:gd name="T65" fmla="*/ 269 h 861"/>
                  <a:gd name="T66" fmla="*/ 126 w 1229"/>
                  <a:gd name="T67" fmla="*/ 270 h 861"/>
                  <a:gd name="T68" fmla="*/ 152 w 1229"/>
                  <a:gd name="T69" fmla="*/ 277 h 861"/>
                  <a:gd name="T70" fmla="*/ 176 w 1229"/>
                  <a:gd name="T71" fmla="*/ 290 h 861"/>
                  <a:gd name="T72" fmla="*/ 200 w 1229"/>
                  <a:gd name="T73" fmla="*/ 309 h 861"/>
                  <a:gd name="T74" fmla="*/ 291 w 1229"/>
                  <a:gd name="T75" fmla="*/ 402 h 861"/>
                  <a:gd name="T76" fmla="*/ 384 w 1229"/>
                  <a:gd name="T77" fmla="*/ 495 h 861"/>
                  <a:gd name="T78" fmla="*/ 479 w 1229"/>
                  <a:gd name="T79" fmla="*/ 591 h 861"/>
                  <a:gd name="T80" fmla="*/ 660 w 1229"/>
                  <a:gd name="T81" fmla="*/ 409 h 861"/>
                  <a:gd name="T82" fmla="*/ 839 w 1229"/>
                  <a:gd name="T83" fmla="*/ 230 h 861"/>
                  <a:gd name="T84" fmla="*/ 1017 w 1229"/>
                  <a:gd name="T85" fmla="*/ 53 h 861"/>
                  <a:gd name="T86" fmla="*/ 1041 w 1229"/>
                  <a:gd name="T87" fmla="*/ 32 h 861"/>
                  <a:gd name="T88" fmla="*/ 1066 w 1229"/>
                  <a:gd name="T89" fmla="*/ 16 h 861"/>
                  <a:gd name="T90" fmla="*/ 1093 w 1229"/>
                  <a:gd name="T91" fmla="*/ 5 h 861"/>
                  <a:gd name="T92" fmla="*/ 1115 w 1229"/>
                  <a:gd name="T93" fmla="*/ 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29" h="861">
                    <a:moveTo>
                      <a:pt x="1115" y="0"/>
                    </a:moveTo>
                    <a:lnTo>
                      <a:pt x="1136" y="0"/>
                    </a:lnTo>
                    <a:lnTo>
                      <a:pt x="1156" y="6"/>
                    </a:lnTo>
                    <a:lnTo>
                      <a:pt x="1173" y="15"/>
                    </a:lnTo>
                    <a:lnTo>
                      <a:pt x="1190" y="28"/>
                    </a:lnTo>
                    <a:lnTo>
                      <a:pt x="1206" y="46"/>
                    </a:lnTo>
                    <a:lnTo>
                      <a:pt x="1219" y="68"/>
                    </a:lnTo>
                    <a:lnTo>
                      <a:pt x="1227" y="92"/>
                    </a:lnTo>
                    <a:lnTo>
                      <a:pt x="1229" y="116"/>
                    </a:lnTo>
                    <a:lnTo>
                      <a:pt x="1225" y="141"/>
                    </a:lnTo>
                    <a:lnTo>
                      <a:pt x="1214" y="165"/>
                    </a:lnTo>
                    <a:lnTo>
                      <a:pt x="1199" y="186"/>
                    </a:lnTo>
                    <a:lnTo>
                      <a:pt x="1181" y="205"/>
                    </a:lnTo>
                    <a:lnTo>
                      <a:pt x="577" y="811"/>
                    </a:lnTo>
                    <a:lnTo>
                      <a:pt x="552" y="833"/>
                    </a:lnTo>
                    <a:lnTo>
                      <a:pt x="528" y="849"/>
                    </a:lnTo>
                    <a:lnTo>
                      <a:pt x="503" y="858"/>
                    </a:lnTo>
                    <a:lnTo>
                      <a:pt x="480" y="861"/>
                    </a:lnTo>
                    <a:lnTo>
                      <a:pt x="456" y="859"/>
                    </a:lnTo>
                    <a:lnTo>
                      <a:pt x="433" y="849"/>
                    </a:lnTo>
                    <a:lnTo>
                      <a:pt x="408" y="833"/>
                    </a:lnTo>
                    <a:lnTo>
                      <a:pt x="384" y="812"/>
                    </a:lnTo>
                    <a:lnTo>
                      <a:pt x="41" y="470"/>
                    </a:lnTo>
                    <a:lnTo>
                      <a:pt x="22" y="446"/>
                    </a:lnTo>
                    <a:lnTo>
                      <a:pt x="9" y="423"/>
                    </a:lnTo>
                    <a:lnTo>
                      <a:pt x="2" y="397"/>
                    </a:lnTo>
                    <a:lnTo>
                      <a:pt x="0" y="372"/>
                    </a:lnTo>
                    <a:lnTo>
                      <a:pt x="6" y="347"/>
                    </a:lnTo>
                    <a:lnTo>
                      <a:pt x="16" y="324"/>
                    </a:lnTo>
                    <a:lnTo>
                      <a:pt x="32" y="302"/>
                    </a:lnTo>
                    <a:lnTo>
                      <a:pt x="54" y="286"/>
                    </a:lnTo>
                    <a:lnTo>
                      <a:pt x="76" y="275"/>
                    </a:lnTo>
                    <a:lnTo>
                      <a:pt x="102" y="269"/>
                    </a:lnTo>
                    <a:lnTo>
                      <a:pt x="126" y="270"/>
                    </a:lnTo>
                    <a:lnTo>
                      <a:pt x="152" y="277"/>
                    </a:lnTo>
                    <a:lnTo>
                      <a:pt x="176" y="290"/>
                    </a:lnTo>
                    <a:lnTo>
                      <a:pt x="200" y="309"/>
                    </a:lnTo>
                    <a:lnTo>
                      <a:pt x="291" y="402"/>
                    </a:lnTo>
                    <a:lnTo>
                      <a:pt x="384" y="495"/>
                    </a:lnTo>
                    <a:lnTo>
                      <a:pt x="479" y="591"/>
                    </a:lnTo>
                    <a:lnTo>
                      <a:pt x="660" y="409"/>
                    </a:lnTo>
                    <a:lnTo>
                      <a:pt x="839" y="230"/>
                    </a:lnTo>
                    <a:lnTo>
                      <a:pt x="1017" y="53"/>
                    </a:lnTo>
                    <a:lnTo>
                      <a:pt x="1041" y="32"/>
                    </a:lnTo>
                    <a:lnTo>
                      <a:pt x="1066" y="16"/>
                    </a:lnTo>
                    <a:lnTo>
                      <a:pt x="1093" y="5"/>
                    </a:lnTo>
                    <a:lnTo>
                      <a:pt x="1115" y="0"/>
                    </a:lnTo>
                    <a:close/>
                  </a:path>
                </a:pathLst>
              </a:custGeom>
              <a:solidFill>
                <a:schemeClr val="bg1">
                  <a:alpha val="22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grpSp>
      </p:grpSp>
      <p:sp>
        <p:nvSpPr>
          <p:cNvPr id="2" name="Slide Number Placeholder 1"/>
          <p:cNvSpPr>
            <a:spLocks noGrp="1"/>
          </p:cNvSpPr>
          <p:nvPr>
            <p:ph type="sldNum" sz="quarter" idx="11"/>
          </p:nvPr>
        </p:nvSpPr>
        <p:spPr/>
        <p:txBody>
          <a:bodyPr/>
          <a:lstStyle/>
          <a:p>
            <a:fld id="{27258FFF-F925-446B-8502-81C933981705}" type="slidenum">
              <a:rPr lang="en-US" smtClean="0">
                <a:solidFill>
                  <a:schemeClr val="bg1"/>
                </a:solidFill>
              </a:rPr>
              <a:pPr/>
              <a:t>27</a:t>
            </a:fld>
            <a:endParaRPr lang="en-US" dirty="0">
              <a:solidFill>
                <a:schemeClr val="bg1"/>
              </a:solidFill>
            </a:endParaRPr>
          </a:p>
        </p:txBody>
      </p:sp>
    </p:spTree>
    <p:extLst>
      <p:ext uri="{BB962C8B-B14F-4D97-AF65-F5344CB8AC3E}">
        <p14:creationId xmlns:p14="http://schemas.microsoft.com/office/powerpoint/2010/main" val="313661598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750" fill="hold"/>
                                        <p:tgtEl>
                                          <p:spTgt spid="15"/>
                                        </p:tgtEl>
                                        <p:attrNameLst>
                                          <p:attrName>ppt_x</p:attrName>
                                        </p:attrNameLst>
                                      </p:cBhvr>
                                      <p:tavLst>
                                        <p:tav tm="0">
                                          <p:val>
                                            <p:strVal val="#ppt_x"/>
                                          </p:val>
                                        </p:tav>
                                        <p:tav tm="100000">
                                          <p:val>
                                            <p:strVal val="#ppt_x"/>
                                          </p:val>
                                        </p:tav>
                                      </p:tavLst>
                                    </p:anim>
                                    <p:anim calcmode="lin" valueType="num">
                                      <p:cBhvr additive="base">
                                        <p:cTn id="8" dur="750" fill="hold"/>
                                        <p:tgtEl>
                                          <p:spTgt spid="15"/>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750" fill="hold"/>
                                        <p:tgtEl>
                                          <p:spTgt spid="16"/>
                                        </p:tgtEl>
                                        <p:attrNameLst>
                                          <p:attrName>ppt_x</p:attrName>
                                        </p:attrNameLst>
                                      </p:cBhvr>
                                      <p:tavLst>
                                        <p:tav tm="0">
                                          <p:val>
                                            <p:strVal val="#ppt_x"/>
                                          </p:val>
                                        </p:tav>
                                        <p:tav tm="100000">
                                          <p:val>
                                            <p:strVal val="#ppt_x"/>
                                          </p:val>
                                        </p:tav>
                                      </p:tavLst>
                                    </p:anim>
                                    <p:anim calcmode="lin" valueType="num">
                                      <p:cBhvr additive="base">
                                        <p:cTn id="12" dur="750" fill="hold"/>
                                        <p:tgtEl>
                                          <p:spTgt spid="16"/>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750" fill="hold"/>
                                        <p:tgtEl>
                                          <p:spTgt spid="17"/>
                                        </p:tgtEl>
                                        <p:attrNameLst>
                                          <p:attrName>ppt_x</p:attrName>
                                        </p:attrNameLst>
                                      </p:cBhvr>
                                      <p:tavLst>
                                        <p:tav tm="0">
                                          <p:val>
                                            <p:strVal val="#ppt_x"/>
                                          </p:val>
                                        </p:tav>
                                        <p:tav tm="100000">
                                          <p:val>
                                            <p:strVal val="#ppt_x"/>
                                          </p:val>
                                        </p:tav>
                                      </p:tavLst>
                                    </p:anim>
                                    <p:anim calcmode="lin" valueType="num">
                                      <p:cBhvr additive="base">
                                        <p:cTn id="16" dur="750" fill="hold"/>
                                        <p:tgtEl>
                                          <p:spTgt spid="17"/>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75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750" fill="hold"/>
                                        <p:tgtEl>
                                          <p:spTgt spid="18"/>
                                        </p:tgtEl>
                                        <p:attrNameLst>
                                          <p:attrName>ppt_x</p:attrName>
                                        </p:attrNameLst>
                                      </p:cBhvr>
                                      <p:tavLst>
                                        <p:tav tm="0">
                                          <p:val>
                                            <p:strVal val="#ppt_x"/>
                                          </p:val>
                                        </p:tav>
                                        <p:tav tm="100000">
                                          <p:val>
                                            <p:strVal val="#ppt_x"/>
                                          </p:val>
                                        </p:tav>
                                      </p:tavLst>
                                    </p:anim>
                                    <p:anim calcmode="lin" valueType="num">
                                      <p:cBhvr additive="base">
                                        <p:cTn id="20" dur="750" fill="hold"/>
                                        <p:tgtEl>
                                          <p:spTgt spid="18"/>
                                        </p:tgtEl>
                                        <p:attrNameLst>
                                          <p:attrName>ppt_y</p:attrName>
                                        </p:attrNameLst>
                                      </p:cBhvr>
                                      <p:tavLst>
                                        <p:tav tm="0">
                                          <p:val>
                                            <p:strVal val="1+#ppt_h/2"/>
                                          </p:val>
                                        </p:tav>
                                        <p:tav tm="100000">
                                          <p:val>
                                            <p:strVal val="#ppt_y"/>
                                          </p:val>
                                        </p:tav>
                                      </p:tavLst>
                                    </p:anim>
                                  </p:childTnLst>
                                </p:cTn>
                              </p:par>
                              <p:par>
                                <p:cTn id="21" presetID="2" presetClass="entr" presetSubtype="4" decel="100000" fill="hold" nodeType="withEffect">
                                  <p:stCondLst>
                                    <p:cond delay="1000"/>
                                  </p:stCondLst>
                                  <p:childTnLst>
                                    <p:set>
                                      <p:cBhvr>
                                        <p:cTn id="22" dur="1" fill="hold">
                                          <p:stCondLst>
                                            <p:cond delay="0"/>
                                          </p:stCondLst>
                                        </p:cTn>
                                        <p:tgtEl>
                                          <p:spTgt spid="19"/>
                                        </p:tgtEl>
                                        <p:attrNameLst>
                                          <p:attrName>style.visibility</p:attrName>
                                        </p:attrNameLst>
                                      </p:cBhvr>
                                      <p:to>
                                        <p:strVal val="visible"/>
                                      </p:to>
                                    </p:set>
                                    <p:anim calcmode="lin" valueType="num">
                                      <p:cBhvr additive="base">
                                        <p:cTn id="23" dur="750" fill="hold"/>
                                        <p:tgtEl>
                                          <p:spTgt spid="19"/>
                                        </p:tgtEl>
                                        <p:attrNameLst>
                                          <p:attrName>ppt_x</p:attrName>
                                        </p:attrNameLst>
                                      </p:cBhvr>
                                      <p:tavLst>
                                        <p:tav tm="0">
                                          <p:val>
                                            <p:strVal val="#ppt_x"/>
                                          </p:val>
                                        </p:tav>
                                        <p:tav tm="100000">
                                          <p:val>
                                            <p:strVal val="#ppt_x"/>
                                          </p:val>
                                        </p:tav>
                                      </p:tavLst>
                                    </p:anim>
                                    <p:anim calcmode="lin" valueType="num">
                                      <p:cBhvr additive="base">
                                        <p:cTn id="24" dur="750" fill="hold"/>
                                        <p:tgtEl>
                                          <p:spTgt spid="19"/>
                                        </p:tgtEl>
                                        <p:attrNameLst>
                                          <p:attrName>ppt_y</p:attrName>
                                        </p:attrNameLst>
                                      </p:cBhvr>
                                      <p:tavLst>
                                        <p:tav tm="0">
                                          <p:val>
                                            <p:strVal val="1+#ppt_h/2"/>
                                          </p:val>
                                        </p:tav>
                                        <p:tav tm="100000">
                                          <p:val>
                                            <p:strVal val="#ppt_y"/>
                                          </p:val>
                                        </p:tav>
                                      </p:tavLst>
                                    </p:anim>
                                  </p:childTnLst>
                                </p:cTn>
                              </p:par>
                            </p:childTnLst>
                          </p:cTn>
                        </p:par>
                        <p:par>
                          <p:cTn id="25" fill="hold">
                            <p:stCondLst>
                              <p:cond delay="1750"/>
                            </p:stCondLst>
                            <p:childTnLst>
                              <p:par>
                                <p:cTn id="26" presetID="2" presetClass="entr" presetSubtype="4" decel="100000" fill="hold" nodeType="afterEffect">
                                  <p:stCondLst>
                                    <p:cond delay="0"/>
                                  </p:stCondLst>
                                  <p:childTnLst>
                                    <p:set>
                                      <p:cBhvr>
                                        <p:cTn id="27" dur="1" fill="hold">
                                          <p:stCondLst>
                                            <p:cond delay="0"/>
                                          </p:stCondLst>
                                        </p:cTn>
                                        <p:tgtEl>
                                          <p:spTgt spid="107"/>
                                        </p:tgtEl>
                                        <p:attrNameLst>
                                          <p:attrName>style.visibility</p:attrName>
                                        </p:attrNameLst>
                                      </p:cBhvr>
                                      <p:to>
                                        <p:strVal val="visible"/>
                                      </p:to>
                                    </p:set>
                                    <p:anim calcmode="lin" valueType="num">
                                      <p:cBhvr additive="base">
                                        <p:cTn id="28" dur="750" fill="hold"/>
                                        <p:tgtEl>
                                          <p:spTgt spid="107"/>
                                        </p:tgtEl>
                                        <p:attrNameLst>
                                          <p:attrName>ppt_x</p:attrName>
                                        </p:attrNameLst>
                                      </p:cBhvr>
                                      <p:tavLst>
                                        <p:tav tm="0">
                                          <p:val>
                                            <p:strVal val="#ppt_x"/>
                                          </p:val>
                                        </p:tav>
                                        <p:tav tm="100000">
                                          <p:val>
                                            <p:strVal val="#ppt_x"/>
                                          </p:val>
                                        </p:tav>
                                      </p:tavLst>
                                    </p:anim>
                                    <p:anim calcmode="lin" valueType="num">
                                      <p:cBhvr additive="base">
                                        <p:cTn id="29" dur="750" fill="hold"/>
                                        <p:tgtEl>
                                          <p:spTgt spid="10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183"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pPr lvl="0">
              <a:lnSpc>
                <a:spcPct val="100000"/>
              </a:lnSpc>
            </a:pPr>
            <a:r>
              <a:rPr lang="en-IN" dirty="0" smtClean="0"/>
              <a:t>Extensive experience and credentials</a:t>
            </a:r>
            <a:br>
              <a:rPr lang="en-IN" dirty="0" smtClean="0"/>
            </a:br>
            <a:endParaRPr lang="en-IN" sz="2400" spc="0" dirty="0">
              <a:solidFill>
                <a:schemeClr val="tx2"/>
              </a:solidFill>
            </a:endParaRPr>
          </a:p>
        </p:txBody>
      </p:sp>
      <p:grpSp>
        <p:nvGrpSpPr>
          <p:cNvPr id="4" name="Group 3"/>
          <p:cNvGrpSpPr/>
          <p:nvPr/>
        </p:nvGrpSpPr>
        <p:grpSpPr>
          <a:xfrm>
            <a:off x="11070579" y="297389"/>
            <a:ext cx="932340" cy="913874"/>
            <a:chOff x="11070579" y="297389"/>
            <a:chExt cx="932340" cy="913874"/>
          </a:xfrm>
        </p:grpSpPr>
        <p:sp>
          <p:nvSpPr>
            <p:cNvPr id="244" name="Rectangle 243"/>
            <p:cNvSpPr/>
            <p:nvPr/>
          </p:nvSpPr>
          <p:spPr bwMode="auto">
            <a:xfrm>
              <a:off x="11070579" y="297389"/>
              <a:ext cx="932340" cy="913874"/>
            </a:xfrm>
            <a:prstGeom prst="rect">
              <a:avLst/>
            </a:prstGeom>
            <a:solidFill>
              <a:schemeClr val="accent4"/>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p>
              <a:pPr algn="l" defTabSz="932563" fontAlgn="auto">
                <a:spcAft>
                  <a:spcPts val="587"/>
                </a:spcAft>
              </a:pPr>
              <a:endParaRPr lang="en-US" sz="2200" dirty="0">
                <a:solidFill>
                  <a:schemeClr val="bg1"/>
                </a:solidFill>
                <a:latin typeface="+mj-lt"/>
                <a:cs typeface="Segoe UI Semibold" panose="020B0702040204020203" pitchFamily="34" charset="0"/>
              </a:endParaRPr>
            </a:p>
          </p:txBody>
        </p:sp>
        <p:sp>
          <p:nvSpPr>
            <p:cNvPr id="245" name="Rectangle 244"/>
            <p:cNvSpPr/>
            <p:nvPr/>
          </p:nvSpPr>
          <p:spPr>
            <a:xfrm>
              <a:off x="11070579" y="1137623"/>
              <a:ext cx="932340" cy="73640"/>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grpSp>
          <p:nvGrpSpPr>
            <p:cNvPr id="232" name="Group 231"/>
            <p:cNvGrpSpPr/>
            <p:nvPr/>
          </p:nvGrpSpPr>
          <p:grpSpPr>
            <a:xfrm>
              <a:off x="11255375" y="472799"/>
              <a:ext cx="562748" cy="563054"/>
              <a:chOff x="-4292600" y="-1301750"/>
              <a:chExt cx="5827713" cy="5830888"/>
            </a:xfrm>
            <a:solidFill>
              <a:schemeClr val="bg1">
                <a:alpha val="22000"/>
              </a:schemeClr>
            </a:solidFill>
          </p:grpSpPr>
          <p:sp>
            <p:nvSpPr>
              <p:cNvPr id="233" name="Freeform 232"/>
              <p:cNvSpPr>
                <a:spLocks noEditPoints="1"/>
              </p:cNvSpPr>
              <p:nvPr/>
            </p:nvSpPr>
            <p:spPr bwMode="auto">
              <a:xfrm>
                <a:off x="-4292600" y="-1301750"/>
                <a:ext cx="5827713" cy="5830888"/>
              </a:xfrm>
              <a:custGeom>
                <a:avLst/>
                <a:gdLst>
                  <a:gd name="T0" fmla="*/ 2874 w 3671"/>
                  <a:gd name="T1" fmla="*/ 3100 h 3673"/>
                  <a:gd name="T2" fmla="*/ 3236 w 3671"/>
                  <a:gd name="T3" fmla="*/ 2924 h 3673"/>
                  <a:gd name="T4" fmla="*/ 1108 w 3671"/>
                  <a:gd name="T5" fmla="*/ 1714 h 3673"/>
                  <a:gd name="T6" fmla="*/ 888 w 3671"/>
                  <a:gd name="T7" fmla="*/ 1739 h 3673"/>
                  <a:gd name="T8" fmla="*/ 687 w 3671"/>
                  <a:gd name="T9" fmla="*/ 1816 h 3673"/>
                  <a:gd name="T10" fmla="*/ 514 w 3671"/>
                  <a:gd name="T11" fmla="*/ 1937 h 3673"/>
                  <a:gd name="T12" fmla="*/ 376 w 3671"/>
                  <a:gd name="T13" fmla="*/ 2098 h 3673"/>
                  <a:gd name="T14" fmla="*/ 279 w 3671"/>
                  <a:gd name="T15" fmla="*/ 2289 h 3673"/>
                  <a:gd name="T16" fmla="*/ 231 w 3671"/>
                  <a:gd name="T17" fmla="*/ 2504 h 3673"/>
                  <a:gd name="T18" fmla="*/ 238 w 3671"/>
                  <a:gd name="T19" fmla="*/ 2730 h 3673"/>
                  <a:gd name="T20" fmla="*/ 305 w 3671"/>
                  <a:gd name="T21" fmla="*/ 2941 h 3673"/>
                  <a:gd name="T22" fmla="*/ 423 w 3671"/>
                  <a:gd name="T23" fmla="*/ 3129 h 3673"/>
                  <a:gd name="T24" fmla="*/ 581 w 3671"/>
                  <a:gd name="T25" fmla="*/ 3280 h 3673"/>
                  <a:gd name="T26" fmla="*/ 772 w 3671"/>
                  <a:gd name="T27" fmla="*/ 3390 h 3673"/>
                  <a:gd name="T28" fmla="*/ 986 w 3671"/>
                  <a:gd name="T29" fmla="*/ 3444 h 3673"/>
                  <a:gd name="T30" fmla="*/ 1214 w 3671"/>
                  <a:gd name="T31" fmla="*/ 3440 h 3673"/>
                  <a:gd name="T32" fmla="*/ 1428 w 3671"/>
                  <a:gd name="T33" fmla="*/ 3381 h 3673"/>
                  <a:gd name="T34" fmla="*/ 1614 w 3671"/>
                  <a:gd name="T35" fmla="*/ 3276 h 3673"/>
                  <a:gd name="T36" fmla="*/ 1767 w 3671"/>
                  <a:gd name="T37" fmla="*/ 3130 h 3673"/>
                  <a:gd name="T38" fmla="*/ 1880 w 3671"/>
                  <a:gd name="T39" fmla="*/ 2950 h 3673"/>
                  <a:gd name="T40" fmla="*/ 1946 w 3671"/>
                  <a:gd name="T41" fmla="*/ 2743 h 3673"/>
                  <a:gd name="T42" fmla="*/ 1959 w 3671"/>
                  <a:gd name="T43" fmla="*/ 2513 h 3673"/>
                  <a:gd name="T44" fmla="*/ 1911 w 3671"/>
                  <a:gd name="T45" fmla="*/ 2290 h 3673"/>
                  <a:gd name="T46" fmla="*/ 1809 w 3671"/>
                  <a:gd name="T47" fmla="*/ 2091 h 3673"/>
                  <a:gd name="T48" fmla="*/ 1661 w 3671"/>
                  <a:gd name="T49" fmla="*/ 1926 h 3673"/>
                  <a:gd name="T50" fmla="*/ 1477 w 3671"/>
                  <a:gd name="T51" fmla="*/ 1802 h 3673"/>
                  <a:gd name="T52" fmla="*/ 1263 w 3671"/>
                  <a:gd name="T53" fmla="*/ 1730 h 3673"/>
                  <a:gd name="T54" fmla="*/ 1210 w 3671"/>
                  <a:gd name="T55" fmla="*/ 225 h 3673"/>
                  <a:gd name="T56" fmla="*/ 1370 w 3671"/>
                  <a:gd name="T57" fmla="*/ 1526 h 3673"/>
                  <a:gd name="T58" fmla="*/ 1586 w 3671"/>
                  <a:gd name="T59" fmla="*/ 1605 h 3673"/>
                  <a:gd name="T60" fmla="*/ 1774 w 3671"/>
                  <a:gd name="T61" fmla="*/ 1721 h 3673"/>
                  <a:gd name="T62" fmla="*/ 1931 w 3671"/>
                  <a:gd name="T63" fmla="*/ 1874 h 3673"/>
                  <a:gd name="T64" fmla="*/ 2056 w 3671"/>
                  <a:gd name="T65" fmla="*/ 2064 h 3673"/>
                  <a:gd name="T66" fmla="*/ 2147 w 3671"/>
                  <a:gd name="T67" fmla="*/ 2297 h 3673"/>
                  <a:gd name="T68" fmla="*/ 2190 w 3671"/>
                  <a:gd name="T69" fmla="*/ 2543 h 3673"/>
                  <a:gd name="T70" fmla="*/ 2174 w 3671"/>
                  <a:gd name="T71" fmla="*/ 2777 h 3673"/>
                  <a:gd name="T72" fmla="*/ 2105 w 3671"/>
                  <a:gd name="T73" fmla="*/ 3001 h 3673"/>
                  <a:gd name="T74" fmla="*/ 1984 w 3671"/>
                  <a:gd name="T75" fmla="*/ 3214 h 3673"/>
                  <a:gd name="T76" fmla="*/ 2648 w 3671"/>
                  <a:gd name="T77" fmla="*/ 3351 h 3673"/>
                  <a:gd name="T78" fmla="*/ 3441 w 3671"/>
                  <a:gd name="T79" fmla="*/ 225 h 3673"/>
                  <a:gd name="T80" fmla="*/ 3668 w 3671"/>
                  <a:gd name="T81" fmla="*/ 0 h 3673"/>
                  <a:gd name="T82" fmla="*/ 3671 w 3671"/>
                  <a:gd name="T83" fmla="*/ 2178 h 3673"/>
                  <a:gd name="T84" fmla="*/ 3670 w 3671"/>
                  <a:gd name="T85" fmla="*/ 2793 h 3673"/>
                  <a:gd name="T86" fmla="*/ 3644 w 3671"/>
                  <a:gd name="T87" fmla="*/ 2841 h 3673"/>
                  <a:gd name="T88" fmla="*/ 2891 w 3671"/>
                  <a:gd name="T89" fmla="*/ 3571 h 3673"/>
                  <a:gd name="T90" fmla="*/ 1573 w 3671"/>
                  <a:gd name="T91" fmla="*/ 3578 h 3673"/>
                  <a:gd name="T92" fmla="*/ 1443 w 3671"/>
                  <a:gd name="T93" fmla="*/ 3617 h 3673"/>
                  <a:gd name="T94" fmla="*/ 1207 w 3671"/>
                  <a:gd name="T95" fmla="*/ 3667 h 3673"/>
                  <a:gd name="T96" fmla="*/ 973 w 3671"/>
                  <a:gd name="T97" fmla="*/ 3667 h 3673"/>
                  <a:gd name="T98" fmla="*/ 750 w 3671"/>
                  <a:gd name="T99" fmla="*/ 3619 h 3673"/>
                  <a:gd name="T100" fmla="*/ 543 w 3671"/>
                  <a:gd name="T101" fmla="*/ 3527 h 3673"/>
                  <a:gd name="T102" fmla="*/ 359 w 3671"/>
                  <a:gd name="T103" fmla="*/ 3391 h 3673"/>
                  <a:gd name="T104" fmla="*/ 205 w 3671"/>
                  <a:gd name="T105" fmla="*/ 3217 h 3673"/>
                  <a:gd name="T106" fmla="*/ 87 w 3671"/>
                  <a:gd name="T107" fmla="*/ 3005 h 3673"/>
                  <a:gd name="T108" fmla="*/ 17 w 3671"/>
                  <a:gd name="T109" fmla="*/ 2777 h 3673"/>
                  <a:gd name="T110" fmla="*/ 0 w 3671"/>
                  <a:gd name="T111" fmla="*/ 2548 h 3673"/>
                  <a:gd name="T112" fmla="*/ 32 w 3671"/>
                  <a:gd name="T113" fmla="*/ 2323 h 3673"/>
                  <a:gd name="T114" fmla="*/ 110 w 3671"/>
                  <a:gd name="T115" fmla="*/ 2109 h 3673"/>
                  <a:gd name="T116" fmla="*/ 230 w 3671"/>
                  <a:gd name="T117" fmla="*/ 1914 h 3673"/>
                  <a:gd name="T118" fmla="*/ 388 w 3671"/>
                  <a:gd name="T119" fmla="*/ 1748 h 3673"/>
                  <a:gd name="T120" fmla="*/ 582 w 3671"/>
                  <a:gd name="T121" fmla="*/ 1616 h 3673"/>
                  <a:gd name="T122" fmla="*/ 815 w 3671"/>
                  <a:gd name="T123" fmla="*/ 1526 h 3673"/>
                  <a:gd name="T124" fmla="*/ 983 w 3671"/>
                  <a:gd name="T125" fmla="*/ 0 h 3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71" h="3673">
                    <a:moveTo>
                      <a:pt x="2874" y="2746"/>
                    </a:moveTo>
                    <a:lnTo>
                      <a:pt x="2874" y="2922"/>
                    </a:lnTo>
                    <a:lnTo>
                      <a:pt x="2874" y="3100"/>
                    </a:lnTo>
                    <a:lnTo>
                      <a:pt x="2874" y="3278"/>
                    </a:lnTo>
                    <a:lnTo>
                      <a:pt x="3056" y="3101"/>
                    </a:lnTo>
                    <a:lnTo>
                      <a:pt x="3236" y="2924"/>
                    </a:lnTo>
                    <a:lnTo>
                      <a:pt x="3417" y="2746"/>
                    </a:lnTo>
                    <a:lnTo>
                      <a:pt x="2874" y="2746"/>
                    </a:lnTo>
                    <a:close/>
                    <a:moveTo>
                      <a:pt x="1108" y="1714"/>
                    </a:moveTo>
                    <a:lnTo>
                      <a:pt x="1033" y="1716"/>
                    </a:lnTo>
                    <a:lnTo>
                      <a:pt x="959" y="1724"/>
                    </a:lnTo>
                    <a:lnTo>
                      <a:pt x="888" y="1739"/>
                    </a:lnTo>
                    <a:lnTo>
                      <a:pt x="818" y="1759"/>
                    </a:lnTo>
                    <a:lnTo>
                      <a:pt x="751" y="1784"/>
                    </a:lnTo>
                    <a:lnTo>
                      <a:pt x="687" y="1816"/>
                    </a:lnTo>
                    <a:lnTo>
                      <a:pt x="626" y="1851"/>
                    </a:lnTo>
                    <a:lnTo>
                      <a:pt x="569" y="1893"/>
                    </a:lnTo>
                    <a:lnTo>
                      <a:pt x="514" y="1937"/>
                    </a:lnTo>
                    <a:lnTo>
                      <a:pt x="464" y="1987"/>
                    </a:lnTo>
                    <a:lnTo>
                      <a:pt x="418" y="2041"/>
                    </a:lnTo>
                    <a:lnTo>
                      <a:pt x="376" y="2098"/>
                    </a:lnTo>
                    <a:lnTo>
                      <a:pt x="339" y="2158"/>
                    </a:lnTo>
                    <a:lnTo>
                      <a:pt x="307" y="2222"/>
                    </a:lnTo>
                    <a:lnTo>
                      <a:pt x="279" y="2289"/>
                    </a:lnTo>
                    <a:lnTo>
                      <a:pt x="258" y="2358"/>
                    </a:lnTo>
                    <a:lnTo>
                      <a:pt x="241" y="2430"/>
                    </a:lnTo>
                    <a:lnTo>
                      <a:pt x="231" y="2504"/>
                    </a:lnTo>
                    <a:lnTo>
                      <a:pt x="226" y="2581"/>
                    </a:lnTo>
                    <a:lnTo>
                      <a:pt x="229" y="2656"/>
                    </a:lnTo>
                    <a:lnTo>
                      <a:pt x="238" y="2730"/>
                    </a:lnTo>
                    <a:lnTo>
                      <a:pt x="254" y="2803"/>
                    </a:lnTo>
                    <a:lnTo>
                      <a:pt x="277" y="2873"/>
                    </a:lnTo>
                    <a:lnTo>
                      <a:pt x="305" y="2941"/>
                    </a:lnTo>
                    <a:lnTo>
                      <a:pt x="339" y="3007"/>
                    </a:lnTo>
                    <a:lnTo>
                      <a:pt x="378" y="3069"/>
                    </a:lnTo>
                    <a:lnTo>
                      <a:pt x="423" y="3129"/>
                    </a:lnTo>
                    <a:lnTo>
                      <a:pt x="471" y="3183"/>
                    </a:lnTo>
                    <a:lnTo>
                      <a:pt x="524" y="3234"/>
                    </a:lnTo>
                    <a:lnTo>
                      <a:pt x="581" y="3280"/>
                    </a:lnTo>
                    <a:lnTo>
                      <a:pt x="641" y="3323"/>
                    </a:lnTo>
                    <a:lnTo>
                      <a:pt x="705" y="3358"/>
                    </a:lnTo>
                    <a:lnTo>
                      <a:pt x="772" y="3390"/>
                    </a:lnTo>
                    <a:lnTo>
                      <a:pt x="841" y="3414"/>
                    </a:lnTo>
                    <a:lnTo>
                      <a:pt x="912" y="3432"/>
                    </a:lnTo>
                    <a:lnTo>
                      <a:pt x="986" y="3444"/>
                    </a:lnTo>
                    <a:lnTo>
                      <a:pt x="1061" y="3449"/>
                    </a:lnTo>
                    <a:lnTo>
                      <a:pt x="1138" y="3448"/>
                    </a:lnTo>
                    <a:lnTo>
                      <a:pt x="1214" y="3440"/>
                    </a:lnTo>
                    <a:lnTo>
                      <a:pt x="1287" y="3425"/>
                    </a:lnTo>
                    <a:lnTo>
                      <a:pt x="1359" y="3406"/>
                    </a:lnTo>
                    <a:lnTo>
                      <a:pt x="1428" y="3381"/>
                    </a:lnTo>
                    <a:lnTo>
                      <a:pt x="1492" y="3351"/>
                    </a:lnTo>
                    <a:lnTo>
                      <a:pt x="1555" y="3316"/>
                    </a:lnTo>
                    <a:lnTo>
                      <a:pt x="1614" y="3276"/>
                    </a:lnTo>
                    <a:lnTo>
                      <a:pt x="1669" y="3231"/>
                    </a:lnTo>
                    <a:lnTo>
                      <a:pt x="1720" y="3182"/>
                    </a:lnTo>
                    <a:lnTo>
                      <a:pt x="1767" y="3130"/>
                    </a:lnTo>
                    <a:lnTo>
                      <a:pt x="1809" y="3073"/>
                    </a:lnTo>
                    <a:lnTo>
                      <a:pt x="1847" y="3014"/>
                    </a:lnTo>
                    <a:lnTo>
                      <a:pt x="1880" y="2950"/>
                    </a:lnTo>
                    <a:lnTo>
                      <a:pt x="1907" y="2883"/>
                    </a:lnTo>
                    <a:lnTo>
                      <a:pt x="1930" y="2814"/>
                    </a:lnTo>
                    <a:lnTo>
                      <a:pt x="1946" y="2743"/>
                    </a:lnTo>
                    <a:lnTo>
                      <a:pt x="1956" y="2668"/>
                    </a:lnTo>
                    <a:lnTo>
                      <a:pt x="1961" y="2592"/>
                    </a:lnTo>
                    <a:lnTo>
                      <a:pt x="1959" y="2513"/>
                    </a:lnTo>
                    <a:lnTo>
                      <a:pt x="1949" y="2437"/>
                    </a:lnTo>
                    <a:lnTo>
                      <a:pt x="1933" y="2362"/>
                    </a:lnTo>
                    <a:lnTo>
                      <a:pt x="1911" y="2290"/>
                    </a:lnTo>
                    <a:lnTo>
                      <a:pt x="1883" y="2221"/>
                    </a:lnTo>
                    <a:lnTo>
                      <a:pt x="1848" y="2155"/>
                    </a:lnTo>
                    <a:lnTo>
                      <a:pt x="1809" y="2091"/>
                    </a:lnTo>
                    <a:lnTo>
                      <a:pt x="1765" y="2032"/>
                    </a:lnTo>
                    <a:lnTo>
                      <a:pt x="1716" y="1977"/>
                    </a:lnTo>
                    <a:lnTo>
                      <a:pt x="1661" y="1926"/>
                    </a:lnTo>
                    <a:lnTo>
                      <a:pt x="1604" y="1880"/>
                    </a:lnTo>
                    <a:lnTo>
                      <a:pt x="1542" y="1839"/>
                    </a:lnTo>
                    <a:lnTo>
                      <a:pt x="1477" y="1802"/>
                    </a:lnTo>
                    <a:lnTo>
                      <a:pt x="1408" y="1772"/>
                    </a:lnTo>
                    <a:lnTo>
                      <a:pt x="1336" y="1748"/>
                    </a:lnTo>
                    <a:lnTo>
                      <a:pt x="1263" y="1730"/>
                    </a:lnTo>
                    <a:lnTo>
                      <a:pt x="1186" y="1719"/>
                    </a:lnTo>
                    <a:lnTo>
                      <a:pt x="1108" y="1714"/>
                    </a:lnTo>
                    <a:close/>
                    <a:moveTo>
                      <a:pt x="1210" y="225"/>
                    </a:moveTo>
                    <a:lnTo>
                      <a:pt x="1210" y="1491"/>
                    </a:lnTo>
                    <a:lnTo>
                      <a:pt x="1291" y="1507"/>
                    </a:lnTo>
                    <a:lnTo>
                      <a:pt x="1370" y="1526"/>
                    </a:lnTo>
                    <a:lnTo>
                      <a:pt x="1444" y="1548"/>
                    </a:lnTo>
                    <a:lnTo>
                      <a:pt x="1517" y="1575"/>
                    </a:lnTo>
                    <a:lnTo>
                      <a:pt x="1586" y="1605"/>
                    </a:lnTo>
                    <a:lnTo>
                      <a:pt x="1652" y="1639"/>
                    </a:lnTo>
                    <a:lnTo>
                      <a:pt x="1714" y="1678"/>
                    </a:lnTo>
                    <a:lnTo>
                      <a:pt x="1774" y="1721"/>
                    </a:lnTo>
                    <a:lnTo>
                      <a:pt x="1829" y="1768"/>
                    </a:lnTo>
                    <a:lnTo>
                      <a:pt x="1882" y="1819"/>
                    </a:lnTo>
                    <a:lnTo>
                      <a:pt x="1931" y="1874"/>
                    </a:lnTo>
                    <a:lnTo>
                      <a:pt x="1975" y="1933"/>
                    </a:lnTo>
                    <a:lnTo>
                      <a:pt x="2018" y="1996"/>
                    </a:lnTo>
                    <a:lnTo>
                      <a:pt x="2056" y="2064"/>
                    </a:lnTo>
                    <a:lnTo>
                      <a:pt x="2090" y="2137"/>
                    </a:lnTo>
                    <a:lnTo>
                      <a:pt x="2120" y="2214"/>
                    </a:lnTo>
                    <a:lnTo>
                      <a:pt x="2147" y="2297"/>
                    </a:lnTo>
                    <a:lnTo>
                      <a:pt x="2168" y="2380"/>
                    </a:lnTo>
                    <a:lnTo>
                      <a:pt x="2182" y="2463"/>
                    </a:lnTo>
                    <a:lnTo>
                      <a:pt x="2190" y="2543"/>
                    </a:lnTo>
                    <a:lnTo>
                      <a:pt x="2191" y="2622"/>
                    </a:lnTo>
                    <a:lnTo>
                      <a:pt x="2185" y="2700"/>
                    </a:lnTo>
                    <a:lnTo>
                      <a:pt x="2174" y="2777"/>
                    </a:lnTo>
                    <a:lnTo>
                      <a:pt x="2157" y="2853"/>
                    </a:lnTo>
                    <a:lnTo>
                      <a:pt x="2134" y="2928"/>
                    </a:lnTo>
                    <a:lnTo>
                      <a:pt x="2105" y="3001"/>
                    </a:lnTo>
                    <a:lnTo>
                      <a:pt x="2070" y="3074"/>
                    </a:lnTo>
                    <a:lnTo>
                      <a:pt x="2030" y="3144"/>
                    </a:lnTo>
                    <a:lnTo>
                      <a:pt x="1984" y="3214"/>
                    </a:lnTo>
                    <a:lnTo>
                      <a:pt x="1933" y="3282"/>
                    </a:lnTo>
                    <a:lnTo>
                      <a:pt x="1876" y="3351"/>
                    </a:lnTo>
                    <a:lnTo>
                      <a:pt x="2648" y="3351"/>
                    </a:lnTo>
                    <a:lnTo>
                      <a:pt x="2648" y="2519"/>
                    </a:lnTo>
                    <a:lnTo>
                      <a:pt x="3441" y="2519"/>
                    </a:lnTo>
                    <a:lnTo>
                      <a:pt x="3441" y="225"/>
                    </a:lnTo>
                    <a:lnTo>
                      <a:pt x="1210" y="225"/>
                    </a:lnTo>
                    <a:close/>
                    <a:moveTo>
                      <a:pt x="983" y="0"/>
                    </a:moveTo>
                    <a:lnTo>
                      <a:pt x="3668" y="0"/>
                    </a:lnTo>
                    <a:lnTo>
                      <a:pt x="3670" y="21"/>
                    </a:lnTo>
                    <a:lnTo>
                      <a:pt x="3670" y="42"/>
                    </a:lnTo>
                    <a:lnTo>
                      <a:pt x="3671" y="2178"/>
                    </a:lnTo>
                    <a:lnTo>
                      <a:pt x="3670" y="2476"/>
                    </a:lnTo>
                    <a:lnTo>
                      <a:pt x="3671" y="2774"/>
                    </a:lnTo>
                    <a:lnTo>
                      <a:pt x="3670" y="2793"/>
                    </a:lnTo>
                    <a:lnTo>
                      <a:pt x="3665" y="2811"/>
                    </a:lnTo>
                    <a:lnTo>
                      <a:pt x="3657" y="2825"/>
                    </a:lnTo>
                    <a:lnTo>
                      <a:pt x="3644" y="2841"/>
                    </a:lnTo>
                    <a:lnTo>
                      <a:pt x="2919" y="3552"/>
                    </a:lnTo>
                    <a:lnTo>
                      <a:pt x="2906" y="3564"/>
                    </a:lnTo>
                    <a:lnTo>
                      <a:pt x="2891" y="3571"/>
                    </a:lnTo>
                    <a:lnTo>
                      <a:pt x="2874" y="3577"/>
                    </a:lnTo>
                    <a:lnTo>
                      <a:pt x="2857" y="3578"/>
                    </a:lnTo>
                    <a:lnTo>
                      <a:pt x="1573" y="3578"/>
                    </a:lnTo>
                    <a:lnTo>
                      <a:pt x="1547" y="3580"/>
                    </a:lnTo>
                    <a:lnTo>
                      <a:pt x="1523" y="3588"/>
                    </a:lnTo>
                    <a:lnTo>
                      <a:pt x="1443" y="3617"/>
                    </a:lnTo>
                    <a:lnTo>
                      <a:pt x="1364" y="3639"/>
                    </a:lnTo>
                    <a:lnTo>
                      <a:pt x="1285" y="3656"/>
                    </a:lnTo>
                    <a:lnTo>
                      <a:pt x="1207" y="3667"/>
                    </a:lnTo>
                    <a:lnTo>
                      <a:pt x="1128" y="3673"/>
                    </a:lnTo>
                    <a:lnTo>
                      <a:pt x="1050" y="3673"/>
                    </a:lnTo>
                    <a:lnTo>
                      <a:pt x="973" y="3667"/>
                    </a:lnTo>
                    <a:lnTo>
                      <a:pt x="897" y="3657"/>
                    </a:lnTo>
                    <a:lnTo>
                      <a:pt x="823" y="3641"/>
                    </a:lnTo>
                    <a:lnTo>
                      <a:pt x="750" y="3619"/>
                    </a:lnTo>
                    <a:lnTo>
                      <a:pt x="679" y="3594"/>
                    </a:lnTo>
                    <a:lnTo>
                      <a:pt x="610" y="3562"/>
                    </a:lnTo>
                    <a:lnTo>
                      <a:pt x="543" y="3527"/>
                    </a:lnTo>
                    <a:lnTo>
                      <a:pt x="479" y="3485"/>
                    </a:lnTo>
                    <a:lnTo>
                      <a:pt x="417" y="3441"/>
                    </a:lnTo>
                    <a:lnTo>
                      <a:pt x="359" y="3391"/>
                    </a:lnTo>
                    <a:lnTo>
                      <a:pt x="305" y="3337"/>
                    </a:lnTo>
                    <a:lnTo>
                      <a:pt x="253" y="3279"/>
                    </a:lnTo>
                    <a:lnTo>
                      <a:pt x="205" y="3217"/>
                    </a:lnTo>
                    <a:lnTo>
                      <a:pt x="162" y="3150"/>
                    </a:lnTo>
                    <a:lnTo>
                      <a:pt x="122" y="3079"/>
                    </a:lnTo>
                    <a:lnTo>
                      <a:pt x="87" y="3005"/>
                    </a:lnTo>
                    <a:lnTo>
                      <a:pt x="57" y="2927"/>
                    </a:lnTo>
                    <a:lnTo>
                      <a:pt x="33" y="2852"/>
                    </a:lnTo>
                    <a:lnTo>
                      <a:pt x="17" y="2777"/>
                    </a:lnTo>
                    <a:lnTo>
                      <a:pt x="6" y="2700"/>
                    </a:lnTo>
                    <a:lnTo>
                      <a:pt x="0" y="2624"/>
                    </a:lnTo>
                    <a:lnTo>
                      <a:pt x="0" y="2548"/>
                    </a:lnTo>
                    <a:lnTo>
                      <a:pt x="6" y="2473"/>
                    </a:lnTo>
                    <a:lnTo>
                      <a:pt x="17" y="2397"/>
                    </a:lnTo>
                    <a:lnTo>
                      <a:pt x="32" y="2323"/>
                    </a:lnTo>
                    <a:lnTo>
                      <a:pt x="54" y="2250"/>
                    </a:lnTo>
                    <a:lnTo>
                      <a:pt x="79" y="2178"/>
                    </a:lnTo>
                    <a:lnTo>
                      <a:pt x="110" y="2109"/>
                    </a:lnTo>
                    <a:lnTo>
                      <a:pt x="145" y="2041"/>
                    </a:lnTo>
                    <a:lnTo>
                      <a:pt x="185" y="1976"/>
                    </a:lnTo>
                    <a:lnTo>
                      <a:pt x="230" y="1914"/>
                    </a:lnTo>
                    <a:lnTo>
                      <a:pt x="279" y="1855"/>
                    </a:lnTo>
                    <a:lnTo>
                      <a:pt x="331" y="1799"/>
                    </a:lnTo>
                    <a:lnTo>
                      <a:pt x="388" y="1748"/>
                    </a:lnTo>
                    <a:lnTo>
                      <a:pt x="450" y="1700"/>
                    </a:lnTo>
                    <a:lnTo>
                      <a:pt x="514" y="1655"/>
                    </a:lnTo>
                    <a:lnTo>
                      <a:pt x="582" y="1616"/>
                    </a:lnTo>
                    <a:lnTo>
                      <a:pt x="658" y="1580"/>
                    </a:lnTo>
                    <a:lnTo>
                      <a:pt x="735" y="1550"/>
                    </a:lnTo>
                    <a:lnTo>
                      <a:pt x="815" y="1526"/>
                    </a:lnTo>
                    <a:lnTo>
                      <a:pt x="897" y="1507"/>
                    </a:lnTo>
                    <a:lnTo>
                      <a:pt x="983" y="1494"/>
                    </a:lnTo>
                    <a:lnTo>
                      <a:pt x="983" y="0"/>
                    </a:lnTo>
                    <a:close/>
                  </a:path>
                </a:pathLst>
              </a:custGeom>
              <a:solidFill>
                <a:schemeClr val="bg1">
                  <a:alpha val="22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sp>
            <p:nvSpPr>
              <p:cNvPr id="234" name="Freeform 233"/>
              <p:cNvSpPr>
                <a:spLocks/>
              </p:cNvSpPr>
              <p:nvPr/>
            </p:nvSpPr>
            <p:spPr bwMode="auto">
              <a:xfrm>
                <a:off x="-3602038" y="2185988"/>
                <a:ext cx="1951038" cy="1366838"/>
              </a:xfrm>
              <a:custGeom>
                <a:avLst/>
                <a:gdLst>
                  <a:gd name="T0" fmla="*/ 1115 w 1229"/>
                  <a:gd name="T1" fmla="*/ 0 h 861"/>
                  <a:gd name="T2" fmla="*/ 1136 w 1229"/>
                  <a:gd name="T3" fmla="*/ 0 h 861"/>
                  <a:gd name="T4" fmla="*/ 1156 w 1229"/>
                  <a:gd name="T5" fmla="*/ 6 h 861"/>
                  <a:gd name="T6" fmla="*/ 1173 w 1229"/>
                  <a:gd name="T7" fmla="*/ 15 h 861"/>
                  <a:gd name="T8" fmla="*/ 1190 w 1229"/>
                  <a:gd name="T9" fmla="*/ 28 h 861"/>
                  <a:gd name="T10" fmla="*/ 1206 w 1229"/>
                  <a:gd name="T11" fmla="*/ 46 h 861"/>
                  <a:gd name="T12" fmla="*/ 1219 w 1229"/>
                  <a:gd name="T13" fmla="*/ 68 h 861"/>
                  <a:gd name="T14" fmla="*/ 1227 w 1229"/>
                  <a:gd name="T15" fmla="*/ 92 h 861"/>
                  <a:gd name="T16" fmla="*/ 1229 w 1229"/>
                  <a:gd name="T17" fmla="*/ 116 h 861"/>
                  <a:gd name="T18" fmla="*/ 1225 w 1229"/>
                  <a:gd name="T19" fmla="*/ 141 h 861"/>
                  <a:gd name="T20" fmla="*/ 1214 w 1229"/>
                  <a:gd name="T21" fmla="*/ 165 h 861"/>
                  <a:gd name="T22" fmla="*/ 1199 w 1229"/>
                  <a:gd name="T23" fmla="*/ 186 h 861"/>
                  <a:gd name="T24" fmla="*/ 1181 w 1229"/>
                  <a:gd name="T25" fmla="*/ 205 h 861"/>
                  <a:gd name="T26" fmla="*/ 577 w 1229"/>
                  <a:gd name="T27" fmla="*/ 811 h 861"/>
                  <a:gd name="T28" fmla="*/ 552 w 1229"/>
                  <a:gd name="T29" fmla="*/ 833 h 861"/>
                  <a:gd name="T30" fmla="*/ 528 w 1229"/>
                  <a:gd name="T31" fmla="*/ 849 h 861"/>
                  <a:gd name="T32" fmla="*/ 503 w 1229"/>
                  <a:gd name="T33" fmla="*/ 858 h 861"/>
                  <a:gd name="T34" fmla="*/ 480 w 1229"/>
                  <a:gd name="T35" fmla="*/ 861 h 861"/>
                  <a:gd name="T36" fmla="*/ 456 w 1229"/>
                  <a:gd name="T37" fmla="*/ 859 h 861"/>
                  <a:gd name="T38" fmla="*/ 433 w 1229"/>
                  <a:gd name="T39" fmla="*/ 849 h 861"/>
                  <a:gd name="T40" fmla="*/ 408 w 1229"/>
                  <a:gd name="T41" fmla="*/ 833 h 861"/>
                  <a:gd name="T42" fmla="*/ 384 w 1229"/>
                  <a:gd name="T43" fmla="*/ 812 h 861"/>
                  <a:gd name="T44" fmla="*/ 41 w 1229"/>
                  <a:gd name="T45" fmla="*/ 470 h 861"/>
                  <a:gd name="T46" fmla="*/ 22 w 1229"/>
                  <a:gd name="T47" fmla="*/ 446 h 861"/>
                  <a:gd name="T48" fmla="*/ 9 w 1229"/>
                  <a:gd name="T49" fmla="*/ 423 h 861"/>
                  <a:gd name="T50" fmla="*/ 2 w 1229"/>
                  <a:gd name="T51" fmla="*/ 397 h 861"/>
                  <a:gd name="T52" fmla="*/ 0 w 1229"/>
                  <a:gd name="T53" fmla="*/ 372 h 861"/>
                  <a:gd name="T54" fmla="*/ 6 w 1229"/>
                  <a:gd name="T55" fmla="*/ 347 h 861"/>
                  <a:gd name="T56" fmla="*/ 16 w 1229"/>
                  <a:gd name="T57" fmla="*/ 324 h 861"/>
                  <a:gd name="T58" fmla="*/ 32 w 1229"/>
                  <a:gd name="T59" fmla="*/ 302 h 861"/>
                  <a:gd name="T60" fmla="*/ 54 w 1229"/>
                  <a:gd name="T61" fmla="*/ 286 h 861"/>
                  <a:gd name="T62" fmla="*/ 76 w 1229"/>
                  <a:gd name="T63" fmla="*/ 275 h 861"/>
                  <a:gd name="T64" fmla="*/ 102 w 1229"/>
                  <a:gd name="T65" fmla="*/ 269 h 861"/>
                  <a:gd name="T66" fmla="*/ 126 w 1229"/>
                  <a:gd name="T67" fmla="*/ 270 h 861"/>
                  <a:gd name="T68" fmla="*/ 152 w 1229"/>
                  <a:gd name="T69" fmla="*/ 277 h 861"/>
                  <a:gd name="T70" fmla="*/ 176 w 1229"/>
                  <a:gd name="T71" fmla="*/ 290 h 861"/>
                  <a:gd name="T72" fmla="*/ 200 w 1229"/>
                  <a:gd name="T73" fmla="*/ 309 h 861"/>
                  <a:gd name="T74" fmla="*/ 291 w 1229"/>
                  <a:gd name="T75" fmla="*/ 402 h 861"/>
                  <a:gd name="T76" fmla="*/ 384 w 1229"/>
                  <a:gd name="T77" fmla="*/ 495 h 861"/>
                  <a:gd name="T78" fmla="*/ 479 w 1229"/>
                  <a:gd name="T79" fmla="*/ 591 h 861"/>
                  <a:gd name="T80" fmla="*/ 660 w 1229"/>
                  <a:gd name="T81" fmla="*/ 409 h 861"/>
                  <a:gd name="T82" fmla="*/ 839 w 1229"/>
                  <a:gd name="T83" fmla="*/ 230 h 861"/>
                  <a:gd name="T84" fmla="*/ 1017 w 1229"/>
                  <a:gd name="T85" fmla="*/ 53 h 861"/>
                  <a:gd name="T86" fmla="*/ 1041 w 1229"/>
                  <a:gd name="T87" fmla="*/ 32 h 861"/>
                  <a:gd name="T88" fmla="*/ 1066 w 1229"/>
                  <a:gd name="T89" fmla="*/ 16 h 861"/>
                  <a:gd name="T90" fmla="*/ 1093 w 1229"/>
                  <a:gd name="T91" fmla="*/ 5 h 861"/>
                  <a:gd name="T92" fmla="*/ 1115 w 1229"/>
                  <a:gd name="T93" fmla="*/ 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29" h="861">
                    <a:moveTo>
                      <a:pt x="1115" y="0"/>
                    </a:moveTo>
                    <a:lnTo>
                      <a:pt x="1136" y="0"/>
                    </a:lnTo>
                    <a:lnTo>
                      <a:pt x="1156" y="6"/>
                    </a:lnTo>
                    <a:lnTo>
                      <a:pt x="1173" y="15"/>
                    </a:lnTo>
                    <a:lnTo>
                      <a:pt x="1190" y="28"/>
                    </a:lnTo>
                    <a:lnTo>
                      <a:pt x="1206" y="46"/>
                    </a:lnTo>
                    <a:lnTo>
                      <a:pt x="1219" y="68"/>
                    </a:lnTo>
                    <a:lnTo>
                      <a:pt x="1227" y="92"/>
                    </a:lnTo>
                    <a:lnTo>
                      <a:pt x="1229" y="116"/>
                    </a:lnTo>
                    <a:lnTo>
                      <a:pt x="1225" y="141"/>
                    </a:lnTo>
                    <a:lnTo>
                      <a:pt x="1214" y="165"/>
                    </a:lnTo>
                    <a:lnTo>
                      <a:pt x="1199" y="186"/>
                    </a:lnTo>
                    <a:lnTo>
                      <a:pt x="1181" y="205"/>
                    </a:lnTo>
                    <a:lnTo>
                      <a:pt x="577" y="811"/>
                    </a:lnTo>
                    <a:lnTo>
                      <a:pt x="552" y="833"/>
                    </a:lnTo>
                    <a:lnTo>
                      <a:pt x="528" y="849"/>
                    </a:lnTo>
                    <a:lnTo>
                      <a:pt x="503" y="858"/>
                    </a:lnTo>
                    <a:lnTo>
                      <a:pt x="480" y="861"/>
                    </a:lnTo>
                    <a:lnTo>
                      <a:pt x="456" y="859"/>
                    </a:lnTo>
                    <a:lnTo>
                      <a:pt x="433" y="849"/>
                    </a:lnTo>
                    <a:lnTo>
                      <a:pt x="408" y="833"/>
                    </a:lnTo>
                    <a:lnTo>
                      <a:pt x="384" y="812"/>
                    </a:lnTo>
                    <a:lnTo>
                      <a:pt x="41" y="470"/>
                    </a:lnTo>
                    <a:lnTo>
                      <a:pt x="22" y="446"/>
                    </a:lnTo>
                    <a:lnTo>
                      <a:pt x="9" y="423"/>
                    </a:lnTo>
                    <a:lnTo>
                      <a:pt x="2" y="397"/>
                    </a:lnTo>
                    <a:lnTo>
                      <a:pt x="0" y="372"/>
                    </a:lnTo>
                    <a:lnTo>
                      <a:pt x="6" y="347"/>
                    </a:lnTo>
                    <a:lnTo>
                      <a:pt x="16" y="324"/>
                    </a:lnTo>
                    <a:lnTo>
                      <a:pt x="32" y="302"/>
                    </a:lnTo>
                    <a:lnTo>
                      <a:pt x="54" y="286"/>
                    </a:lnTo>
                    <a:lnTo>
                      <a:pt x="76" y="275"/>
                    </a:lnTo>
                    <a:lnTo>
                      <a:pt x="102" y="269"/>
                    </a:lnTo>
                    <a:lnTo>
                      <a:pt x="126" y="270"/>
                    </a:lnTo>
                    <a:lnTo>
                      <a:pt x="152" y="277"/>
                    </a:lnTo>
                    <a:lnTo>
                      <a:pt x="176" y="290"/>
                    </a:lnTo>
                    <a:lnTo>
                      <a:pt x="200" y="309"/>
                    </a:lnTo>
                    <a:lnTo>
                      <a:pt x="291" y="402"/>
                    </a:lnTo>
                    <a:lnTo>
                      <a:pt x="384" y="495"/>
                    </a:lnTo>
                    <a:lnTo>
                      <a:pt x="479" y="591"/>
                    </a:lnTo>
                    <a:lnTo>
                      <a:pt x="660" y="409"/>
                    </a:lnTo>
                    <a:lnTo>
                      <a:pt x="839" y="230"/>
                    </a:lnTo>
                    <a:lnTo>
                      <a:pt x="1017" y="53"/>
                    </a:lnTo>
                    <a:lnTo>
                      <a:pt x="1041" y="32"/>
                    </a:lnTo>
                    <a:lnTo>
                      <a:pt x="1066" y="16"/>
                    </a:lnTo>
                    <a:lnTo>
                      <a:pt x="1093" y="5"/>
                    </a:lnTo>
                    <a:lnTo>
                      <a:pt x="1115" y="0"/>
                    </a:lnTo>
                    <a:close/>
                  </a:path>
                </a:pathLst>
              </a:custGeom>
              <a:solidFill>
                <a:schemeClr val="bg1">
                  <a:alpha val="22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grpSp>
      </p:grpSp>
      <p:grpSp>
        <p:nvGrpSpPr>
          <p:cNvPr id="11" name="Group 10"/>
          <p:cNvGrpSpPr/>
          <p:nvPr/>
        </p:nvGrpSpPr>
        <p:grpSpPr>
          <a:xfrm>
            <a:off x="0" y="5611349"/>
            <a:ext cx="12436475" cy="1383176"/>
            <a:chOff x="0" y="5611349"/>
            <a:chExt cx="12436475" cy="1383176"/>
          </a:xfrm>
        </p:grpSpPr>
        <p:grpSp>
          <p:nvGrpSpPr>
            <p:cNvPr id="10" name="Group 9"/>
            <p:cNvGrpSpPr/>
            <p:nvPr/>
          </p:nvGrpSpPr>
          <p:grpSpPr>
            <a:xfrm>
              <a:off x="2" y="5611349"/>
              <a:ext cx="5378058" cy="1373630"/>
              <a:chOff x="2" y="5629279"/>
              <a:chExt cx="5378058" cy="1373630"/>
            </a:xfrm>
          </p:grpSpPr>
          <p:sp>
            <p:nvSpPr>
              <p:cNvPr id="161" name="Freeform 5"/>
              <p:cNvSpPr>
                <a:spLocks/>
              </p:cNvSpPr>
              <p:nvPr/>
            </p:nvSpPr>
            <p:spPr bwMode="auto">
              <a:xfrm>
                <a:off x="274638" y="5781679"/>
                <a:ext cx="529512" cy="34749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188" name="Freeform 5"/>
              <p:cNvSpPr>
                <a:spLocks/>
              </p:cNvSpPr>
              <p:nvPr/>
            </p:nvSpPr>
            <p:spPr bwMode="auto">
              <a:xfrm>
                <a:off x="122238" y="5629279"/>
                <a:ext cx="529512" cy="34749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247" name="Group 246"/>
              <p:cNvGrpSpPr/>
              <p:nvPr/>
            </p:nvGrpSpPr>
            <p:grpSpPr>
              <a:xfrm>
                <a:off x="2" y="6113677"/>
                <a:ext cx="5378058" cy="889232"/>
                <a:chOff x="-104693" y="5602741"/>
                <a:chExt cx="8468154" cy="1400162"/>
              </a:xfrm>
            </p:grpSpPr>
            <p:sp>
              <p:nvSpPr>
                <p:cNvPr id="523" name="Rectangle 5"/>
                <p:cNvSpPr>
                  <a:spLocks noChangeArrowheads="1"/>
                </p:cNvSpPr>
                <p:nvPr/>
              </p:nvSpPr>
              <p:spPr bwMode="auto">
                <a:xfrm flipH="1">
                  <a:off x="3418306" y="5868865"/>
                  <a:ext cx="550363" cy="53060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24" name="Rectangle 6"/>
                <p:cNvSpPr>
                  <a:spLocks noChangeArrowheads="1"/>
                </p:cNvSpPr>
                <p:nvPr/>
              </p:nvSpPr>
              <p:spPr bwMode="auto">
                <a:xfrm flipH="1">
                  <a:off x="3506923" y="5706386"/>
                  <a:ext cx="238802" cy="6037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25" name="Rectangle 7"/>
                <p:cNvSpPr>
                  <a:spLocks noChangeArrowheads="1"/>
                </p:cNvSpPr>
                <p:nvPr/>
              </p:nvSpPr>
              <p:spPr bwMode="auto">
                <a:xfrm flipH="1">
                  <a:off x="5208386" y="6427624"/>
                  <a:ext cx="352605" cy="283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26" name="Rectangle 8"/>
                <p:cNvSpPr>
                  <a:spLocks noChangeArrowheads="1"/>
                </p:cNvSpPr>
                <p:nvPr/>
              </p:nvSpPr>
              <p:spPr bwMode="auto">
                <a:xfrm flipH="1">
                  <a:off x="5067531" y="6297029"/>
                  <a:ext cx="349807" cy="4141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27" name="Rectangle 9"/>
                <p:cNvSpPr>
                  <a:spLocks noChangeArrowheads="1"/>
                </p:cNvSpPr>
                <p:nvPr/>
              </p:nvSpPr>
              <p:spPr bwMode="auto">
                <a:xfrm flipH="1">
                  <a:off x="1592780" y="6089908"/>
                  <a:ext cx="546632" cy="70311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28" name="Rectangle 10"/>
                <p:cNvSpPr>
                  <a:spLocks noChangeArrowheads="1"/>
                </p:cNvSpPr>
                <p:nvPr/>
              </p:nvSpPr>
              <p:spPr bwMode="auto">
                <a:xfrm flipH="1">
                  <a:off x="1370769" y="5665510"/>
                  <a:ext cx="546632" cy="1127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29" name="Freeform 11"/>
                <p:cNvSpPr>
                  <a:spLocks/>
                </p:cNvSpPr>
                <p:nvPr/>
              </p:nvSpPr>
              <p:spPr bwMode="auto">
                <a:xfrm flipH="1">
                  <a:off x="4392841" y="6489852"/>
                  <a:ext cx="3970620" cy="51025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30" name="Freeform 18"/>
                <p:cNvSpPr>
                  <a:spLocks/>
                </p:cNvSpPr>
                <p:nvPr/>
              </p:nvSpPr>
              <p:spPr bwMode="auto">
                <a:xfrm flipH="1">
                  <a:off x="984" y="6027174"/>
                  <a:ext cx="6091253" cy="97293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31" name="Freeform 29"/>
                <p:cNvSpPr>
                  <a:spLocks/>
                </p:cNvSpPr>
                <p:nvPr/>
              </p:nvSpPr>
              <p:spPr bwMode="auto">
                <a:xfrm flipH="1">
                  <a:off x="432647" y="6571940"/>
                  <a:ext cx="3340253" cy="42816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32" name="AutoShape 3"/>
                <p:cNvSpPr>
                  <a:spLocks noChangeAspect="1" noChangeArrowheads="1" noTextEdit="1"/>
                </p:cNvSpPr>
                <p:nvPr/>
              </p:nvSpPr>
              <p:spPr bwMode="auto">
                <a:xfrm flipH="1">
                  <a:off x="984" y="5602741"/>
                  <a:ext cx="4298430"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533" name="Group 532"/>
                <p:cNvGrpSpPr/>
                <p:nvPr/>
              </p:nvGrpSpPr>
              <p:grpSpPr>
                <a:xfrm flipH="1">
                  <a:off x="4803495" y="6266909"/>
                  <a:ext cx="188333" cy="365034"/>
                  <a:chOff x="6229350" y="5232400"/>
                  <a:chExt cx="539750" cy="1046162"/>
                </a:xfrm>
              </p:grpSpPr>
              <p:sp>
                <p:nvSpPr>
                  <p:cNvPr id="54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4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4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534" name="Freeform 17"/>
                <p:cNvSpPr>
                  <a:spLocks/>
                </p:cNvSpPr>
                <p:nvPr/>
              </p:nvSpPr>
              <p:spPr bwMode="auto">
                <a:xfrm flipH="1">
                  <a:off x="-104693" y="6414293"/>
                  <a:ext cx="1545276" cy="58581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536" name="Group 535"/>
                <p:cNvGrpSpPr/>
                <p:nvPr/>
              </p:nvGrpSpPr>
              <p:grpSpPr>
                <a:xfrm flipH="1">
                  <a:off x="4579666" y="6201145"/>
                  <a:ext cx="188333" cy="365034"/>
                  <a:chOff x="6229350" y="5232400"/>
                  <a:chExt cx="539750" cy="1046162"/>
                </a:xfrm>
              </p:grpSpPr>
              <p:sp>
                <p:nvSpPr>
                  <p:cNvPr id="537"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38"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39"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sp>
            <p:nvSpPr>
              <p:cNvPr id="186" name="Freeform 155"/>
              <p:cNvSpPr>
                <a:spLocks/>
              </p:cNvSpPr>
              <p:nvPr/>
            </p:nvSpPr>
            <p:spPr bwMode="auto">
              <a:xfrm>
                <a:off x="1644030" y="5983503"/>
                <a:ext cx="289869" cy="859513"/>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316"/>
                <a:endParaRPr lang="en-US" kern="0" dirty="0">
                  <a:solidFill>
                    <a:srgbClr val="000000"/>
                  </a:solidFill>
                </a:endParaRPr>
              </a:p>
            </p:txBody>
          </p:sp>
        </p:grpSp>
        <p:sp>
          <p:nvSpPr>
            <p:cNvPr id="543" name="Rectangle 20"/>
            <p:cNvSpPr>
              <a:spLocks noChangeArrowheads="1"/>
            </p:cNvSpPr>
            <p:nvPr/>
          </p:nvSpPr>
          <p:spPr bwMode="auto">
            <a:xfrm>
              <a:off x="0" y="6938891"/>
              <a:ext cx="12435840" cy="55634"/>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nvGrpSpPr>
            <p:cNvPr id="101" name="Group 100"/>
            <p:cNvGrpSpPr/>
            <p:nvPr/>
          </p:nvGrpSpPr>
          <p:grpSpPr>
            <a:xfrm>
              <a:off x="10761663" y="6165280"/>
              <a:ext cx="1674812" cy="769937"/>
              <a:chOff x="10761663" y="5776328"/>
              <a:chExt cx="1674812" cy="769937"/>
            </a:xfrm>
          </p:grpSpPr>
          <p:sp>
            <p:nvSpPr>
              <p:cNvPr id="198" name="Freeform 370"/>
              <p:cNvSpPr>
                <a:spLocks/>
              </p:cNvSpPr>
              <p:nvPr/>
            </p:nvSpPr>
            <p:spPr bwMode="auto">
              <a:xfrm flipH="1">
                <a:off x="11356975" y="6168440"/>
                <a:ext cx="447675" cy="377825"/>
              </a:xfrm>
              <a:custGeom>
                <a:avLst/>
                <a:gdLst>
                  <a:gd name="T0" fmla="*/ 154 w 282"/>
                  <a:gd name="T1" fmla="*/ 40 h 238"/>
                  <a:gd name="T2" fmla="*/ 154 w 282"/>
                  <a:gd name="T3" fmla="*/ 0 h 238"/>
                  <a:gd name="T4" fmla="*/ 185 w 282"/>
                  <a:gd name="T5" fmla="*/ 0 h 238"/>
                  <a:gd name="T6" fmla="*/ 185 w 282"/>
                  <a:gd name="T7" fmla="*/ 40 h 238"/>
                  <a:gd name="T8" fmla="*/ 196 w 282"/>
                  <a:gd name="T9" fmla="*/ 40 h 238"/>
                  <a:gd name="T10" fmla="*/ 196 w 282"/>
                  <a:gd name="T11" fmla="*/ 0 h 238"/>
                  <a:gd name="T12" fmla="*/ 226 w 282"/>
                  <a:gd name="T13" fmla="*/ 0 h 238"/>
                  <a:gd name="T14" fmla="*/ 226 w 282"/>
                  <a:gd name="T15" fmla="*/ 40 h 238"/>
                  <a:gd name="T16" fmla="*/ 282 w 282"/>
                  <a:gd name="T17" fmla="*/ 40 h 238"/>
                  <a:gd name="T18" fmla="*/ 282 w 282"/>
                  <a:gd name="T19" fmla="*/ 50 h 238"/>
                  <a:gd name="T20" fmla="*/ 268 w 282"/>
                  <a:gd name="T21" fmla="*/ 50 h 238"/>
                  <a:gd name="T22" fmla="*/ 268 w 282"/>
                  <a:gd name="T23" fmla="*/ 238 h 238"/>
                  <a:gd name="T24" fmla="*/ 12 w 282"/>
                  <a:gd name="T25" fmla="*/ 238 h 238"/>
                  <a:gd name="T26" fmla="*/ 12 w 282"/>
                  <a:gd name="T27" fmla="*/ 50 h 238"/>
                  <a:gd name="T28" fmla="*/ 0 w 282"/>
                  <a:gd name="T29" fmla="*/ 50 h 238"/>
                  <a:gd name="T30" fmla="*/ 0 w 282"/>
                  <a:gd name="T31" fmla="*/ 40 h 238"/>
                  <a:gd name="T32" fmla="*/ 154 w 282"/>
                  <a:gd name="T33" fmla="*/ 4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2" h="238">
                    <a:moveTo>
                      <a:pt x="154" y="40"/>
                    </a:moveTo>
                    <a:lnTo>
                      <a:pt x="154" y="0"/>
                    </a:lnTo>
                    <a:lnTo>
                      <a:pt x="185" y="0"/>
                    </a:lnTo>
                    <a:lnTo>
                      <a:pt x="185" y="40"/>
                    </a:lnTo>
                    <a:lnTo>
                      <a:pt x="196" y="40"/>
                    </a:lnTo>
                    <a:lnTo>
                      <a:pt x="196" y="0"/>
                    </a:lnTo>
                    <a:lnTo>
                      <a:pt x="226" y="0"/>
                    </a:lnTo>
                    <a:lnTo>
                      <a:pt x="226" y="40"/>
                    </a:lnTo>
                    <a:lnTo>
                      <a:pt x="282" y="40"/>
                    </a:lnTo>
                    <a:lnTo>
                      <a:pt x="282" y="50"/>
                    </a:lnTo>
                    <a:lnTo>
                      <a:pt x="268" y="50"/>
                    </a:lnTo>
                    <a:lnTo>
                      <a:pt x="268" y="238"/>
                    </a:lnTo>
                    <a:lnTo>
                      <a:pt x="12" y="238"/>
                    </a:lnTo>
                    <a:lnTo>
                      <a:pt x="12" y="50"/>
                    </a:lnTo>
                    <a:lnTo>
                      <a:pt x="0" y="50"/>
                    </a:lnTo>
                    <a:lnTo>
                      <a:pt x="0" y="40"/>
                    </a:lnTo>
                    <a:lnTo>
                      <a:pt x="154" y="4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9" name="Freeform 371"/>
              <p:cNvSpPr>
                <a:spLocks/>
              </p:cNvSpPr>
              <p:nvPr/>
            </p:nvSpPr>
            <p:spPr bwMode="auto">
              <a:xfrm flipH="1">
                <a:off x="11593513" y="6168440"/>
                <a:ext cx="449262" cy="377825"/>
              </a:xfrm>
              <a:custGeom>
                <a:avLst/>
                <a:gdLst>
                  <a:gd name="T0" fmla="*/ 156 w 283"/>
                  <a:gd name="T1" fmla="*/ 40 h 238"/>
                  <a:gd name="T2" fmla="*/ 156 w 283"/>
                  <a:gd name="T3" fmla="*/ 0 h 238"/>
                  <a:gd name="T4" fmla="*/ 187 w 283"/>
                  <a:gd name="T5" fmla="*/ 0 h 238"/>
                  <a:gd name="T6" fmla="*/ 187 w 283"/>
                  <a:gd name="T7" fmla="*/ 40 h 238"/>
                  <a:gd name="T8" fmla="*/ 197 w 283"/>
                  <a:gd name="T9" fmla="*/ 40 h 238"/>
                  <a:gd name="T10" fmla="*/ 197 w 283"/>
                  <a:gd name="T11" fmla="*/ 0 h 238"/>
                  <a:gd name="T12" fmla="*/ 228 w 283"/>
                  <a:gd name="T13" fmla="*/ 0 h 238"/>
                  <a:gd name="T14" fmla="*/ 228 w 283"/>
                  <a:gd name="T15" fmla="*/ 40 h 238"/>
                  <a:gd name="T16" fmla="*/ 283 w 283"/>
                  <a:gd name="T17" fmla="*/ 40 h 238"/>
                  <a:gd name="T18" fmla="*/ 283 w 283"/>
                  <a:gd name="T19" fmla="*/ 50 h 238"/>
                  <a:gd name="T20" fmla="*/ 270 w 283"/>
                  <a:gd name="T21" fmla="*/ 50 h 238"/>
                  <a:gd name="T22" fmla="*/ 270 w 283"/>
                  <a:gd name="T23" fmla="*/ 238 h 238"/>
                  <a:gd name="T24" fmla="*/ 13 w 283"/>
                  <a:gd name="T25" fmla="*/ 238 h 238"/>
                  <a:gd name="T26" fmla="*/ 13 w 283"/>
                  <a:gd name="T27" fmla="*/ 50 h 238"/>
                  <a:gd name="T28" fmla="*/ 0 w 283"/>
                  <a:gd name="T29" fmla="*/ 50 h 238"/>
                  <a:gd name="T30" fmla="*/ 0 w 283"/>
                  <a:gd name="T31" fmla="*/ 40 h 238"/>
                  <a:gd name="T32" fmla="*/ 156 w 283"/>
                  <a:gd name="T33" fmla="*/ 4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3" h="238">
                    <a:moveTo>
                      <a:pt x="156" y="40"/>
                    </a:moveTo>
                    <a:lnTo>
                      <a:pt x="156" y="0"/>
                    </a:lnTo>
                    <a:lnTo>
                      <a:pt x="187" y="0"/>
                    </a:lnTo>
                    <a:lnTo>
                      <a:pt x="187" y="40"/>
                    </a:lnTo>
                    <a:lnTo>
                      <a:pt x="197" y="40"/>
                    </a:lnTo>
                    <a:lnTo>
                      <a:pt x="197" y="0"/>
                    </a:lnTo>
                    <a:lnTo>
                      <a:pt x="228" y="0"/>
                    </a:lnTo>
                    <a:lnTo>
                      <a:pt x="228" y="40"/>
                    </a:lnTo>
                    <a:lnTo>
                      <a:pt x="283" y="40"/>
                    </a:lnTo>
                    <a:lnTo>
                      <a:pt x="283" y="50"/>
                    </a:lnTo>
                    <a:lnTo>
                      <a:pt x="270" y="50"/>
                    </a:lnTo>
                    <a:lnTo>
                      <a:pt x="270" y="238"/>
                    </a:lnTo>
                    <a:lnTo>
                      <a:pt x="13" y="238"/>
                    </a:lnTo>
                    <a:lnTo>
                      <a:pt x="13" y="50"/>
                    </a:lnTo>
                    <a:lnTo>
                      <a:pt x="0" y="50"/>
                    </a:lnTo>
                    <a:lnTo>
                      <a:pt x="0" y="40"/>
                    </a:lnTo>
                    <a:lnTo>
                      <a:pt x="156" y="4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1" name="Rectangle 373"/>
              <p:cNvSpPr>
                <a:spLocks noChangeArrowheads="1"/>
              </p:cNvSpPr>
              <p:nvPr/>
            </p:nvSpPr>
            <p:spPr bwMode="auto">
              <a:xfrm flipH="1">
                <a:off x="11071226" y="6036678"/>
                <a:ext cx="407987" cy="509587"/>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2" name="Rectangle 374"/>
              <p:cNvSpPr>
                <a:spLocks noChangeArrowheads="1"/>
              </p:cNvSpPr>
              <p:nvPr/>
            </p:nvSpPr>
            <p:spPr bwMode="auto">
              <a:xfrm flipH="1">
                <a:off x="11052175" y="6020803"/>
                <a:ext cx="447675" cy="158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3" name="Rectangle 375"/>
              <p:cNvSpPr>
                <a:spLocks noChangeArrowheads="1"/>
              </p:cNvSpPr>
              <p:nvPr/>
            </p:nvSpPr>
            <p:spPr bwMode="auto">
              <a:xfrm flipH="1">
                <a:off x="11201400" y="6441490"/>
                <a:ext cx="53975" cy="1047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4" name="Rectangle 376"/>
              <p:cNvSpPr>
                <a:spLocks noChangeArrowheads="1"/>
              </p:cNvSpPr>
              <p:nvPr/>
            </p:nvSpPr>
            <p:spPr bwMode="auto">
              <a:xfrm flipH="1">
                <a:off x="11293475" y="6441490"/>
                <a:ext cx="53975" cy="1047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5" name="Rectangle 377"/>
              <p:cNvSpPr>
                <a:spLocks noChangeArrowheads="1"/>
              </p:cNvSpPr>
              <p:nvPr/>
            </p:nvSpPr>
            <p:spPr bwMode="auto">
              <a:xfrm flipH="1">
                <a:off x="11109326" y="6082715"/>
                <a:ext cx="328612" cy="5238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6" name="Rectangle 378"/>
              <p:cNvSpPr>
                <a:spLocks noChangeArrowheads="1"/>
              </p:cNvSpPr>
              <p:nvPr/>
            </p:nvSpPr>
            <p:spPr bwMode="auto">
              <a:xfrm flipH="1">
                <a:off x="11109326" y="6174790"/>
                <a:ext cx="328612" cy="5238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7" name="Rectangle 379"/>
              <p:cNvSpPr>
                <a:spLocks noChangeArrowheads="1"/>
              </p:cNvSpPr>
              <p:nvPr/>
            </p:nvSpPr>
            <p:spPr bwMode="auto">
              <a:xfrm flipH="1">
                <a:off x="11109326" y="6265278"/>
                <a:ext cx="328612" cy="539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8" name="Rectangle 380"/>
              <p:cNvSpPr>
                <a:spLocks noChangeArrowheads="1"/>
              </p:cNvSpPr>
              <p:nvPr/>
            </p:nvSpPr>
            <p:spPr bwMode="auto">
              <a:xfrm flipH="1">
                <a:off x="11109326" y="6357353"/>
                <a:ext cx="328612" cy="5238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nvGrpSpPr>
              <p:cNvPr id="209" name="Group 208"/>
              <p:cNvGrpSpPr/>
              <p:nvPr/>
            </p:nvGrpSpPr>
            <p:grpSpPr>
              <a:xfrm>
                <a:off x="10761663" y="6319253"/>
                <a:ext cx="269875" cy="225425"/>
                <a:chOff x="10761663" y="6293853"/>
                <a:chExt cx="269875" cy="225425"/>
              </a:xfrm>
            </p:grpSpPr>
            <p:sp>
              <p:nvSpPr>
                <p:cNvPr id="236" name="Rectangle 382"/>
                <p:cNvSpPr>
                  <a:spLocks noChangeArrowheads="1"/>
                </p:cNvSpPr>
                <p:nvPr/>
              </p:nvSpPr>
              <p:spPr bwMode="auto">
                <a:xfrm flipH="1">
                  <a:off x="10809288" y="6430378"/>
                  <a:ext cx="23812" cy="889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37" name="Oval 383"/>
                <p:cNvSpPr>
                  <a:spLocks noChangeArrowheads="1"/>
                </p:cNvSpPr>
                <p:nvPr/>
              </p:nvSpPr>
              <p:spPr bwMode="auto">
                <a:xfrm flipH="1">
                  <a:off x="10761663" y="6354178"/>
                  <a:ext cx="117475" cy="11747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38" name="Oval 384"/>
                <p:cNvSpPr>
                  <a:spLocks noChangeArrowheads="1"/>
                </p:cNvSpPr>
                <p:nvPr/>
              </p:nvSpPr>
              <p:spPr bwMode="auto">
                <a:xfrm flipH="1">
                  <a:off x="10777538" y="6293853"/>
                  <a:ext cx="85725" cy="857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39" name="Rectangle 385"/>
                <p:cNvSpPr>
                  <a:spLocks noChangeArrowheads="1"/>
                </p:cNvSpPr>
                <p:nvPr/>
              </p:nvSpPr>
              <p:spPr bwMode="auto">
                <a:xfrm flipH="1">
                  <a:off x="10961688" y="6430378"/>
                  <a:ext cx="23812" cy="889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0" name="Oval 386"/>
                <p:cNvSpPr>
                  <a:spLocks noChangeArrowheads="1"/>
                </p:cNvSpPr>
                <p:nvPr/>
              </p:nvSpPr>
              <p:spPr bwMode="auto">
                <a:xfrm flipH="1">
                  <a:off x="10915651" y="6354178"/>
                  <a:ext cx="115887" cy="11747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1" name="Oval 387"/>
                <p:cNvSpPr>
                  <a:spLocks noChangeArrowheads="1"/>
                </p:cNvSpPr>
                <p:nvPr/>
              </p:nvSpPr>
              <p:spPr bwMode="auto">
                <a:xfrm flipH="1">
                  <a:off x="10929938" y="6293853"/>
                  <a:ext cx="85725" cy="85725"/>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10" name="Rectangle 388"/>
              <p:cNvSpPr>
                <a:spLocks noChangeArrowheads="1"/>
              </p:cNvSpPr>
              <p:nvPr/>
            </p:nvSpPr>
            <p:spPr bwMode="auto">
              <a:xfrm flipH="1">
                <a:off x="11255376" y="5957303"/>
                <a:ext cx="157162" cy="635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1" name="Rectangle 389"/>
              <p:cNvSpPr>
                <a:spLocks noChangeArrowheads="1"/>
              </p:cNvSpPr>
              <p:nvPr/>
            </p:nvSpPr>
            <p:spPr bwMode="auto">
              <a:xfrm flipH="1">
                <a:off x="12066588" y="6222415"/>
                <a:ext cx="369887" cy="323850"/>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2" name="Rectangle 390"/>
              <p:cNvSpPr>
                <a:spLocks noChangeArrowheads="1"/>
              </p:cNvSpPr>
              <p:nvPr/>
            </p:nvSpPr>
            <p:spPr bwMode="auto">
              <a:xfrm flipH="1">
                <a:off x="12045950" y="6208128"/>
                <a:ext cx="390525" cy="1428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3" name="Rectangle 391"/>
              <p:cNvSpPr>
                <a:spLocks noChangeArrowheads="1"/>
              </p:cNvSpPr>
              <p:nvPr/>
            </p:nvSpPr>
            <p:spPr bwMode="auto">
              <a:xfrm flipH="1">
                <a:off x="12196763" y="6441490"/>
                <a:ext cx="52387" cy="10477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4" name="Rectangle 392"/>
              <p:cNvSpPr>
                <a:spLocks noChangeArrowheads="1"/>
              </p:cNvSpPr>
              <p:nvPr/>
            </p:nvSpPr>
            <p:spPr bwMode="auto">
              <a:xfrm flipH="1">
                <a:off x="12288838" y="6441490"/>
                <a:ext cx="53975" cy="10477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5" name="Rectangle 393"/>
              <p:cNvSpPr>
                <a:spLocks noChangeArrowheads="1"/>
              </p:cNvSpPr>
              <p:nvPr/>
            </p:nvSpPr>
            <p:spPr bwMode="auto">
              <a:xfrm flipH="1">
                <a:off x="12104688" y="6265278"/>
                <a:ext cx="330200" cy="53975"/>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6" name="Rectangle 394"/>
              <p:cNvSpPr>
                <a:spLocks noChangeArrowheads="1"/>
              </p:cNvSpPr>
              <p:nvPr/>
            </p:nvSpPr>
            <p:spPr bwMode="auto">
              <a:xfrm flipH="1">
                <a:off x="12104688" y="6357353"/>
                <a:ext cx="330200" cy="52387"/>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7" name="Rectangle 395"/>
              <p:cNvSpPr>
                <a:spLocks noChangeArrowheads="1"/>
              </p:cNvSpPr>
              <p:nvPr/>
            </p:nvSpPr>
            <p:spPr bwMode="auto">
              <a:xfrm flipH="1">
                <a:off x="12249150" y="6144628"/>
                <a:ext cx="158750" cy="635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8" name="Rectangle 396"/>
              <p:cNvSpPr>
                <a:spLocks noChangeArrowheads="1"/>
              </p:cNvSpPr>
              <p:nvPr/>
            </p:nvSpPr>
            <p:spPr bwMode="auto">
              <a:xfrm flipH="1">
                <a:off x="11569700" y="5855703"/>
                <a:ext cx="406400" cy="69056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19" name="Rectangle 397"/>
              <p:cNvSpPr>
                <a:spLocks noChangeArrowheads="1"/>
              </p:cNvSpPr>
              <p:nvPr/>
            </p:nvSpPr>
            <p:spPr bwMode="auto">
              <a:xfrm flipH="1">
                <a:off x="11549063" y="5839828"/>
                <a:ext cx="447675" cy="158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0" name="Rectangle 398"/>
              <p:cNvSpPr>
                <a:spLocks noChangeArrowheads="1"/>
              </p:cNvSpPr>
              <p:nvPr/>
            </p:nvSpPr>
            <p:spPr bwMode="auto">
              <a:xfrm flipH="1">
                <a:off x="11699875" y="6441490"/>
                <a:ext cx="53975" cy="1047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1" name="Rectangle 399"/>
              <p:cNvSpPr>
                <a:spLocks noChangeArrowheads="1"/>
              </p:cNvSpPr>
              <p:nvPr/>
            </p:nvSpPr>
            <p:spPr bwMode="auto">
              <a:xfrm flipH="1">
                <a:off x="11790363" y="6441490"/>
                <a:ext cx="53975" cy="1047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2" name="Rectangle 400"/>
              <p:cNvSpPr>
                <a:spLocks noChangeArrowheads="1"/>
              </p:cNvSpPr>
              <p:nvPr/>
            </p:nvSpPr>
            <p:spPr bwMode="auto">
              <a:xfrm flipH="1">
                <a:off x="11607801" y="6082715"/>
                <a:ext cx="328612" cy="5238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3" name="Rectangle 401"/>
              <p:cNvSpPr>
                <a:spLocks noChangeArrowheads="1"/>
              </p:cNvSpPr>
              <p:nvPr/>
            </p:nvSpPr>
            <p:spPr bwMode="auto">
              <a:xfrm flipH="1">
                <a:off x="11607801" y="6174790"/>
                <a:ext cx="328612" cy="5238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4" name="Rectangle 402"/>
              <p:cNvSpPr>
                <a:spLocks noChangeArrowheads="1"/>
              </p:cNvSpPr>
              <p:nvPr/>
            </p:nvSpPr>
            <p:spPr bwMode="auto">
              <a:xfrm flipH="1">
                <a:off x="11607801" y="6265278"/>
                <a:ext cx="328612" cy="539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5" name="Rectangle 403"/>
              <p:cNvSpPr>
                <a:spLocks noChangeArrowheads="1"/>
              </p:cNvSpPr>
              <p:nvPr/>
            </p:nvSpPr>
            <p:spPr bwMode="auto">
              <a:xfrm flipH="1">
                <a:off x="11607801" y="6357353"/>
                <a:ext cx="328612" cy="5238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6" name="Rectangle 404"/>
              <p:cNvSpPr>
                <a:spLocks noChangeArrowheads="1"/>
              </p:cNvSpPr>
              <p:nvPr/>
            </p:nvSpPr>
            <p:spPr bwMode="auto">
              <a:xfrm flipH="1">
                <a:off x="11607801" y="5900153"/>
                <a:ext cx="328612" cy="5238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7" name="Rectangle 405"/>
              <p:cNvSpPr>
                <a:spLocks noChangeArrowheads="1"/>
              </p:cNvSpPr>
              <p:nvPr/>
            </p:nvSpPr>
            <p:spPr bwMode="auto">
              <a:xfrm flipH="1">
                <a:off x="11607801" y="5990640"/>
                <a:ext cx="328612" cy="5397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8" name="Rectangle 406"/>
              <p:cNvSpPr>
                <a:spLocks noChangeArrowheads="1"/>
              </p:cNvSpPr>
              <p:nvPr/>
            </p:nvSpPr>
            <p:spPr bwMode="auto">
              <a:xfrm flipH="1">
                <a:off x="11636376" y="5776328"/>
                <a:ext cx="49212" cy="635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29" name="Rectangle 407"/>
              <p:cNvSpPr>
                <a:spLocks noChangeArrowheads="1"/>
              </p:cNvSpPr>
              <p:nvPr/>
            </p:nvSpPr>
            <p:spPr bwMode="auto">
              <a:xfrm flipH="1">
                <a:off x="11701463" y="5776328"/>
                <a:ext cx="49212" cy="635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30" name="Rectangle 408"/>
              <p:cNvSpPr>
                <a:spLocks noChangeArrowheads="1"/>
              </p:cNvSpPr>
              <p:nvPr/>
            </p:nvSpPr>
            <p:spPr bwMode="auto">
              <a:xfrm flipH="1">
                <a:off x="11447463" y="6519278"/>
                <a:ext cx="153987" cy="269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31" name="Rectangle 409"/>
              <p:cNvSpPr>
                <a:spLocks noChangeArrowheads="1"/>
              </p:cNvSpPr>
              <p:nvPr/>
            </p:nvSpPr>
            <p:spPr bwMode="auto">
              <a:xfrm flipH="1">
                <a:off x="11882438" y="6519278"/>
                <a:ext cx="222250" cy="269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sp>
        <p:nvSpPr>
          <p:cNvPr id="9" name="Slide Number Placeholder 8"/>
          <p:cNvSpPr>
            <a:spLocks noGrp="1"/>
          </p:cNvSpPr>
          <p:nvPr>
            <p:ph type="sldNum" sz="quarter" idx="11"/>
          </p:nvPr>
        </p:nvSpPr>
        <p:spPr/>
        <p:txBody>
          <a:bodyPr/>
          <a:lstStyle/>
          <a:p>
            <a:fld id="{27258FFF-F925-446B-8502-81C933981705}" type="slidenum">
              <a:rPr lang="en-US" smtClean="0">
                <a:solidFill>
                  <a:schemeClr val="bg1"/>
                </a:solidFill>
              </a:rPr>
              <a:pPr/>
              <a:t>28</a:t>
            </a:fld>
            <a:endParaRPr lang="en-US" dirty="0">
              <a:solidFill>
                <a:schemeClr val="bg1"/>
              </a:solidFill>
            </a:endParaRPr>
          </a:p>
        </p:txBody>
      </p:sp>
      <p:grpSp>
        <p:nvGrpSpPr>
          <p:cNvPr id="8" name="Group 7"/>
          <p:cNvGrpSpPr/>
          <p:nvPr/>
        </p:nvGrpSpPr>
        <p:grpSpPr>
          <a:xfrm>
            <a:off x="563197" y="1400366"/>
            <a:ext cx="11470707" cy="3441404"/>
            <a:chOff x="563197" y="1400366"/>
            <a:chExt cx="11470707" cy="3441404"/>
          </a:xfrm>
        </p:grpSpPr>
        <p:grpSp>
          <p:nvGrpSpPr>
            <p:cNvPr id="7" name="Group 6"/>
            <p:cNvGrpSpPr/>
            <p:nvPr/>
          </p:nvGrpSpPr>
          <p:grpSpPr>
            <a:xfrm>
              <a:off x="563197" y="1400366"/>
              <a:ext cx="11470707" cy="3441404"/>
              <a:chOff x="579438" y="1459861"/>
              <a:chExt cx="11470707" cy="3441404"/>
            </a:xfrm>
          </p:grpSpPr>
          <p:sp>
            <p:nvSpPr>
              <p:cNvPr id="347" name="Rectangle 346"/>
              <p:cNvSpPr/>
              <p:nvPr/>
            </p:nvSpPr>
            <p:spPr bwMode="auto">
              <a:xfrm>
                <a:off x="5233794" y="3966815"/>
                <a:ext cx="941838" cy="64633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algn="ctr" defTabSz="932384" fontAlgn="base"/>
                <a:r>
                  <a:rPr lang="en-IN" sz="1200" dirty="0">
                    <a:solidFill>
                      <a:schemeClr val="tx2"/>
                    </a:solidFill>
                    <a:latin typeface="Segoe UI Semibold" panose="020B0702040204020203" pitchFamily="34" charset="0"/>
                    <a:ea typeface="Segoe UI" pitchFamily="34" charset="0"/>
                    <a:cs typeface="Segoe UI" pitchFamily="34" charset="0"/>
                  </a:rPr>
                  <a:t>Operations Security Assurance</a:t>
                </a:r>
              </a:p>
            </p:txBody>
          </p:sp>
          <p:grpSp>
            <p:nvGrpSpPr>
              <p:cNvPr id="6" name="Group 5"/>
              <p:cNvGrpSpPr/>
              <p:nvPr/>
            </p:nvGrpSpPr>
            <p:grpSpPr>
              <a:xfrm>
                <a:off x="579438" y="1459861"/>
                <a:ext cx="11470707" cy="3441404"/>
                <a:chOff x="579438" y="1459861"/>
                <a:chExt cx="11470707" cy="3441404"/>
              </a:xfrm>
            </p:grpSpPr>
            <p:cxnSp>
              <p:nvCxnSpPr>
                <p:cNvPr id="385" name="Straight Connector 384"/>
                <p:cNvCxnSpPr/>
                <p:nvPr/>
              </p:nvCxnSpPr>
              <p:spPr>
                <a:xfrm flipV="1">
                  <a:off x="5358351" y="2782375"/>
                  <a:ext cx="0" cy="315395"/>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86" name="Rectangle 385"/>
                <p:cNvSpPr/>
                <p:nvPr/>
              </p:nvSpPr>
              <p:spPr bwMode="auto">
                <a:xfrm>
                  <a:off x="4966675" y="1827485"/>
                  <a:ext cx="763264" cy="470856"/>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spAutoFit/>
                </a:bodyPr>
                <a:lstStyle/>
                <a:p>
                  <a:pPr algn="ctr" defTabSz="932384" fontAlgn="base"/>
                  <a:r>
                    <a:rPr lang="en-IN" sz="1200" dirty="0">
                      <a:solidFill>
                        <a:schemeClr val="tx2"/>
                      </a:solidFill>
                      <a:latin typeface="Segoe UI Semibold" panose="020B0702040204020203" pitchFamily="34" charset="0"/>
                      <a:ea typeface="Segoe UI" pitchFamily="34" charset="0"/>
                      <a:cs typeface="Segoe UI" pitchFamily="34" charset="0"/>
                    </a:rPr>
                    <a:t>HIPAA/</a:t>
                  </a:r>
                  <a:br>
                    <a:rPr lang="en-IN" sz="1200" dirty="0">
                      <a:solidFill>
                        <a:schemeClr val="tx2"/>
                      </a:solidFill>
                      <a:latin typeface="Segoe UI Semibold" panose="020B0702040204020203" pitchFamily="34" charset="0"/>
                      <a:ea typeface="Segoe UI" pitchFamily="34" charset="0"/>
                      <a:cs typeface="Segoe UI" pitchFamily="34" charset="0"/>
                    </a:rPr>
                  </a:br>
                  <a:r>
                    <a:rPr lang="en-IN" sz="1200" dirty="0">
                      <a:solidFill>
                        <a:schemeClr val="tx2"/>
                      </a:solidFill>
                      <a:latin typeface="Segoe UI Semibold" panose="020B0702040204020203" pitchFamily="34" charset="0"/>
                      <a:ea typeface="Segoe UI" pitchFamily="34" charset="0"/>
                      <a:cs typeface="Segoe UI" pitchFamily="34" charset="0"/>
                    </a:rPr>
                    <a:t>HITECH</a:t>
                  </a:r>
                </a:p>
              </p:txBody>
            </p:sp>
            <p:pic>
              <p:nvPicPr>
                <p:cNvPr id="387" name="Picture 5"/>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5182249" y="2371940"/>
                  <a:ext cx="365760" cy="3657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1" name="Group 380"/>
                <p:cNvGrpSpPr/>
                <p:nvPr/>
              </p:nvGrpSpPr>
              <p:grpSpPr>
                <a:xfrm>
                  <a:off x="10905443" y="2129454"/>
                  <a:ext cx="365760" cy="898494"/>
                  <a:chOff x="11208007" y="2947373"/>
                  <a:chExt cx="365760" cy="898494"/>
                </a:xfrm>
              </p:grpSpPr>
              <p:cxnSp>
                <p:nvCxnSpPr>
                  <p:cNvPr id="383" name="Straight Connector 382"/>
                  <p:cNvCxnSpPr/>
                  <p:nvPr/>
                </p:nvCxnSpPr>
                <p:spPr>
                  <a:xfrm flipV="1">
                    <a:off x="11390887" y="3569476"/>
                    <a:ext cx="0" cy="276391"/>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pic>
                <p:nvPicPr>
                  <p:cNvPr id="384"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208007" y="2947373"/>
                    <a:ext cx="365760" cy="365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82" name="Rectangle 381"/>
                <p:cNvSpPr/>
                <p:nvPr/>
              </p:nvSpPr>
              <p:spPr bwMode="auto">
                <a:xfrm>
                  <a:off x="10725667" y="2501847"/>
                  <a:ext cx="725312" cy="282513"/>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spAutoFit/>
                </a:bodyPr>
                <a:lstStyle/>
                <a:p>
                  <a:pPr algn="ctr" defTabSz="932384" fontAlgn="base"/>
                  <a:r>
                    <a:rPr lang="en-IN" sz="1200" dirty="0">
                      <a:solidFill>
                        <a:schemeClr val="tx2"/>
                      </a:solidFill>
                      <a:latin typeface="Segoe UI Semibold" panose="020B0702040204020203" pitchFamily="34" charset="0"/>
                      <a:ea typeface="Segoe UI" pitchFamily="34" charset="0"/>
                      <a:cs typeface="Segoe UI" pitchFamily="34" charset="0"/>
                    </a:rPr>
                    <a:t>CJIS</a:t>
                  </a:r>
                </a:p>
              </p:txBody>
            </p:sp>
            <p:cxnSp>
              <p:nvCxnSpPr>
                <p:cNvPr id="378" name="Straight Connector 377"/>
                <p:cNvCxnSpPr/>
                <p:nvPr/>
              </p:nvCxnSpPr>
              <p:spPr>
                <a:xfrm flipV="1">
                  <a:off x="2885206" y="2770336"/>
                  <a:ext cx="0" cy="276391"/>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79" name="Rectangle 378"/>
                <p:cNvSpPr/>
                <p:nvPr/>
              </p:nvSpPr>
              <p:spPr bwMode="auto">
                <a:xfrm>
                  <a:off x="2691800" y="2476585"/>
                  <a:ext cx="451578" cy="282513"/>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spAutoFit/>
                </a:bodyPr>
                <a:lstStyle/>
                <a:p>
                  <a:pPr algn="ctr" defTabSz="932384" fontAlgn="base"/>
                  <a:r>
                    <a:rPr lang="en-IN" sz="1200" dirty="0">
                      <a:solidFill>
                        <a:schemeClr val="tx2"/>
                      </a:solidFill>
                      <a:latin typeface="Segoe UI Semibold" panose="020B0702040204020203" pitchFamily="34" charset="0"/>
                      <a:ea typeface="Segoe UI" pitchFamily="34" charset="0"/>
                      <a:cs typeface="Segoe UI" pitchFamily="34" charset="0"/>
                    </a:rPr>
                    <a:t>SOC 1</a:t>
                  </a:r>
                </a:p>
              </p:txBody>
            </p:sp>
            <p:pic>
              <p:nvPicPr>
                <p:cNvPr id="380" name="Picture 8" descr="http://www.centrilogic.com/wp-content/uploads/2013/05/SOC-Service-Org_B_Marks_2c_Web-260x220.png"/>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2670388" y="2036262"/>
                  <a:ext cx="509458" cy="472214"/>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258" name="Straight Connector 257"/>
                <p:cNvCxnSpPr/>
                <p:nvPr/>
              </p:nvCxnSpPr>
              <p:spPr>
                <a:xfrm flipV="1">
                  <a:off x="975356" y="1636022"/>
                  <a:ext cx="7631" cy="1573060"/>
                </a:xfrm>
                <a:prstGeom prst="line">
                  <a:avLst/>
                </a:prstGeom>
                <a:ln w="9525">
                  <a:solidFill>
                    <a:schemeClr val="bg1"/>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259" name="Right Arrow 3"/>
                <p:cNvSpPr/>
                <p:nvPr/>
              </p:nvSpPr>
              <p:spPr>
                <a:xfrm>
                  <a:off x="579438" y="3046727"/>
                  <a:ext cx="11283586" cy="191113"/>
                </a:xfrm>
                <a:prstGeom prst="roundRect">
                  <a:avLst>
                    <a:gd name="adj" fmla="val 50000"/>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13" fontAlgn="base"/>
                  <a:endParaRPr lang="en-US" sz="1200" dirty="0">
                    <a:solidFill>
                      <a:schemeClr val="tx2"/>
                    </a:solidFill>
                    <a:ea typeface="Segoe UI" pitchFamily="34" charset="0"/>
                    <a:cs typeface="Segoe UI" pitchFamily="34" charset="0"/>
                  </a:endParaRPr>
                </a:p>
              </p:txBody>
            </p:sp>
            <p:sp>
              <p:nvSpPr>
                <p:cNvPr id="305" name="Freeform 304"/>
                <p:cNvSpPr/>
                <p:nvPr/>
              </p:nvSpPr>
              <p:spPr>
                <a:xfrm>
                  <a:off x="4259477" y="2970895"/>
                  <a:ext cx="878005" cy="333034"/>
                </a:xfrm>
                <a:custGeom>
                  <a:avLst/>
                  <a:gdLst>
                    <a:gd name="connsiteX0" fmla="*/ 166517 w 878005"/>
                    <a:gd name="connsiteY0" fmla="*/ 0 h 333034"/>
                    <a:gd name="connsiteX1" fmla="*/ 743037 w 878005"/>
                    <a:gd name="connsiteY1" fmla="*/ 0 h 333034"/>
                    <a:gd name="connsiteX2" fmla="*/ 860783 w 878005"/>
                    <a:gd name="connsiteY2" fmla="*/ 48772 h 333034"/>
                    <a:gd name="connsiteX3" fmla="*/ 878005 w 878005"/>
                    <a:gd name="connsiteY3" fmla="*/ 74316 h 333034"/>
                    <a:gd name="connsiteX4" fmla="*/ 857429 w 878005"/>
                    <a:gd name="connsiteY4" fmla="*/ 78470 h 333034"/>
                    <a:gd name="connsiteX5" fmla="*/ 806577 w 878005"/>
                    <a:gd name="connsiteY5" fmla="*/ 129323 h 333034"/>
                    <a:gd name="connsiteX6" fmla="*/ 799067 w 878005"/>
                    <a:gd name="connsiteY6" fmla="*/ 166518 h 333034"/>
                    <a:gd name="connsiteX7" fmla="*/ 799067 w 878005"/>
                    <a:gd name="connsiteY7" fmla="*/ 166517 h 333034"/>
                    <a:gd name="connsiteX8" fmla="*/ 799067 w 878005"/>
                    <a:gd name="connsiteY8" fmla="*/ 166518 h 333034"/>
                    <a:gd name="connsiteX9" fmla="*/ 799067 w 878005"/>
                    <a:gd name="connsiteY9" fmla="*/ 166518 h 333034"/>
                    <a:gd name="connsiteX10" fmla="*/ 806577 w 878005"/>
                    <a:gd name="connsiteY10" fmla="*/ 203712 h 333034"/>
                    <a:gd name="connsiteX11" fmla="*/ 857429 w 878005"/>
                    <a:gd name="connsiteY11" fmla="*/ 254565 h 333034"/>
                    <a:gd name="connsiteX12" fmla="*/ 878005 w 878005"/>
                    <a:gd name="connsiteY12" fmla="*/ 258719 h 333034"/>
                    <a:gd name="connsiteX13" fmla="*/ 860783 w 878005"/>
                    <a:gd name="connsiteY13" fmla="*/ 284262 h 333034"/>
                    <a:gd name="connsiteX14" fmla="*/ 743037 w 878005"/>
                    <a:gd name="connsiteY14" fmla="*/ 333034 h 333034"/>
                    <a:gd name="connsiteX15" fmla="*/ 166517 w 878005"/>
                    <a:gd name="connsiteY15" fmla="*/ 333034 h 333034"/>
                    <a:gd name="connsiteX16" fmla="*/ 0 w 878005"/>
                    <a:gd name="connsiteY16" fmla="*/ 166517 h 333034"/>
                    <a:gd name="connsiteX17" fmla="*/ 166517 w 878005"/>
                    <a:gd name="connsiteY17" fmla="*/ 0 h 33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8005" h="333034">
                      <a:moveTo>
                        <a:pt x="166517" y="0"/>
                      </a:moveTo>
                      <a:lnTo>
                        <a:pt x="743037" y="0"/>
                      </a:lnTo>
                      <a:cubicBezTo>
                        <a:pt x="789020" y="0"/>
                        <a:pt x="830649" y="18638"/>
                        <a:pt x="860783" y="48772"/>
                      </a:cubicBezTo>
                      <a:lnTo>
                        <a:pt x="878005" y="74316"/>
                      </a:lnTo>
                      <a:lnTo>
                        <a:pt x="857429" y="78470"/>
                      </a:lnTo>
                      <a:cubicBezTo>
                        <a:pt x="834564" y="88141"/>
                        <a:pt x="816247" y="106458"/>
                        <a:pt x="806577" y="129323"/>
                      </a:cubicBezTo>
                      <a:lnTo>
                        <a:pt x="799067" y="166518"/>
                      </a:lnTo>
                      <a:lnTo>
                        <a:pt x="799067" y="166517"/>
                      </a:lnTo>
                      <a:lnTo>
                        <a:pt x="799067" y="166518"/>
                      </a:lnTo>
                      <a:lnTo>
                        <a:pt x="799067" y="166518"/>
                      </a:lnTo>
                      <a:lnTo>
                        <a:pt x="806577" y="203712"/>
                      </a:lnTo>
                      <a:cubicBezTo>
                        <a:pt x="816247" y="226577"/>
                        <a:pt x="834564" y="244894"/>
                        <a:pt x="857429" y="254565"/>
                      </a:cubicBezTo>
                      <a:lnTo>
                        <a:pt x="878005" y="258719"/>
                      </a:lnTo>
                      <a:lnTo>
                        <a:pt x="860783" y="284262"/>
                      </a:lnTo>
                      <a:cubicBezTo>
                        <a:pt x="830649" y="314396"/>
                        <a:pt x="789020" y="333034"/>
                        <a:pt x="743037" y="333034"/>
                      </a:cubicBezTo>
                      <a:lnTo>
                        <a:pt x="166517" y="333034"/>
                      </a:lnTo>
                      <a:cubicBezTo>
                        <a:pt x="74552" y="333034"/>
                        <a:pt x="0" y="258482"/>
                        <a:pt x="0" y="166517"/>
                      </a:cubicBezTo>
                      <a:cubicBezTo>
                        <a:pt x="0" y="74552"/>
                        <a:pt x="74552" y="0"/>
                        <a:pt x="166517"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013" fontAlgn="base"/>
                  <a:r>
                    <a:rPr lang="en-US" dirty="0" smtClean="0">
                      <a:solidFill>
                        <a:schemeClr val="bg1"/>
                      </a:solidFill>
                      <a:latin typeface="Segoe UI Semibold" panose="020B0702040204020203" pitchFamily="34" charset="0"/>
                      <a:ea typeface="Segoe UI" pitchFamily="34" charset="0"/>
                      <a:cs typeface="Segoe UI" pitchFamily="34" charset="0"/>
                    </a:rPr>
                    <a:t>2012</a:t>
                  </a:r>
                  <a:endParaRPr lang="en-US" dirty="0">
                    <a:solidFill>
                      <a:schemeClr val="bg1"/>
                    </a:solidFill>
                    <a:latin typeface="Segoe UI Semibold" panose="020B0702040204020203" pitchFamily="34" charset="0"/>
                    <a:ea typeface="Segoe UI" pitchFamily="34" charset="0"/>
                    <a:cs typeface="Segoe UI" pitchFamily="34" charset="0"/>
                  </a:endParaRPr>
                </a:p>
              </p:txBody>
            </p:sp>
            <p:sp>
              <p:nvSpPr>
                <p:cNvPr id="306" name="Freeform 305"/>
                <p:cNvSpPr/>
                <p:nvPr/>
              </p:nvSpPr>
              <p:spPr>
                <a:xfrm>
                  <a:off x="2923364" y="2970895"/>
                  <a:ext cx="878005" cy="333034"/>
                </a:xfrm>
                <a:custGeom>
                  <a:avLst/>
                  <a:gdLst>
                    <a:gd name="connsiteX0" fmla="*/ 166517 w 878005"/>
                    <a:gd name="connsiteY0" fmla="*/ 0 h 333034"/>
                    <a:gd name="connsiteX1" fmla="*/ 743037 w 878005"/>
                    <a:gd name="connsiteY1" fmla="*/ 0 h 333034"/>
                    <a:gd name="connsiteX2" fmla="*/ 860783 w 878005"/>
                    <a:gd name="connsiteY2" fmla="*/ 48772 h 333034"/>
                    <a:gd name="connsiteX3" fmla="*/ 878005 w 878005"/>
                    <a:gd name="connsiteY3" fmla="*/ 74316 h 333034"/>
                    <a:gd name="connsiteX4" fmla="*/ 857429 w 878005"/>
                    <a:gd name="connsiteY4" fmla="*/ 78470 h 333034"/>
                    <a:gd name="connsiteX5" fmla="*/ 806577 w 878005"/>
                    <a:gd name="connsiteY5" fmla="*/ 129323 h 333034"/>
                    <a:gd name="connsiteX6" fmla="*/ 799067 w 878005"/>
                    <a:gd name="connsiteY6" fmla="*/ 166518 h 333034"/>
                    <a:gd name="connsiteX7" fmla="*/ 799067 w 878005"/>
                    <a:gd name="connsiteY7" fmla="*/ 166517 h 333034"/>
                    <a:gd name="connsiteX8" fmla="*/ 799067 w 878005"/>
                    <a:gd name="connsiteY8" fmla="*/ 166518 h 333034"/>
                    <a:gd name="connsiteX9" fmla="*/ 799067 w 878005"/>
                    <a:gd name="connsiteY9" fmla="*/ 166518 h 333034"/>
                    <a:gd name="connsiteX10" fmla="*/ 806577 w 878005"/>
                    <a:gd name="connsiteY10" fmla="*/ 203712 h 333034"/>
                    <a:gd name="connsiteX11" fmla="*/ 857429 w 878005"/>
                    <a:gd name="connsiteY11" fmla="*/ 254565 h 333034"/>
                    <a:gd name="connsiteX12" fmla="*/ 878005 w 878005"/>
                    <a:gd name="connsiteY12" fmla="*/ 258719 h 333034"/>
                    <a:gd name="connsiteX13" fmla="*/ 860783 w 878005"/>
                    <a:gd name="connsiteY13" fmla="*/ 284262 h 333034"/>
                    <a:gd name="connsiteX14" fmla="*/ 743037 w 878005"/>
                    <a:gd name="connsiteY14" fmla="*/ 333034 h 333034"/>
                    <a:gd name="connsiteX15" fmla="*/ 166517 w 878005"/>
                    <a:gd name="connsiteY15" fmla="*/ 333034 h 333034"/>
                    <a:gd name="connsiteX16" fmla="*/ 0 w 878005"/>
                    <a:gd name="connsiteY16" fmla="*/ 166517 h 333034"/>
                    <a:gd name="connsiteX17" fmla="*/ 166517 w 878005"/>
                    <a:gd name="connsiteY17" fmla="*/ 0 h 33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8005" h="333034">
                      <a:moveTo>
                        <a:pt x="166517" y="0"/>
                      </a:moveTo>
                      <a:lnTo>
                        <a:pt x="743037" y="0"/>
                      </a:lnTo>
                      <a:cubicBezTo>
                        <a:pt x="789020" y="0"/>
                        <a:pt x="830649" y="18638"/>
                        <a:pt x="860783" y="48772"/>
                      </a:cubicBezTo>
                      <a:lnTo>
                        <a:pt x="878005" y="74316"/>
                      </a:lnTo>
                      <a:lnTo>
                        <a:pt x="857429" y="78470"/>
                      </a:lnTo>
                      <a:cubicBezTo>
                        <a:pt x="834564" y="88141"/>
                        <a:pt x="816247" y="106458"/>
                        <a:pt x="806577" y="129323"/>
                      </a:cubicBezTo>
                      <a:lnTo>
                        <a:pt x="799067" y="166518"/>
                      </a:lnTo>
                      <a:lnTo>
                        <a:pt x="799067" y="166517"/>
                      </a:lnTo>
                      <a:lnTo>
                        <a:pt x="799067" y="166518"/>
                      </a:lnTo>
                      <a:lnTo>
                        <a:pt x="799067" y="166518"/>
                      </a:lnTo>
                      <a:lnTo>
                        <a:pt x="806577" y="203712"/>
                      </a:lnTo>
                      <a:cubicBezTo>
                        <a:pt x="816247" y="226577"/>
                        <a:pt x="834564" y="244894"/>
                        <a:pt x="857429" y="254565"/>
                      </a:cubicBezTo>
                      <a:lnTo>
                        <a:pt x="878005" y="258719"/>
                      </a:lnTo>
                      <a:lnTo>
                        <a:pt x="860783" y="284262"/>
                      </a:lnTo>
                      <a:cubicBezTo>
                        <a:pt x="830649" y="314396"/>
                        <a:pt x="789020" y="333034"/>
                        <a:pt x="743037" y="333034"/>
                      </a:cubicBezTo>
                      <a:lnTo>
                        <a:pt x="166517" y="333034"/>
                      </a:lnTo>
                      <a:cubicBezTo>
                        <a:pt x="74552" y="333034"/>
                        <a:pt x="0" y="258482"/>
                        <a:pt x="0" y="166517"/>
                      </a:cubicBezTo>
                      <a:cubicBezTo>
                        <a:pt x="0" y="74552"/>
                        <a:pt x="74552" y="0"/>
                        <a:pt x="166517"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013" fontAlgn="base"/>
                  <a:r>
                    <a:rPr lang="en-US" dirty="0" smtClean="0">
                      <a:solidFill>
                        <a:schemeClr val="bg1"/>
                      </a:solidFill>
                      <a:latin typeface="Segoe UI Semibold" panose="020B0702040204020203" pitchFamily="34" charset="0"/>
                      <a:ea typeface="Segoe UI" pitchFamily="34" charset="0"/>
                      <a:cs typeface="Segoe UI" pitchFamily="34" charset="0"/>
                    </a:rPr>
                    <a:t>2011</a:t>
                  </a:r>
                  <a:endParaRPr lang="en-US" dirty="0">
                    <a:solidFill>
                      <a:schemeClr val="bg1"/>
                    </a:solidFill>
                    <a:latin typeface="Segoe UI Semibold" panose="020B0702040204020203" pitchFamily="34" charset="0"/>
                    <a:ea typeface="Segoe UI" pitchFamily="34" charset="0"/>
                    <a:cs typeface="Segoe UI" pitchFamily="34" charset="0"/>
                  </a:endParaRPr>
                </a:p>
              </p:txBody>
            </p:sp>
            <p:grpSp>
              <p:nvGrpSpPr>
                <p:cNvPr id="374" name="Group 373"/>
                <p:cNvGrpSpPr/>
                <p:nvPr/>
              </p:nvGrpSpPr>
              <p:grpSpPr>
                <a:xfrm>
                  <a:off x="619733" y="2470190"/>
                  <a:ext cx="1298031" cy="543850"/>
                  <a:chOff x="1014927" y="3265319"/>
                  <a:chExt cx="1298031" cy="543850"/>
                </a:xfrm>
              </p:grpSpPr>
              <p:cxnSp>
                <p:nvCxnSpPr>
                  <p:cNvPr id="376" name="Straight Connector 375"/>
                  <p:cNvCxnSpPr/>
                  <p:nvPr/>
                </p:nvCxnSpPr>
                <p:spPr>
                  <a:xfrm flipV="1">
                    <a:off x="1642655" y="3565450"/>
                    <a:ext cx="0" cy="243719"/>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pic>
                <p:nvPicPr>
                  <p:cNvPr id="377" name="Picture 37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14927" y="3265319"/>
                    <a:ext cx="1298031" cy="298600"/>
                  </a:xfrm>
                  <a:prstGeom prst="rect">
                    <a:avLst/>
                  </a:prstGeom>
                  <a:noFill/>
                  <a:ln>
                    <a:noFill/>
                  </a:ln>
                </p:spPr>
              </p:pic>
            </p:grpSp>
            <p:sp>
              <p:nvSpPr>
                <p:cNvPr id="375" name="Freeform 374"/>
                <p:cNvSpPr/>
                <p:nvPr/>
              </p:nvSpPr>
              <p:spPr>
                <a:xfrm>
                  <a:off x="792416" y="2970895"/>
                  <a:ext cx="878005" cy="333034"/>
                </a:xfrm>
                <a:custGeom>
                  <a:avLst/>
                  <a:gdLst>
                    <a:gd name="connsiteX0" fmla="*/ 166517 w 878005"/>
                    <a:gd name="connsiteY0" fmla="*/ 0 h 333034"/>
                    <a:gd name="connsiteX1" fmla="*/ 743037 w 878005"/>
                    <a:gd name="connsiteY1" fmla="*/ 0 h 333034"/>
                    <a:gd name="connsiteX2" fmla="*/ 860783 w 878005"/>
                    <a:gd name="connsiteY2" fmla="*/ 48772 h 333034"/>
                    <a:gd name="connsiteX3" fmla="*/ 878005 w 878005"/>
                    <a:gd name="connsiteY3" fmla="*/ 74316 h 333034"/>
                    <a:gd name="connsiteX4" fmla="*/ 857429 w 878005"/>
                    <a:gd name="connsiteY4" fmla="*/ 78470 h 333034"/>
                    <a:gd name="connsiteX5" fmla="*/ 806577 w 878005"/>
                    <a:gd name="connsiteY5" fmla="*/ 129323 h 333034"/>
                    <a:gd name="connsiteX6" fmla="*/ 799067 w 878005"/>
                    <a:gd name="connsiteY6" fmla="*/ 166518 h 333034"/>
                    <a:gd name="connsiteX7" fmla="*/ 799067 w 878005"/>
                    <a:gd name="connsiteY7" fmla="*/ 166517 h 333034"/>
                    <a:gd name="connsiteX8" fmla="*/ 799067 w 878005"/>
                    <a:gd name="connsiteY8" fmla="*/ 166518 h 333034"/>
                    <a:gd name="connsiteX9" fmla="*/ 799067 w 878005"/>
                    <a:gd name="connsiteY9" fmla="*/ 166518 h 333034"/>
                    <a:gd name="connsiteX10" fmla="*/ 806577 w 878005"/>
                    <a:gd name="connsiteY10" fmla="*/ 203712 h 333034"/>
                    <a:gd name="connsiteX11" fmla="*/ 857429 w 878005"/>
                    <a:gd name="connsiteY11" fmla="*/ 254565 h 333034"/>
                    <a:gd name="connsiteX12" fmla="*/ 878005 w 878005"/>
                    <a:gd name="connsiteY12" fmla="*/ 258719 h 333034"/>
                    <a:gd name="connsiteX13" fmla="*/ 860783 w 878005"/>
                    <a:gd name="connsiteY13" fmla="*/ 284262 h 333034"/>
                    <a:gd name="connsiteX14" fmla="*/ 743037 w 878005"/>
                    <a:gd name="connsiteY14" fmla="*/ 333034 h 333034"/>
                    <a:gd name="connsiteX15" fmla="*/ 166517 w 878005"/>
                    <a:gd name="connsiteY15" fmla="*/ 333034 h 333034"/>
                    <a:gd name="connsiteX16" fmla="*/ 0 w 878005"/>
                    <a:gd name="connsiteY16" fmla="*/ 166517 h 333034"/>
                    <a:gd name="connsiteX17" fmla="*/ 166517 w 878005"/>
                    <a:gd name="connsiteY17" fmla="*/ 0 h 33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8005" h="333034">
                      <a:moveTo>
                        <a:pt x="166517" y="0"/>
                      </a:moveTo>
                      <a:lnTo>
                        <a:pt x="743037" y="0"/>
                      </a:lnTo>
                      <a:cubicBezTo>
                        <a:pt x="789020" y="0"/>
                        <a:pt x="830649" y="18638"/>
                        <a:pt x="860783" y="48772"/>
                      </a:cubicBezTo>
                      <a:lnTo>
                        <a:pt x="878005" y="74316"/>
                      </a:lnTo>
                      <a:lnTo>
                        <a:pt x="857429" y="78470"/>
                      </a:lnTo>
                      <a:cubicBezTo>
                        <a:pt x="834564" y="88141"/>
                        <a:pt x="816247" y="106458"/>
                        <a:pt x="806577" y="129323"/>
                      </a:cubicBezTo>
                      <a:lnTo>
                        <a:pt x="799067" y="166518"/>
                      </a:lnTo>
                      <a:lnTo>
                        <a:pt x="799067" y="166517"/>
                      </a:lnTo>
                      <a:lnTo>
                        <a:pt x="799067" y="166518"/>
                      </a:lnTo>
                      <a:lnTo>
                        <a:pt x="799067" y="166518"/>
                      </a:lnTo>
                      <a:lnTo>
                        <a:pt x="806577" y="203712"/>
                      </a:lnTo>
                      <a:cubicBezTo>
                        <a:pt x="816247" y="226577"/>
                        <a:pt x="834564" y="244894"/>
                        <a:pt x="857429" y="254565"/>
                      </a:cubicBezTo>
                      <a:lnTo>
                        <a:pt x="878005" y="258719"/>
                      </a:lnTo>
                      <a:lnTo>
                        <a:pt x="860783" y="284262"/>
                      </a:lnTo>
                      <a:cubicBezTo>
                        <a:pt x="830649" y="314396"/>
                        <a:pt x="789020" y="333034"/>
                        <a:pt x="743037" y="333034"/>
                      </a:cubicBezTo>
                      <a:lnTo>
                        <a:pt x="166517" y="333034"/>
                      </a:lnTo>
                      <a:cubicBezTo>
                        <a:pt x="74552" y="333034"/>
                        <a:pt x="0" y="258482"/>
                        <a:pt x="0" y="166517"/>
                      </a:cubicBezTo>
                      <a:cubicBezTo>
                        <a:pt x="0" y="74552"/>
                        <a:pt x="74552" y="0"/>
                        <a:pt x="166517"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013" fontAlgn="base"/>
                  <a:r>
                    <a:rPr lang="en-US" dirty="0">
                      <a:solidFill>
                        <a:schemeClr val="bg1"/>
                      </a:solidFill>
                      <a:latin typeface="Segoe UI Semibold" panose="020B0702040204020203" pitchFamily="34" charset="0"/>
                      <a:ea typeface="Segoe UI" pitchFamily="34" charset="0"/>
                      <a:cs typeface="Segoe UI" pitchFamily="34" charset="0"/>
                    </a:rPr>
                    <a:t>2010</a:t>
                  </a:r>
                </a:p>
              </p:txBody>
            </p:sp>
            <p:sp>
              <p:nvSpPr>
                <p:cNvPr id="372" name="Rectangle 371"/>
                <p:cNvSpPr/>
                <p:nvPr/>
              </p:nvSpPr>
              <p:spPr bwMode="auto">
                <a:xfrm>
                  <a:off x="3773356" y="2452373"/>
                  <a:ext cx="725312" cy="282513"/>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spAutoFit/>
                </a:bodyPr>
                <a:lstStyle/>
                <a:p>
                  <a:pPr algn="ctr" defTabSz="932384" fontAlgn="base"/>
                  <a:r>
                    <a:rPr lang="en-IN" sz="1200" dirty="0">
                      <a:solidFill>
                        <a:schemeClr val="tx2"/>
                      </a:solidFill>
                      <a:latin typeface="Segoe UI Semibold" panose="020B0702040204020203" pitchFamily="34" charset="0"/>
                      <a:ea typeface="Segoe UI" pitchFamily="34" charset="0"/>
                      <a:cs typeface="Segoe UI" pitchFamily="34" charset="0"/>
                    </a:rPr>
                    <a:t>SOC 2</a:t>
                  </a:r>
                </a:p>
              </p:txBody>
            </p:sp>
            <p:pic>
              <p:nvPicPr>
                <p:cNvPr id="373" name="Picture 8" descr="http://www.centrilogic.com/wp-content/uploads/2013/05/SOC-Service-Org_B_Marks_2c_Web-260x220.png"/>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3870378" y="2006334"/>
                  <a:ext cx="509458" cy="455820"/>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368" name="Straight Connector 367"/>
                <p:cNvCxnSpPr>
                  <a:endCxn id="369" idx="0"/>
                </p:cNvCxnSpPr>
                <p:nvPr/>
              </p:nvCxnSpPr>
              <p:spPr>
                <a:xfrm>
                  <a:off x="7650802" y="3245975"/>
                  <a:ext cx="0" cy="289416"/>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69" name="Rectangle 368"/>
                <p:cNvSpPr/>
                <p:nvPr/>
              </p:nvSpPr>
              <p:spPr bwMode="auto">
                <a:xfrm>
                  <a:off x="7270212" y="3535391"/>
                  <a:ext cx="763264" cy="470856"/>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spAutoFit/>
                </a:bodyPr>
                <a:lstStyle/>
                <a:p>
                  <a:pPr algn="ctr" defTabSz="932384" fontAlgn="base"/>
                  <a:r>
                    <a:rPr lang="en-IN" sz="1200" dirty="0">
                      <a:solidFill>
                        <a:schemeClr val="tx2"/>
                      </a:solidFill>
                      <a:latin typeface="Segoe UI Semibold" panose="020B0702040204020203" pitchFamily="34" charset="0"/>
                      <a:ea typeface="Segoe UI" pitchFamily="34" charset="0"/>
                      <a:cs typeface="Segoe UI" pitchFamily="34" charset="0"/>
                    </a:rPr>
                    <a:t>FedRAMP</a:t>
                  </a:r>
                  <a:br>
                    <a:rPr lang="en-IN" sz="1200" dirty="0">
                      <a:solidFill>
                        <a:schemeClr val="tx2"/>
                      </a:solidFill>
                      <a:latin typeface="Segoe UI Semibold" panose="020B0702040204020203" pitchFamily="34" charset="0"/>
                      <a:ea typeface="Segoe UI" pitchFamily="34" charset="0"/>
                      <a:cs typeface="Segoe UI" pitchFamily="34" charset="0"/>
                    </a:rPr>
                  </a:br>
                  <a:r>
                    <a:rPr lang="en-IN" sz="1200" dirty="0" smtClean="0">
                      <a:solidFill>
                        <a:schemeClr val="tx2"/>
                      </a:solidFill>
                      <a:latin typeface="Segoe UI Semibold" panose="020B0702040204020203" pitchFamily="34" charset="0"/>
                      <a:ea typeface="Segoe UI" pitchFamily="34" charset="0"/>
                      <a:cs typeface="Segoe UI" pitchFamily="34" charset="0"/>
                    </a:rPr>
                    <a:t>P-ATO</a:t>
                  </a:r>
                  <a:endParaRPr lang="en-IN" sz="1200" dirty="0">
                    <a:solidFill>
                      <a:schemeClr val="tx2"/>
                    </a:solidFill>
                    <a:latin typeface="Segoe UI Semibold" panose="020B0702040204020203" pitchFamily="34" charset="0"/>
                    <a:ea typeface="Segoe UI" pitchFamily="34" charset="0"/>
                    <a:cs typeface="Segoe UI" pitchFamily="34" charset="0"/>
                  </a:endParaRPr>
                </a:p>
              </p:txBody>
            </p:sp>
            <p:pic>
              <p:nvPicPr>
                <p:cNvPr id="370" name="Picture 2"/>
                <p:cNvPicPr>
                  <a:picLocks noChangeAspect="1" noChangeArrowheads="1"/>
                </p:cNvPicPr>
                <p:nvPr/>
              </p:nvPicPr>
              <p:blipFill rotWithShape="1">
                <a:blip r:embed="rId11">
                  <a:extLst>
                    <a:ext uri="{28A0092B-C50C-407E-A947-70E740481C1C}">
                      <a14:useLocalDpi xmlns:a14="http://schemas.microsoft.com/office/drawing/2010/main" val="0"/>
                    </a:ext>
                  </a:extLst>
                </a:blip>
                <a:srcRect l="2052" t="2052" r="2052" b="2052"/>
                <a:stretch/>
              </p:blipFill>
              <p:spPr bwMode="auto">
                <a:xfrm>
                  <a:off x="7467922" y="3989493"/>
                  <a:ext cx="365761" cy="365760"/>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65" name="Straight Connector 364"/>
                <p:cNvCxnSpPr/>
                <p:nvPr/>
              </p:nvCxnSpPr>
              <p:spPr>
                <a:xfrm flipH="1">
                  <a:off x="2783026" y="3232969"/>
                  <a:ext cx="0" cy="247234"/>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66" name="Rectangle 365"/>
                <p:cNvSpPr/>
                <p:nvPr/>
              </p:nvSpPr>
              <p:spPr bwMode="auto">
                <a:xfrm>
                  <a:off x="2329149" y="3478959"/>
                  <a:ext cx="907755" cy="470856"/>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spAutoFit/>
                </a:bodyPr>
                <a:lstStyle/>
                <a:p>
                  <a:pPr algn="ctr" defTabSz="932384" fontAlgn="base"/>
                  <a:r>
                    <a:rPr lang="en-IN" sz="1200" dirty="0">
                      <a:solidFill>
                        <a:schemeClr val="tx2"/>
                      </a:solidFill>
                      <a:latin typeface="Segoe UI Semibold" panose="020B0702040204020203" pitchFamily="34" charset="0"/>
                      <a:ea typeface="Segoe UI" pitchFamily="34" charset="0"/>
                      <a:cs typeface="Segoe UI" pitchFamily="34" charset="0"/>
                    </a:rPr>
                    <a:t>FISMA</a:t>
                  </a:r>
                </a:p>
                <a:p>
                  <a:pPr algn="ctr" defTabSz="932384" fontAlgn="base"/>
                  <a:r>
                    <a:rPr lang="en-IN" sz="1200" dirty="0">
                      <a:solidFill>
                        <a:schemeClr val="tx2"/>
                      </a:solidFill>
                      <a:latin typeface="Segoe UI Semibold" panose="020B0702040204020203" pitchFamily="34" charset="0"/>
                      <a:ea typeface="Segoe UI" pitchFamily="34" charset="0"/>
                      <a:cs typeface="Segoe UI" pitchFamily="34" charset="0"/>
                    </a:rPr>
                    <a:t>ATO</a:t>
                  </a:r>
                </a:p>
              </p:txBody>
            </p:sp>
            <p:pic>
              <p:nvPicPr>
                <p:cNvPr id="367" name="Picture 366"/>
                <p:cNvPicPr>
                  <a:picLocks noChangeAspect="1"/>
                </p:cNvPicPr>
                <p:nvPr/>
              </p:nvPicPr>
              <p:blipFill rotWithShape="1">
                <a:blip r:embed="rId12" cstate="print">
                  <a:clrChange>
                    <a:clrFrom>
                      <a:srgbClr val="FAFAFA"/>
                    </a:clrFrom>
                    <a:clrTo>
                      <a:srgbClr val="FAFAFA">
                        <a:alpha val="0"/>
                      </a:srgbClr>
                    </a:clrTo>
                  </a:clrChange>
                  <a:extLst>
                    <a:ext uri="{28A0092B-C50C-407E-A947-70E740481C1C}">
                      <a14:useLocalDpi xmlns:a14="http://schemas.microsoft.com/office/drawing/2010/main" val="0"/>
                    </a:ext>
                  </a:extLst>
                </a:blip>
                <a:srcRect l="24356" t="25370" r="27433" b="23131"/>
                <a:stretch/>
              </p:blipFill>
              <p:spPr>
                <a:xfrm>
                  <a:off x="2359618" y="3912567"/>
                  <a:ext cx="816641" cy="399632"/>
                </a:xfrm>
                <a:prstGeom prst="rect">
                  <a:avLst/>
                </a:prstGeom>
              </p:spPr>
            </p:pic>
            <p:cxnSp>
              <p:nvCxnSpPr>
                <p:cNvPr id="362" name="Straight Connector 361"/>
                <p:cNvCxnSpPr/>
                <p:nvPr/>
              </p:nvCxnSpPr>
              <p:spPr>
                <a:xfrm flipH="1" flipV="1">
                  <a:off x="7371034" y="2657140"/>
                  <a:ext cx="0" cy="393598"/>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63" name="Rectangle 362"/>
                <p:cNvSpPr/>
                <p:nvPr/>
              </p:nvSpPr>
              <p:spPr bwMode="auto">
                <a:xfrm>
                  <a:off x="6569172" y="2397940"/>
                  <a:ext cx="1636646" cy="276999"/>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algn="ctr" defTabSz="932384" fontAlgn="base"/>
                  <a:r>
                    <a:rPr lang="en-IN" sz="1200" dirty="0">
                      <a:solidFill>
                        <a:schemeClr val="tx2"/>
                      </a:solidFill>
                      <a:latin typeface="Segoe UI Semibold" panose="020B0702040204020203" pitchFamily="34" charset="0"/>
                      <a:ea typeface="Segoe UI" pitchFamily="34" charset="0"/>
                      <a:cs typeface="Segoe UI" pitchFamily="34" charset="0"/>
                    </a:rPr>
                    <a:t>UK G-Cloud </a:t>
                  </a:r>
                  <a:r>
                    <a:rPr lang="en-IN" sz="1200" dirty="0" smtClean="0">
                      <a:solidFill>
                        <a:schemeClr val="tx2"/>
                      </a:solidFill>
                      <a:latin typeface="Segoe UI Semibold" panose="020B0702040204020203" pitchFamily="34" charset="0"/>
                      <a:ea typeface="Segoe UI" pitchFamily="34" charset="0"/>
                      <a:cs typeface="Segoe UI" pitchFamily="34" charset="0"/>
                    </a:rPr>
                    <a:t>OFFICIAL</a:t>
                  </a:r>
                  <a:endParaRPr lang="en-IN" sz="1200" dirty="0">
                    <a:solidFill>
                      <a:schemeClr val="tx2"/>
                    </a:solidFill>
                    <a:latin typeface="Segoe UI Semibold" panose="020B0702040204020203" pitchFamily="34" charset="0"/>
                    <a:ea typeface="Segoe UI" pitchFamily="34" charset="0"/>
                    <a:cs typeface="Segoe UI" pitchFamily="34" charset="0"/>
                  </a:endParaRPr>
                </a:p>
              </p:txBody>
            </p:sp>
            <p:pic>
              <p:nvPicPr>
                <p:cNvPr id="364" name="Picture 363"/>
                <p:cNvPicPr>
                  <a:picLocks noChangeAspect="1"/>
                </p:cNvPicPr>
                <p:nvPr/>
              </p:nvPicPr>
              <p:blipFill rotWithShape="1">
                <a:blip r:embed="rId13" cstate="email">
                  <a:extLst>
                    <a:ext uri="{28A0092B-C50C-407E-A947-70E740481C1C}">
                      <a14:useLocalDpi xmlns:a14="http://schemas.microsoft.com/office/drawing/2010/main"/>
                    </a:ext>
                  </a:extLst>
                </a:blip>
                <a:stretch/>
              </p:blipFill>
              <p:spPr>
                <a:xfrm>
                  <a:off x="7186695" y="1765422"/>
                  <a:ext cx="428625" cy="638175"/>
                </a:xfrm>
                <a:prstGeom prst="rect">
                  <a:avLst/>
                </a:prstGeom>
                <a:noFill/>
                <a:ln>
                  <a:noFill/>
                </a:ln>
              </p:spPr>
            </p:pic>
            <p:sp>
              <p:nvSpPr>
                <p:cNvPr id="312" name="Freeform 311"/>
                <p:cNvSpPr/>
                <p:nvPr/>
              </p:nvSpPr>
              <p:spPr>
                <a:xfrm>
                  <a:off x="6247404" y="2965819"/>
                  <a:ext cx="878005" cy="333034"/>
                </a:xfrm>
                <a:custGeom>
                  <a:avLst/>
                  <a:gdLst>
                    <a:gd name="connsiteX0" fmla="*/ 166517 w 878005"/>
                    <a:gd name="connsiteY0" fmla="*/ 0 h 333034"/>
                    <a:gd name="connsiteX1" fmla="*/ 743037 w 878005"/>
                    <a:gd name="connsiteY1" fmla="*/ 0 h 333034"/>
                    <a:gd name="connsiteX2" fmla="*/ 860783 w 878005"/>
                    <a:gd name="connsiteY2" fmla="*/ 48772 h 333034"/>
                    <a:gd name="connsiteX3" fmla="*/ 878005 w 878005"/>
                    <a:gd name="connsiteY3" fmla="*/ 74316 h 333034"/>
                    <a:gd name="connsiteX4" fmla="*/ 857429 w 878005"/>
                    <a:gd name="connsiteY4" fmla="*/ 78470 h 333034"/>
                    <a:gd name="connsiteX5" fmla="*/ 806577 w 878005"/>
                    <a:gd name="connsiteY5" fmla="*/ 129323 h 333034"/>
                    <a:gd name="connsiteX6" fmla="*/ 799067 w 878005"/>
                    <a:gd name="connsiteY6" fmla="*/ 166518 h 333034"/>
                    <a:gd name="connsiteX7" fmla="*/ 799067 w 878005"/>
                    <a:gd name="connsiteY7" fmla="*/ 166517 h 333034"/>
                    <a:gd name="connsiteX8" fmla="*/ 799067 w 878005"/>
                    <a:gd name="connsiteY8" fmla="*/ 166518 h 333034"/>
                    <a:gd name="connsiteX9" fmla="*/ 799067 w 878005"/>
                    <a:gd name="connsiteY9" fmla="*/ 166518 h 333034"/>
                    <a:gd name="connsiteX10" fmla="*/ 806577 w 878005"/>
                    <a:gd name="connsiteY10" fmla="*/ 203712 h 333034"/>
                    <a:gd name="connsiteX11" fmla="*/ 857429 w 878005"/>
                    <a:gd name="connsiteY11" fmla="*/ 254565 h 333034"/>
                    <a:gd name="connsiteX12" fmla="*/ 878005 w 878005"/>
                    <a:gd name="connsiteY12" fmla="*/ 258719 h 333034"/>
                    <a:gd name="connsiteX13" fmla="*/ 860783 w 878005"/>
                    <a:gd name="connsiteY13" fmla="*/ 284262 h 333034"/>
                    <a:gd name="connsiteX14" fmla="*/ 743037 w 878005"/>
                    <a:gd name="connsiteY14" fmla="*/ 333034 h 333034"/>
                    <a:gd name="connsiteX15" fmla="*/ 166517 w 878005"/>
                    <a:gd name="connsiteY15" fmla="*/ 333034 h 333034"/>
                    <a:gd name="connsiteX16" fmla="*/ 0 w 878005"/>
                    <a:gd name="connsiteY16" fmla="*/ 166517 h 333034"/>
                    <a:gd name="connsiteX17" fmla="*/ 166517 w 878005"/>
                    <a:gd name="connsiteY17" fmla="*/ 0 h 33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8005" h="333034">
                      <a:moveTo>
                        <a:pt x="166517" y="0"/>
                      </a:moveTo>
                      <a:lnTo>
                        <a:pt x="743037" y="0"/>
                      </a:lnTo>
                      <a:cubicBezTo>
                        <a:pt x="789020" y="0"/>
                        <a:pt x="830649" y="18638"/>
                        <a:pt x="860783" y="48772"/>
                      </a:cubicBezTo>
                      <a:lnTo>
                        <a:pt x="878005" y="74316"/>
                      </a:lnTo>
                      <a:lnTo>
                        <a:pt x="857429" y="78470"/>
                      </a:lnTo>
                      <a:cubicBezTo>
                        <a:pt x="834564" y="88141"/>
                        <a:pt x="816247" y="106458"/>
                        <a:pt x="806577" y="129323"/>
                      </a:cubicBezTo>
                      <a:lnTo>
                        <a:pt x="799067" y="166518"/>
                      </a:lnTo>
                      <a:lnTo>
                        <a:pt x="799067" y="166517"/>
                      </a:lnTo>
                      <a:lnTo>
                        <a:pt x="799067" y="166518"/>
                      </a:lnTo>
                      <a:lnTo>
                        <a:pt x="799067" y="166518"/>
                      </a:lnTo>
                      <a:lnTo>
                        <a:pt x="806577" y="203712"/>
                      </a:lnTo>
                      <a:cubicBezTo>
                        <a:pt x="816247" y="226577"/>
                        <a:pt x="834564" y="244894"/>
                        <a:pt x="857429" y="254565"/>
                      </a:cubicBezTo>
                      <a:lnTo>
                        <a:pt x="878005" y="258719"/>
                      </a:lnTo>
                      <a:lnTo>
                        <a:pt x="860783" y="284262"/>
                      </a:lnTo>
                      <a:cubicBezTo>
                        <a:pt x="830649" y="314396"/>
                        <a:pt x="789020" y="333034"/>
                        <a:pt x="743037" y="333034"/>
                      </a:cubicBezTo>
                      <a:lnTo>
                        <a:pt x="166517" y="333034"/>
                      </a:lnTo>
                      <a:cubicBezTo>
                        <a:pt x="74552" y="333034"/>
                        <a:pt x="0" y="258482"/>
                        <a:pt x="0" y="166517"/>
                      </a:cubicBezTo>
                      <a:cubicBezTo>
                        <a:pt x="0" y="74552"/>
                        <a:pt x="74552" y="0"/>
                        <a:pt x="166517" y="0"/>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013" fontAlgn="base"/>
                  <a:r>
                    <a:rPr lang="en-US" dirty="0" smtClean="0">
                      <a:solidFill>
                        <a:schemeClr val="bg1"/>
                      </a:solidFill>
                      <a:latin typeface="Segoe UI Semibold" panose="020B0702040204020203" pitchFamily="34" charset="0"/>
                      <a:ea typeface="Segoe UI" pitchFamily="34" charset="0"/>
                      <a:cs typeface="Segoe UI" pitchFamily="34" charset="0"/>
                    </a:rPr>
                    <a:t>2013</a:t>
                  </a:r>
                  <a:endParaRPr lang="en-US" dirty="0">
                    <a:solidFill>
                      <a:schemeClr val="bg1"/>
                    </a:solidFill>
                    <a:latin typeface="Segoe UI Semibold" panose="020B0702040204020203" pitchFamily="34" charset="0"/>
                    <a:ea typeface="Segoe UI" pitchFamily="34" charset="0"/>
                    <a:cs typeface="Segoe UI" pitchFamily="34" charset="0"/>
                  </a:endParaRPr>
                </a:p>
              </p:txBody>
            </p:sp>
            <p:sp>
              <p:nvSpPr>
                <p:cNvPr id="313" name="Freeform 312"/>
                <p:cNvSpPr/>
                <p:nvPr/>
              </p:nvSpPr>
              <p:spPr>
                <a:xfrm>
                  <a:off x="7786349" y="2956798"/>
                  <a:ext cx="878005" cy="333034"/>
                </a:xfrm>
                <a:custGeom>
                  <a:avLst/>
                  <a:gdLst>
                    <a:gd name="connsiteX0" fmla="*/ 166517 w 878005"/>
                    <a:gd name="connsiteY0" fmla="*/ 0 h 333034"/>
                    <a:gd name="connsiteX1" fmla="*/ 743037 w 878005"/>
                    <a:gd name="connsiteY1" fmla="*/ 0 h 333034"/>
                    <a:gd name="connsiteX2" fmla="*/ 860783 w 878005"/>
                    <a:gd name="connsiteY2" fmla="*/ 48772 h 333034"/>
                    <a:gd name="connsiteX3" fmla="*/ 878005 w 878005"/>
                    <a:gd name="connsiteY3" fmla="*/ 74316 h 333034"/>
                    <a:gd name="connsiteX4" fmla="*/ 857429 w 878005"/>
                    <a:gd name="connsiteY4" fmla="*/ 78470 h 333034"/>
                    <a:gd name="connsiteX5" fmla="*/ 806577 w 878005"/>
                    <a:gd name="connsiteY5" fmla="*/ 129323 h 333034"/>
                    <a:gd name="connsiteX6" fmla="*/ 799067 w 878005"/>
                    <a:gd name="connsiteY6" fmla="*/ 166518 h 333034"/>
                    <a:gd name="connsiteX7" fmla="*/ 799067 w 878005"/>
                    <a:gd name="connsiteY7" fmla="*/ 166517 h 333034"/>
                    <a:gd name="connsiteX8" fmla="*/ 799067 w 878005"/>
                    <a:gd name="connsiteY8" fmla="*/ 166518 h 333034"/>
                    <a:gd name="connsiteX9" fmla="*/ 799067 w 878005"/>
                    <a:gd name="connsiteY9" fmla="*/ 166518 h 333034"/>
                    <a:gd name="connsiteX10" fmla="*/ 806577 w 878005"/>
                    <a:gd name="connsiteY10" fmla="*/ 203712 h 333034"/>
                    <a:gd name="connsiteX11" fmla="*/ 857429 w 878005"/>
                    <a:gd name="connsiteY11" fmla="*/ 254565 h 333034"/>
                    <a:gd name="connsiteX12" fmla="*/ 878005 w 878005"/>
                    <a:gd name="connsiteY12" fmla="*/ 258719 h 333034"/>
                    <a:gd name="connsiteX13" fmla="*/ 860783 w 878005"/>
                    <a:gd name="connsiteY13" fmla="*/ 284262 h 333034"/>
                    <a:gd name="connsiteX14" fmla="*/ 743037 w 878005"/>
                    <a:gd name="connsiteY14" fmla="*/ 333034 h 333034"/>
                    <a:gd name="connsiteX15" fmla="*/ 166517 w 878005"/>
                    <a:gd name="connsiteY15" fmla="*/ 333034 h 333034"/>
                    <a:gd name="connsiteX16" fmla="*/ 0 w 878005"/>
                    <a:gd name="connsiteY16" fmla="*/ 166517 h 333034"/>
                    <a:gd name="connsiteX17" fmla="*/ 166517 w 878005"/>
                    <a:gd name="connsiteY17" fmla="*/ 0 h 33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8005" h="333034">
                      <a:moveTo>
                        <a:pt x="166517" y="0"/>
                      </a:moveTo>
                      <a:lnTo>
                        <a:pt x="743037" y="0"/>
                      </a:lnTo>
                      <a:cubicBezTo>
                        <a:pt x="789020" y="0"/>
                        <a:pt x="830649" y="18638"/>
                        <a:pt x="860783" y="48772"/>
                      </a:cubicBezTo>
                      <a:lnTo>
                        <a:pt x="878005" y="74316"/>
                      </a:lnTo>
                      <a:lnTo>
                        <a:pt x="857429" y="78470"/>
                      </a:lnTo>
                      <a:cubicBezTo>
                        <a:pt x="834564" y="88141"/>
                        <a:pt x="816247" y="106458"/>
                        <a:pt x="806577" y="129323"/>
                      </a:cubicBezTo>
                      <a:lnTo>
                        <a:pt x="799067" y="166518"/>
                      </a:lnTo>
                      <a:lnTo>
                        <a:pt x="799067" y="166517"/>
                      </a:lnTo>
                      <a:lnTo>
                        <a:pt x="799067" y="166518"/>
                      </a:lnTo>
                      <a:lnTo>
                        <a:pt x="799067" y="166518"/>
                      </a:lnTo>
                      <a:lnTo>
                        <a:pt x="806577" y="203712"/>
                      </a:lnTo>
                      <a:cubicBezTo>
                        <a:pt x="816247" y="226577"/>
                        <a:pt x="834564" y="244894"/>
                        <a:pt x="857429" y="254565"/>
                      </a:cubicBezTo>
                      <a:lnTo>
                        <a:pt x="878005" y="258719"/>
                      </a:lnTo>
                      <a:lnTo>
                        <a:pt x="860783" y="284262"/>
                      </a:lnTo>
                      <a:cubicBezTo>
                        <a:pt x="830649" y="314396"/>
                        <a:pt x="789020" y="333034"/>
                        <a:pt x="743037" y="333034"/>
                      </a:cubicBezTo>
                      <a:lnTo>
                        <a:pt x="166517" y="333034"/>
                      </a:lnTo>
                      <a:cubicBezTo>
                        <a:pt x="74552" y="333034"/>
                        <a:pt x="0" y="258482"/>
                        <a:pt x="0" y="166517"/>
                      </a:cubicBezTo>
                      <a:cubicBezTo>
                        <a:pt x="0" y="74552"/>
                        <a:pt x="74552" y="0"/>
                        <a:pt x="166517"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013" fontAlgn="base"/>
                  <a:r>
                    <a:rPr lang="en-US" dirty="0" smtClean="0">
                      <a:solidFill>
                        <a:schemeClr val="bg1"/>
                      </a:solidFill>
                      <a:latin typeface="Segoe UI Semibold" panose="020B0702040204020203" pitchFamily="34" charset="0"/>
                      <a:ea typeface="Segoe UI" pitchFamily="34" charset="0"/>
                      <a:cs typeface="Segoe UI" pitchFamily="34" charset="0"/>
                    </a:rPr>
                    <a:t>2014</a:t>
                  </a:r>
                  <a:endParaRPr lang="en-US" dirty="0">
                    <a:solidFill>
                      <a:schemeClr val="bg1"/>
                    </a:solidFill>
                    <a:latin typeface="Segoe UI Semibold" panose="020B0702040204020203" pitchFamily="34" charset="0"/>
                    <a:ea typeface="Segoe UI" pitchFamily="34" charset="0"/>
                    <a:cs typeface="Segoe UI" pitchFamily="34" charset="0"/>
                  </a:endParaRPr>
                </a:p>
              </p:txBody>
            </p:sp>
            <p:sp>
              <p:nvSpPr>
                <p:cNvPr id="314" name="Freeform 313"/>
                <p:cNvSpPr/>
                <p:nvPr/>
              </p:nvSpPr>
              <p:spPr>
                <a:xfrm>
                  <a:off x="9924228" y="2963891"/>
                  <a:ext cx="878005" cy="333034"/>
                </a:xfrm>
                <a:custGeom>
                  <a:avLst/>
                  <a:gdLst>
                    <a:gd name="connsiteX0" fmla="*/ 166517 w 878005"/>
                    <a:gd name="connsiteY0" fmla="*/ 0 h 333034"/>
                    <a:gd name="connsiteX1" fmla="*/ 743037 w 878005"/>
                    <a:gd name="connsiteY1" fmla="*/ 0 h 333034"/>
                    <a:gd name="connsiteX2" fmla="*/ 860783 w 878005"/>
                    <a:gd name="connsiteY2" fmla="*/ 48772 h 333034"/>
                    <a:gd name="connsiteX3" fmla="*/ 878005 w 878005"/>
                    <a:gd name="connsiteY3" fmla="*/ 74316 h 333034"/>
                    <a:gd name="connsiteX4" fmla="*/ 857429 w 878005"/>
                    <a:gd name="connsiteY4" fmla="*/ 78470 h 333034"/>
                    <a:gd name="connsiteX5" fmla="*/ 806577 w 878005"/>
                    <a:gd name="connsiteY5" fmla="*/ 129323 h 333034"/>
                    <a:gd name="connsiteX6" fmla="*/ 799067 w 878005"/>
                    <a:gd name="connsiteY6" fmla="*/ 166518 h 333034"/>
                    <a:gd name="connsiteX7" fmla="*/ 799067 w 878005"/>
                    <a:gd name="connsiteY7" fmla="*/ 166517 h 333034"/>
                    <a:gd name="connsiteX8" fmla="*/ 799067 w 878005"/>
                    <a:gd name="connsiteY8" fmla="*/ 166518 h 333034"/>
                    <a:gd name="connsiteX9" fmla="*/ 799067 w 878005"/>
                    <a:gd name="connsiteY9" fmla="*/ 166518 h 333034"/>
                    <a:gd name="connsiteX10" fmla="*/ 806577 w 878005"/>
                    <a:gd name="connsiteY10" fmla="*/ 203712 h 333034"/>
                    <a:gd name="connsiteX11" fmla="*/ 857429 w 878005"/>
                    <a:gd name="connsiteY11" fmla="*/ 254565 h 333034"/>
                    <a:gd name="connsiteX12" fmla="*/ 878005 w 878005"/>
                    <a:gd name="connsiteY12" fmla="*/ 258719 h 333034"/>
                    <a:gd name="connsiteX13" fmla="*/ 860783 w 878005"/>
                    <a:gd name="connsiteY13" fmla="*/ 284262 h 333034"/>
                    <a:gd name="connsiteX14" fmla="*/ 743037 w 878005"/>
                    <a:gd name="connsiteY14" fmla="*/ 333034 h 333034"/>
                    <a:gd name="connsiteX15" fmla="*/ 166517 w 878005"/>
                    <a:gd name="connsiteY15" fmla="*/ 333034 h 333034"/>
                    <a:gd name="connsiteX16" fmla="*/ 0 w 878005"/>
                    <a:gd name="connsiteY16" fmla="*/ 166517 h 333034"/>
                    <a:gd name="connsiteX17" fmla="*/ 166517 w 878005"/>
                    <a:gd name="connsiteY17" fmla="*/ 0 h 33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8005" h="333034">
                      <a:moveTo>
                        <a:pt x="166517" y="0"/>
                      </a:moveTo>
                      <a:lnTo>
                        <a:pt x="743037" y="0"/>
                      </a:lnTo>
                      <a:cubicBezTo>
                        <a:pt x="789020" y="0"/>
                        <a:pt x="830649" y="18638"/>
                        <a:pt x="860783" y="48772"/>
                      </a:cubicBezTo>
                      <a:lnTo>
                        <a:pt x="878005" y="74316"/>
                      </a:lnTo>
                      <a:lnTo>
                        <a:pt x="857429" y="78470"/>
                      </a:lnTo>
                      <a:cubicBezTo>
                        <a:pt x="834564" y="88141"/>
                        <a:pt x="816247" y="106458"/>
                        <a:pt x="806577" y="129323"/>
                      </a:cubicBezTo>
                      <a:lnTo>
                        <a:pt x="799067" y="166518"/>
                      </a:lnTo>
                      <a:lnTo>
                        <a:pt x="799067" y="166517"/>
                      </a:lnTo>
                      <a:lnTo>
                        <a:pt x="799067" y="166518"/>
                      </a:lnTo>
                      <a:lnTo>
                        <a:pt x="799067" y="166518"/>
                      </a:lnTo>
                      <a:lnTo>
                        <a:pt x="806577" y="203712"/>
                      </a:lnTo>
                      <a:cubicBezTo>
                        <a:pt x="816247" y="226577"/>
                        <a:pt x="834564" y="244894"/>
                        <a:pt x="857429" y="254565"/>
                      </a:cubicBezTo>
                      <a:lnTo>
                        <a:pt x="878005" y="258719"/>
                      </a:lnTo>
                      <a:lnTo>
                        <a:pt x="860783" y="284262"/>
                      </a:lnTo>
                      <a:cubicBezTo>
                        <a:pt x="830649" y="314396"/>
                        <a:pt x="789020" y="333034"/>
                        <a:pt x="743037" y="333034"/>
                      </a:cubicBezTo>
                      <a:lnTo>
                        <a:pt x="166517" y="333034"/>
                      </a:lnTo>
                      <a:cubicBezTo>
                        <a:pt x="74552" y="333034"/>
                        <a:pt x="0" y="258482"/>
                        <a:pt x="0" y="166517"/>
                      </a:cubicBezTo>
                      <a:cubicBezTo>
                        <a:pt x="0" y="74552"/>
                        <a:pt x="74552" y="0"/>
                        <a:pt x="166517" y="0"/>
                      </a:cubicBez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013" fontAlgn="base"/>
                  <a:r>
                    <a:rPr lang="en-US" dirty="0" smtClean="0">
                      <a:solidFill>
                        <a:schemeClr val="bg1"/>
                      </a:solidFill>
                      <a:latin typeface="Segoe UI Semibold" panose="020B0702040204020203" pitchFamily="34" charset="0"/>
                      <a:ea typeface="Segoe UI" pitchFamily="34" charset="0"/>
                      <a:cs typeface="Segoe UI" pitchFamily="34" charset="0"/>
                    </a:rPr>
                    <a:t>2015</a:t>
                  </a:r>
                  <a:endParaRPr lang="en-US" dirty="0">
                    <a:solidFill>
                      <a:schemeClr val="bg1"/>
                    </a:solidFill>
                    <a:latin typeface="Segoe UI Semibold" panose="020B0702040204020203" pitchFamily="34" charset="0"/>
                    <a:ea typeface="Segoe UI" pitchFamily="34" charset="0"/>
                    <a:cs typeface="Segoe UI" pitchFamily="34" charset="0"/>
                  </a:endParaRPr>
                </a:p>
              </p:txBody>
            </p:sp>
            <p:cxnSp>
              <p:nvCxnSpPr>
                <p:cNvPr id="352" name="Straight Connector 351"/>
                <p:cNvCxnSpPr/>
                <p:nvPr/>
              </p:nvCxnSpPr>
              <p:spPr>
                <a:xfrm flipH="1">
                  <a:off x="1950886" y="3234081"/>
                  <a:ext cx="0" cy="262865"/>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53" name="Rectangle 352"/>
                <p:cNvSpPr/>
                <p:nvPr/>
              </p:nvSpPr>
              <p:spPr bwMode="auto">
                <a:xfrm>
                  <a:off x="1500058" y="3480502"/>
                  <a:ext cx="886464" cy="470856"/>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algn="ctr" defTabSz="932384" fontAlgn="base"/>
                  <a:r>
                    <a:rPr lang="en-IN" sz="1200" dirty="0">
                      <a:solidFill>
                        <a:schemeClr val="tx2"/>
                      </a:solidFill>
                      <a:latin typeface="Segoe UI Semibold" panose="020B0702040204020203" pitchFamily="34" charset="0"/>
                      <a:ea typeface="Segoe UI" pitchFamily="34" charset="0"/>
                      <a:cs typeface="Segoe UI" pitchFamily="34" charset="0"/>
                    </a:rPr>
                    <a:t>ISO/IEC 27001:2005</a:t>
                  </a:r>
                </a:p>
              </p:txBody>
            </p:sp>
            <p:grpSp>
              <p:nvGrpSpPr>
                <p:cNvPr id="354" name="Group 353"/>
                <p:cNvGrpSpPr/>
                <p:nvPr/>
              </p:nvGrpSpPr>
              <p:grpSpPr>
                <a:xfrm>
                  <a:off x="1793563" y="3960669"/>
                  <a:ext cx="337058" cy="337008"/>
                  <a:chOff x="7001509" y="5389047"/>
                  <a:chExt cx="530820" cy="530740"/>
                </a:xfrm>
              </p:grpSpPr>
              <p:sp>
                <p:nvSpPr>
                  <p:cNvPr id="355" name="Freeform 7"/>
                  <p:cNvSpPr>
                    <a:spLocks/>
                  </p:cNvSpPr>
                  <p:nvPr/>
                </p:nvSpPr>
                <p:spPr bwMode="auto">
                  <a:xfrm>
                    <a:off x="7001509" y="5416508"/>
                    <a:ext cx="530820" cy="503279"/>
                  </a:xfrm>
                  <a:custGeom>
                    <a:avLst/>
                    <a:gdLst>
                      <a:gd name="T0" fmla="*/ 1351 w 4317"/>
                      <a:gd name="T1" fmla="*/ 626 h 4068"/>
                      <a:gd name="T2" fmla="*/ 1106 w 4317"/>
                      <a:gd name="T3" fmla="*/ 822 h 4068"/>
                      <a:gd name="T4" fmla="*/ 911 w 4317"/>
                      <a:gd name="T5" fmla="*/ 1050 h 4068"/>
                      <a:gd name="T6" fmla="*/ 767 w 4317"/>
                      <a:gd name="T7" fmla="*/ 1310 h 4068"/>
                      <a:gd name="T8" fmla="*/ 679 w 4317"/>
                      <a:gd name="T9" fmla="*/ 1604 h 4068"/>
                      <a:gd name="T10" fmla="*/ 648 w 4317"/>
                      <a:gd name="T11" fmla="*/ 1921 h 4068"/>
                      <a:gd name="T12" fmla="*/ 677 w 4317"/>
                      <a:gd name="T13" fmla="*/ 2222 h 4068"/>
                      <a:gd name="T14" fmla="*/ 767 w 4317"/>
                      <a:gd name="T15" fmla="*/ 2506 h 4068"/>
                      <a:gd name="T16" fmla="*/ 916 w 4317"/>
                      <a:gd name="T17" fmla="*/ 2769 h 4068"/>
                      <a:gd name="T18" fmla="*/ 1122 w 4317"/>
                      <a:gd name="T19" fmla="*/ 3006 h 4068"/>
                      <a:gd name="T20" fmla="*/ 1360 w 4317"/>
                      <a:gd name="T21" fmla="*/ 3192 h 4068"/>
                      <a:gd name="T22" fmla="*/ 1623 w 4317"/>
                      <a:gd name="T23" fmla="*/ 3323 h 4068"/>
                      <a:gd name="T24" fmla="*/ 1903 w 4317"/>
                      <a:gd name="T25" fmla="*/ 3399 h 4068"/>
                      <a:gd name="T26" fmla="*/ 2191 w 4317"/>
                      <a:gd name="T27" fmla="*/ 3420 h 4068"/>
                      <a:gd name="T28" fmla="*/ 2478 w 4317"/>
                      <a:gd name="T29" fmla="*/ 3386 h 4068"/>
                      <a:gd name="T30" fmla="*/ 2757 w 4317"/>
                      <a:gd name="T31" fmla="*/ 3297 h 4068"/>
                      <a:gd name="T32" fmla="*/ 3017 w 4317"/>
                      <a:gd name="T33" fmla="*/ 3151 h 4068"/>
                      <a:gd name="T34" fmla="*/ 3252 w 4317"/>
                      <a:gd name="T35" fmla="*/ 2950 h 4068"/>
                      <a:gd name="T36" fmla="*/ 3447 w 4317"/>
                      <a:gd name="T37" fmla="*/ 2701 h 4068"/>
                      <a:gd name="T38" fmla="*/ 3582 w 4317"/>
                      <a:gd name="T39" fmla="*/ 2429 h 4068"/>
                      <a:gd name="T40" fmla="*/ 3655 w 4317"/>
                      <a:gd name="T41" fmla="*/ 2135 h 4068"/>
                      <a:gd name="T42" fmla="*/ 3667 w 4317"/>
                      <a:gd name="T43" fmla="*/ 1820 h 4068"/>
                      <a:gd name="T44" fmla="*/ 3617 w 4317"/>
                      <a:gd name="T45" fmla="*/ 1506 h 4068"/>
                      <a:gd name="T46" fmla="*/ 3511 w 4317"/>
                      <a:gd name="T47" fmla="*/ 1225 h 4068"/>
                      <a:gd name="T48" fmla="*/ 3350 w 4317"/>
                      <a:gd name="T49" fmla="*/ 975 h 4068"/>
                      <a:gd name="T50" fmla="*/ 3137 w 4317"/>
                      <a:gd name="T51" fmla="*/ 755 h 4068"/>
                      <a:gd name="T52" fmla="*/ 3071 w 4317"/>
                      <a:gd name="T53" fmla="*/ 314 h 4068"/>
                      <a:gd name="T54" fmla="*/ 3185 w 4317"/>
                      <a:gd name="T55" fmla="*/ 5 h 4068"/>
                      <a:gd name="T56" fmla="*/ 3473 w 4317"/>
                      <a:gd name="T57" fmla="*/ 192 h 4068"/>
                      <a:gd name="T58" fmla="*/ 3727 w 4317"/>
                      <a:gd name="T59" fmla="*/ 421 h 4068"/>
                      <a:gd name="T60" fmla="*/ 3948 w 4317"/>
                      <a:gd name="T61" fmla="*/ 696 h 4068"/>
                      <a:gd name="T62" fmla="*/ 4118 w 4317"/>
                      <a:gd name="T63" fmla="*/ 997 h 4068"/>
                      <a:gd name="T64" fmla="*/ 4240 w 4317"/>
                      <a:gd name="T65" fmla="*/ 1327 h 4068"/>
                      <a:gd name="T66" fmla="*/ 4303 w 4317"/>
                      <a:gd name="T67" fmla="*/ 1647 h 4068"/>
                      <a:gd name="T68" fmla="*/ 4317 w 4317"/>
                      <a:gd name="T69" fmla="*/ 1983 h 4068"/>
                      <a:gd name="T70" fmla="*/ 4308 w 4317"/>
                      <a:gd name="T71" fmla="*/ 2099 h 4068"/>
                      <a:gd name="T72" fmla="*/ 4252 w 4317"/>
                      <a:gd name="T73" fmla="*/ 2438 h 4068"/>
                      <a:gd name="T74" fmla="*/ 4133 w 4317"/>
                      <a:gd name="T75" fmla="*/ 2782 h 4068"/>
                      <a:gd name="T76" fmla="*/ 3960 w 4317"/>
                      <a:gd name="T77" fmla="*/ 3099 h 4068"/>
                      <a:gd name="T78" fmla="*/ 3739 w 4317"/>
                      <a:gd name="T79" fmla="*/ 3381 h 4068"/>
                      <a:gd name="T80" fmla="*/ 3469 w 4317"/>
                      <a:gd name="T81" fmla="*/ 3624 h 4068"/>
                      <a:gd name="T82" fmla="*/ 3147 w 4317"/>
                      <a:gd name="T83" fmla="*/ 3830 h 4068"/>
                      <a:gd name="T84" fmla="*/ 2803 w 4317"/>
                      <a:gd name="T85" fmla="*/ 3971 h 4068"/>
                      <a:gd name="T86" fmla="*/ 2434 w 4317"/>
                      <a:gd name="T87" fmla="*/ 4050 h 4068"/>
                      <a:gd name="T88" fmla="*/ 2080 w 4317"/>
                      <a:gd name="T89" fmla="*/ 4068 h 4068"/>
                      <a:gd name="T90" fmla="*/ 1975 w 4317"/>
                      <a:gd name="T91" fmla="*/ 4059 h 4068"/>
                      <a:gd name="T92" fmla="*/ 1646 w 4317"/>
                      <a:gd name="T93" fmla="*/ 4006 h 4068"/>
                      <a:gd name="T94" fmla="*/ 1306 w 4317"/>
                      <a:gd name="T95" fmla="*/ 3893 h 4068"/>
                      <a:gd name="T96" fmla="*/ 1008 w 4317"/>
                      <a:gd name="T97" fmla="*/ 3737 h 4068"/>
                      <a:gd name="T98" fmla="*/ 738 w 4317"/>
                      <a:gd name="T99" fmla="*/ 3535 h 4068"/>
                      <a:gd name="T100" fmla="*/ 507 w 4317"/>
                      <a:gd name="T101" fmla="*/ 3298 h 4068"/>
                      <a:gd name="T102" fmla="*/ 315 w 4317"/>
                      <a:gd name="T103" fmla="*/ 3034 h 4068"/>
                      <a:gd name="T104" fmla="*/ 164 w 4317"/>
                      <a:gd name="T105" fmla="*/ 2734 h 4068"/>
                      <a:gd name="T106" fmla="*/ 58 w 4317"/>
                      <a:gd name="T107" fmla="*/ 2404 h 4068"/>
                      <a:gd name="T108" fmla="*/ 5 w 4317"/>
                      <a:gd name="T109" fmla="*/ 2059 h 4068"/>
                      <a:gd name="T110" fmla="*/ 1 w 4317"/>
                      <a:gd name="T111" fmla="*/ 1817 h 4068"/>
                      <a:gd name="T112" fmla="*/ 17 w 4317"/>
                      <a:gd name="T113" fmla="*/ 1631 h 4068"/>
                      <a:gd name="T114" fmla="*/ 103 w 4317"/>
                      <a:gd name="T115" fmla="*/ 1245 h 4068"/>
                      <a:gd name="T116" fmla="*/ 250 w 4317"/>
                      <a:gd name="T117" fmla="*/ 895 h 4068"/>
                      <a:gd name="T118" fmla="*/ 457 w 4317"/>
                      <a:gd name="T119" fmla="*/ 577 h 4068"/>
                      <a:gd name="T120" fmla="*/ 690 w 4317"/>
                      <a:gd name="T121" fmla="*/ 323 h 4068"/>
                      <a:gd name="T122" fmla="*/ 960 w 4317"/>
                      <a:gd name="T123" fmla="*/ 110 h 4068"/>
                      <a:gd name="T124" fmla="*/ 1142 w 4317"/>
                      <a:gd name="T125" fmla="*/ 0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17" h="4068">
                        <a:moveTo>
                          <a:pt x="1142" y="0"/>
                        </a:moveTo>
                        <a:lnTo>
                          <a:pt x="1246" y="314"/>
                        </a:lnTo>
                        <a:lnTo>
                          <a:pt x="1351" y="626"/>
                        </a:lnTo>
                        <a:lnTo>
                          <a:pt x="1263" y="688"/>
                        </a:lnTo>
                        <a:lnTo>
                          <a:pt x="1182" y="754"/>
                        </a:lnTo>
                        <a:lnTo>
                          <a:pt x="1106" y="822"/>
                        </a:lnTo>
                        <a:lnTo>
                          <a:pt x="1035" y="895"/>
                        </a:lnTo>
                        <a:lnTo>
                          <a:pt x="970" y="971"/>
                        </a:lnTo>
                        <a:lnTo>
                          <a:pt x="911" y="1050"/>
                        </a:lnTo>
                        <a:lnTo>
                          <a:pt x="857" y="1134"/>
                        </a:lnTo>
                        <a:lnTo>
                          <a:pt x="809" y="1220"/>
                        </a:lnTo>
                        <a:lnTo>
                          <a:pt x="767" y="1310"/>
                        </a:lnTo>
                        <a:lnTo>
                          <a:pt x="732" y="1405"/>
                        </a:lnTo>
                        <a:lnTo>
                          <a:pt x="703" y="1503"/>
                        </a:lnTo>
                        <a:lnTo>
                          <a:pt x="679" y="1604"/>
                        </a:lnTo>
                        <a:lnTo>
                          <a:pt x="662" y="1710"/>
                        </a:lnTo>
                        <a:lnTo>
                          <a:pt x="652" y="1816"/>
                        </a:lnTo>
                        <a:lnTo>
                          <a:pt x="648" y="1921"/>
                        </a:lnTo>
                        <a:lnTo>
                          <a:pt x="651" y="2023"/>
                        </a:lnTo>
                        <a:lnTo>
                          <a:pt x="661" y="2124"/>
                        </a:lnTo>
                        <a:lnTo>
                          <a:pt x="677" y="2222"/>
                        </a:lnTo>
                        <a:lnTo>
                          <a:pt x="700" y="2319"/>
                        </a:lnTo>
                        <a:lnTo>
                          <a:pt x="730" y="2413"/>
                        </a:lnTo>
                        <a:lnTo>
                          <a:pt x="767" y="2506"/>
                        </a:lnTo>
                        <a:lnTo>
                          <a:pt x="810" y="2595"/>
                        </a:lnTo>
                        <a:lnTo>
                          <a:pt x="860" y="2683"/>
                        </a:lnTo>
                        <a:lnTo>
                          <a:pt x="916" y="2769"/>
                        </a:lnTo>
                        <a:lnTo>
                          <a:pt x="981" y="2852"/>
                        </a:lnTo>
                        <a:lnTo>
                          <a:pt x="1050" y="2933"/>
                        </a:lnTo>
                        <a:lnTo>
                          <a:pt x="1122" y="3006"/>
                        </a:lnTo>
                        <a:lnTo>
                          <a:pt x="1198" y="3074"/>
                        </a:lnTo>
                        <a:lnTo>
                          <a:pt x="1278" y="3136"/>
                        </a:lnTo>
                        <a:lnTo>
                          <a:pt x="1360" y="3192"/>
                        </a:lnTo>
                        <a:lnTo>
                          <a:pt x="1445" y="3242"/>
                        </a:lnTo>
                        <a:lnTo>
                          <a:pt x="1534" y="3285"/>
                        </a:lnTo>
                        <a:lnTo>
                          <a:pt x="1623" y="3323"/>
                        </a:lnTo>
                        <a:lnTo>
                          <a:pt x="1716" y="3354"/>
                        </a:lnTo>
                        <a:lnTo>
                          <a:pt x="1809" y="3379"/>
                        </a:lnTo>
                        <a:lnTo>
                          <a:pt x="1903" y="3399"/>
                        </a:lnTo>
                        <a:lnTo>
                          <a:pt x="1999" y="3412"/>
                        </a:lnTo>
                        <a:lnTo>
                          <a:pt x="2095" y="3420"/>
                        </a:lnTo>
                        <a:lnTo>
                          <a:pt x="2191" y="3420"/>
                        </a:lnTo>
                        <a:lnTo>
                          <a:pt x="2287" y="3415"/>
                        </a:lnTo>
                        <a:lnTo>
                          <a:pt x="2384" y="3404"/>
                        </a:lnTo>
                        <a:lnTo>
                          <a:pt x="2478" y="3386"/>
                        </a:lnTo>
                        <a:lnTo>
                          <a:pt x="2572" y="3362"/>
                        </a:lnTo>
                        <a:lnTo>
                          <a:pt x="2665" y="3333"/>
                        </a:lnTo>
                        <a:lnTo>
                          <a:pt x="2757" y="3297"/>
                        </a:lnTo>
                        <a:lnTo>
                          <a:pt x="2846" y="3255"/>
                        </a:lnTo>
                        <a:lnTo>
                          <a:pt x="2934" y="3206"/>
                        </a:lnTo>
                        <a:lnTo>
                          <a:pt x="3017" y="3151"/>
                        </a:lnTo>
                        <a:lnTo>
                          <a:pt x="3099" y="3090"/>
                        </a:lnTo>
                        <a:lnTo>
                          <a:pt x="3177" y="3023"/>
                        </a:lnTo>
                        <a:lnTo>
                          <a:pt x="3252" y="2950"/>
                        </a:lnTo>
                        <a:lnTo>
                          <a:pt x="3324" y="2869"/>
                        </a:lnTo>
                        <a:lnTo>
                          <a:pt x="3389" y="2786"/>
                        </a:lnTo>
                        <a:lnTo>
                          <a:pt x="3447" y="2701"/>
                        </a:lnTo>
                        <a:lnTo>
                          <a:pt x="3499" y="2613"/>
                        </a:lnTo>
                        <a:lnTo>
                          <a:pt x="3544" y="2522"/>
                        </a:lnTo>
                        <a:lnTo>
                          <a:pt x="3582" y="2429"/>
                        </a:lnTo>
                        <a:lnTo>
                          <a:pt x="3613" y="2333"/>
                        </a:lnTo>
                        <a:lnTo>
                          <a:pt x="3638" y="2235"/>
                        </a:lnTo>
                        <a:lnTo>
                          <a:pt x="3655" y="2135"/>
                        </a:lnTo>
                        <a:lnTo>
                          <a:pt x="3665" y="2032"/>
                        </a:lnTo>
                        <a:lnTo>
                          <a:pt x="3669" y="1927"/>
                        </a:lnTo>
                        <a:lnTo>
                          <a:pt x="3667" y="1820"/>
                        </a:lnTo>
                        <a:lnTo>
                          <a:pt x="3656" y="1711"/>
                        </a:lnTo>
                        <a:lnTo>
                          <a:pt x="3639" y="1606"/>
                        </a:lnTo>
                        <a:lnTo>
                          <a:pt x="3617" y="1506"/>
                        </a:lnTo>
                        <a:lnTo>
                          <a:pt x="3588" y="1409"/>
                        </a:lnTo>
                        <a:lnTo>
                          <a:pt x="3553" y="1316"/>
                        </a:lnTo>
                        <a:lnTo>
                          <a:pt x="3511" y="1225"/>
                        </a:lnTo>
                        <a:lnTo>
                          <a:pt x="3464" y="1138"/>
                        </a:lnTo>
                        <a:lnTo>
                          <a:pt x="3410" y="1055"/>
                        </a:lnTo>
                        <a:lnTo>
                          <a:pt x="3350" y="975"/>
                        </a:lnTo>
                        <a:lnTo>
                          <a:pt x="3285" y="898"/>
                        </a:lnTo>
                        <a:lnTo>
                          <a:pt x="3214" y="825"/>
                        </a:lnTo>
                        <a:lnTo>
                          <a:pt x="3137" y="755"/>
                        </a:lnTo>
                        <a:lnTo>
                          <a:pt x="3055" y="688"/>
                        </a:lnTo>
                        <a:lnTo>
                          <a:pt x="2966" y="626"/>
                        </a:lnTo>
                        <a:lnTo>
                          <a:pt x="3071" y="314"/>
                        </a:lnTo>
                        <a:lnTo>
                          <a:pt x="3175" y="0"/>
                        </a:lnTo>
                        <a:lnTo>
                          <a:pt x="3181" y="2"/>
                        </a:lnTo>
                        <a:lnTo>
                          <a:pt x="3185" y="5"/>
                        </a:lnTo>
                        <a:lnTo>
                          <a:pt x="3285" y="63"/>
                        </a:lnTo>
                        <a:lnTo>
                          <a:pt x="3381" y="124"/>
                        </a:lnTo>
                        <a:lnTo>
                          <a:pt x="3473" y="192"/>
                        </a:lnTo>
                        <a:lnTo>
                          <a:pt x="3562" y="263"/>
                        </a:lnTo>
                        <a:lnTo>
                          <a:pt x="3646" y="340"/>
                        </a:lnTo>
                        <a:lnTo>
                          <a:pt x="3727" y="421"/>
                        </a:lnTo>
                        <a:lnTo>
                          <a:pt x="3807" y="510"/>
                        </a:lnTo>
                        <a:lnTo>
                          <a:pt x="3880" y="601"/>
                        </a:lnTo>
                        <a:lnTo>
                          <a:pt x="3948" y="696"/>
                        </a:lnTo>
                        <a:lnTo>
                          <a:pt x="4010" y="793"/>
                        </a:lnTo>
                        <a:lnTo>
                          <a:pt x="4067" y="894"/>
                        </a:lnTo>
                        <a:lnTo>
                          <a:pt x="4118" y="997"/>
                        </a:lnTo>
                        <a:lnTo>
                          <a:pt x="4164" y="1105"/>
                        </a:lnTo>
                        <a:lnTo>
                          <a:pt x="4205" y="1215"/>
                        </a:lnTo>
                        <a:lnTo>
                          <a:pt x="4240" y="1327"/>
                        </a:lnTo>
                        <a:lnTo>
                          <a:pt x="4266" y="1433"/>
                        </a:lnTo>
                        <a:lnTo>
                          <a:pt x="4287" y="1540"/>
                        </a:lnTo>
                        <a:lnTo>
                          <a:pt x="4303" y="1647"/>
                        </a:lnTo>
                        <a:lnTo>
                          <a:pt x="4312" y="1756"/>
                        </a:lnTo>
                        <a:lnTo>
                          <a:pt x="4317" y="1830"/>
                        </a:lnTo>
                        <a:lnTo>
                          <a:pt x="4317" y="1983"/>
                        </a:lnTo>
                        <a:lnTo>
                          <a:pt x="4317" y="1990"/>
                        </a:lnTo>
                        <a:lnTo>
                          <a:pt x="4316" y="1995"/>
                        </a:lnTo>
                        <a:lnTo>
                          <a:pt x="4308" y="2099"/>
                        </a:lnTo>
                        <a:lnTo>
                          <a:pt x="4298" y="2201"/>
                        </a:lnTo>
                        <a:lnTo>
                          <a:pt x="4278" y="2320"/>
                        </a:lnTo>
                        <a:lnTo>
                          <a:pt x="4252" y="2438"/>
                        </a:lnTo>
                        <a:lnTo>
                          <a:pt x="4219" y="2554"/>
                        </a:lnTo>
                        <a:lnTo>
                          <a:pt x="4180" y="2668"/>
                        </a:lnTo>
                        <a:lnTo>
                          <a:pt x="4133" y="2782"/>
                        </a:lnTo>
                        <a:lnTo>
                          <a:pt x="4082" y="2891"/>
                        </a:lnTo>
                        <a:lnTo>
                          <a:pt x="4024" y="2997"/>
                        </a:lnTo>
                        <a:lnTo>
                          <a:pt x="3960" y="3099"/>
                        </a:lnTo>
                        <a:lnTo>
                          <a:pt x="3892" y="3197"/>
                        </a:lnTo>
                        <a:lnTo>
                          <a:pt x="3819" y="3290"/>
                        </a:lnTo>
                        <a:lnTo>
                          <a:pt x="3739" y="3381"/>
                        </a:lnTo>
                        <a:lnTo>
                          <a:pt x="3654" y="3466"/>
                        </a:lnTo>
                        <a:lnTo>
                          <a:pt x="3565" y="3547"/>
                        </a:lnTo>
                        <a:lnTo>
                          <a:pt x="3469" y="3624"/>
                        </a:lnTo>
                        <a:lnTo>
                          <a:pt x="3364" y="3700"/>
                        </a:lnTo>
                        <a:lnTo>
                          <a:pt x="3257" y="3768"/>
                        </a:lnTo>
                        <a:lnTo>
                          <a:pt x="3147" y="3830"/>
                        </a:lnTo>
                        <a:lnTo>
                          <a:pt x="3034" y="3883"/>
                        </a:lnTo>
                        <a:lnTo>
                          <a:pt x="2921" y="3931"/>
                        </a:lnTo>
                        <a:lnTo>
                          <a:pt x="2803" y="3971"/>
                        </a:lnTo>
                        <a:lnTo>
                          <a:pt x="2682" y="4004"/>
                        </a:lnTo>
                        <a:lnTo>
                          <a:pt x="2559" y="4030"/>
                        </a:lnTo>
                        <a:lnTo>
                          <a:pt x="2434" y="4050"/>
                        </a:lnTo>
                        <a:lnTo>
                          <a:pt x="2305" y="4063"/>
                        </a:lnTo>
                        <a:lnTo>
                          <a:pt x="2237" y="4068"/>
                        </a:lnTo>
                        <a:lnTo>
                          <a:pt x="2080" y="4068"/>
                        </a:lnTo>
                        <a:lnTo>
                          <a:pt x="2074" y="4067"/>
                        </a:lnTo>
                        <a:lnTo>
                          <a:pt x="2067" y="4065"/>
                        </a:lnTo>
                        <a:lnTo>
                          <a:pt x="1975" y="4059"/>
                        </a:lnTo>
                        <a:lnTo>
                          <a:pt x="1885" y="4051"/>
                        </a:lnTo>
                        <a:lnTo>
                          <a:pt x="1765" y="4033"/>
                        </a:lnTo>
                        <a:lnTo>
                          <a:pt x="1646" y="4006"/>
                        </a:lnTo>
                        <a:lnTo>
                          <a:pt x="1528" y="3974"/>
                        </a:lnTo>
                        <a:lnTo>
                          <a:pt x="1413" y="3936"/>
                        </a:lnTo>
                        <a:lnTo>
                          <a:pt x="1306" y="3893"/>
                        </a:lnTo>
                        <a:lnTo>
                          <a:pt x="1204" y="3845"/>
                        </a:lnTo>
                        <a:lnTo>
                          <a:pt x="1105" y="3793"/>
                        </a:lnTo>
                        <a:lnTo>
                          <a:pt x="1008" y="3737"/>
                        </a:lnTo>
                        <a:lnTo>
                          <a:pt x="915" y="3674"/>
                        </a:lnTo>
                        <a:lnTo>
                          <a:pt x="826" y="3607"/>
                        </a:lnTo>
                        <a:lnTo>
                          <a:pt x="738" y="3535"/>
                        </a:lnTo>
                        <a:lnTo>
                          <a:pt x="656" y="3458"/>
                        </a:lnTo>
                        <a:lnTo>
                          <a:pt x="579" y="3379"/>
                        </a:lnTo>
                        <a:lnTo>
                          <a:pt x="507" y="3298"/>
                        </a:lnTo>
                        <a:lnTo>
                          <a:pt x="439" y="3213"/>
                        </a:lnTo>
                        <a:lnTo>
                          <a:pt x="374" y="3125"/>
                        </a:lnTo>
                        <a:lnTo>
                          <a:pt x="315" y="3034"/>
                        </a:lnTo>
                        <a:lnTo>
                          <a:pt x="262" y="2939"/>
                        </a:lnTo>
                        <a:lnTo>
                          <a:pt x="212" y="2841"/>
                        </a:lnTo>
                        <a:lnTo>
                          <a:pt x="164" y="2734"/>
                        </a:lnTo>
                        <a:lnTo>
                          <a:pt x="122" y="2626"/>
                        </a:lnTo>
                        <a:lnTo>
                          <a:pt x="86" y="2516"/>
                        </a:lnTo>
                        <a:lnTo>
                          <a:pt x="58" y="2404"/>
                        </a:lnTo>
                        <a:lnTo>
                          <a:pt x="34" y="2291"/>
                        </a:lnTo>
                        <a:lnTo>
                          <a:pt x="17" y="2176"/>
                        </a:lnTo>
                        <a:lnTo>
                          <a:pt x="5" y="2059"/>
                        </a:lnTo>
                        <a:lnTo>
                          <a:pt x="0" y="1983"/>
                        </a:lnTo>
                        <a:lnTo>
                          <a:pt x="0" y="1828"/>
                        </a:lnTo>
                        <a:lnTo>
                          <a:pt x="1" y="1817"/>
                        </a:lnTo>
                        <a:lnTo>
                          <a:pt x="3" y="1808"/>
                        </a:lnTo>
                        <a:lnTo>
                          <a:pt x="9" y="1719"/>
                        </a:lnTo>
                        <a:lnTo>
                          <a:pt x="17" y="1631"/>
                        </a:lnTo>
                        <a:lnTo>
                          <a:pt x="38" y="1502"/>
                        </a:lnTo>
                        <a:lnTo>
                          <a:pt x="67" y="1372"/>
                        </a:lnTo>
                        <a:lnTo>
                          <a:pt x="103" y="1245"/>
                        </a:lnTo>
                        <a:lnTo>
                          <a:pt x="145" y="1126"/>
                        </a:lnTo>
                        <a:lnTo>
                          <a:pt x="194" y="1009"/>
                        </a:lnTo>
                        <a:lnTo>
                          <a:pt x="250" y="895"/>
                        </a:lnTo>
                        <a:lnTo>
                          <a:pt x="313" y="785"/>
                        </a:lnTo>
                        <a:lnTo>
                          <a:pt x="381" y="679"/>
                        </a:lnTo>
                        <a:lnTo>
                          <a:pt x="457" y="577"/>
                        </a:lnTo>
                        <a:lnTo>
                          <a:pt x="530" y="488"/>
                        </a:lnTo>
                        <a:lnTo>
                          <a:pt x="607" y="403"/>
                        </a:lnTo>
                        <a:lnTo>
                          <a:pt x="690" y="323"/>
                        </a:lnTo>
                        <a:lnTo>
                          <a:pt x="775" y="247"/>
                        </a:lnTo>
                        <a:lnTo>
                          <a:pt x="865" y="176"/>
                        </a:lnTo>
                        <a:lnTo>
                          <a:pt x="960" y="110"/>
                        </a:lnTo>
                        <a:lnTo>
                          <a:pt x="1058" y="48"/>
                        </a:lnTo>
                        <a:lnTo>
                          <a:pt x="1100" y="23"/>
                        </a:lnTo>
                        <a:lnTo>
                          <a:pt x="1142" y="0"/>
                        </a:lnTo>
                        <a:close/>
                      </a:path>
                    </a:pathLst>
                  </a:custGeom>
                  <a:solidFill>
                    <a:schemeClr val="bg1">
                      <a:lumMod val="50000"/>
                    </a:schemeClr>
                  </a:solidFill>
                  <a:ln w="9525">
                    <a:noFill/>
                    <a:round/>
                    <a:headEnd/>
                    <a:tailEnd/>
                  </a:ln>
                </p:spPr>
                <p:txBody>
                  <a:bodyPr vert="horz" wrap="square" lIns="83922" tIns="41962" rIns="83922" bIns="41962" numCol="1" anchor="t" anchorCtr="0" compatLnSpc="1">
                    <a:prstTxWarp prst="textNoShape">
                      <a:avLst/>
                    </a:prstTxWarp>
                  </a:bodyPr>
                  <a:lstStyle/>
                  <a:p>
                    <a:pPr defTabSz="839166"/>
                    <a:endParaRPr lang="en-US" sz="1600" kern="0" dirty="0">
                      <a:solidFill>
                        <a:schemeClr val="tx2"/>
                      </a:solidFill>
                    </a:endParaRPr>
                  </a:p>
                </p:txBody>
              </p:sp>
              <p:sp>
                <p:nvSpPr>
                  <p:cNvPr id="356" name="Freeform 9"/>
                  <p:cNvSpPr>
                    <a:spLocks noEditPoints="1"/>
                  </p:cNvSpPr>
                  <p:nvPr/>
                </p:nvSpPr>
                <p:spPr bwMode="auto">
                  <a:xfrm>
                    <a:off x="7106739" y="5490989"/>
                    <a:ext cx="320361" cy="322652"/>
                  </a:xfrm>
                  <a:custGeom>
                    <a:avLst/>
                    <a:gdLst>
                      <a:gd name="T0" fmla="*/ 1303 w 2605"/>
                      <a:gd name="T1" fmla="*/ 2453 h 2608"/>
                      <a:gd name="T2" fmla="*/ 456 w 2605"/>
                      <a:gd name="T3" fmla="*/ 983 h 2608"/>
                      <a:gd name="T4" fmla="*/ 1609 w 2605"/>
                      <a:gd name="T5" fmla="*/ 399 h 2608"/>
                      <a:gd name="T6" fmla="*/ 1452 w 2605"/>
                      <a:gd name="T7" fmla="*/ 473 h 2608"/>
                      <a:gd name="T8" fmla="*/ 1334 w 2605"/>
                      <a:gd name="T9" fmla="*/ 594 h 2608"/>
                      <a:gd name="T10" fmla="*/ 1244 w 2605"/>
                      <a:gd name="T11" fmla="*/ 557 h 2608"/>
                      <a:gd name="T12" fmla="*/ 1129 w 2605"/>
                      <a:gd name="T13" fmla="*/ 454 h 2608"/>
                      <a:gd name="T14" fmla="*/ 973 w 2605"/>
                      <a:gd name="T15" fmla="*/ 393 h 2608"/>
                      <a:gd name="T16" fmla="*/ 792 w 2605"/>
                      <a:gd name="T17" fmla="*/ 392 h 2608"/>
                      <a:gd name="T18" fmla="*/ 630 w 2605"/>
                      <a:gd name="T19" fmla="*/ 454 h 2608"/>
                      <a:gd name="T20" fmla="*/ 521 w 2605"/>
                      <a:gd name="T21" fmla="*/ 547 h 2608"/>
                      <a:gd name="T22" fmla="*/ 452 w 2605"/>
                      <a:gd name="T23" fmla="*/ 659 h 2608"/>
                      <a:gd name="T24" fmla="*/ 416 w 2605"/>
                      <a:gd name="T25" fmla="*/ 770 h 2608"/>
                      <a:gd name="T26" fmla="*/ 2198 w 2605"/>
                      <a:gd name="T27" fmla="*/ 838 h 2608"/>
                      <a:gd name="T28" fmla="*/ 2185 w 2605"/>
                      <a:gd name="T29" fmla="*/ 731 h 2608"/>
                      <a:gd name="T30" fmla="*/ 2138 w 2605"/>
                      <a:gd name="T31" fmla="*/ 617 h 2608"/>
                      <a:gd name="T32" fmla="*/ 2054 w 2605"/>
                      <a:gd name="T33" fmla="*/ 509 h 2608"/>
                      <a:gd name="T34" fmla="*/ 1930 w 2605"/>
                      <a:gd name="T35" fmla="*/ 427 h 2608"/>
                      <a:gd name="T36" fmla="*/ 1740 w 2605"/>
                      <a:gd name="T37" fmla="*/ 384 h 2608"/>
                      <a:gd name="T38" fmla="*/ 1502 w 2605"/>
                      <a:gd name="T39" fmla="*/ 16 h 2608"/>
                      <a:gd name="T40" fmla="*/ 1782 w 2605"/>
                      <a:gd name="T41" fmla="*/ 90 h 2608"/>
                      <a:gd name="T42" fmla="*/ 2032 w 2605"/>
                      <a:gd name="T43" fmla="*/ 223 h 2608"/>
                      <a:gd name="T44" fmla="*/ 2247 w 2605"/>
                      <a:gd name="T45" fmla="*/ 405 h 2608"/>
                      <a:gd name="T46" fmla="*/ 2418 w 2605"/>
                      <a:gd name="T47" fmla="*/ 629 h 2608"/>
                      <a:gd name="T48" fmla="*/ 2538 w 2605"/>
                      <a:gd name="T49" fmla="*/ 888 h 2608"/>
                      <a:gd name="T50" fmla="*/ 2600 w 2605"/>
                      <a:gd name="T51" fmla="*/ 1173 h 2608"/>
                      <a:gd name="T52" fmla="*/ 2593 w 2605"/>
                      <a:gd name="T53" fmla="*/ 1481 h 2608"/>
                      <a:gd name="T54" fmla="*/ 2520 w 2605"/>
                      <a:gd name="T55" fmla="*/ 1772 h 2608"/>
                      <a:gd name="T56" fmla="*/ 2384 w 2605"/>
                      <a:gd name="T57" fmla="*/ 2032 h 2608"/>
                      <a:gd name="T58" fmla="*/ 2195 w 2605"/>
                      <a:gd name="T59" fmla="*/ 2253 h 2608"/>
                      <a:gd name="T60" fmla="*/ 1964 w 2605"/>
                      <a:gd name="T61" fmla="*/ 2429 h 2608"/>
                      <a:gd name="T62" fmla="*/ 1695 w 2605"/>
                      <a:gd name="T63" fmla="*/ 2548 h 2608"/>
                      <a:gd name="T64" fmla="*/ 1401 w 2605"/>
                      <a:gd name="T65" fmla="*/ 2604 h 2608"/>
                      <a:gd name="T66" fmla="*/ 1096 w 2605"/>
                      <a:gd name="T67" fmla="*/ 2593 h 2608"/>
                      <a:gd name="T68" fmla="*/ 812 w 2605"/>
                      <a:gd name="T69" fmla="*/ 2513 h 2608"/>
                      <a:gd name="T70" fmla="*/ 558 w 2605"/>
                      <a:gd name="T71" fmla="*/ 2374 h 2608"/>
                      <a:gd name="T72" fmla="*/ 341 w 2605"/>
                      <a:gd name="T73" fmla="*/ 2184 h 2608"/>
                      <a:gd name="T74" fmla="*/ 170 w 2605"/>
                      <a:gd name="T75" fmla="*/ 1950 h 2608"/>
                      <a:gd name="T76" fmla="*/ 55 w 2605"/>
                      <a:gd name="T77" fmla="*/ 1680 h 2608"/>
                      <a:gd name="T78" fmla="*/ 3 w 2605"/>
                      <a:gd name="T79" fmla="*/ 1383 h 2608"/>
                      <a:gd name="T80" fmla="*/ 20 w 2605"/>
                      <a:gd name="T81" fmla="*/ 1079 h 2608"/>
                      <a:gd name="T82" fmla="*/ 101 w 2605"/>
                      <a:gd name="T83" fmla="*/ 801 h 2608"/>
                      <a:gd name="T84" fmla="*/ 238 w 2605"/>
                      <a:gd name="T85" fmla="*/ 553 h 2608"/>
                      <a:gd name="T86" fmla="*/ 424 w 2605"/>
                      <a:gd name="T87" fmla="*/ 340 h 2608"/>
                      <a:gd name="T88" fmla="*/ 653 w 2605"/>
                      <a:gd name="T89" fmla="*/ 173 h 2608"/>
                      <a:gd name="T90" fmla="*/ 915 w 2605"/>
                      <a:gd name="T91" fmla="*/ 59 h 2608"/>
                      <a:gd name="T92" fmla="*/ 1203 w 2605"/>
                      <a:gd name="T93" fmla="*/ 4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05" h="2608">
                        <a:moveTo>
                          <a:pt x="456" y="983"/>
                        </a:moveTo>
                        <a:lnTo>
                          <a:pt x="879" y="1718"/>
                        </a:lnTo>
                        <a:lnTo>
                          <a:pt x="1303" y="2453"/>
                        </a:lnTo>
                        <a:lnTo>
                          <a:pt x="1727" y="1718"/>
                        </a:lnTo>
                        <a:lnTo>
                          <a:pt x="2150" y="983"/>
                        </a:lnTo>
                        <a:lnTo>
                          <a:pt x="456" y="983"/>
                        </a:lnTo>
                        <a:close/>
                        <a:moveTo>
                          <a:pt x="1740" y="384"/>
                        </a:moveTo>
                        <a:lnTo>
                          <a:pt x="1674" y="386"/>
                        </a:lnTo>
                        <a:lnTo>
                          <a:pt x="1609" y="399"/>
                        </a:lnTo>
                        <a:lnTo>
                          <a:pt x="1553" y="418"/>
                        </a:lnTo>
                        <a:lnTo>
                          <a:pt x="1500" y="443"/>
                        </a:lnTo>
                        <a:lnTo>
                          <a:pt x="1452" y="473"/>
                        </a:lnTo>
                        <a:lnTo>
                          <a:pt x="1409" y="508"/>
                        </a:lnTo>
                        <a:lnTo>
                          <a:pt x="1369" y="549"/>
                        </a:lnTo>
                        <a:lnTo>
                          <a:pt x="1334" y="594"/>
                        </a:lnTo>
                        <a:lnTo>
                          <a:pt x="1303" y="646"/>
                        </a:lnTo>
                        <a:lnTo>
                          <a:pt x="1275" y="600"/>
                        </a:lnTo>
                        <a:lnTo>
                          <a:pt x="1244" y="557"/>
                        </a:lnTo>
                        <a:lnTo>
                          <a:pt x="1210" y="519"/>
                        </a:lnTo>
                        <a:lnTo>
                          <a:pt x="1172" y="484"/>
                        </a:lnTo>
                        <a:lnTo>
                          <a:pt x="1129" y="454"/>
                        </a:lnTo>
                        <a:lnTo>
                          <a:pt x="1083" y="429"/>
                        </a:lnTo>
                        <a:lnTo>
                          <a:pt x="1033" y="410"/>
                        </a:lnTo>
                        <a:lnTo>
                          <a:pt x="973" y="393"/>
                        </a:lnTo>
                        <a:lnTo>
                          <a:pt x="913" y="384"/>
                        </a:lnTo>
                        <a:lnTo>
                          <a:pt x="852" y="384"/>
                        </a:lnTo>
                        <a:lnTo>
                          <a:pt x="792" y="392"/>
                        </a:lnTo>
                        <a:lnTo>
                          <a:pt x="733" y="407"/>
                        </a:lnTo>
                        <a:lnTo>
                          <a:pt x="676" y="429"/>
                        </a:lnTo>
                        <a:lnTo>
                          <a:pt x="630" y="454"/>
                        </a:lnTo>
                        <a:lnTo>
                          <a:pt x="589" y="482"/>
                        </a:lnTo>
                        <a:lnTo>
                          <a:pt x="553" y="513"/>
                        </a:lnTo>
                        <a:lnTo>
                          <a:pt x="521" y="547"/>
                        </a:lnTo>
                        <a:lnTo>
                          <a:pt x="494" y="584"/>
                        </a:lnTo>
                        <a:lnTo>
                          <a:pt x="470" y="621"/>
                        </a:lnTo>
                        <a:lnTo>
                          <a:pt x="452" y="659"/>
                        </a:lnTo>
                        <a:lnTo>
                          <a:pt x="436" y="697"/>
                        </a:lnTo>
                        <a:lnTo>
                          <a:pt x="424" y="735"/>
                        </a:lnTo>
                        <a:lnTo>
                          <a:pt x="416" y="770"/>
                        </a:lnTo>
                        <a:lnTo>
                          <a:pt x="413" y="805"/>
                        </a:lnTo>
                        <a:lnTo>
                          <a:pt x="413" y="838"/>
                        </a:lnTo>
                        <a:lnTo>
                          <a:pt x="2198" y="838"/>
                        </a:lnTo>
                        <a:lnTo>
                          <a:pt x="2198" y="804"/>
                        </a:lnTo>
                        <a:lnTo>
                          <a:pt x="2193" y="769"/>
                        </a:lnTo>
                        <a:lnTo>
                          <a:pt x="2185" y="731"/>
                        </a:lnTo>
                        <a:lnTo>
                          <a:pt x="2173" y="693"/>
                        </a:lnTo>
                        <a:lnTo>
                          <a:pt x="2158" y="655"/>
                        </a:lnTo>
                        <a:lnTo>
                          <a:pt x="2138" y="617"/>
                        </a:lnTo>
                        <a:lnTo>
                          <a:pt x="2114" y="579"/>
                        </a:lnTo>
                        <a:lnTo>
                          <a:pt x="2086" y="543"/>
                        </a:lnTo>
                        <a:lnTo>
                          <a:pt x="2054" y="509"/>
                        </a:lnTo>
                        <a:lnTo>
                          <a:pt x="2017" y="479"/>
                        </a:lnTo>
                        <a:lnTo>
                          <a:pt x="1976" y="452"/>
                        </a:lnTo>
                        <a:lnTo>
                          <a:pt x="1930" y="427"/>
                        </a:lnTo>
                        <a:lnTo>
                          <a:pt x="1867" y="403"/>
                        </a:lnTo>
                        <a:lnTo>
                          <a:pt x="1804" y="389"/>
                        </a:lnTo>
                        <a:lnTo>
                          <a:pt x="1740" y="384"/>
                        </a:lnTo>
                        <a:close/>
                        <a:moveTo>
                          <a:pt x="1303" y="0"/>
                        </a:moveTo>
                        <a:lnTo>
                          <a:pt x="1403" y="4"/>
                        </a:lnTo>
                        <a:lnTo>
                          <a:pt x="1502" y="16"/>
                        </a:lnTo>
                        <a:lnTo>
                          <a:pt x="1597" y="34"/>
                        </a:lnTo>
                        <a:lnTo>
                          <a:pt x="1690" y="59"/>
                        </a:lnTo>
                        <a:lnTo>
                          <a:pt x="1782" y="90"/>
                        </a:lnTo>
                        <a:lnTo>
                          <a:pt x="1868" y="128"/>
                        </a:lnTo>
                        <a:lnTo>
                          <a:pt x="1952" y="173"/>
                        </a:lnTo>
                        <a:lnTo>
                          <a:pt x="2032" y="223"/>
                        </a:lnTo>
                        <a:lnTo>
                          <a:pt x="2108" y="279"/>
                        </a:lnTo>
                        <a:lnTo>
                          <a:pt x="2180" y="339"/>
                        </a:lnTo>
                        <a:lnTo>
                          <a:pt x="2247" y="405"/>
                        </a:lnTo>
                        <a:lnTo>
                          <a:pt x="2309" y="475"/>
                        </a:lnTo>
                        <a:lnTo>
                          <a:pt x="2367" y="550"/>
                        </a:lnTo>
                        <a:lnTo>
                          <a:pt x="2418" y="629"/>
                        </a:lnTo>
                        <a:lnTo>
                          <a:pt x="2464" y="712"/>
                        </a:lnTo>
                        <a:lnTo>
                          <a:pt x="2504" y="797"/>
                        </a:lnTo>
                        <a:lnTo>
                          <a:pt x="2538" y="888"/>
                        </a:lnTo>
                        <a:lnTo>
                          <a:pt x="2566" y="979"/>
                        </a:lnTo>
                        <a:lnTo>
                          <a:pt x="2586" y="1075"/>
                        </a:lnTo>
                        <a:lnTo>
                          <a:pt x="2600" y="1173"/>
                        </a:lnTo>
                        <a:lnTo>
                          <a:pt x="2605" y="1273"/>
                        </a:lnTo>
                        <a:lnTo>
                          <a:pt x="2604" y="1378"/>
                        </a:lnTo>
                        <a:lnTo>
                          <a:pt x="2593" y="1481"/>
                        </a:lnTo>
                        <a:lnTo>
                          <a:pt x="2576" y="1580"/>
                        </a:lnTo>
                        <a:lnTo>
                          <a:pt x="2552" y="1677"/>
                        </a:lnTo>
                        <a:lnTo>
                          <a:pt x="2520" y="1772"/>
                        </a:lnTo>
                        <a:lnTo>
                          <a:pt x="2481" y="1862"/>
                        </a:lnTo>
                        <a:lnTo>
                          <a:pt x="2435" y="1950"/>
                        </a:lnTo>
                        <a:lnTo>
                          <a:pt x="2384" y="2032"/>
                        </a:lnTo>
                        <a:lnTo>
                          <a:pt x="2326" y="2111"/>
                        </a:lnTo>
                        <a:lnTo>
                          <a:pt x="2264" y="2185"/>
                        </a:lnTo>
                        <a:lnTo>
                          <a:pt x="2195" y="2253"/>
                        </a:lnTo>
                        <a:lnTo>
                          <a:pt x="2123" y="2318"/>
                        </a:lnTo>
                        <a:lnTo>
                          <a:pt x="2046" y="2377"/>
                        </a:lnTo>
                        <a:lnTo>
                          <a:pt x="1964" y="2429"/>
                        </a:lnTo>
                        <a:lnTo>
                          <a:pt x="1877" y="2475"/>
                        </a:lnTo>
                        <a:lnTo>
                          <a:pt x="1788" y="2515"/>
                        </a:lnTo>
                        <a:lnTo>
                          <a:pt x="1695" y="2548"/>
                        </a:lnTo>
                        <a:lnTo>
                          <a:pt x="1600" y="2574"/>
                        </a:lnTo>
                        <a:lnTo>
                          <a:pt x="1502" y="2594"/>
                        </a:lnTo>
                        <a:lnTo>
                          <a:pt x="1401" y="2604"/>
                        </a:lnTo>
                        <a:lnTo>
                          <a:pt x="1297" y="2608"/>
                        </a:lnTo>
                        <a:lnTo>
                          <a:pt x="1195" y="2604"/>
                        </a:lnTo>
                        <a:lnTo>
                          <a:pt x="1096" y="2593"/>
                        </a:lnTo>
                        <a:lnTo>
                          <a:pt x="999" y="2573"/>
                        </a:lnTo>
                        <a:lnTo>
                          <a:pt x="903" y="2545"/>
                        </a:lnTo>
                        <a:lnTo>
                          <a:pt x="812" y="2513"/>
                        </a:lnTo>
                        <a:lnTo>
                          <a:pt x="723" y="2472"/>
                        </a:lnTo>
                        <a:lnTo>
                          <a:pt x="638" y="2426"/>
                        </a:lnTo>
                        <a:lnTo>
                          <a:pt x="558" y="2374"/>
                        </a:lnTo>
                        <a:lnTo>
                          <a:pt x="481" y="2316"/>
                        </a:lnTo>
                        <a:lnTo>
                          <a:pt x="409" y="2252"/>
                        </a:lnTo>
                        <a:lnTo>
                          <a:pt x="341" y="2184"/>
                        </a:lnTo>
                        <a:lnTo>
                          <a:pt x="279" y="2111"/>
                        </a:lnTo>
                        <a:lnTo>
                          <a:pt x="221" y="2032"/>
                        </a:lnTo>
                        <a:lnTo>
                          <a:pt x="170" y="1950"/>
                        </a:lnTo>
                        <a:lnTo>
                          <a:pt x="126" y="1863"/>
                        </a:lnTo>
                        <a:lnTo>
                          <a:pt x="87" y="1774"/>
                        </a:lnTo>
                        <a:lnTo>
                          <a:pt x="55" y="1680"/>
                        </a:lnTo>
                        <a:lnTo>
                          <a:pt x="30" y="1583"/>
                        </a:lnTo>
                        <a:lnTo>
                          <a:pt x="12" y="1484"/>
                        </a:lnTo>
                        <a:lnTo>
                          <a:pt x="3" y="1383"/>
                        </a:lnTo>
                        <a:lnTo>
                          <a:pt x="0" y="1278"/>
                        </a:lnTo>
                        <a:lnTo>
                          <a:pt x="7" y="1177"/>
                        </a:lnTo>
                        <a:lnTo>
                          <a:pt x="20" y="1079"/>
                        </a:lnTo>
                        <a:lnTo>
                          <a:pt x="39" y="983"/>
                        </a:lnTo>
                        <a:lnTo>
                          <a:pt x="67" y="890"/>
                        </a:lnTo>
                        <a:lnTo>
                          <a:pt x="101" y="801"/>
                        </a:lnTo>
                        <a:lnTo>
                          <a:pt x="140" y="715"/>
                        </a:lnTo>
                        <a:lnTo>
                          <a:pt x="186" y="631"/>
                        </a:lnTo>
                        <a:lnTo>
                          <a:pt x="238" y="553"/>
                        </a:lnTo>
                        <a:lnTo>
                          <a:pt x="295" y="477"/>
                        </a:lnTo>
                        <a:lnTo>
                          <a:pt x="358" y="406"/>
                        </a:lnTo>
                        <a:lnTo>
                          <a:pt x="424" y="340"/>
                        </a:lnTo>
                        <a:lnTo>
                          <a:pt x="496" y="279"/>
                        </a:lnTo>
                        <a:lnTo>
                          <a:pt x="572" y="224"/>
                        </a:lnTo>
                        <a:lnTo>
                          <a:pt x="653" y="173"/>
                        </a:lnTo>
                        <a:lnTo>
                          <a:pt x="737" y="130"/>
                        </a:lnTo>
                        <a:lnTo>
                          <a:pt x="824" y="90"/>
                        </a:lnTo>
                        <a:lnTo>
                          <a:pt x="915" y="59"/>
                        </a:lnTo>
                        <a:lnTo>
                          <a:pt x="1008" y="34"/>
                        </a:lnTo>
                        <a:lnTo>
                          <a:pt x="1104" y="16"/>
                        </a:lnTo>
                        <a:lnTo>
                          <a:pt x="1203" y="4"/>
                        </a:lnTo>
                        <a:lnTo>
                          <a:pt x="1303" y="0"/>
                        </a:lnTo>
                        <a:close/>
                      </a:path>
                    </a:pathLst>
                  </a:custGeom>
                  <a:solidFill>
                    <a:schemeClr val="bg1">
                      <a:lumMod val="50000"/>
                    </a:schemeClr>
                  </a:solidFill>
                  <a:ln w="9525">
                    <a:noFill/>
                    <a:round/>
                    <a:headEnd/>
                    <a:tailEnd/>
                  </a:ln>
                </p:spPr>
                <p:txBody>
                  <a:bodyPr vert="horz" wrap="square" lIns="83922" tIns="41962" rIns="83922" bIns="41962" numCol="1" anchor="t" anchorCtr="0" compatLnSpc="1">
                    <a:prstTxWarp prst="textNoShape">
                      <a:avLst/>
                    </a:prstTxWarp>
                  </a:bodyPr>
                  <a:lstStyle/>
                  <a:p>
                    <a:pPr defTabSz="839166"/>
                    <a:endParaRPr lang="en-US" sz="1600" kern="0" dirty="0">
                      <a:solidFill>
                        <a:schemeClr val="tx2"/>
                      </a:solidFill>
                    </a:endParaRPr>
                  </a:p>
                </p:txBody>
              </p:sp>
              <p:sp>
                <p:nvSpPr>
                  <p:cNvPr id="357" name="Freeform 8"/>
                  <p:cNvSpPr>
                    <a:spLocks/>
                  </p:cNvSpPr>
                  <p:nvPr/>
                </p:nvSpPr>
                <p:spPr bwMode="auto">
                  <a:xfrm>
                    <a:off x="7259174" y="5389047"/>
                    <a:ext cx="56549" cy="91303"/>
                  </a:xfrm>
                  <a:custGeom>
                    <a:avLst/>
                    <a:gdLst>
                      <a:gd name="T0" fmla="*/ 292 w 461"/>
                      <a:gd name="T1" fmla="*/ 0 h 738"/>
                      <a:gd name="T2" fmla="*/ 365 w 461"/>
                      <a:gd name="T3" fmla="*/ 12 h 738"/>
                      <a:gd name="T4" fmla="*/ 419 w 461"/>
                      <a:gd name="T5" fmla="*/ 25 h 738"/>
                      <a:gd name="T6" fmla="*/ 406 w 461"/>
                      <a:gd name="T7" fmla="*/ 139 h 738"/>
                      <a:gd name="T8" fmla="*/ 298 w 461"/>
                      <a:gd name="T9" fmla="*/ 116 h 738"/>
                      <a:gd name="T10" fmla="*/ 232 w 461"/>
                      <a:gd name="T11" fmla="*/ 116 h 738"/>
                      <a:gd name="T12" fmla="*/ 182 w 461"/>
                      <a:gd name="T13" fmla="*/ 137 h 738"/>
                      <a:gd name="T14" fmla="*/ 157 w 461"/>
                      <a:gd name="T15" fmla="*/ 169 h 738"/>
                      <a:gd name="T16" fmla="*/ 148 w 461"/>
                      <a:gd name="T17" fmla="*/ 210 h 738"/>
                      <a:gd name="T18" fmla="*/ 158 w 461"/>
                      <a:gd name="T19" fmla="*/ 245 h 738"/>
                      <a:gd name="T20" fmla="*/ 179 w 461"/>
                      <a:gd name="T21" fmla="*/ 268 h 738"/>
                      <a:gd name="T22" fmla="*/ 237 w 461"/>
                      <a:gd name="T23" fmla="*/ 296 h 738"/>
                      <a:gd name="T24" fmla="*/ 319 w 461"/>
                      <a:gd name="T25" fmla="*/ 330 h 738"/>
                      <a:gd name="T26" fmla="*/ 391 w 461"/>
                      <a:gd name="T27" fmla="*/ 371 h 738"/>
                      <a:gd name="T28" fmla="*/ 437 w 461"/>
                      <a:gd name="T29" fmla="*/ 425 h 738"/>
                      <a:gd name="T30" fmla="*/ 458 w 461"/>
                      <a:gd name="T31" fmla="*/ 489 h 738"/>
                      <a:gd name="T32" fmla="*/ 458 w 461"/>
                      <a:gd name="T33" fmla="*/ 557 h 738"/>
                      <a:gd name="T34" fmla="*/ 442 w 461"/>
                      <a:gd name="T35" fmla="*/ 615 h 738"/>
                      <a:gd name="T36" fmla="*/ 408 w 461"/>
                      <a:gd name="T37" fmla="*/ 666 h 738"/>
                      <a:gd name="T38" fmla="*/ 356 w 461"/>
                      <a:gd name="T39" fmla="*/ 704 h 738"/>
                      <a:gd name="T40" fmla="*/ 298 w 461"/>
                      <a:gd name="T41" fmla="*/ 726 h 738"/>
                      <a:gd name="T42" fmla="*/ 204 w 461"/>
                      <a:gd name="T43" fmla="*/ 738 h 738"/>
                      <a:gd name="T44" fmla="*/ 81 w 461"/>
                      <a:gd name="T45" fmla="*/ 727 h 738"/>
                      <a:gd name="T46" fmla="*/ 18 w 461"/>
                      <a:gd name="T47" fmla="*/ 711 h 738"/>
                      <a:gd name="T48" fmla="*/ 14 w 461"/>
                      <a:gd name="T49" fmla="*/ 707 h 738"/>
                      <a:gd name="T50" fmla="*/ 12 w 461"/>
                      <a:gd name="T51" fmla="*/ 704 h 738"/>
                      <a:gd name="T52" fmla="*/ 55 w 461"/>
                      <a:gd name="T53" fmla="*/ 596 h 738"/>
                      <a:gd name="T54" fmla="*/ 120 w 461"/>
                      <a:gd name="T55" fmla="*/ 618 h 738"/>
                      <a:gd name="T56" fmla="*/ 194 w 461"/>
                      <a:gd name="T57" fmla="*/ 625 h 738"/>
                      <a:gd name="T58" fmla="*/ 253 w 461"/>
                      <a:gd name="T59" fmla="*/ 611 h 738"/>
                      <a:gd name="T60" fmla="*/ 292 w 461"/>
                      <a:gd name="T61" fmla="*/ 584 h 738"/>
                      <a:gd name="T62" fmla="*/ 311 w 461"/>
                      <a:gd name="T63" fmla="*/ 546 h 738"/>
                      <a:gd name="T64" fmla="*/ 306 w 461"/>
                      <a:gd name="T65" fmla="*/ 506 h 738"/>
                      <a:gd name="T66" fmla="*/ 279 w 461"/>
                      <a:gd name="T67" fmla="*/ 472 h 738"/>
                      <a:gd name="T68" fmla="*/ 222 w 461"/>
                      <a:gd name="T69" fmla="*/ 442 h 738"/>
                      <a:gd name="T70" fmla="*/ 162 w 461"/>
                      <a:gd name="T71" fmla="*/ 414 h 738"/>
                      <a:gd name="T72" fmla="*/ 97 w 461"/>
                      <a:gd name="T73" fmla="*/ 384 h 738"/>
                      <a:gd name="T74" fmla="*/ 46 w 461"/>
                      <a:gd name="T75" fmla="*/ 345 h 738"/>
                      <a:gd name="T76" fmla="*/ 13 w 461"/>
                      <a:gd name="T77" fmla="*/ 295 h 738"/>
                      <a:gd name="T78" fmla="*/ 0 w 461"/>
                      <a:gd name="T79" fmla="*/ 235 h 738"/>
                      <a:gd name="T80" fmla="*/ 5 w 461"/>
                      <a:gd name="T81" fmla="*/ 165 h 738"/>
                      <a:gd name="T82" fmla="*/ 27 w 461"/>
                      <a:gd name="T83" fmla="*/ 105 h 738"/>
                      <a:gd name="T84" fmla="*/ 65 w 461"/>
                      <a:gd name="T85" fmla="*/ 59 h 738"/>
                      <a:gd name="T86" fmla="*/ 118 w 461"/>
                      <a:gd name="T87" fmla="*/ 27 h 738"/>
                      <a:gd name="T88" fmla="*/ 181 w 461"/>
                      <a:gd name="T89" fmla="*/ 7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1" h="738">
                        <a:moveTo>
                          <a:pt x="215" y="0"/>
                        </a:moveTo>
                        <a:lnTo>
                          <a:pt x="292" y="0"/>
                        </a:lnTo>
                        <a:lnTo>
                          <a:pt x="328" y="6"/>
                        </a:lnTo>
                        <a:lnTo>
                          <a:pt x="365" y="12"/>
                        </a:lnTo>
                        <a:lnTo>
                          <a:pt x="391" y="19"/>
                        </a:lnTo>
                        <a:lnTo>
                          <a:pt x="419" y="25"/>
                        </a:lnTo>
                        <a:lnTo>
                          <a:pt x="412" y="84"/>
                        </a:lnTo>
                        <a:lnTo>
                          <a:pt x="406" y="139"/>
                        </a:lnTo>
                        <a:lnTo>
                          <a:pt x="352" y="126"/>
                        </a:lnTo>
                        <a:lnTo>
                          <a:pt x="298" y="116"/>
                        </a:lnTo>
                        <a:lnTo>
                          <a:pt x="264" y="113"/>
                        </a:lnTo>
                        <a:lnTo>
                          <a:pt x="232" y="116"/>
                        </a:lnTo>
                        <a:lnTo>
                          <a:pt x="200" y="126"/>
                        </a:lnTo>
                        <a:lnTo>
                          <a:pt x="182" y="137"/>
                        </a:lnTo>
                        <a:lnTo>
                          <a:pt x="167" y="152"/>
                        </a:lnTo>
                        <a:lnTo>
                          <a:pt x="157" y="169"/>
                        </a:lnTo>
                        <a:lnTo>
                          <a:pt x="150" y="189"/>
                        </a:lnTo>
                        <a:lnTo>
                          <a:pt x="148" y="210"/>
                        </a:lnTo>
                        <a:lnTo>
                          <a:pt x="152" y="231"/>
                        </a:lnTo>
                        <a:lnTo>
                          <a:pt x="158" y="245"/>
                        </a:lnTo>
                        <a:lnTo>
                          <a:pt x="167" y="257"/>
                        </a:lnTo>
                        <a:lnTo>
                          <a:pt x="179" y="268"/>
                        </a:lnTo>
                        <a:lnTo>
                          <a:pt x="192" y="275"/>
                        </a:lnTo>
                        <a:lnTo>
                          <a:pt x="237" y="296"/>
                        </a:lnTo>
                        <a:lnTo>
                          <a:pt x="281" y="315"/>
                        </a:lnTo>
                        <a:lnTo>
                          <a:pt x="319" y="330"/>
                        </a:lnTo>
                        <a:lnTo>
                          <a:pt x="356" y="349"/>
                        </a:lnTo>
                        <a:lnTo>
                          <a:pt x="391" y="371"/>
                        </a:lnTo>
                        <a:lnTo>
                          <a:pt x="417" y="397"/>
                        </a:lnTo>
                        <a:lnTo>
                          <a:pt x="437" y="425"/>
                        </a:lnTo>
                        <a:lnTo>
                          <a:pt x="450" y="456"/>
                        </a:lnTo>
                        <a:lnTo>
                          <a:pt x="458" y="489"/>
                        </a:lnTo>
                        <a:lnTo>
                          <a:pt x="461" y="525"/>
                        </a:lnTo>
                        <a:lnTo>
                          <a:pt x="458" y="557"/>
                        </a:lnTo>
                        <a:lnTo>
                          <a:pt x="453" y="586"/>
                        </a:lnTo>
                        <a:lnTo>
                          <a:pt x="442" y="615"/>
                        </a:lnTo>
                        <a:lnTo>
                          <a:pt x="428" y="641"/>
                        </a:lnTo>
                        <a:lnTo>
                          <a:pt x="408" y="666"/>
                        </a:lnTo>
                        <a:lnTo>
                          <a:pt x="383" y="687"/>
                        </a:lnTo>
                        <a:lnTo>
                          <a:pt x="356" y="704"/>
                        </a:lnTo>
                        <a:lnTo>
                          <a:pt x="328" y="717"/>
                        </a:lnTo>
                        <a:lnTo>
                          <a:pt x="298" y="726"/>
                        </a:lnTo>
                        <a:lnTo>
                          <a:pt x="266" y="732"/>
                        </a:lnTo>
                        <a:lnTo>
                          <a:pt x="204" y="738"/>
                        </a:lnTo>
                        <a:lnTo>
                          <a:pt x="143" y="735"/>
                        </a:lnTo>
                        <a:lnTo>
                          <a:pt x="81" y="727"/>
                        </a:lnTo>
                        <a:lnTo>
                          <a:pt x="19" y="711"/>
                        </a:lnTo>
                        <a:lnTo>
                          <a:pt x="18" y="711"/>
                        </a:lnTo>
                        <a:lnTo>
                          <a:pt x="16" y="709"/>
                        </a:lnTo>
                        <a:lnTo>
                          <a:pt x="14" y="707"/>
                        </a:lnTo>
                        <a:lnTo>
                          <a:pt x="13" y="705"/>
                        </a:lnTo>
                        <a:lnTo>
                          <a:pt x="12" y="704"/>
                        </a:lnTo>
                        <a:lnTo>
                          <a:pt x="23" y="583"/>
                        </a:lnTo>
                        <a:lnTo>
                          <a:pt x="55" y="596"/>
                        </a:lnTo>
                        <a:lnTo>
                          <a:pt x="85" y="608"/>
                        </a:lnTo>
                        <a:lnTo>
                          <a:pt x="120" y="618"/>
                        </a:lnTo>
                        <a:lnTo>
                          <a:pt x="157" y="624"/>
                        </a:lnTo>
                        <a:lnTo>
                          <a:pt x="194" y="625"/>
                        </a:lnTo>
                        <a:lnTo>
                          <a:pt x="230" y="618"/>
                        </a:lnTo>
                        <a:lnTo>
                          <a:pt x="253" y="611"/>
                        </a:lnTo>
                        <a:lnTo>
                          <a:pt x="275" y="599"/>
                        </a:lnTo>
                        <a:lnTo>
                          <a:pt x="292" y="584"/>
                        </a:lnTo>
                        <a:lnTo>
                          <a:pt x="305" y="566"/>
                        </a:lnTo>
                        <a:lnTo>
                          <a:pt x="311" y="546"/>
                        </a:lnTo>
                        <a:lnTo>
                          <a:pt x="311" y="525"/>
                        </a:lnTo>
                        <a:lnTo>
                          <a:pt x="306" y="506"/>
                        </a:lnTo>
                        <a:lnTo>
                          <a:pt x="296" y="488"/>
                        </a:lnTo>
                        <a:lnTo>
                          <a:pt x="279" y="472"/>
                        </a:lnTo>
                        <a:lnTo>
                          <a:pt x="251" y="456"/>
                        </a:lnTo>
                        <a:lnTo>
                          <a:pt x="222" y="442"/>
                        </a:lnTo>
                        <a:lnTo>
                          <a:pt x="195" y="429"/>
                        </a:lnTo>
                        <a:lnTo>
                          <a:pt x="162" y="414"/>
                        </a:lnTo>
                        <a:lnTo>
                          <a:pt x="128" y="400"/>
                        </a:lnTo>
                        <a:lnTo>
                          <a:pt x="97" y="384"/>
                        </a:lnTo>
                        <a:lnTo>
                          <a:pt x="68" y="366"/>
                        </a:lnTo>
                        <a:lnTo>
                          <a:pt x="46" y="345"/>
                        </a:lnTo>
                        <a:lnTo>
                          <a:pt x="27" y="321"/>
                        </a:lnTo>
                        <a:lnTo>
                          <a:pt x="13" y="295"/>
                        </a:lnTo>
                        <a:lnTo>
                          <a:pt x="5" y="266"/>
                        </a:lnTo>
                        <a:lnTo>
                          <a:pt x="0" y="235"/>
                        </a:lnTo>
                        <a:lnTo>
                          <a:pt x="0" y="202"/>
                        </a:lnTo>
                        <a:lnTo>
                          <a:pt x="5" y="165"/>
                        </a:lnTo>
                        <a:lnTo>
                          <a:pt x="14" y="134"/>
                        </a:lnTo>
                        <a:lnTo>
                          <a:pt x="27" y="105"/>
                        </a:lnTo>
                        <a:lnTo>
                          <a:pt x="44" y="80"/>
                        </a:lnTo>
                        <a:lnTo>
                          <a:pt x="65" y="59"/>
                        </a:lnTo>
                        <a:lnTo>
                          <a:pt x="90" y="41"/>
                        </a:lnTo>
                        <a:lnTo>
                          <a:pt x="118" y="27"/>
                        </a:lnTo>
                        <a:lnTo>
                          <a:pt x="148" y="15"/>
                        </a:lnTo>
                        <a:lnTo>
                          <a:pt x="181" y="7"/>
                        </a:lnTo>
                        <a:lnTo>
                          <a:pt x="215" y="0"/>
                        </a:lnTo>
                        <a:close/>
                      </a:path>
                    </a:pathLst>
                  </a:custGeom>
                  <a:solidFill>
                    <a:schemeClr val="bg1">
                      <a:lumMod val="50000"/>
                    </a:schemeClr>
                  </a:solidFill>
                  <a:ln w="9525">
                    <a:noFill/>
                    <a:round/>
                    <a:headEnd/>
                    <a:tailEnd/>
                  </a:ln>
                </p:spPr>
                <p:txBody>
                  <a:bodyPr vert="horz" wrap="square" lIns="83922" tIns="41962" rIns="83922" bIns="41962" numCol="1" anchor="t" anchorCtr="0" compatLnSpc="1">
                    <a:prstTxWarp prst="textNoShape">
                      <a:avLst/>
                    </a:prstTxWarp>
                  </a:bodyPr>
                  <a:lstStyle/>
                  <a:p>
                    <a:pPr defTabSz="839166"/>
                    <a:endParaRPr lang="en-US" sz="1600" kern="0" dirty="0">
                      <a:solidFill>
                        <a:schemeClr val="tx2"/>
                      </a:solidFill>
                    </a:endParaRPr>
                  </a:p>
                </p:txBody>
              </p:sp>
              <p:sp>
                <p:nvSpPr>
                  <p:cNvPr id="358" name="Freeform 10"/>
                  <p:cNvSpPr>
                    <a:spLocks noEditPoints="1"/>
                  </p:cNvSpPr>
                  <p:nvPr/>
                </p:nvSpPr>
                <p:spPr bwMode="auto">
                  <a:xfrm>
                    <a:off x="7187874" y="5390779"/>
                    <a:ext cx="61220" cy="88086"/>
                  </a:xfrm>
                  <a:custGeom>
                    <a:avLst/>
                    <a:gdLst>
                      <a:gd name="T0" fmla="*/ 144 w 499"/>
                      <a:gd name="T1" fmla="*/ 600 h 713"/>
                      <a:gd name="T2" fmla="*/ 216 w 499"/>
                      <a:gd name="T3" fmla="*/ 600 h 713"/>
                      <a:gd name="T4" fmla="*/ 294 w 499"/>
                      <a:gd name="T5" fmla="*/ 587 h 713"/>
                      <a:gd name="T6" fmla="*/ 332 w 499"/>
                      <a:gd name="T7" fmla="*/ 565 h 713"/>
                      <a:gd name="T8" fmla="*/ 355 w 499"/>
                      <a:gd name="T9" fmla="*/ 523 h 713"/>
                      <a:gd name="T10" fmla="*/ 356 w 499"/>
                      <a:gd name="T11" fmla="*/ 477 h 713"/>
                      <a:gd name="T12" fmla="*/ 338 w 499"/>
                      <a:gd name="T13" fmla="*/ 437 h 713"/>
                      <a:gd name="T14" fmla="*/ 301 w 499"/>
                      <a:gd name="T15" fmla="*/ 409 h 713"/>
                      <a:gd name="T16" fmla="*/ 234 w 499"/>
                      <a:gd name="T17" fmla="*/ 396 h 713"/>
                      <a:gd name="T18" fmla="*/ 144 w 499"/>
                      <a:gd name="T19" fmla="*/ 391 h 713"/>
                      <a:gd name="T20" fmla="*/ 148 w 499"/>
                      <a:gd name="T21" fmla="*/ 113 h 713"/>
                      <a:gd name="T22" fmla="*/ 145 w 499"/>
                      <a:gd name="T23" fmla="*/ 117 h 713"/>
                      <a:gd name="T24" fmla="*/ 143 w 499"/>
                      <a:gd name="T25" fmla="*/ 121 h 713"/>
                      <a:gd name="T26" fmla="*/ 143 w 499"/>
                      <a:gd name="T27" fmla="*/ 287 h 713"/>
                      <a:gd name="T28" fmla="*/ 190 w 499"/>
                      <a:gd name="T29" fmla="*/ 287 h 713"/>
                      <a:gd name="T30" fmla="*/ 250 w 499"/>
                      <a:gd name="T31" fmla="*/ 282 h 713"/>
                      <a:gd name="T32" fmla="*/ 300 w 499"/>
                      <a:gd name="T33" fmla="*/ 268 h 713"/>
                      <a:gd name="T34" fmla="*/ 327 w 499"/>
                      <a:gd name="T35" fmla="*/ 237 h 713"/>
                      <a:gd name="T36" fmla="*/ 335 w 499"/>
                      <a:gd name="T37" fmla="*/ 194 h 713"/>
                      <a:gd name="T38" fmla="*/ 323 w 499"/>
                      <a:gd name="T39" fmla="*/ 152 h 713"/>
                      <a:gd name="T40" fmla="*/ 293 w 499"/>
                      <a:gd name="T41" fmla="*/ 126 h 713"/>
                      <a:gd name="T42" fmla="*/ 232 w 499"/>
                      <a:gd name="T43" fmla="*/ 116 h 713"/>
                      <a:gd name="T44" fmla="*/ 150 w 499"/>
                      <a:gd name="T45" fmla="*/ 112 h 713"/>
                      <a:gd name="T46" fmla="*/ 150 w 499"/>
                      <a:gd name="T47" fmla="*/ 0 h 713"/>
                      <a:gd name="T48" fmla="*/ 318 w 499"/>
                      <a:gd name="T49" fmla="*/ 4 h 713"/>
                      <a:gd name="T50" fmla="*/ 380 w 499"/>
                      <a:gd name="T51" fmla="*/ 23 h 713"/>
                      <a:gd name="T52" fmla="*/ 435 w 499"/>
                      <a:gd name="T53" fmla="*/ 61 h 713"/>
                      <a:gd name="T54" fmla="*/ 467 w 499"/>
                      <a:gd name="T55" fmla="*/ 112 h 713"/>
                      <a:gd name="T56" fmla="*/ 478 w 499"/>
                      <a:gd name="T57" fmla="*/ 172 h 713"/>
                      <a:gd name="T58" fmla="*/ 470 w 499"/>
                      <a:gd name="T59" fmla="*/ 234 h 713"/>
                      <a:gd name="T60" fmla="*/ 445 w 499"/>
                      <a:gd name="T61" fmla="*/ 282 h 713"/>
                      <a:gd name="T62" fmla="*/ 406 w 499"/>
                      <a:gd name="T63" fmla="*/ 316 h 713"/>
                      <a:gd name="T64" fmla="*/ 352 w 499"/>
                      <a:gd name="T65" fmla="*/ 338 h 713"/>
                      <a:gd name="T66" fmla="*/ 340 w 499"/>
                      <a:gd name="T67" fmla="*/ 341 h 713"/>
                      <a:gd name="T68" fmla="*/ 339 w 499"/>
                      <a:gd name="T69" fmla="*/ 342 h 713"/>
                      <a:gd name="T70" fmla="*/ 339 w 499"/>
                      <a:gd name="T71" fmla="*/ 342 h 713"/>
                      <a:gd name="T72" fmla="*/ 340 w 499"/>
                      <a:gd name="T73" fmla="*/ 342 h 713"/>
                      <a:gd name="T74" fmla="*/ 365 w 499"/>
                      <a:gd name="T75" fmla="*/ 349 h 713"/>
                      <a:gd name="T76" fmla="*/ 416 w 499"/>
                      <a:gd name="T77" fmla="*/ 368 h 713"/>
                      <a:gd name="T78" fmla="*/ 466 w 499"/>
                      <a:gd name="T79" fmla="*/ 409 h 713"/>
                      <a:gd name="T80" fmla="*/ 493 w 499"/>
                      <a:gd name="T81" fmla="*/ 464 h 713"/>
                      <a:gd name="T82" fmla="*/ 499 w 499"/>
                      <a:gd name="T83" fmla="*/ 531 h 713"/>
                      <a:gd name="T84" fmla="*/ 483 w 499"/>
                      <a:gd name="T85" fmla="*/ 594 h 713"/>
                      <a:gd name="T86" fmla="*/ 453 w 499"/>
                      <a:gd name="T87" fmla="*/ 642 h 713"/>
                      <a:gd name="T88" fmla="*/ 408 w 499"/>
                      <a:gd name="T89" fmla="*/ 676 h 713"/>
                      <a:gd name="T90" fmla="*/ 355 w 499"/>
                      <a:gd name="T91" fmla="*/ 698 h 713"/>
                      <a:gd name="T92" fmla="*/ 280 w 499"/>
                      <a:gd name="T93" fmla="*/ 710 h 713"/>
                      <a:gd name="T94" fmla="*/ 126 w 499"/>
                      <a:gd name="T95" fmla="*/ 713 h 713"/>
                      <a:gd name="T96" fmla="*/ 10 w 499"/>
                      <a:gd name="T97" fmla="*/ 712 h 713"/>
                      <a:gd name="T98" fmla="*/ 3 w 499"/>
                      <a:gd name="T99" fmla="*/ 710 h 713"/>
                      <a:gd name="T100" fmla="*/ 0 w 499"/>
                      <a:gd name="T101" fmla="*/ 702 h 713"/>
                      <a:gd name="T102" fmla="*/ 0 w 499"/>
                      <a:gd name="T103" fmla="*/ 16 h 713"/>
                      <a:gd name="T104" fmla="*/ 0 w 499"/>
                      <a:gd name="T105" fmla="*/ 7 h 713"/>
                      <a:gd name="T106" fmla="*/ 5 w 499"/>
                      <a:gd name="T107" fmla="*/ 2 h 713"/>
                      <a:gd name="T108" fmla="*/ 16 w 499"/>
                      <a:gd name="T109" fmla="*/ 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9" h="713">
                        <a:moveTo>
                          <a:pt x="144" y="391"/>
                        </a:moveTo>
                        <a:lnTo>
                          <a:pt x="144" y="600"/>
                        </a:lnTo>
                        <a:lnTo>
                          <a:pt x="181" y="602"/>
                        </a:lnTo>
                        <a:lnTo>
                          <a:pt x="216" y="600"/>
                        </a:lnTo>
                        <a:lnTo>
                          <a:pt x="255" y="595"/>
                        </a:lnTo>
                        <a:lnTo>
                          <a:pt x="294" y="587"/>
                        </a:lnTo>
                        <a:lnTo>
                          <a:pt x="315" y="578"/>
                        </a:lnTo>
                        <a:lnTo>
                          <a:pt x="332" y="565"/>
                        </a:lnTo>
                        <a:lnTo>
                          <a:pt x="346" y="545"/>
                        </a:lnTo>
                        <a:lnTo>
                          <a:pt x="355" y="523"/>
                        </a:lnTo>
                        <a:lnTo>
                          <a:pt x="359" y="499"/>
                        </a:lnTo>
                        <a:lnTo>
                          <a:pt x="356" y="477"/>
                        </a:lnTo>
                        <a:lnTo>
                          <a:pt x="349" y="456"/>
                        </a:lnTo>
                        <a:lnTo>
                          <a:pt x="338" y="437"/>
                        </a:lnTo>
                        <a:lnTo>
                          <a:pt x="321" y="421"/>
                        </a:lnTo>
                        <a:lnTo>
                          <a:pt x="301" y="409"/>
                        </a:lnTo>
                        <a:lnTo>
                          <a:pt x="277" y="401"/>
                        </a:lnTo>
                        <a:lnTo>
                          <a:pt x="234" y="396"/>
                        </a:lnTo>
                        <a:lnTo>
                          <a:pt x="190" y="393"/>
                        </a:lnTo>
                        <a:lnTo>
                          <a:pt x="144" y="391"/>
                        </a:lnTo>
                        <a:close/>
                        <a:moveTo>
                          <a:pt x="150" y="112"/>
                        </a:moveTo>
                        <a:lnTo>
                          <a:pt x="148" y="113"/>
                        </a:lnTo>
                        <a:lnTo>
                          <a:pt x="147" y="114"/>
                        </a:lnTo>
                        <a:lnTo>
                          <a:pt x="145" y="117"/>
                        </a:lnTo>
                        <a:lnTo>
                          <a:pt x="144" y="118"/>
                        </a:lnTo>
                        <a:lnTo>
                          <a:pt x="143" y="121"/>
                        </a:lnTo>
                        <a:lnTo>
                          <a:pt x="143" y="203"/>
                        </a:lnTo>
                        <a:lnTo>
                          <a:pt x="143" y="287"/>
                        </a:lnTo>
                        <a:lnTo>
                          <a:pt x="167" y="289"/>
                        </a:lnTo>
                        <a:lnTo>
                          <a:pt x="190" y="287"/>
                        </a:lnTo>
                        <a:lnTo>
                          <a:pt x="220" y="285"/>
                        </a:lnTo>
                        <a:lnTo>
                          <a:pt x="250" y="282"/>
                        </a:lnTo>
                        <a:lnTo>
                          <a:pt x="279" y="275"/>
                        </a:lnTo>
                        <a:lnTo>
                          <a:pt x="300" y="268"/>
                        </a:lnTo>
                        <a:lnTo>
                          <a:pt x="317" y="255"/>
                        </a:lnTo>
                        <a:lnTo>
                          <a:pt x="327" y="237"/>
                        </a:lnTo>
                        <a:lnTo>
                          <a:pt x="334" y="217"/>
                        </a:lnTo>
                        <a:lnTo>
                          <a:pt x="335" y="194"/>
                        </a:lnTo>
                        <a:lnTo>
                          <a:pt x="331" y="172"/>
                        </a:lnTo>
                        <a:lnTo>
                          <a:pt x="323" y="152"/>
                        </a:lnTo>
                        <a:lnTo>
                          <a:pt x="311" y="138"/>
                        </a:lnTo>
                        <a:lnTo>
                          <a:pt x="293" y="126"/>
                        </a:lnTo>
                        <a:lnTo>
                          <a:pt x="272" y="120"/>
                        </a:lnTo>
                        <a:lnTo>
                          <a:pt x="232" y="116"/>
                        </a:lnTo>
                        <a:lnTo>
                          <a:pt x="191" y="114"/>
                        </a:lnTo>
                        <a:lnTo>
                          <a:pt x="150" y="112"/>
                        </a:lnTo>
                        <a:close/>
                        <a:moveTo>
                          <a:pt x="16" y="0"/>
                        </a:moveTo>
                        <a:lnTo>
                          <a:pt x="150" y="0"/>
                        </a:lnTo>
                        <a:lnTo>
                          <a:pt x="285" y="2"/>
                        </a:lnTo>
                        <a:lnTo>
                          <a:pt x="318" y="4"/>
                        </a:lnTo>
                        <a:lnTo>
                          <a:pt x="349" y="11"/>
                        </a:lnTo>
                        <a:lnTo>
                          <a:pt x="380" y="23"/>
                        </a:lnTo>
                        <a:lnTo>
                          <a:pt x="408" y="40"/>
                        </a:lnTo>
                        <a:lnTo>
                          <a:pt x="435" y="61"/>
                        </a:lnTo>
                        <a:lnTo>
                          <a:pt x="454" y="86"/>
                        </a:lnTo>
                        <a:lnTo>
                          <a:pt x="467" y="112"/>
                        </a:lnTo>
                        <a:lnTo>
                          <a:pt x="475" y="141"/>
                        </a:lnTo>
                        <a:lnTo>
                          <a:pt x="478" y="172"/>
                        </a:lnTo>
                        <a:lnTo>
                          <a:pt x="476" y="205"/>
                        </a:lnTo>
                        <a:lnTo>
                          <a:pt x="470" y="234"/>
                        </a:lnTo>
                        <a:lnTo>
                          <a:pt x="459" y="260"/>
                        </a:lnTo>
                        <a:lnTo>
                          <a:pt x="445" y="282"/>
                        </a:lnTo>
                        <a:lnTo>
                          <a:pt x="427" y="300"/>
                        </a:lnTo>
                        <a:lnTo>
                          <a:pt x="406" y="316"/>
                        </a:lnTo>
                        <a:lnTo>
                          <a:pt x="381" y="329"/>
                        </a:lnTo>
                        <a:lnTo>
                          <a:pt x="352" y="338"/>
                        </a:lnTo>
                        <a:lnTo>
                          <a:pt x="342" y="341"/>
                        </a:lnTo>
                        <a:lnTo>
                          <a:pt x="340" y="341"/>
                        </a:lnTo>
                        <a:lnTo>
                          <a:pt x="340" y="341"/>
                        </a:lnTo>
                        <a:lnTo>
                          <a:pt x="339" y="342"/>
                        </a:lnTo>
                        <a:lnTo>
                          <a:pt x="339" y="342"/>
                        </a:lnTo>
                        <a:lnTo>
                          <a:pt x="339" y="342"/>
                        </a:lnTo>
                        <a:lnTo>
                          <a:pt x="339" y="342"/>
                        </a:lnTo>
                        <a:lnTo>
                          <a:pt x="340" y="342"/>
                        </a:lnTo>
                        <a:lnTo>
                          <a:pt x="342" y="341"/>
                        </a:lnTo>
                        <a:lnTo>
                          <a:pt x="365" y="349"/>
                        </a:lnTo>
                        <a:lnTo>
                          <a:pt x="391" y="357"/>
                        </a:lnTo>
                        <a:lnTo>
                          <a:pt x="416" y="368"/>
                        </a:lnTo>
                        <a:lnTo>
                          <a:pt x="444" y="385"/>
                        </a:lnTo>
                        <a:lnTo>
                          <a:pt x="466" y="409"/>
                        </a:lnTo>
                        <a:lnTo>
                          <a:pt x="483" y="435"/>
                        </a:lnTo>
                        <a:lnTo>
                          <a:pt x="493" y="464"/>
                        </a:lnTo>
                        <a:lnTo>
                          <a:pt x="499" y="497"/>
                        </a:lnTo>
                        <a:lnTo>
                          <a:pt x="499" y="531"/>
                        </a:lnTo>
                        <a:lnTo>
                          <a:pt x="493" y="564"/>
                        </a:lnTo>
                        <a:lnTo>
                          <a:pt x="483" y="594"/>
                        </a:lnTo>
                        <a:lnTo>
                          <a:pt x="470" y="619"/>
                        </a:lnTo>
                        <a:lnTo>
                          <a:pt x="453" y="642"/>
                        </a:lnTo>
                        <a:lnTo>
                          <a:pt x="432" y="660"/>
                        </a:lnTo>
                        <a:lnTo>
                          <a:pt x="408" y="676"/>
                        </a:lnTo>
                        <a:lnTo>
                          <a:pt x="383" y="688"/>
                        </a:lnTo>
                        <a:lnTo>
                          <a:pt x="355" y="698"/>
                        </a:lnTo>
                        <a:lnTo>
                          <a:pt x="325" y="705"/>
                        </a:lnTo>
                        <a:lnTo>
                          <a:pt x="280" y="710"/>
                        </a:lnTo>
                        <a:lnTo>
                          <a:pt x="236" y="712"/>
                        </a:lnTo>
                        <a:lnTo>
                          <a:pt x="126" y="713"/>
                        </a:lnTo>
                        <a:lnTo>
                          <a:pt x="14" y="713"/>
                        </a:lnTo>
                        <a:lnTo>
                          <a:pt x="10" y="712"/>
                        </a:lnTo>
                        <a:lnTo>
                          <a:pt x="5" y="712"/>
                        </a:lnTo>
                        <a:lnTo>
                          <a:pt x="3" y="710"/>
                        </a:lnTo>
                        <a:lnTo>
                          <a:pt x="1" y="706"/>
                        </a:lnTo>
                        <a:lnTo>
                          <a:pt x="0" y="702"/>
                        </a:lnTo>
                        <a:lnTo>
                          <a:pt x="0" y="697"/>
                        </a:lnTo>
                        <a:lnTo>
                          <a:pt x="0" y="16"/>
                        </a:lnTo>
                        <a:lnTo>
                          <a:pt x="0" y="11"/>
                        </a:lnTo>
                        <a:lnTo>
                          <a:pt x="0" y="7"/>
                        </a:lnTo>
                        <a:lnTo>
                          <a:pt x="3" y="3"/>
                        </a:lnTo>
                        <a:lnTo>
                          <a:pt x="5" y="2"/>
                        </a:lnTo>
                        <a:lnTo>
                          <a:pt x="9" y="0"/>
                        </a:lnTo>
                        <a:lnTo>
                          <a:pt x="16" y="0"/>
                        </a:lnTo>
                        <a:close/>
                      </a:path>
                    </a:pathLst>
                  </a:custGeom>
                  <a:solidFill>
                    <a:schemeClr val="bg1">
                      <a:lumMod val="50000"/>
                    </a:schemeClr>
                  </a:solidFill>
                  <a:ln w="9525">
                    <a:noFill/>
                    <a:round/>
                    <a:headEnd/>
                    <a:tailEnd/>
                  </a:ln>
                </p:spPr>
                <p:txBody>
                  <a:bodyPr vert="horz" wrap="square" lIns="83922" tIns="41962" rIns="83922" bIns="41962" numCol="1" anchor="t" anchorCtr="0" compatLnSpc="1">
                    <a:prstTxWarp prst="textNoShape">
                      <a:avLst/>
                    </a:prstTxWarp>
                  </a:bodyPr>
                  <a:lstStyle/>
                  <a:p>
                    <a:pPr defTabSz="839166"/>
                    <a:endParaRPr lang="en-US" sz="1600" kern="0" dirty="0">
                      <a:solidFill>
                        <a:schemeClr val="tx2"/>
                      </a:solidFill>
                    </a:endParaRPr>
                  </a:p>
                </p:txBody>
              </p:sp>
              <p:sp>
                <p:nvSpPr>
                  <p:cNvPr id="359" name="Rectangle 11"/>
                  <p:cNvSpPr>
                    <a:spLocks noChangeArrowheads="1"/>
                  </p:cNvSpPr>
                  <p:nvPr/>
                </p:nvSpPr>
                <p:spPr bwMode="auto">
                  <a:xfrm>
                    <a:off x="7328509" y="5390778"/>
                    <a:ext cx="17210" cy="87839"/>
                  </a:xfrm>
                  <a:prstGeom prst="rect">
                    <a:avLst/>
                  </a:prstGeom>
                  <a:solidFill>
                    <a:schemeClr val="bg1">
                      <a:lumMod val="50000"/>
                    </a:schemeClr>
                  </a:solidFill>
                  <a:ln w="9525">
                    <a:noFill/>
                    <a:round/>
                    <a:headEnd/>
                    <a:tailEnd/>
                  </a:ln>
                </p:spPr>
                <p:txBody>
                  <a:bodyPr vert="horz" wrap="square" lIns="83922" tIns="41962" rIns="83922" bIns="41962" numCol="1" anchor="t" anchorCtr="0" compatLnSpc="1">
                    <a:prstTxWarp prst="textNoShape">
                      <a:avLst/>
                    </a:prstTxWarp>
                  </a:bodyPr>
                  <a:lstStyle/>
                  <a:p>
                    <a:pPr defTabSz="839166"/>
                    <a:endParaRPr lang="en-US" sz="1600" kern="0" dirty="0">
                      <a:solidFill>
                        <a:schemeClr val="tx2"/>
                      </a:solidFill>
                    </a:endParaRPr>
                  </a:p>
                </p:txBody>
              </p:sp>
              <p:sp>
                <p:nvSpPr>
                  <p:cNvPr id="360" name="Freeform 12"/>
                  <p:cNvSpPr>
                    <a:spLocks/>
                  </p:cNvSpPr>
                  <p:nvPr/>
                </p:nvSpPr>
                <p:spPr bwMode="auto">
                  <a:xfrm>
                    <a:off x="7462012" y="5418986"/>
                    <a:ext cx="20898" cy="20784"/>
                  </a:xfrm>
                  <a:custGeom>
                    <a:avLst/>
                    <a:gdLst>
                      <a:gd name="T0" fmla="*/ 13 w 168"/>
                      <a:gd name="T1" fmla="*/ 0 h 167"/>
                      <a:gd name="T2" fmla="*/ 21 w 168"/>
                      <a:gd name="T3" fmla="*/ 1 h 167"/>
                      <a:gd name="T4" fmla="*/ 26 w 168"/>
                      <a:gd name="T5" fmla="*/ 6 h 167"/>
                      <a:gd name="T6" fmla="*/ 31 w 168"/>
                      <a:gd name="T7" fmla="*/ 18 h 167"/>
                      <a:gd name="T8" fmla="*/ 57 w 168"/>
                      <a:gd name="T9" fmla="*/ 82 h 167"/>
                      <a:gd name="T10" fmla="*/ 83 w 168"/>
                      <a:gd name="T11" fmla="*/ 148 h 167"/>
                      <a:gd name="T12" fmla="*/ 90 w 168"/>
                      <a:gd name="T13" fmla="*/ 136 h 167"/>
                      <a:gd name="T14" fmla="*/ 94 w 168"/>
                      <a:gd name="T15" fmla="*/ 124 h 167"/>
                      <a:gd name="T16" fmla="*/ 117 w 168"/>
                      <a:gd name="T17" fmla="*/ 70 h 167"/>
                      <a:gd name="T18" fmla="*/ 138 w 168"/>
                      <a:gd name="T19" fmla="*/ 17 h 167"/>
                      <a:gd name="T20" fmla="*/ 146 w 168"/>
                      <a:gd name="T21" fmla="*/ 5 h 167"/>
                      <a:gd name="T22" fmla="*/ 155 w 168"/>
                      <a:gd name="T23" fmla="*/ 1 h 167"/>
                      <a:gd name="T24" fmla="*/ 168 w 168"/>
                      <a:gd name="T25" fmla="*/ 2 h 167"/>
                      <a:gd name="T26" fmla="*/ 168 w 168"/>
                      <a:gd name="T27" fmla="*/ 166 h 167"/>
                      <a:gd name="T28" fmla="*/ 153 w 168"/>
                      <a:gd name="T29" fmla="*/ 166 h 167"/>
                      <a:gd name="T30" fmla="*/ 153 w 168"/>
                      <a:gd name="T31" fmla="*/ 23 h 167"/>
                      <a:gd name="T32" fmla="*/ 150 w 168"/>
                      <a:gd name="T33" fmla="*/ 22 h 167"/>
                      <a:gd name="T34" fmla="*/ 120 w 168"/>
                      <a:gd name="T35" fmla="*/ 97 h 167"/>
                      <a:gd name="T36" fmla="*/ 95 w 168"/>
                      <a:gd name="T37" fmla="*/ 158 h 167"/>
                      <a:gd name="T38" fmla="*/ 93 w 168"/>
                      <a:gd name="T39" fmla="*/ 161 h 167"/>
                      <a:gd name="T40" fmla="*/ 90 w 168"/>
                      <a:gd name="T41" fmla="*/ 163 h 167"/>
                      <a:gd name="T42" fmla="*/ 87 w 168"/>
                      <a:gd name="T43" fmla="*/ 166 h 167"/>
                      <a:gd name="T44" fmla="*/ 85 w 168"/>
                      <a:gd name="T45" fmla="*/ 166 h 167"/>
                      <a:gd name="T46" fmla="*/ 82 w 168"/>
                      <a:gd name="T47" fmla="*/ 166 h 167"/>
                      <a:gd name="T48" fmla="*/ 78 w 168"/>
                      <a:gd name="T49" fmla="*/ 163 h 167"/>
                      <a:gd name="T50" fmla="*/ 76 w 168"/>
                      <a:gd name="T51" fmla="*/ 161 h 167"/>
                      <a:gd name="T52" fmla="*/ 74 w 168"/>
                      <a:gd name="T53" fmla="*/ 157 h 167"/>
                      <a:gd name="T54" fmla="*/ 21 w 168"/>
                      <a:gd name="T55" fmla="*/ 31 h 167"/>
                      <a:gd name="T56" fmla="*/ 19 w 168"/>
                      <a:gd name="T57" fmla="*/ 28 h 167"/>
                      <a:gd name="T58" fmla="*/ 18 w 168"/>
                      <a:gd name="T59" fmla="*/ 26 h 167"/>
                      <a:gd name="T60" fmla="*/ 15 w 168"/>
                      <a:gd name="T61" fmla="*/ 23 h 167"/>
                      <a:gd name="T62" fmla="*/ 15 w 168"/>
                      <a:gd name="T63" fmla="*/ 167 h 167"/>
                      <a:gd name="T64" fmla="*/ 0 w 168"/>
                      <a:gd name="T65" fmla="*/ 167 h 167"/>
                      <a:gd name="T66" fmla="*/ 0 w 168"/>
                      <a:gd name="T67" fmla="*/ 2 h 167"/>
                      <a:gd name="T68" fmla="*/ 13 w 168"/>
                      <a:gd name="T6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8" h="167">
                        <a:moveTo>
                          <a:pt x="13" y="0"/>
                        </a:moveTo>
                        <a:lnTo>
                          <a:pt x="21" y="1"/>
                        </a:lnTo>
                        <a:lnTo>
                          <a:pt x="26" y="6"/>
                        </a:lnTo>
                        <a:lnTo>
                          <a:pt x="31" y="18"/>
                        </a:lnTo>
                        <a:lnTo>
                          <a:pt x="57" y="82"/>
                        </a:lnTo>
                        <a:lnTo>
                          <a:pt x="83" y="148"/>
                        </a:lnTo>
                        <a:lnTo>
                          <a:pt x="90" y="136"/>
                        </a:lnTo>
                        <a:lnTo>
                          <a:pt x="94" y="124"/>
                        </a:lnTo>
                        <a:lnTo>
                          <a:pt x="117" y="70"/>
                        </a:lnTo>
                        <a:lnTo>
                          <a:pt x="138" y="17"/>
                        </a:lnTo>
                        <a:lnTo>
                          <a:pt x="146" y="5"/>
                        </a:lnTo>
                        <a:lnTo>
                          <a:pt x="155" y="1"/>
                        </a:lnTo>
                        <a:lnTo>
                          <a:pt x="168" y="2"/>
                        </a:lnTo>
                        <a:lnTo>
                          <a:pt x="168" y="166"/>
                        </a:lnTo>
                        <a:lnTo>
                          <a:pt x="153" y="166"/>
                        </a:lnTo>
                        <a:lnTo>
                          <a:pt x="153" y="23"/>
                        </a:lnTo>
                        <a:lnTo>
                          <a:pt x="150" y="22"/>
                        </a:lnTo>
                        <a:lnTo>
                          <a:pt x="120" y="97"/>
                        </a:lnTo>
                        <a:lnTo>
                          <a:pt x="95" y="158"/>
                        </a:lnTo>
                        <a:lnTo>
                          <a:pt x="93" y="161"/>
                        </a:lnTo>
                        <a:lnTo>
                          <a:pt x="90" y="163"/>
                        </a:lnTo>
                        <a:lnTo>
                          <a:pt x="87" y="166"/>
                        </a:lnTo>
                        <a:lnTo>
                          <a:pt x="85" y="166"/>
                        </a:lnTo>
                        <a:lnTo>
                          <a:pt x="82" y="166"/>
                        </a:lnTo>
                        <a:lnTo>
                          <a:pt x="78" y="163"/>
                        </a:lnTo>
                        <a:lnTo>
                          <a:pt x="76" y="161"/>
                        </a:lnTo>
                        <a:lnTo>
                          <a:pt x="74" y="157"/>
                        </a:lnTo>
                        <a:lnTo>
                          <a:pt x="21" y="31"/>
                        </a:lnTo>
                        <a:lnTo>
                          <a:pt x="19" y="28"/>
                        </a:lnTo>
                        <a:lnTo>
                          <a:pt x="18" y="26"/>
                        </a:lnTo>
                        <a:lnTo>
                          <a:pt x="15" y="23"/>
                        </a:lnTo>
                        <a:lnTo>
                          <a:pt x="15" y="167"/>
                        </a:lnTo>
                        <a:lnTo>
                          <a:pt x="0" y="167"/>
                        </a:lnTo>
                        <a:lnTo>
                          <a:pt x="0" y="2"/>
                        </a:lnTo>
                        <a:lnTo>
                          <a:pt x="13" y="0"/>
                        </a:lnTo>
                        <a:close/>
                      </a:path>
                    </a:pathLst>
                  </a:custGeom>
                  <a:solidFill>
                    <a:schemeClr val="bg1">
                      <a:lumMod val="50000"/>
                    </a:schemeClr>
                  </a:solidFill>
                  <a:ln w="9525">
                    <a:noFill/>
                    <a:round/>
                    <a:headEnd/>
                    <a:tailEnd/>
                  </a:ln>
                </p:spPr>
                <p:txBody>
                  <a:bodyPr vert="horz" wrap="square" lIns="83922" tIns="41962" rIns="83922" bIns="41962" numCol="1" anchor="t" anchorCtr="0" compatLnSpc="1">
                    <a:prstTxWarp prst="textNoShape">
                      <a:avLst/>
                    </a:prstTxWarp>
                  </a:bodyPr>
                  <a:lstStyle/>
                  <a:p>
                    <a:pPr defTabSz="839166"/>
                    <a:endParaRPr lang="en-US" sz="1600" kern="0" dirty="0">
                      <a:solidFill>
                        <a:schemeClr val="tx2"/>
                      </a:solidFill>
                    </a:endParaRPr>
                  </a:p>
                </p:txBody>
              </p:sp>
              <p:sp>
                <p:nvSpPr>
                  <p:cNvPr id="361" name="Freeform 13"/>
                  <p:cNvSpPr>
                    <a:spLocks/>
                  </p:cNvSpPr>
                  <p:nvPr/>
                </p:nvSpPr>
                <p:spPr bwMode="auto">
                  <a:xfrm>
                    <a:off x="7445047" y="5419234"/>
                    <a:ext cx="14014" cy="20289"/>
                  </a:xfrm>
                  <a:custGeom>
                    <a:avLst/>
                    <a:gdLst>
                      <a:gd name="T0" fmla="*/ 8 w 114"/>
                      <a:gd name="T1" fmla="*/ 0 h 165"/>
                      <a:gd name="T2" fmla="*/ 112 w 114"/>
                      <a:gd name="T3" fmla="*/ 0 h 165"/>
                      <a:gd name="T4" fmla="*/ 112 w 114"/>
                      <a:gd name="T5" fmla="*/ 5 h 165"/>
                      <a:gd name="T6" fmla="*/ 114 w 114"/>
                      <a:gd name="T7" fmla="*/ 13 h 165"/>
                      <a:gd name="T8" fmla="*/ 64 w 114"/>
                      <a:gd name="T9" fmla="*/ 13 h 165"/>
                      <a:gd name="T10" fmla="*/ 64 w 114"/>
                      <a:gd name="T11" fmla="*/ 165 h 165"/>
                      <a:gd name="T12" fmla="*/ 50 w 114"/>
                      <a:gd name="T13" fmla="*/ 165 h 165"/>
                      <a:gd name="T14" fmla="*/ 50 w 114"/>
                      <a:gd name="T15" fmla="*/ 13 h 165"/>
                      <a:gd name="T16" fmla="*/ 1 w 114"/>
                      <a:gd name="T17" fmla="*/ 13 h 165"/>
                      <a:gd name="T18" fmla="*/ 0 w 114"/>
                      <a:gd name="T19" fmla="*/ 10 h 165"/>
                      <a:gd name="T20" fmla="*/ 0 w 114"/>
                      <a:gd name="T21" fmla="*/ 6 h 165"/>
                      <a:gd name="T22" fmla="*/ 0 w 114"/>
                      <a:gd name="T23" fmla="*/ 4 h 165"/>
                      <a:gd name="T24" fmla="*/ 0 w 114"/>
                      <a:gd name="T25" fmla="*/ 3 h 165"/>
                      <a:gd name="T26" fmla="*/ 1 w 114"/>
                      <a:gd name="T27" fmla="*/ 1 h 165"/>
                      <a:gd name="T28" fmla="*/ 4 w 114"/>
                      <a:gd name="T29" fmla="*/ 0 h 165"/>
                      <a:gd name="T30" fmla="*/ 8 w 114"/>
                      <a:gd name="T31"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65">
                        <a:moveTo>
                          <a:pt x="8" y="0"/>
                        </a:moveTo>
                        <a:lnTo>
                          <a:pt x="112" y="0"/>
                        </a:lnTo>
                        <a:lnTo>
                          <a:pt x="112" y="5"/>
                        </a:lnTo>
                        <a:lnTo>
                          <a:pt x="114" y="13"/>
                        </a:lnTo>
                        <a:lnTo>
                          <a:pt x="64" y="13"/>
                        </a:lnTo>
                        <a:lnTo>
                          <a:pt x="64" y="165"/>
                        </a:lnTo>
                        <a:lnTo>
                          <a:pt x="50" y="165"/>
                        </a:lnTo>
                        <a:lnTo>
                          <a:pt x="50" y="13"/>
                        </a:lnTo>
                        <a:lnTo>
                          <a:pt x="1" y="13"/>
                        </a:lnTo>
                        <a:lnTo>
                          <a:pt x="0" y="10"/>
                        </a:lnTo>
                        <a:lnTo>
                          <a:pt x="0" y="6"/>
                        </a:lnTo>
                        <a:lnTo>
                          <a:pt x="0" y="4"/>
                        </a:lnTo>
                        <a:lnTo>
                          <a:pt x="0" y="3"/>
                        </a:lnTo>
                        <a:lnTo>
                          <a:pt x="1" y="1"/>
                        </a:lnTo>
                        <a:lnTo>
                          <a:pt x="4" y="0"/>
                        </a:lnTo>
                        <a:lnTo>
                          <a:pt x="8" y="0"/>
                        </a:lnTo>
                        <a:close/>
                      </a:path>
                    </a:pathLst>
                  </a:custGeom>
                  <a:solidFill>
                    <a:schemeClr val="bg1">
                      <a:lumMod val="50000"/>
                    </a:schemeClr>
                  </a:solidFill>
                  <a:ln w="9525">
                    <a:noFill/>
                    <a:round/>
                    <a:headEnd/>
                    <a:tailEnd/>
                  </a:ln>
                </p:spPr>
                <p:txBody>
                  <a:bodyPr vert="horz" wrap="square" lIns="83922" tIns="41962" rIns="83922" bIns="41962" numCol="1" anchor="t" anchorCtr="0" compatLnSpc="1">
                    <a:prstTxWarp prst="textNoShape">
                      <a:avLst/>
                    </a:prstTxWarp>
                  </a:bodyPr>
                  <a:lstStyle/>
                  <a:p>
                    <a:pPr defTabSz="839166"/>
                    <a:endParaRPr lang="en-US" sz="1600" kern="0" dirty="0">
                      <a:solidFill>
                        <a:schemeClr val="tx2"/>
                      </a:solidFill>
                    </a:endParaRPr>
                  </a:p>
                </p:txBody>
              </p:sp>
            </p:grpSp>
            <p:cxnSp>
              <p:nvCxnSpPr>
                <p:cNvPr id="349" name="Straight Connector 348"/>
                <p:cNvCxnSpPr/>
                <p:nvPr/>
              </p:nvCxnSpPr>
              <p:spPr>
                <a:xfrm flipV="1">
                  <a:off x="2121595" y="2441499"/>
                  <a:ext cx="10993" cy="589673"/>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50" name="Rectangle 349"/>
                <p:cNvSpPr/>
                <p:nvPr/>
              </p:nvSpPr>
              <p:spPr bwMode="auto">
                <a:xfrm>
                  <a:off x="1766426" y="1459861"/>
                  <a:ext cx="763264" cy="64633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algn="ctr" defTabSz="932384" fontAlgn="base"/>
                  <a:r>
                    <a:rPr lang="en-IN" sz="1200" dirty="0">
                      <a:solidFill>
                        <a:schemeClr val="tx2"/>
                      </a:solidFill>
                      <a:latin typeface="Segoe UI Semibold" panose="020B0702040204020203" pitchFamily="34" charset="0"/>
                      <a:ea typeface="Segoe UI" pitchFamily="34" charset="0"/>
                      <a:cs typeface="Segoe UI" pitchFamily="34" charset="0"/>
                    </a:rPr>
                    <a:t>CSA Cloud Controls Matrix</a:t>
                  </a:r>
                </a:p>
              </p:txBody>
            </p:sp>
            <p:pic>
              <p:nvPicPr>
                <p:cNvPr id="351" name="Picture 350"/>
                <p:cNvPicPr>
                  <a:picLocks noChangeAspect="1"/>
                </p:cNvPicPr>
                <p:nvPr/>
              </p:nvPicPr>
              <p:blipFill rotWithShape="1">
                <a:blip r:embed="rId14" cstate="email">
                  <a:extLst>
                    <a:ext uri="{28A0092B-C50C-407E-A947-70E740481C1C}">
                      <a14:useLocalDpi xmlns:a14="http://schemas.microsoft.com/office/drawing/2010/main"/>
                    </a:ext>
                  </a:extLst>
                </a:blip>
                <a:stretch/>
              </p:blipFill>
              <p:spPr>
                <a:xfrm>
                  <a:off x="1643752" y="2122536"/>
                  <a:ext cx="781159" cy="295316"/>
                </a:xfrm>
                <a:prstGeom prst="rect">
                  <a:avLst/>
                </a:prstGeom>
                <a:noFill/>
                <a:ln>
                  <a:noFill/>
                </a:ln>
              </p:spPr>
            </p:pic>
            <p:cxnSp>
              <p:nvCxnSpPr>
                <p:cNvPr id="346" name="Straight Connector 345"/>
                <p:cNvCxnSpPr/>
                <p:nvPr/>
              </p:nvCxnSpPr>
              <p:spPr>
                <a:xfrm>
                  <a:off x="5710121" y="3231800"/>
                  <a:ext cx="0" cy="303591"/>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48" name="Freeform 6"/>
                <p:cNvSpPr>
                  <a:spLocks noEditPoints="1"/>
                </p:cNvSpPr>
                <p:nvPr/>
              </p:nvSpPr>
              <p:spPr bwMode="auto">
                <a:xfrm>
                  <a:off x="5528137" y="3535391"/>
                  <a:ext cx="353150" cy="468807"/>
                </a:xfrm>
                <a:custGeom>
                  <a:avLst/>
                  <a:gdLst>
                    <a:gd name="T0" fmla="*/ 66 w 448"/>
                    <a:gd name="T1" fmla="*/ 280 h 595"/>
                    <a:gd name="T2" fmla="*/ 66 w 448"/>
                    <a:gd name="T3" fmla="*/ 166 h 595"/>
                    <a:gd name="T4" fmla="*/ 76 w 448"/>
                    <a:gd name="T5" fmla="*/ 101 h 595"/>
                    <a:gd name="T6" fmla="*/ 165 w 448"/>
                    <a:gd name="T7" fmla="*/ 12 h 595"/>
                    <a:gd name="T8" fmla="*/ 288 w 448"/>
                    <a:gd name="T9" fmla="*/ 19 h 595"/>
                    <a:gd name="T10" fmla="*/ 370 w 448"/>
                    <a:gd name="T11" fmla="*/ 158 h 595"/>
                    <a:gd name="T12" fmla="*/ 370 w 448"/>
                    <a:gd name="T13" fmla="*/ 280 h 595"/>
                    <a:gd name="T14" fmla="*/ 411 w 448"/>
                    <a:gd name="T15" fmla="*/ 280 h 595"/>
                    <a:gd name="T16" fmla="*/ 448 w 448"/>
                    <a:gd name="T17" fmla="*/ 316 h 595"/>
                    <a:gd name="T18" fmla="*/ 448 w 448"/>
                    <a:gd name="T19" fmla="*/ 558 h 595"/>
                    <a:gd name="T20" fmla="*/ 406 w 448"/>
                    <a:gd name="T21" fmla="*/ 595 h 595"/>
                    <a:gd name="T22" fmla="*/ 254 w 448"/>
                    <a:gd name="T23" fmla="*/ 595 h 595"/>
                    <a:gd name="T24" fmla="*/ 46 w 448"/>
                    <a:gd name="T25" fmla="*/ 595 h 595"/>
                    <a:gd name="T26" fmla="*/ 0 w 448"/>
                    <a:gd name="T27" fmla="*/ 549 h 595"/>
                    <a:gd name="T28" fmla="*/ 0 w 448"/>
                    <a:gd name="T29" fmla="*/ 327 h 595"/>
                    <a:gd name="T30" fmla="*/ 47 w 448"/>
                    <a:gd name="T31" fmla="*/ 280 h 595"/>
                    <a:gd name="T32" fmla="*/ 66 w 448"/>
                    <a:gd name="T33" fmla="*/ 280 h 595"/>
                    <a:gd name="T34" fmla="*/ 128 w 448"/>
                    <a:gd name="T35" fmla="*/ 279 h 595"/>
                    <a:gd name="T36" fmla="*/ 307 w 448"/>
                    <a:gd name="T37" fmla="*/ 279 h 595"/>
                    <a:gd name="T38" fmla="*/ 308 w 448"/>
                    <a:gd name="T39" fmla="*/ 274 h 595"/>
                    <a:gd name="T40" fmla="*/ 308 w 448"/>
                    <a:gd name="T41" fmla="*/ 154 h 595"/>
                    <a:gd name="T42" fmla="*/ 220 w 448"/>
                    <a:gd name="T43" fmla="*/ 65 h 595"/>
                    <a:gd name="T44" fmla="*/ 128 w 448"/>
                    <a:gd name="T45" fmla="*/ 143 h 595"/>
                    <a:gd name="T46" fmla="*/ 128 w 448"/>
                    <a:gd name="T47" fmla="*/ 279 h 595"/>
                    <a:gd name="T48" fmla="*/ 174 w 448"/>
                    <a:gd name="T49" fmla="*/ 534 h 595"/>
                    <a:gd name="T50" fmla="*/ 338 w 448"/>
                    <a:gd name="T51" fmla="*/ 383 h 595"/>
                    <a:gd name="T52" fmla="*/ 302 w 448"/>
                    <a:gd name="T53" fmla="*/ 341 h 595"/>
                    <a:gd name="T54" fmla="*/ 175 w 448"/>
                    <a:gd name="T55" fmla="*/ 461 h 595"/>
                    <a:gd name="T56" fmla="*/ 146 w 448"/>
                    <a:gd name="T57" fmla="*/ 429 h 595"/>
                    <a:gd name="T58" fmla="*/ 110 w 448"/>
                    <a:gd name="T59" fmla="*/ 462 h 595"/>
                    <a:gd name="T60" fmla="*/ 174 w 448"/>
                    <a:gd name="T61" fmla="*/ 534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8" h="595">
                      <a:moveTo>
                        <a:pt x="66" y="280"/>
                      </a:moveTo>
                      <a:cubicBezTo>
                        <a:pt x="66" y="240"/>
                        <a:pt x="65" y="203"/>
                        <a:pt x="66" y="166"/>
                      </a:cubicBezTo>
                      <a:cubicBezTo>
                        <a:pt x="67" y="144"/>
                        <a:pt x="70" y="122"/>
                        <a:pt x="76" y="101"/>
                      </a:cubicBezTo>
                      <a:cubicBezTo>
                        <a:pt x="89" y="56"/>
                        <a:pt x="120" y="26"/>
                        <a:pt x="165" y="12"/>
                      </a:cubicBezTo>
                      <a:cubicBezTo>
                        <a:pt x="207" y="0"/>
                        <a:pt x="248" y="1"/>
                        <a:pt x="288" y="19"/>
                      </a:cubicBezTo>
                      <a:cubicBezTo>
                        <a:pt x="347" y="45"/>
                        <a:pt x="368" y="97"/>
                        <a:pt x="370" y="158"/>
                      </a:cubicBezTo>
                      <a:cubicBezTo>
                        <a:pt x="371" y="198"/>
                        <a:pt x="370" y="238"/>
                        <a:pt x="370" y="280"/>
                      </a:cubicBezTo>
                      <a:cubicBezTo>
                        <a:pt x="385" y="280"/>
                        <a:pt x="398" y="280"/>
                        <a:pt x="411" y="280"/>
                      </a:cubicBezTo>
                      <a:cubicBezTo>
                        <a:pt x="435" y="281"/>
                        <a:pt x="448" y="293"/>
                        <a:pt x="448" y="316"/>
                      </a:cubicBezTo>
                      <a:cubicBezTo>
                        <a:pt x="448" y="397"/>
                        <a:pt x="448" y="477"/>
                        <a:pt x="448" y="558"/>
                      </a:cubicBezTo>
                      <a:cubicBezTo>
                        <a:pt x="447" y="583"/>
                        <a:pt x="434" y="595"/>
                        <a:pt x="406" y="595"/>
                      </a:cubicBezTo>
                      <a:cubicBezTo>
                        <a:pt x="355" y="595"/>
                        <a:pt x="305" y="595"/>
                        <a:pt x="254" y="595"/>
                      </a:cubicBezTo>
                      <a:cubicBezTo>
                        <a:pt x="185" y="595"/>
                        <a:pt x="115" y="595"/>
                        <a:pt x="46" y="595"/>
                      </a:cubicBezTo>
                      <a:cubicBezTo>
                        <a:pt x="10" y="595"/>
                        <a:pt x="0" y="585"/>
                        <a:pt x="0" y="549"/>
                      </a:cubicBezTo>
                      <a:cubicBezTo>
                        <a:pt x="0" y="475"/>
                        <a:pt x="0" y="401"/>
                        <a:pt x="0" y="327"/>
                      </a:cubicBezTo>
                      <a:cubicBezTo>
                        <a:pt x="0" y="289"/>
                        <a:pt x="9" y="280"/>
                        <a:pt x="47" y="280"/>
                      </a:cubicBezTo>
                      <a:cubicBezTo>
                        <a:pt x="52" y="280"/>
                        <a:pt x="57" y="280"/>
                        <a:pt x="66" y="280"/>
                      </a:cubicBezTo>
                      <a:close/>
                      <a:moveTo>
                        <a:pt x="128" y="279"/>
                      </a:moveTo>
                      <a:cubicBezTo>
                        <a:pt x="189" y="279"/>
                        <a:pt x="248" y="279"/>
                        <a:pt x="307" y="279"/>
                      </a:cubicBezTo>
                      <a:cubicBezTo>
                        <a:pt x="307" y="276"/>
                        <a:pt x="308" y="275"/>
                        <a:pt x="308" y="274"/>
                      </a:cubicBezTo>
                      <a:cubicBezTo>
                        <a:pt x="308" y="234"/>
                        <a:pt x="309" y="194"/>
                        <a:pt x="308" y="154"/>
                      </a:cubicBezTo>
                      <a:cubicBezTo>
                        <a:pt x="308" y="99"/>
                        <a:pt x="275" y="66"/>
                        <a:pt x="220" y="65"/>
                      </a:cubicBezTo>
                      <a:cubicBezTo>
                        <a:pt x="168" y="64"/>
                        <a:pt x="131" y="95"/>
                        <a:pt x="128" y="143"/>
                      </a:cubicBezTo>
                      <a:cubicBezTo>
                        <a:pt x="126" y="188"/>
                        <a:pt x="128" y="232"/>
                        <a:pt x="128" y="279"/>
                      </a:cubicBezTo>
                      <a:close/>
                      <a:moveTo>
                        <a:pt x="174" y="534"/>
                      </a:moveTo>
                      <a:cubicBezTo>
                        <a:pt x="230" y="483"/>
                        <a:pt x="283" y="433"/>
                        <a:pt x="338" y="383"/>
                      </a:cubicBezTo>
                      <a:cubicBezTo>
                        <a:pt x="325" y="368"/>
                        <a:pt x="314" y="355"/>
                        <a:pt x="302" y="341"/>
                      </a:cubicBezTo>
                      <a:cubicBezTo>
                        <a:pt x="259" y="381"/>
                        <a:pt x="217" y="421"/>
                        <a:pt x="175" y="461"/>
                      </a:cubicBezTo>
                      <a:cubicBezTo>
                        <a:pt x="164" y="449"/>
                        <a:pt x="156" y="439"/>
                        <a:pt x="146" y="429"/>
                      </a:cubicBezTo>
                      <a:cubicBezTo>
                        <a:pt x="134" y="440"/>
                        <a:pt x="122" y="451"/>
                        <a:pt x="110" y="462"/>
                      </a:cubicBezTo>
                      <a:cubicBezTo>
                        <a:pt x="132" y="487"/>
                        <a:pt x="153" y="510"/>
                        <a:pt x="174" y="534"/>
                      </a:cubicBezTo>
                      <a:close/>
                    </a:path>
                  </a:pathLst>
                </a:custGeom>
                <a:solidFill>
                  <a:schemeClr val="bg1">
                    <a:lumMod val="50000"/>
                  </a:schemeClr>
                </a:solidFill>
                <a:ln w="9525">
                  <a:noFill/>
                  <a:round/>
                  <a:headEnd/>
                  <a:tailEnd/>
                </a:ln>
              </p:spPr>
              <p:txBody>
                <a:bodyPr vert="horz" wrap="square" lIns="83922" tIns="41962" rIns="83922" bIns="41962" numCol="1" anchor="t" anchorCtr="0" compatLnSpc="1">
                  <a:prstTxWarp prst="textNoShape">
                    <a:avLst/>
                  </a:prstTxWarp>
                </a:bodyPr>
                <a:lstStyle/>
                <a:p>
                  <a:pPr defTabSz="839166"/>
                  <a:endParaRPr lang="en-US" sz="1600" kern="0" dirty="0">
                    <a:solidFill>
                      <a:schemeClr val="tx2"/>
                    </a:solidFill>
                  </a:endParaRPr>
                </a:p>
              </p:txBody>
            </p:sp>
            <p:cxnSp>
              <p:nvCxnSpPr>
                <p:cNvPr id="343" name="Straight Connector 342"/>
                <p:cNvCxnSpPr/>
                <p:nvPr/>
              </p:nvCxnSpPr>
              <p:spPr>
                <a:xfrm>
                  <a:off x="9620123" y="3232969"/>
                  <a:ext cx="0" cy="322910"/>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44" name="Rectangle 343"/>
                <p:cNvSpPr/>
                <p:nvPr/>
              </p:nvSpPr>
              <p:spPr bwMode="auto">
                <a:xfrm>
                  <a:off x="9248893" y="3583059"/>
                  <a:ext cx="763264" cy="46166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algn="ctr" defTabSz="932384" fontAlgn="base"/>
                  <a:r>
                    <a:rPr lang="en-IN" sz="1200" dirty="0">
                      <a:solidFill>
                        <a:schemeClr val="tx2"/>
                      </a:solidFill>
                      <a:latin typeface="Segoe UI Semibold" panose="020B0702040204020203" pitchFamily="34" charset="0"/>
                      <a:ea typeface="Segoe UI" pitchFamily="34" charset="0"/>
                      <a:cs typeface="Segoe UI" pitchFamily="34" charset="0"/>
                    </a:rPr>
                    <a:t>PCI DSS Level 1</a:t>
                  </a:r>
                </a:p>
              </p:txBody>
            </p:sp>
            <p:cxnSp>
              <p:nvCxnSpPr>
                <p:cNvPr id="340" name="Straight Connector 339"/>
                <p:cNvCxnSpPr>
                  <a:endCxn id="342" idx="2"/>
                </p:cNvCxnSpPr>
                <p:nvPr/>
              </p:nvCxnSpPr>
              <p:spPr>
                <a:xfrm flipH="1" flipV="1">
                  <a:off x="8823619" y="2678950"/>
                  <a:ext cx="0" cy="371790"/>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42" name="Rectangle 341"/>
                <p:cNvSpPr/>
                <p:nvPr/>
              </p:nvSpPr>
              <p:spPr bwMode="auto">
                <a:xfrm>
                  <a:off x="8357695" y="2217285"/>
                  <a:ext cx="931848" cy="46166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algn="ctr" defTabSz="932384" fontAlgn="base"/>
                  <a:r>
                    <a:rPr lang="en-IN" sz="1200" dirty="0">
                      <a:solidFill>
                        <a:schemeClr val="tx2"/>
                      </a:solidFill>
                      <a:latin typeface="Segoe UI Semibold" panose="020B0702040204020203" pitchFamily="34" charset="0"/>
                      <a:ea typeface="Segoe UI" pitchFamily="34" charset="0"/>
                      <a:cs typeface="Segoe UI" pitchFamily="34" charset="0"/>
                    </a:rPr>
                    <a:t>AU IRAP </a:t>
                  </a:r>
                  <a:r>
                    <a:rPr lang="en-IN" sz="1200" dirty="0" smtClean="0">
                      <a:solidFill>
                        <a:schemeClr val="tx2"/>
                      </a:solidFill>
                      <a:latin typeface="Segoe UI Semibold" panose="020B0702040204020203" pitchFamily="34" charset="0"/>
                      <a:ea typeface="Segoe UI" pitchFamily="34" charset="0"/>
                      <a:cs typeface="Segoe UI" pitchFamily="34" charset="0"/>
                    </a:rPr>
                    <a:t/>
                  </a:r>
                  <a:br>
                    <a:rPr lang="en-IN" sz="1200" dirty="0" smtClean="0">
                      <a:solidFill>
                        <a:schemeClr val="tx2"/>
                      </a:solidFill>
                      <a:latin typeface="Segoe UI Semibold" panose="020B0702040204020203" pitchFamily="34" charset="0"/>
                      <a:ea typeface="Segoe UI" pitchFamily="34" charset="0"/>
                      <a:cs typeface="Segoe UI" pitchFamily="34" charset="0"/>
                    </a:rPr>
                  </a:br>
                  <a:r>
                    <a:rPr lang="en-IN" sz="1200" dirty="0" smtClean="0">
                      <a:solidFill>
                        <a:schemeClr val="tx2"/>
                      </a:solidFill>
                      <a:latin typeface="Segoe UI Semibold" panose="020B0702040204020203" pitchFamily="34" charset="0"/>
                      <a:ea typeface="Segoe UI" pitchFamily="34" charset="0"/>
                      <a:cs typeface="Segoe UI" pitchFamily="34" charset="0"/>
                    </a:rPr>
                    <a:t>Accreditation</a:t>
                  </a:r>
                  <a:endParaRPr lang="en-IN" sz="1200" dirty="0">
                    <a:solidFill>
                      <a:schemeClr val="tx2"/>
                    </a:solidFill>
                    <a:latin typeface="Segoe UI Semibold" panose="020B0702040204020203" pitchFamily="34" charset="0"/>
                    <a:ea typeface="Segoe UI" pitchFamily="34" charset="0"/>
                    <a:cs typeface="Segoe UI" pitchFamily="34" charset="0"/>
                  </a:endParaRPr>
                </a:p>
              </p:txBody>
            </p:sp>
            <p:pic>
              <p:nvPicPr>
                <p:cNvPr id="336" name="Picture 335"/>
                <p:cNvPicPr>
                  <a:picLocks noChangeAspect="1"/>
                </p:cNvPicPr>
                <p:nvPr/>
              </p:nvPicPr>
              <p:blipFill>
                <a:blip r:embed="rId15"/>
                <a:stretch>
                  <a:fillRect/>
                </a:stretch>
              </p:blipFill>
              <p:spPr>
                <a:xfrm>
                  <a:off x="9501362" y="1995783"/>
                  <a:ext cx="708820" cy="233911"/>
                </a:xfrm>
                <a:prstGeom prst="rect">
                  <a:avLst/>
                </a:prstGeom>
              </p:spPr>
            </p:pic>
            <p:grpSp>
              <p:nvGrpSpPr>
                <p:cNvPr id="337" name="Group 336"/>
                <p:cNvGrpSpPr/>
                <p:nvPr/>
              </p:nvGrpSpPr>
              <p:grpSpPr>
                <a:xfrm>
                  <a:off x="8995104" y="2199771"/>
                  <a:ext cx="1636646" cy="850971"/>
                  <a:chOff x="7630959" y="2994901"/>
                  <a:chExt cx="1636646" cy="850971"/>
                </a:xfrm>
              </p:grpSpPr>
              <p:cxnSp>
                <p:nvCxnSpPr>
                  <p:cNvPr id="338" name="Straight Connector 337"/>
                  <p:cNvCxnSpPr/>
                  <p:nvPr/>
                </p:nvCxnSpPr>
                <p:spPr>
                  <a:xfrm flipH="1" flipV="1">
                    <a:off x="8432605" y="3460540"/>
                    <a:ext cx="0" cy="385332"/>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39" name="Rectangle 338"/>
                  <p:cNvSpPr/>
                  <p:nvPr/>
                </p:nvSpPr>
                <p:spPr bwMode="auto">
                  <a:xfrm>
                    <a:off x="7630959" y="2994901"/>
                    <a:ext cx="1636646" cy="46166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algn="ctr" defTabSz="932384" fontAlgn="base"/>
                    <a:r>
                      <a:rPr lang="en-IN" sz="1200" dirty="0" smtClean="0">
                        <a:solidFill>
                          <a:schemeClr val="tx2"/>
                        </a:solidFill>
                        <a:latin typeface="Segoe UI Semibold" panose="020B0702040204020203" pitchFamily="34" charset="0"/>
                        <a:ea typeface="Segoe UI" pitchFamily="34" charset="0"/>
                        <a:cs typeface="Segoe UI" pitchFamily="34" charset="0"/>
                      </a:rPr>
                      <a:t>Singapore</a:t>
                    </a:r>
                    <a:br>
                      <a:rPr lang="en-IN" sz="1200" dirty="0" smtClean="0">
                        <a:solidFill>
                          <a:schemeClr val="tx2"/>
                        </a:solidFill>
                        <a:latin typeface="Segoe UI Semibold" panose="020B0702040204020203" pitchFamily="34" charset="0"/>
                        <a:ea typeface="Segoe UI" pitchFamily="34" charset="0"/>
                        <a:cs typeface="Segoe UI" pitchFamily="34" charset="0"/>
                      </a:rPr>
                    </a:br>
                    <a:r>
                      <a:rPr lang="en-IN" sz="1200" dirty="0" smtClean="0">
                        <a:solidFill>
                          <a:schemeClr val="tx2"/>
                        </a:solidFill>
                        <a:latin typeface="Segoe UI Semibold" panose="020B0702040204020203" pitchFamily="34" charset="0"/>
                        <a:ea typeface="Segoe UI" pitchFamily="34" charset="0"/>
                        <a:cs typeface="Segoe UI" pitchFamily="34" charset="0"/>
                      </a:rPr>
                      <a:t>MCTS</a:t>
                    </a:r>
                    <a:endParaRPr lang="en-IN" sz="1200" dirty="0">
                      <a:solidFill>
                        <a:schemeClr val="tx2"/>
                      </a:solidFill>
                      <a:latin typeface="Segoe UI Semibold" panose="020B0702040204020203" pitchFamily="34" charset="0"/>
                      <a:ea typeface="Segoe UI" pitchFamily="34" charset="0"/>
                      <a:cs typeface="Segoe UI" pitchFamily="34" charset="0"/>
                    </a:endParaRPr>
                  </a:p>
                </p:txBody>
              </p:sp>
            </p:grpSp>
            <p:cxnSp>
              <p:nvCxnSpPr>
                <p:cNvPr id="326" name="Straight Connector 325"/>
                <p:cNvCxnSpPr/>
                <p:nvPr/>
              </p:nvCxnSpPr>
              <p:spPr>
                <a:xfrm>
                  <a:off x="11594150" y="3250643"/>
                  <a:ext cx="0" cy="278772"/>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27" name="Rectangle 326"/>
                <p:cNvSpPr/>
                <p:nvPr/>
              </p:nvSpPr>
              <p:spPr bwMode="auto">
                <a:xfrm>
                  <a:off x="11163681" y="3536860"/>
                  <a:ext cx="886464" cy="46166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algn="ctr" defTabSz="932384" fontAlgn="base"/>
                  <a:r>
                    <a:rPr lang="en-IN" sz="1200" dirty="0">
                      <a:solidFill>
                        <a:schemeClr val="tx2"/>
                      </a:solidFill>
                      <a:latin typeface="Segoe UI Semibold" panose="020B0702040204020203" pitchFamily="34" charset="0"/>
                      <a:ea typeface="Segoe UI" pitchFamily="34" charset="0"/>
                      <a:cs typeface="Segoe UI" pitchFamily="34" charset="0"/>
                    </a:rPr>
                    <a:t>ISO/IEC </a:t>
                  </a:r>
                  <a:r>
                    <a:rPr lang="en-IN" sz="1200" dirty="0" smtClean="0">
                      <a:solidFill>
                        <a:schemeClr val="tx2"/>
                      </a:solidFill>
                      <a:latin typeface="Segoe UI Semibold" panose="020B0702040204020203" pitchFamily="34" charset="0"/>
                      <a:ea typeface="Segoe UI" pitchFamily="34" charset="0"/>
                      <a:cs typeface="Segoe UI" pitchFamily="34" charset="0"/>
                    </a:rPr>
                    <a:t>27018</a:t>
                  </a:r>
                  <a:endParaRPr lang="en-IN" sz="1200" dirty="0">
                    <a:solidFill>
                      <a:schemeClr val="tx2"/>
                    </a:solidFill>
                    <a:latin typeface="Segoe UI Semibold" panose="020B0702040204020203" pitchFamily="34" charset="0"/>
                    <a:ea typeface="Segoe UI" pitchFamily="34" charset="0"/>
                    <a:cs typeface="Segoe UI" pitchFamily="34" charset="0"/>
                  </a:endParaRPr>
                </a:p>
              </p:txBody>
            </p:sp>
            <p:grpSp>
              <p:nvGrpSpPr>
                <p:cNvPr id="328" name="Group 327"/>
                <p:cNvGrpSpPr/>
                <p:nvPr/>
              </p:nvGrpSpPr>
              <p:grpSpPr>
                <a:xfrm>
                  <a:off x="11438384" y="4027501"/>
                  <a:ext cx="337058" cy="337010"/>
                  <a:chOff x="7001509" y="5389047"/>
                  <a:chExt cx="530820" cy="530743"/>
                </a:xfrm>
              </p:grpSpPr>
              <p:sp>
                <p:nvSpPr>
                  <p:cNvPr id="329" name="Freeform 7"/>
                  <p:cNvSpPr>
                    <a:spLocks/>
                  </p:cNvSpPr>
                  <p:nvPr/>
                </p:nvSpPr>
                <p:spPr bwMode="auto">
                  <a:xfrm>
                    <a:off x="7001509" y="5416511"/>
                    <a:ext cx="530820" cy="503279"/>
                  </a:xfrm>
                  <a:custGeom>
                    <a:avLst/>
                    <a:gdLst>
                      <a:gd name="T0" fmla="*/ 1351 w 4317"/>
                      <a:gd name="T1" fmla="*/ 626 h 4068"/>
                      <a:gd name="T2" fmla="*/ 1106 w 4317"/>
                      <a:gd name="T3" fmla="*/ 822 h 4068"/>
                      <a:gd name="T4" fmla="*/ 911 w 4317"/>
                      <a:gd name="T5" fmla="*/ 1050 h 4068"/>
                      <a:gd name="T6" fmla="*/ 767 w 4317"/>
                      <a:gd name="T7" fmla="*/ 1310 h 4068"/>
                      <a:gd name="T8" fmla="*/ 679 w 4317"/>
                      <a:gd name="T9" fmla="*/ 1604 h 4068"/>
                      <a:gd name="T10" fmla="*/ 648 w 4317"/>
                      <a:gd name="T11" fmla="*/ 1921 h 4068"/>
                      <a:gd name="T12" fmla="*/ 677 w 4317"/>
                      <a:gd name="T13" fmla="*/ 2222 h 4068"/>
                      <a:gd name="T14" fmla="*/ 767 w 4317"/>
                      <a:gd name="T15" fmla="*/ 2506 h 4068"/>
                      <a:gd name="T16" fmla="*/ 916 w 4317"/>
                      <a:gd name="T17" fmla="*/ 2769 h 4068"/>
                      <a:gd name="T18" fmla="*/ 1122 w 4317"/>
                      <a:gd name="T19" fmla="*/ 3006 h 4068"/>
                      <a:gd name="T20" fmla="*/ 1360 w 4317"/>
                      <a:gd name="T21" fmla="*/ 3192 h 4068"/>
                      <a:gd name="T22" fmla="*/ 1623 w 4317"/>
                      <a:gd name="T23" fmla="*/ 3323 h 4068"/>
                      <a:gd name="T24" fmla="*/ 1903 w 4317"/>
                      <a:gd name="T25" fmla="*/ 3399 h 4068"/>
                      <a:gd name="T26" fmla="*/ 2191 w 4317"/>
                      <a:gd name="T27" fmla="*/ 3420 h 4068"/>
                      <a:gd name="T28" fmla="*/ 2478 w 4317"/>
                      <a:gd name="T29" fmla="*/ 3386 h 4068"/>
                      <a:gd name="T30" fmla="*/ 2757 w 4317"/>
                      <a:gd name="T31" fmla="*/ 3297 h 4068"/>
                      <a:gd name="T32" fmla="*/ 3017 w 4317"/>
                      <a:gd name="T33" fmla="*/ 3151 h 4068"/>
                      <a:gd name="T34" fmla="*/ 3252 w 4317"/>
                      <a:gd name="T35" fmla="*/ 2950 h 4068"/>
                      <a:gd name="T36" fmla="*/ 3447 w 4317"/>
                      <a:gd name="T37" fmla="*/ 2701 h 4068"/>
                      <a:gd name="T38" fmla="*/ 3582 w 4317"/>
                      <a:gd name="T39" fmla="*/ 2429 h 4068"/>
                      <a:gd name="T40" fmla="*/ 3655 w 4317"/>
                      <a:gd name="T41" fmla="*/ 2135 h 4068"/>
                      <a:gd name="T42" fmla="*/ 3667 w 4317"/>
                      <a:gd name="T43" fmla="*/ 1820 h 4068"/>
                      <a:gd name="T44" fmla="*/ 3617 w 4317"/>
                      <a:gd name="T45" fmla="*/ 1506 h 4068"/>
                      <a:gd name="T46" fmla="*/ 3511 w 4317"/>
                      <a:gd name="T47" fmla="*/ 1225 h 4068"/>
                      <a:gd name="T48" fmla="*/ 3350 w 4317"/>
                      <a:gd name="T49" fmla="*/ 975 h 4068"/>
                      <a:gd name="T50" fmla="*/ 3137 w 4317"/>
                      <a:gd name="T51" fmla="*/ 755 h 4068"/>
                      <a:gd name="T52" fmla="*/ 3071 w 4317"/>
                      <a:gd name="T53" fmla="*/ 314 h 4068"/>
                      <a:gd name="T54" fmla="*/ 3185 w 4317"/>
                      <a:gd name="T55" fmla="*/ 5 h 4068"/>
                      <a:gd name="T56" fmla="*/ 3473 w 4317"/>
                      <a:gd name="T57" fmla="*/ 192 h 4068"/>
                      <a:gd name="T58" fmla="*/ 3727 w 4317"/>
                      <a:gd name="T59" fmla="*/ 421 h 4068"/>
                      <a:gd name="T60" fmla="*/ 3948 w 4317"/>
                      <a:gd name="T61" fmla="*/ 696 h 4068"/>
                      <a:gd name="T62" fmla="*/ 4118 w 4317"/>
                      <a:gd name="T63" fmla="*/ 997 h 4068"/>
                      <a:gd name="T64" fmla="*/ 4240 w 4317"/>
                      <a:gd name="T65" fmla="*/ 1327 h 4068"/>
                      <a:gd name="T66" fmla="*/ 4303 w 4317"/>
                      <a:gd name="T67" fmla="*/ 1647 h 4068"/>
                      <a:gd name="T68" fmla="*/ 4317 w 4317"/>
                      <a:gd name="T69" fmla="*/ 1983 h 4068"/>
                      <a:gd name="T70" fmla="*/ 4308 w 4317"/>
                      <a:gd name="T71" fmla="*/ 2099 h 4068"/>
                      <a:gd name="T72" fmla="*/ 4252 w 4317"/>
                      <a:gd name="T73" fmla="*/ 2438 h 4068"/>
                      <a:gd name="T74" fmla="*/ 4133 w 4317"/>
                      <a:gd name="T75" fmla="*/ 2782 h 4068"/>
                      <a:gd name="T76" fmla="*/ 3960 w 4317"/>
                      <a:gd name="T77" fmla="*/ 3099 h 4068"/>
                      <a:gd name="T78" fmla="*/ 3739 w 4317"/>
                      <a:gd name="T79" fmla="*/ 3381 h 4068"/>
                      <a:gd name="T80" fmla="*/ 3469 w 4317"/>
                      <a:gd name="T81" fmla="*/ 3624 h 4068"/>
                      <a:gd name="T82" fmla="*/ 3147 w 4317"/>
                      <a:gd name="T83" fmla="*/ 3830 h 4068"/>
                      <a:gd name="T84" fmla="*/ 2803 w 4317"/>
                      <a:gd name="T85" fmla="*/ 3971 h 4068"/>
                      <a:gd name="T86" fmla="*/ 2434 w 4317"/>
                      <a:gd name="T87" fmla="*/ 4050 h 4068"/>
                      <a:gd name="T88" fmla="*/ 2080 w 4317"/>
                      <a:gd name="T89" fmla="*/ 4068 h 4068"/>
                      <a:gd name="T90" fmla="*/ 1975 w 4317"/>
                      <a:gd name="T91" fmla="*/ 4059 h 4068"/>
                      <a:gd name="T92" fmla="*/ 1646 w 4317"/>
                      <a:gd name="T93" fmla="*/ 4006 h 4068"/>
                      <a:gd name="T94" fmla="*/ 1306 w 4317"/>
                      <a:gd name="T95" fmla="*/ 3893 h 4068"/>
                      <a:gd name="T96" fmla="*/ 1008 w 4317"/>
                      <a:gd name="T97" fmla="*/ 3737 h 4068"/>
                      <a:gd name="T98" fmla="*/ 738 w 4317"/>
                      <a:gd name="T99" fmla="*/ 3535 h 4068"/>
                      <a:gd name="T100" fmla="*/ 507 w 4317"/>
                      <a:gd name="T101" fmla="*/ 3298 h 4068"/>
                      <a:gd name="T102" fmla="*/ 315 w 4317"/>
                      <a:gd name="T103" fmla="*/ 3034 h 4068"/>
                      <a:gd name="T104" fmla="*/ 164 w 4317"/>
                      <a:gd name="T105" fmla="*/ 2734 h 4068"/>
                      <a:gd name="T106" fmla="*/ 58 w 4317"/>
                      <a:gd name="T107" fmla="*/ 2404 h 4068"/>
                      <a:gd name="T108" fmla="*/ 5 w 4317"/>
                      <a:gd name="T109" fmla="*/ 2059 h 4068"/>
                      <a:gd name="T110" fmla="*/ 1 w 4317"/>
                      <a:gd name="T111" fmla="*/ 1817 h 4068"/>
                      <a:gd name="T112" fmla="*/ 17 w 4317"/>
                      <a:gd name="T113" fmla="*/ 1631 h 4068"/>
                      <a:gd name="T114" fmla="*/ 103 w 4317"/>
                      <a:gd name="T115" fmla="*/ 1245 h 4068"/>
                      <a:gd name="T116" fmla="*/ 250 w 4317"/>
                      <a:gd name="T117" fmla="*/ 895 h 4068"/>
                      <a:gd name="T118" fmla="*/ 457 w 4317"/>
                      <a:gd name="T119" fmla="*/ 577 h 4068"/>
                      <a:gd name="T120" fmla="*/ 690 w 4317"/>
                      <a:gd name="T121" fmla="*/ 323 h 4068"/>
                      <a:gd name="T122" fmla="*/ 960 w 4317"/>
                      <a:gd name="T123" fmla="*/ 110 h 4068"/>
                      <a:gd name="T124" fmla="*/ 1142 w 4317"/>
                      <a:gd name="T125" fmla="*/ 0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17" h="4068">
                        <a:moveTo>
                          <a:pt x="1142" y="0"/>
                        </a:moveTo>
                        <a:lnTo>
                          <a:pt x="1246" y="314"/>
                        </a:lnTo>
                        <a:lnTo>
                          <a:pt x="1351" y="626"/>
                        </a:lnTo>
                        <a:lnTo>
                          <a:pt x="1263" y="688"/>
                        </a:lnTo>
                        <a:lnTo>
                          <a:pt x="1182" y="754"/>
                        </a:lnTo>
                        <a:lnTo>
                          <a:pt x="1106" y="822"/>
                        </a:lnTo>
                        <a:lnTo>
                          <a:pt x="1035" y="895"/>
                        </a:lnTo>
                        <a:lnTo>
                          <a:pt x="970" y="971"/>
                        </a:lnTo>
                        <a:lnTo>
                          <a:pt x="911" y="1050"/>
                        </a:lnTo>
                        <a:lnTo>
                          <a:pt x="857" y="1134"/>
                        </a:lnTo>
                        <a:lnTo>
                          <a:pt x="809" y="1220"/>
                        </a:lnTo>
                        <a:lnTo>
                          <a:pt x="767" y="1310"/>
                        </a:lnTo>
                        <a:lnTo>
                          <a:pt x="732" y="1405"/>
                        </a:lnTo>
                        <a:lnTo>
                          <a:pt x="703" y="1503"/>
                        </a:lnTo>
                        <a:lnTo>
                          <a:pt x="679" y="1604"/>
                        </a:lnTo>
                        <a:lnTo>
                          <a:pt x="662" y="1710"/>
                        </a:lnTo>
                        <a:lnTo>
                          <a:pt x="652" y="1816"/>
                        </a:lnTo>
                        <a:lnTo>
                          <a:pt x="648" y="1921"/>
                        </a:lnTo>
                        <a:lnTo>
                          <a:pt x="651" y="2023"/>
                        </a:lnTo>
                        <a:lnTo>
                          <a:pt x="661" y="2124"/>
                        </a:lnTo>
                        <a:lnTo>
                          <a:pt x="677" y="2222"/>
                        </a:lnTo>
                        <a:lnTo>
                          <a:pt x="700" y="2319"/>
                        </a:lnTo>
                        <a:lnTo>
                          <a:pt x="730" y="2413"/>
                        </a:lnTo>
                        <a:lnTo>
                          <a:pt x="767" y="2506"/>
                        </a:lnTo>
                        <a:lnTo>
                          <a:pt x="810" y="2595"/>
                        </a:lnTo>
                        <a:lnTo>
                          <a:pt x="860" y="2683"/>
                        </a:lnTo>
                        <a:lnTo>
                          <a:pt x="916" y="2769"/>
                        </a:lnTo>
                        <a:lnTo>
                          <a:pt x="981" y="2852"/>
                        </a:lnTo>
                        <a:lnTo>
                          <a:pt x="1050" y="2933"/>
                        </a:lnTo>
                        <a:lnTo>
                          <a:pt x="1122" y="3006"/>
                        </a:lnTo>
                        <a:lnTo>
                          <a:pt x="1198" y="3074"/>
                        </a:lnTo>
                        <a:lnTo>
                          <a:pt x="1278" y="3136"/>
                        </a:lnTo>
                        <a:lnTo>
                          <a:pt x="1360" y="3192"/>
                        </a:lnTo>
                        <a:lnTo>
                          <a:pt x="1445" y="3242"/>
                        </a:lnTo>
                        <a:lnTo>
                          <a:pt x="1534" y="3285"/>
                        </a:lnTo>
                        <a:lnTo>
                          <a:pt x="1623" y="3323"/>
                        </a:lnTo>
                        <a:lnTo>
                          <a:pt x="1716" y="3354"/>
                        </a:lnTo>
                        <a:lnTo>
                          <a:pt x="1809" y="3379"/>
                        </a:lnTo>
                        <a:lnTo>
                          <a:pt x="1903" y="3399"/>
                        </a:lnTo>
                        <a:lnTo>
                          <a:pt x="1999" y="3412"/>
                        </a:lnTo>
                        <a:lnTo>
                          <a:pt x="2095" y="3420"/>
                        </a:lnTo>
                        <a:lnTo>
                          <a:pt x="2191" y="3420"/>
                        </a:lnTo>
                        <a:lnTo>
                          <a:pt x="2287" y="3415"/>
                        </a:lnTo>
                        <a:lnTo>
                          <a:pt x="2384" y="3404"/>
                        </a:lnTo>
                        <a:lnTo>
                          <a:pt x="2478" y="3386"/>
                        </a:lnTo>
                        <a:lnTo>
                          <a:pt x="2572" y="3362"/>
                        </a:lnTo>
                        <a:lnTo>
                          <a:pt x="2665" y="3333"/>
                        </a:lnTo>
                        <a:lnTo>
                          <a:pt x="2757" y="3297"/>
                        </a:lnTo>
                        <a:lnTo>
                          <a:pt x="2846" y="3255"/>
                        </a:lnTo>
                        <a:lnTo>
                          <a:pt x="2934" y="3206"/>
                        </a:lnTo>
                        <a:lnTo>
                          <a:pt x="3017" y="3151"/>
                        </a:lnTo>
                        <a:lnTo>
                          <a:pt x="3099" y="3090"/>
                        </a:lnTo>
                        <a:lnTo>
                          <a:pt x="3177" y="3023"/>
                        </a:lnTo>
                        <a:lnTo>
                          <a:pt x="3252" y="2950"/>
                        </a:lnTo>
                        <a:lnTo>
                          <a:pt x="3324" y="2869"/>
                        </a:lnTo>
                        <a:lnTo>
                          <a:pt x="3389" y="2786"/>
                        </a:lnTo>
                        <a:lnTo>
                          <a:pt x="3447" y="2701"/>
                        </a:lnTo>
                        <a:lnTo>
                          <a:pt x="3499" y="2613"/>
                        </a:lnTo>
                        <a:lnTo>
                          <a:pt x="3544" y="2522"/>
                        </a:lnTo>
                        <a:lnTo>
                          <a:pt x="3582" y="2429"/>
                        </a:lnTo>
                        <a:lnTo>
                          <a:pt x="3613" y="2333"/>
                        </a:lnTo>
                        <a:lnTo>
                          <a:pt x="3638" y="2235"/>
                        </a:lnTo>
                        <a:lnTo>
                          <a:pt x="3655" y="2135"/>
                        </a:lnTo>
                        <a:lnTo>
                          <a:pt x="3665" y="2032"/>
                        </a:lnTo>
                        <a:lnTo>
                          <a:pt x="3669" y="1927"/>
                        </a:lnTo>
                        <a:lnTo>
                          <a:pt x="3667" y="1820"/>
                        </a:lnTo>
                        <a:lnTo>
                          <a:pt x="3656" y="1711"/>
                        </a:lnTo>
                        <a:lnTo>
                          <a:pt x="3639" y="1606"/>
                        </a:lnTo>
                        <a:lnTo>
                          <a:pt x="3617" y="1506"/>
                        </a:lnTo>
                        <a:lnTo>
                          <a:pt x="3588" y="1409"/>
                        </a:lnTo>
                        <a:lnTo>
                          <a:pt x="3553" y="1316"/>
                        </a:lnTo>
                        <a:lnTo>
                          <a:pt x="3511" y="1225"/>
                        </a:lnTo>
                        <a:lnTo>
                          <a:pt x="3464" y="1138"/>
                        </a:lnTo>
                        <a:lnTo>
                          <a:pt x="3410" y="1055"/>
                        </a:lnTo>
                        <a:lnTo>
                          <a:pt x="3350" y="975"/>
                        </a:lnTo>
                        <a:lnTo>
                          <a:pt x="3285" y="898"/>
                        </a:lnTo>
                        <a:lnTo>
                          <a:pt x="3214" y="825"/>
                        </a:lnTo>
                        <a:lnTo>
                          <a:pt x="3137" y="755"/>
                        </a:lnTo>
                        <a:lnTo>
                          <a:pt x="3055" y="688"/>
                        </a:lnTo>
                        <a:lnTo>
                          <a:pt x="2966" y="626"/>
                        </a:lnTo>
                        <a:lnTo>
                          <a:pt x="3071" y="314"/>
                        </a:lnTo>
                        <a:lnTo>
                          <a:pt x="3175" y="0"/>
                        </a:lnTo>
                        <a:lnTo>
                          <a:pt x="3181" y="2"/>
                        </a:lnTo>
                        <a:lnTo>
                          <a:pt x="3185" y="5"/>
                        </a:lnTo>
                        <a:lnTo>
                          <a:pt x="3285" y="63"/>
                        </a:lnTo>
                        <a:lnTo>
                          <a:pt x="3381" y="124"/>
                        </a:lnTo>
                        <a:lnTo>
                          <a:pt x="3473" y="192"/>
                        </a:lnTo>
                        <a:lnTo>
                          <a:pt x="3562" y="263"/>
                        </a:lnTo>
                        <a:lnTo>
                          <a:pt x="3646" y="340"/>
                        </a:lnTo>
                        <a:lnTo>
                          <a:pt x="3727" y="421"/>
                        </a:lnTo>
                        <a:lnTo>
                          <a:pt x="3807" y="510"/>
                        </a:lnTo>
                        <a:lnTo>
                          <a:pt x="3880" y="601"/>
                        </a:lnTo>
                        <a:lnTo>
                          <a:pt x="3948" y="696"/>
                        </a:lnTo>
                        <a:lnTo>
                          <a:pt x="4010" y="793"/>
                        </a:lnTo>
                        <a:lnTo>
                          <a:pt x="4067" y="894"/>
                        </a:lnTo>
                        <a:lnTo>
                          <a:pt x="4118" y="997"/>
                        </a:lnTo>
                        <a:lnTo>
                          <a:pt x="4164" y="1105"/>
                        </a:lnTo>
                        <a:lnTo>
                          <a:pt x="4205" y="1215"/>
                        </a:lnTo>
                        <a:lnTo>
                          <a:pt x="4240" y="1327"/>
                        </a:lnTo>
                        <a:lnTo>
                          <a:pt x="4266" y="1433"/>
                        </a:lnTo>
                        <a:lnTo>
                          <a:pt x="4287" y="1540"/>
                        </a:lnTo>
                        <a:lnTo>
                          <a:pt x="4303" y="1647"/>
                        </a:lnTo>
                        <a:lnTo>
                          <a:pt x="4312" y="1756"/>
                        </a:lnTo>
                        <a:lnTo>
                          <a:pt x="4317" y="1830"/>
                        </a:lnTo>
                        <a:lnTo>
                          <a:pt x="4317" y="1983"/>
                        </a:lnTo>
                        <a:lnTo>
                          <a:pt x="4317" y="1990"/>
                        </a:lnTo>
                        <a:lnTo>
                          <a:pt x="4316" y="1995"/>
                        </a:lnTo>
                        <a:lnTo>
                          <a:pt x="4308" y="2099"/>
                        </a:lnTo>
                        <a:lnTo>
                          <a:pt x="4298" y="2201"/>
                        </a:lnTo>
                        <a:lnTo>
                          <a:pt x="4278" y="2320"/>
                        </a:lnTo>
                        <a:lnTo>
                          <a:pt x="4252" y="2438"/>
                        </a:lnTo>
                        <a:lnTo>
                          <a:pt x="4219" y="2554"/>
                        </a:lnTo>
                        <a:lnTo>
                          <a:pt x="4180" y="2668"/>
                        </a:lnTo>
                        <a:lnTo>
                          <a:pt x="4133" y="2782"/>
                        </a:lnTo>
                        <a:lnTo>
                          <a:pt x="4082" y="2891"/>
                        </a:lnTo>
                        <a:lnTo>
                          <a:pt x="4024" y="2997"/>
                        </a:lnTo>
                        <a:lnTo>
                          <a:pt x="3960" y="3099"/>
                        </a:lnTo>
                        <a:lnTo>
                          <a:pt x="3892" y="3197"/>
                        </a:lnTo>
                        <a:lnTo>
                          <a:pt x="3819" y="3290"/>
                        </a:lnTo>
                        <a:lnTo>
                          <a:pt x="3739" y="3381"/>
                        </a:lnTo>
                        <a:lnTo>
                          <a:pt x="3654" y="3466"/>
                        </a:lnTo>
                        <a:lnTo>
                          <a:pt x="3565" y="3547"/>
                        </a:lnTo>
                        <a:lnTo>
                          <a:pt x="3469" y="3624"/>
                        </a:lnTo>
                        <a:lnTo>
                          <a:pt x="3364" y="3700"/>
                        </a:lnTo>
                        <a:lnTo>
                          <a:pt x="3257" y="3768"/>
                        </a:lnTo>
                        <a:lnTo>
                          <a:pt x="3147" y="3830"/>
                        </a:lnTo>
                        <a:lnTo>
                          <a:pt x="3034" y="3883"/>
                        </a:lnTo>
                        <a:lnTo>
                          <a:pt x="2921" y="3931"/>
                        </a:lnTo>
                        <a:lnTo>
                          <a:pt x="2803" y="3971"/>
                        </a:lnTo>
                        <a:lnTo>
                          <a:pt x="2682" y="4004"/>
                        </a:lnTo>
                        <a:lnTo>
                          <a:pt x="2559" y="4030"/>
                        </a:lnTo>
                        <a:lnTo>
                          <a:pt x="2434" y="4050"/>
                        </a:lnTo>
                        <a:lnTo>
                          <a:pt x="2305" y="4063"/>
                        </a:lnTo>
                        <a:lnTo>
                          <a:pt x="2237" y="4068"/>
                        </a:lnTo>
                        <a:lnTo>
                          <a:pt x="2080" y="4068"/>
                        </a:lnTo>
                        <a:lnTo>
                          <a:pt x="2074" y="4067"/>
                        </a:lnTo>
                        <a:lnTo>
                          <a:pt x="2067" y="4065"/>
                        </a:lnTo>
                        <a:lnTo>
                          <a:pt x="1975" y="4059"/>
                        </a:lnTo>
                        <a:lnTo>
                          <a:pt x="1885" y="4051"/>
                        </a:lnTo>
                        <a:lnTo>
                          <a:pt x="1765" y="4033"/>
                        </a:lnTo>
                        <a:lnTo>
                          <a:pt x="1646" y="4006"/>
                        </a:lnTo>
                        <a:lnTo>
                          <a:pt x="1528" y="3974"/>
                        </a:lnTo>
                        <a:lnTo>
                          <a:pt x="1413" y="3936"/>
                        </a:lnTo>
                        <a:lnTo>
                          <a:pt x="1306" y="3893"/>
                        </a:lnTo>
                        <a:lnTo>
                          <a:pt x="1204" y="3845"/>
                        </a:lnTo>
                        <a:lnTo>
                          <a:pt x="1105" y="3793"/>
                        </a:lnTo>
                        <a:lnTo>
                          <a:pt x="1008" y="3737"/>
                        </a:lnTo>
                        <a:lnTo>
                          <a:pt x="915" y="3674"/>
                        </a:lnTo>
                        <a:lnTo>
                          <a:pt x="826" y="3607"/>
                        </a:lnTo>
                        <a:lnTo>
                          <a:pt x="738" y="3535"/>
                        </a:lnTo>
                        <a:lnTo>
                          <a:pt x="656" y="3458"/>
                        </a:lnTo>
                        <a:lnTo>
                          <a:pt x="579" y="3379"/>
                        </a:lnTo>
                        <a:lnTo>
                          <a:pt x="507" y="3298"/>
                        </a:lnTo>
                        <a:lnTo>
                          <a:pt x="439" y="3213"/>
                        </a:lnTo>
                        <a:lnTo>
                          <a:pt x="374" y="3125"/>
                        </a:lnTo>
                        <a:lnTo>
                          <a:pt x="315" y="3034"/>
                        </a:lnTo>
                        <a:lnTo>
                          <a:pt x="262" y="2939"/>
                        </a:lnTo>
                        <a:lnTo>
                          <a:pt x="212" y="2841"/>
                        </a:lnTo>
                        <a:lnTo>
                          <a:pt x="164" y="2734"/>
                        </a:lnTo>
                        <a:lnTo>
                          <a:pt x="122" y="2626"/>
                        </a:lnTo>
                        <a:lnTo>
                          <a:pt x="86" y="2516"/>
                        </a:lnTo>
                        <a:lnTo>
                          <a:pt x="58" y="2404"/>
                        </a:lnTo>
                        <a:lnTo>
                          <a:pt x="34" y="2291"/>
                        </a:lnTo>
                        <a:lnTo>
                          <a:pt x="17" y="2176"/>
                        </a:lnTo>
                        <a:lnTo>
                          <a:pt x="5" y="2059"/>
                        </a:lnTo>
                        <a:lnTo>
                          <a:pt x="0" y="1983"/>
                        </a:lnTo>
                        <a:lnTo>
                          <a:pt x="0" y="1828"/>
                        </a:lnTo>
                        <a:lnTo>
                          <a:pt x="1" y="1817"/>
                        </a:lnTo>
                        <a:lnTo>
                          <a:pt x="3" y="1808"/>
                        </a:lnTo>
                        <a:lnTo>
                          <a:pt x="9" y="1719"/>
                        </a:lnTo>
                        <a:lnTo>
                          <a:pt x="17" y="1631"/>
                        </a:lnTo>
                        <a:lnTo>
                          <a:pt x="38" y="1502"/>
                        </a:lnTo>
                        <a:lnTo>
                          <a:pt x="67" y="1372"/>
                        </a:lnTo>
                        <a:lnTo>
                          <a:pt x="103" y="1245"/>
                        </a:lnTo>
                        <a:lnTo>
                          <a:pt x="145" y="1126"/>
                        </a:lnTo>
                        <a:lnTo>
                          <a:pt x="194" y="1009"/>
                        </a:lnTo>
                        <a:lnTo>
                          <a:pt x="250" y="895"/>
                        </a:lnTo>
                        <a:lnTo>
                          <a:pt x="313" y="785"/>
                        </a:lnTo>
                        <a:lnTo>
                          <a:pt x="381" y="679"/>
                        </a:lnTo>
                        <a:lnTo>
                          <a:pt x="457" y="577"/>
                        </a:lnTo>
                        <a:lnTo>
                          <a:pt x="530" y="488"/>
                        </a:lnTo>
                        <a:lnTo>
                          <a:pt x="607" y="403"/>
                        </a:lnTo>
                        <a:lnTo>
                          <a:pt x="690" y="323"/>
                        </a:lnTo>
                        <a:lnTo>
                          <a:pt x="775" y="247"/>
                        </a:lnTo>
                        <a:lnTo>
                          <a:pt x="865" y="176"/>
                        </a:lnTo>
                        <a:lnTo>
                          <a:pt x="960" y="110"/>
                        </a:lnTo>
                        <a:lnTo>
                          <a:pt x="1058" y="48"/>
                        </a:lnTo>
                        <a:lnTo>
                          <a:pt x="1100" y="23"/>
                        </a:lnTo>
                        <a:lnTo>
                          <a:pt x="1142" y="0"/>
                        </a:lnTo>
                        <a:close/>
                      </a:path>
                    </a:pathLst>
                  </a:custGeom>
                  <a:solidFill>
                    <a:schemeClr val="bg1">
                      <a:lumMod val="50000"/>
                    </a:schemeClr>
                  </a:solidFill>
                  <a:ln w="9525">
                    <a:noFill/>
                    <a:round/>
                    <a:headEnd/>
                    <a:tailEnd/>
                  </a:ln>
                </p:spPr>
                <p:txBody>
                  <a:bodyPr vert="horz" wrap="square" lIns="83922" tIns="41962" rIns="83922" bIns="41962" numCol="1" anchor="t" anchorCtr="0" compatLnSpc="1">
                    <a:prstTxWarp prst="textNoShape">
                      <a:avLst/>
                    </a:prstTxWarp>
                  </a:bodyPr>
                  <a:lstStyle/>
                  <a:p>
                    <a:pPr defTabSz="839166"/>
                    <a:endParaRPr lang="en-US" sz="1600" kern="0" dirty="0">
                      <a:solidFill>
                        <a:schemeClr val="tx2"/>
                      </a:solidFill>
                    </a:endParaRPr>
                  </a:p>
                </p:txBody>
              </p:sp>
              <p:sp>
                <p:nvSpPr>
                  <p:cNvPr id="330" name="Freeform 9"/>
                  <p:cNvSpPr>
                    <a:spLocks noEditPoints="1"/>
                  </p:cNvSpPr>
                  <p:nvPr/>
                </p:nvSpPr>
                <p:spPr bwMode="auto">
                  <a:xfrm>
                    <a:off x="7106739" y="5490989"/>
                    <a:ext cx="320361" cy="322652"/>
                  </a:xfrm>
                  <a:custGeom>
                    <a:avLst/>
                    <a:gdLst>
                      <a:gd name="T0" fmla="*/ 1303 w 2605"/>
                      <a:gd name="T1" fmla="*/ 2453 h 2608"/>
                      <a:gd name="T2" fmla="*/ 456 w 2605"/>
                      <a:gd name="T3" fmla="*/ 983 h 2608"/>
                      <a:gd name="T4" fmla="*/ 1609 w 2605"/>
                      <a:gd name="T5" fmla="*/ 399 h 2608"/>
                      <a:gd name="T6" fmla="*/ 1452 w 2605"/>
                      <a:gd name="T7" fmla="*/ 473 h 2608"/>
                      <a:gd name="T8" fmla="*/ 1334 w 2605"/>
                      <a:gd name="T9" fmla="*/ 594 h 2608"/>
                      <a:gd name="T10" fmla="*/ 1244 w 2605"/>
                      <a:gd name="T11" fmla="*/ 557 h 2608"/>
                      <a:gd name="T12" fmla="*/ 1129 w 2605"/>
                      <a:gd name="T13" fmla="*/ 454 h 2608"/>
                      <a:gd name="T14" fmla="*/ 973 w 2605"/>
                      <a:gd name="T15" fmla="*/ 393 h 2608"/>
                      <a:gd name="T16" fmla="*/ 792 w 2605"/>
                      <a:gd name="T17" fmla="*/ 392 h 2608"/>
                      <a:gd name="T18" fmla="*/ 630 w 2605"/>
                      <a:gd name="T19" fmla="*/ 454 h 2608"/>
                      <a:gd name="T20" fmla="*/ 521 w 2605"/>
                      <a:gd name="T21" fmla="*/ 547 h 2608"/>
                      <a:gd name="T22" fmla="*/ 452 w 2605"/>
                      <a:gd name="T23" fmla="*/ 659 h 2608"/>
                      <a:gd name="T24" fmla="*/ 416 w 2605"/>
                      <a:gd name="T25" fmla="*/ 770 h 2608"/>
                      <a:gd name="T26" fmla="*/ 2198 w 2605"/>
                      <a:gd name="T27" fmla="*/ 838 h 2608"/>
                      <a:gd name="T28" fmla="*/ 2185 w 2605"/>
                      <a:gd name="T29" fmla="*/ 731 h 2608"/>
                      <a:gd name="T30" fmla="*/ 2138 w 2605"/>
                      <a:gd name="T31" fmla="*/ 617 h 2608"/>
                      <a:gd name="T32" fmla="*/ 2054 w 2605"/>
                      <a:gd name="T33" fmla="*/ 509 h 2608"/>
                      <a:gd name="T34" fmla="*/ 1930 w 2605"/>
                      <a:gd name="T35" fmla="*/ 427 h 2608"/>
                      <a:gd name="T36" fmla="*/ 1740 w 2605"/>
                      <a:gd name="T37" fmla="*/ 384 h 2608"/>
                      <a:gd name="T38" fmla="*/ 1502 w 2605"/>
                      <a:gd name="T39" fmla="*/ 16 h 2608"/>
                      <a:gd name="T40" fmla="*/ 1782 w 2605"/>
                      <a:gd name="T41" fmla="*/ 90 h 2608"/>
                      <a:gd name="T42" fmla="*/ 2032 w 2605"/>
                      <a:gd name="T43" fmla="*/ 223 h 2608"/>
                      <a:gd name="T44" fmla="*/ 2247 w 2605"/>
                      <a:gd name="T45" fmla="*/ 405 h 2608"/>
                      <a:gd name="T46" fmla="*/ 2418 w 2605"/>
                      <a:gd name="T47" fmla="*/ 629 h 2608"/>
                      <a:gd name="T48" fmla="*/ 2538 w 2605"/>
                      <a:gd name="T49" fmla="*/ 888 h 2608"/>
                      <a:gd name="T50" fmla="*/ 2600 w 2605"/>
                      <a:gd name="T51" fmla="*/ 1173 h 2608"/>
                      <a:gd name="T52" fmla="*/ 2593 w 2605"/>
                      <a:gd name="T53" fmla="*/ 1481 h 2608"/>
                      <a:gd name="T54" fmla="*/ 2520 w 2605"/>
                      <a:gd name="T55" fmla="*/ 1772 h 2608"/>
                      <a:gd name="T56" fmla="*/ 2384 w 2605"/>
                      <a:gd name="T57" fmla="*/ 2032 h 2608"/>
                      <a:gd name="T58" fmla="*/ 2195 w 2605"/>
                      <a:gd name="T59" fmla="*/ 2253 h 2608"/>
                      <a:gd name="T60" fmla="*/ 1964 w 2605"/>
                      <a:gd name="T61" fmla="*/ 2429 h 2608"/>
                      <a:gd name="T62" fmla="*/ 1695 w 2605"/>
                      <a:gd name="T63" fmla="*/ 2548 h 2608"/>
                      <a:gd name="T64" fmla="*/ 1401 w 2605"/>
                      <a:gd name="T65" fmla="*/ 2604 h 2608"/>
                      <a:gd name="T66" fmla="*/ 1096 w 2605"/>
                      <a:gd name="T67" fmla="*/ 2593 h 2608"/>
                      <a:gd name="T68" fmla="*/ 812 w 2605"/>
                      <a:gd name="T69" fmla="*/ 2513 h 2608"/>
                      <a:gd name="T70" fmla="*/ 558 w 2605"/>
                      <a:gd name="T71" fmla="*/ 2374 h 2608"/>
                      <a:gd name="T72" fmla="*/ 341 w 2605"/>
                      <a:gd name="T73" fmla="*/ 2184 h 2608"/>
                      <a:gd name="T74" fmla="*/ 170 w 2605"/>
                      <a:gd name="T75" fmla="*/ 1950 h 2608"/>
                      <a:gd name="T76" fmla="*/ 55 w 2605"/>
                      <a:gd name="T77" fmla="*/ 1680 h 2608"/>
                      <a:gd name="T78" fmla="*/ 3 w 2605"/>
                      <a:gd name="T79" fmla="*/ 1383 h 2608"/>
                      <a:gd name="T80" fmla="*/ 20 w 2605"/>
                      <a:gd name="T81" fmla="*/ 1079 h 2608"/>
                      <a:gd name="T82" fmla="*/ 101 w 2605"/>
                      <a:gd name="T83" fmla="*/ 801 h 2608"/>
                      <a:gd name="T84" fmla="*/ 238 w 2605"/>
                      <a:gd name="T85" fmla="*/ 553 h 2608"/>
                      <a:gd name="T86" fmla="*/ 424 w 2605"/>
                      <a:gd name="T87" fmla="*/ 340 h 2608"/>
                      <a:gd name="T88" fmla="*/ 653 w 2605"/>
                      <a:gd name="T89" fmla="*/ 173 h 2608"/>
                      <a:gd name="T90" fmla="*/ 915 w 2605"/>
                      <a:gd name="T91" fmla="*/ 59 h 2608"/>
                      <a:gd name="T92" fmla="*/ 1203 w 2605"/>
                      <a:gd name="T93" fmla="*/ 4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05" h="2608">
                        <a:moveTo>
                          <a:pt x="456" y="983"/>
                        </a:moveTo>
                        <a:lnTo>
                          <a:pt x="879" y="1718"/>
                        </a:lnTo>
                        <a:lnTo>
                          <a:pt x="1303" y="2453"/>
                        </a:lnTo>
                        <a:lnTo>
                          <a:pt x="1727" y="1718"/>
                        </a:lnTo>
                        <a:lnTo>
                          <a:pt x="2150" y="983"/>
                        </a:lnTo>
                        <a:lnTo>
                          <a:pt x="456" y="983"/>
                        </a:lnTo>
                        <a:close/>
                        <a:moveTo>
                          <a:pt x="1740" y="384"/>
                        </a:moveTo>
                        <a:lnTo>
                          <a:pt x="1674" y="386"/>
                        </a:lnTo>
                        <a:lnTo>
                          <a:pt x="1609" y="399"/>
                        </a:lnTo>
                        <a:lnTo>
                          <a:pt x="1553" y="418"/>
                        </a:lnTo>
                        <a:lnTo>
                          <a:pt x="1500" y="443"/>
                        </a:lnTo>
                        <a:lnTo>
                          <a:pt x="1452" y="473"/>
                        </a:lnTo>
                        <a:lnTo>
                          <a:pt x="1409" y="508"/>
                        </a:lnTo>
                        <a:lnTo>
                          <a:pt x="1369" y="549"/>
                        </a:lnTo>
                        <a:lnTo>
                          <a:pt x="1334" y="594"/>
                        </a:lnTo>
                        <a:lnTo>
                          <a:pt x="1303" y="646"/>
                        </a:lnTo>
                        <a:lnTo>
                          <a:pt x="1275" y="600"/>
                        </a:lnTo>
                        <a:lnTo>
                          <a:pt x="1244" y="557"/>
                        </a:lnTo>
                        <a:lnTo>
                          <a:pt x="1210" y="519"/>
                        </a:lnTo>
                        <a:lnTo>
                          <a:pt x="1172" y="484"/>
                        </a:lnTo>
                        <a:lnTo>
                          <a:pt x="1129" y="454"/>
                        </a:lnTo>
                        <a:lnTo>
                          <a:pt x="1083" y="429"/>
                        </a:lnTo>
                        <a:lnTo>
                          <a:pt x="1033" y="410"/>
                        </a:lnTo>
                        <a:lnTo>
                          <a:pt x="973" y="393"/>
                        </a:lnTo>
                        <a:lnTo>
                          <a:pt x="913" y="384"/>
                        </a:lnTo>
                        <a:lnTo>
                          <a:pt x="852" y="384"/>
                        </a:lnTo>
                        <a:lnTo>
                          <a:pt x="792" y="392"/>
                        </a:lnTo>
                        <a:lnTo>
                          <a:pt x="733" y="407"/>
                        </a:lnTo>
                        <a:lnTo>
                          <a:pt x="676" y="429"/>
                        </a:lnTo>
                        <a:lnTo>
                          <a:pt x="630" y="454"/>
                        </a:lnTo>
                        <a:lnTo>
                          <a:pt x="589" y="482"/>
                        </a:lnTo>
                        <a:lnTo>
                          <a:pt x="553" y="513"/>
                        </a:lnTo>
                        <a:lnTo>
                          <a:pt x="521" y="547"/>
                        </a:lnTo>
                        <a:lnTo>
                          <a:pt x="494" y="584"/>
                        </a:lnTo>
                        <a:lnTo>
                          <a:pt x="470" y="621"/>
                        </a:lnTo>
                        <a:lnTo>
                          <a:pt x="452" y="659"/>
                        </a:lnTo>
                        <a:lnTo>
                          <a:pt x="436" y="697"/>
                        </a:lnTo>
                        <a:lnTo>
                          <a:pt x="424" y="735"/>
                        </a:lnTo>
                        <a:lnTo>
                          <a:pt x="416" y="770"/>
                        </a:lnTo>
                        <a:lnTo>
                          <a:pt x="413" y="805"/>
                        </a:lnTo>
                        <a:lnTo>
                          <a:pt x="413" y="838"/>
                        </a:lnTo>
                        <a:lnTo>
                          <a:pt x="2198" y="838"/>
                        </a:lnTo>
                        <a:lnTo>
                          <a:pt x="2198" y="804"/>
                        </a:lnTo>
                        <a:lnTo>
                          <a:pt x="2193" y="769"/>
                        </a:lnTo>
                        <a:lnTo>
                          <a:pt x="2185" y="731"/>
                        </a:lnTo>
                        <a:lnTo>
                          <a:pt x="2173" y="693"/>
                        </a:lnTo>
                        <a:lnTo>
                          <a:pt x="2158" y="655"/>
                        </a:lnTo>
                        <a:lnTo>
                          <a:pt x="2138" y="617"/>
                        </a:lnTo>
                        <a:lnTo>
                          <a:pt x="2114" y="579"/>
                        </a:lnTo>
                        <a:lnTo>
                          <a:pt x="2086" y="543"/>
                        </a:lnTo>
                        <a:lnTo>
                          <a:pt x="2054" y="509"/>
                        </a:lnTo>
                        <a:lnTo>
                          <a:pt x="2017" y="479"/>
                        </a:lnTo>
                        <a:lnTo>
                          <a:pt x="1976" y="452"/>
                        </a:lnTo>
                        <a:lnTo>
                          <a:pt x="1930" y="427"/>
                        </a:lnTo>
                        <a:lnTo>
                          <a:pt x="1867" y="403"/>
                        </a:lnTo>
                        <a:lnTo>
                          <a:pt x="1804" y="389"/>
                        </a:lnTo>
                        <a:lnTo>
                          <a:pt x="1740" y="384"/>
                        </a:lnTo>
                        <a:close/>
                        <a:moveTo>
                          <a:pt x="1303" y="0"/>
                        </a:moveTo>
                        <a:lnTo>
                          <a:pt x="1403" y="4"/>
                        </a:lnTo>
                        <a:lnTo>
                          <a:pt x="1502" y="16"/>
                        </a:lnTo>
                        <a:lnTo>
                          <a:pt x="1597" y="34"/>
                        </a:lnTo>
                        <a:lnTo>
                          <a:pt x="1690" y="59"/>
                        </a:lnTo>
                        <a:lnTo>
                          <a:pt x="1782" y="90"/>
                        </a:lnTo>
                        <a:lnTo>
                          <a:pt x="1868" y="128"/>
                        </a:lnTo>
                        <a:lnTo>
                          <a:pt x="1952" y="173"/>
                        </a:lnTo>
                        <a:lnTo>
                          <a:pt x="2032" y="223"/>
                        </a:lnTo>
                        <a:lnTo>
                          <a:pt x="2108" y="279"/>
                        </a:lnTo>
                        <a:lnTo>
                          <a:pt x="2180" y="339"/>
                        </a:lnTo>
                        <a:lnTo>
                          <a:pt x="2247" y="405"/>
                        </a:lnTo>
                        <a:lnTo>
                          <a:pt x="2309" y="475"/>
                        </a:lnTo>
                        <a:lnTo>
                          <a:pt x="2367" y="550"/>
                        </a:lnTo>
                        <a:lnTo>
                          <a:pt x="2418" y="629"/>
                        </a:lnTo>
                        <a:lnTo>
                          <a:pt x="2464" y="712"/>
                        </a:lnTo>
                        <a:lnTo>
                          <a:pt x="2504" y="797"/>
                        </a:lnTo>
                        <a:lnTo>
                          <a:pt x="2538" y="888"/>
                        </a:lnTo>
                        <a:lnTo>
                          <a:pt x="2566" y="979"/>
                        </a:lnTo>
                        <a:lnTo>
                          <a:pt x="2586" y="1075"/>
                        </a:lnTo>
                        <a:lnTo>
                          <a:pt x="2600" y="1173"/>
                        </a:lnTo>
                        <a:lnTo>
                          <a:pt x="2605" y="1273"/>
                        </a:lnTo>
                        <a:lnTo>
                          <a:pt x="2604" y="1378"/>
                        </a:lnTo>
                        <a:lnTo>
                          <a:pt x="2593" y="1481"/>
                        </a:lnTo>
                        <a:lnTo>
                          <a:pt x="2576" y="1580"/>
                        </a:lnTo>
                        <a:lnTo>
                          <a:pt x="2552" y="1677"/>
                        </a:lnTo>
                        <a:lnTo>
                          <a:pt x="2520" y="1772"/>
                        </a:lnTo>
                        <a:lnTo>
                          <a:pt x="2481" y="1862"/>
                        </a:lnTo>
                        <a:lnTo>
                          <a:pt x="2435" y="1950"/>
                        </a:lnTo>
                        <a:lnTo>
                          <a:pt x="2384" y="2032"/>
                        </a:lnTo>
                        <a:lnTo>
                          <a:pt x="2326" y="2111"/>
                        </a:lnTo>
                        <a:lnTo>
                          <a:pt x="2264" y="2185"/>
                        </a:lnTo>
                        <a:lnTo>
                          <a:pt x="2195" y="2253"/>
                        </a:lnTo>
                        <a:lnTo>
                          <a:pt x="2123" y="2318"/>
                        </a:lnTo>
                        <a:lnTo>
                          <a:pt x="2046" y="2377"/>
                        </a:lnTo>
                        <a:lnTo>
                          <a:pt x="1964" y="2429"/>
                        </a:lnTo>
                        <a:lnTo>
                          <a:pt x="1877" y="2475"/>
                        </a:lnTo>
                        <a:lnTo>
                          <a:pt x="1788" y="2515"/>
                        </a:lnTo>
                        <a:lnTo>
                          <a:pt x="1695" y="2548"/>
                        </a:lnTo>
                        <a:lnTo>
                          <a:pt x="1600" y="2574"/>
                        </a:lnTo>
                        <a:lnTo>
                          <a:pt x="1502" y="2594"/>
                        </a:lnTo>
                        <a:lnTo>
                          <a:pt x="1401" y="2604"/>
                        </a:lnTo>
                        <a:lnTo>
                          <a:pt x="1297" y="2608"/>
                        </a:lnTo>
                        <a:lnTo>
                          <a:pt x="1195" y="2604"/>
                        </a:lnTo>
                        <a:lnTo>
                          <a:pt x="1096" y="2593"/>
                        </a:lnTo>
                        <a:lnTo>
                          <a:pt x="999" y="2573"/>
                        </a:lnTo>
                        <a:lnTo>
                          <a:pt x="903" y="2545"/>
                        </a:lnTo>
                        <a:lnTo>
                          <a:pt x="812" y="2513"/>
                        </a:lnTo>
                        <a:lnTo>
                          <a:pt x="723" y="2472"/>
                        </a:lnTo>
                        <a:lnTo>
                          <a:pt x="638" y="2426"/>
                        </a:lnTo>
                        <a:lnTo>
                          <a:pt x="558" y="2374"/>
                        </a:lnTo>
                        <a:lnTo>
                          <a:pt x="481" y="2316"/>
                        </a:lnTo>
                        <a:lnTo>
                          <a:pt x="409" y="2252"/>
                        </a:lnTo>
                        <a:lnTo>
                          <a:pt x="341" y="2184"/>
                        </a:lnTo>
                        <a:lnTo>
                          <a:pt x="279" y="2111"/>
                        </a:lnTo>
                        <a:lnTo>
                          <a:pt x="221" y="2032"/>
                        </a:lnTo>
                        <a:lnTo>
                          <a:pt x="170" y="1950"/>
                        </a:lnTo>
                        <a:lnTo>
                          <a:pt x="126" y="1863"/>
                        </a:lnTo>
                        <a:lnTo>
                          <a:pt x="87" y="1774"/>
                        </a:lnTo>
                        <a:lnTo>
                          <a:pt x="55" y="1680"/>
                        </a:lnTo>
                        <a:lnTo>
                          <a:pt x="30" y="1583"/>
                        </a:lnTo>
                        <a:lnTo>
                          <a:pt x="12" y="1484"/>
                        </a:lnTo>
                        <a:lnTo>
                          <a:pt x="3" y="1383"/>
                        </a:lnTo>
                        <a:lnTo>
                          <a:pt x="0" y="1278"/>
                        </a:lnTo>
                        <a:lnTo>
                          <a:pt x="7" y="1177"/>
                        </a:lnTo>
                        <a:lnTo>
                          <a:pt x="20" y="1079"/>
                        </a:lnTo>
                        <a:lnTo>
                          <a:pt x="39" y="983"/>
                        </a:lnTo>
                        <a:lnTo>
                          <a:pt x="67" y="890"/>
                        </a:lnTo>
                        <a:lnTo>
                          <a:pt x="101" y="801"/>
                        </a:lnTo>
                        <a:lnTo>
                          <a:pt x="140" y="715"/>
                        </a:lnTo>
                        <a:lnTo>
                          <a:pt x="186" y="631"/>
                        </a:lnTo>
                        <a:lnTo>
                          <a:pt x="238" y="553"/>
                        </a:lnTo>
                        <a:lnTo>
                          <a:pt x="295" y="477"/>
                        </a:lnTo>
                        <a:lnTo>
                          <a:pt x="358" y="406"/>
                        </a:lnTo>
                        <a:lnTo>
                          <a:pt x="424" y="340"/>
                        </a:lnTo>
                        <a:lnTo>
                          <a:pt x="496" y="279"/>
                        </a:lnTo>
                        <a:lnTo>
                          <a:pt x="572" y="224"/>
                        </a:lnTo>
                        <a:lnTo>
                          <a:pt x="653" y="173"/>
                        </a:lnTo>
                        <a:lnTo>
                          <a:pt x="737" y="130"/>
                        </a:lnTo>
                        <a:lnTo>
                          <a:pt x="824" y="90"/>
                        </a:lnTo>
                        <a:lnTo>
                          <a:pt x="915" y="59"/>
                        </a:lnTo>
                        <a:lnTo>
                          <a:pt x="1008" y="34"/>
                        </a:lnTo>
                        <a:lnTo>
                          <a:pt x="1104" y="16"/>
                        </a:lnTo>
                        <a:lnTo>
                          <a:pt x="1203" y="4"/>
                        </a:lnTo>
                        <a:lnTo>
                          <a:pt x="1303" y="0"/>
                        </a:lnTo>
                        <a:close/>
                      </a:path>
                    </a:pathLst>
                  </a:custGeom>
                  <a:solidFill>
                    <a:schemeClr val="bg1">
                      <a:lumMod val="50000"/>
                    </a:schemeClr>
                  </a:solidFill>
                  <a:ln w="9525">
                    <a:noFill/>
                    <a:round/>
                    <a:headEnd/>
                    <a:tailEnd/>
                  </a:ln>
                </p:spPr>
                <p:txBody>
                  <a:bodyPr vert="horz" wrap="square" lIns="83922" tIns="41962" rIns="83922" bIns="41962" numCol="1" anchor="t" anchorCtr="0" compatLnSpc="1">
                    <a:prstTxWarp prst="textNoShape">
                      <a:avLst/>
                    </a:prstTxWarp>
                  </a:bodyPr>
                  <a:lstStyle/>
                  <a:p>
                    <a:pPr defTabSz="839166"/>
                    <a:endParaRPr lang="en-US" sz="1600" kern="0" dirty="0">
                      <a:solidFill>
                        <a:schemeClr val="tx2"/>
                      </a:solidFill>
                    </a:endParaRPr>
                  </a:p>
                </p:txBody>
              </p:sp>
              <p:sp>
                <p:nvSpPr>
                  <p:cNvPr id="331" name="Freeform 8"/>
                  <p:cNvSpPr>
                    <a:spLocks/>
                  </p:cNvSpPr>
                  <p:nvPr/>
                </p:nvSpPr>
                <p:spPr bwMode="auto">
                  <a:xfrm>
                    <a:off x="7259174" y="5389047"/>
                    <a:ext cx="56549" cy="91303"/>
                  </a:xfrm>
                  <a:custGeom>
                    <a:avLst/>
                    <a:gdLst>
                      <a:gd name="T0" fmla="*/ 292 w 461"/>
                      <a:gd name="T1" fmla="*/ 0 h 738"/>
                      <a:gd name="T2" fmla="*/ 365 w 461"/>
                      <a:gd name="T3" fmla="*/ 12 h 738"/>
                      <a:gd name="T4" fmla="*/ 419 w 461"/>
                      <a:gd name="T5" fmla="*/ 25 h 738"/>
                      <a:gd name="T6" fmla="*/ 406 w 461"/>
                      <a:gd name="T7" fmla="*/ 139 h 738"/>
                      <a:gd name="T8" fmla="*/ 298 w 461"/>
                      <a:gd name="T9" fmla="*/ 116 h 738"/>
                      <a:gd name="T10" fmla="*/ 232 w 461"/>
                      <a:gd name="T11" fmla="*/ 116 h 738"/>
                      <a:gd name="T12" fmla="*/ 182 w 461"/>
                      <a:gd name="T13" fmla="*/ 137 h 738"/>
                      <a:gd name="T14" fmla="*/ 157 w 461"/>
                      <a:gd name="T15" fmla="*/ 169 h 738"/>
                      <a:gd name="T16" fmla="*/ 148 w 461"/>
                      <a:gd name="T17" fmla="*/ 210 h 738"/>
                      <a:gd name="T18" fmla="*/ 158 w 461"/>
                      <a:gd name="T19" fmla="*/ 245 h 738"/>
                      <a:gd name="T20" fmla="*/ 179 w 461"/>
                      <a:gd name="T21" fmla="*/ 268 h 738"/>
                      <a:gd name="T22" fmla="*/ 237 w 461"/>
                      <a:gd name="T23" fmla="*/ 296 h 738"/>
                      <a:gd name="T24" fmla="*/ 319 w 461"/>
                      <a:gd name="T25" fmla="*/ 330 h 738"/>
                      <a:gd name="T26" fmla="*/ 391 w 461"/>
                      <a:gd name="T27" fmla="*/ 371 h 738"/>
                      <a:gd name="T28" fmla="*/ 437 w 461"/>
                      <a:gd name="T29" fmla="*/ 425 h 738"/>
                      <a:gd name="T30" fmla="*/ 458 w 461"/>
                      <a:gd name="T31" fmla="*/ 489 h 738"/>
                      <a:gd name="T32" fmla="*/ 458 w 461"/>
                      <a:gd name="T33" fmla="*/ 557 h 738"/>
                      <a:gd name="T34" fmla="*/ 442 w 461"/>
                      <a:gd name="T35" fmla="*/ 615 h 738"/>
                      <a:gd name="T36" fmla="*/ 408 w 461"/>
                      <a:gd name="T37" fmla="*/ 666 h 738"/>
                      <a:gd name="T38" fmla="*/ 356 w 461"/>
                      <a:gd name="T39" fmla="*/ 704 h 738"/>
                      <a:gd name="T40" fmla="*/ 298 w 461"/>
                      <a:gd name="T41" fmla="*/ 726 h 738"/>
                      <a:gd name="T42" fmla="*/ 204 w 461"/>
                      <a:gd name="T43" fmla="*/ 738 h 738"/>
                      <a:gd name="T44" fmla="*/ 81 w 461"/>
                      <a:gd name="T45" fmla="*/ 727 h 738"/>
                      <a:gd name="T46" fmla="*/ 18 w 461"/>
                      <a:gd name="T47" fmla="*/ 711 h 738"/>
                      <a:gd name="T48" fmla="*/ 14 w 461"/>
                      <a:gd name="T49" fmla="*/ 707 h 738"/>
                      <a:gd name="T50" fmla="*/ 12 w 461"/>
                      <a:gd name="T51" fmla="*/ 704 h 738"/>
                      <a:gd name="T52" fmla="*/ 55 w 461"/>
                      <a:gd name="T53" fmla="*/ 596 h 738"/>
                      <a:gd name="T54" fmla="*/ 120 w 461"/>
                      <a:gd name="T55" fmla="*/ 618 h 738"/>
                      <a:gd name="T56" fmla="*/ 194 w 461"/>
                      <a:gd name="T57" fmla="*/ 625 h 738"/>
                      <a:gd name="T58" fmla="*/ 253 w 461"/>
                      <a:gd name="T59" fmla="*/ 611 h 738"/>
                      <a:gd name="T60" fmla="*/ 292 w 461"/>
                      <a:gd name="T61" fmla="*/ 584 h 738"/>
                      <a:gd name="T62" fmla="*/ 311 w 461"/>
                      <a:gd name="T63" fmla="*/ 546 h 738"/>
                      <a:gd name="T64" fmla="*/ 306 w 461"/>
                      <a:gd name="T65" fmla="*/ 506 h 738"/>
                      <a:gd name="T66" fmla="*/ 279 w 461"/>
                      <a:gd name="T67" fmla="*/ 472 h 738"/>
                      <a:gd name="T68" fmla="*/ 222 w 461"/>
                      <a:gd name="T69" fmla="*/ 442 h 738"/>
                      <a:gd name="T70" fmla="*/ 162 w 461"/>
                      <a:gd name="T71" fmla="*/ 414 h 738"/>
                      <a:gd name="T72" fmla="*/ 97 w 461"/>
                      <a:gd name="T73" fmla="*/ 384 h 738"/>
                      <a:gd name="T74" fmla="*/ 46 w 461"/>
                      <a:gd name="T75" fmla="*/ 345 h 738"/>
                      <a:gd name="T76" fmla="*/ 13 w 461"/>
                      <a:gd name="T77" fmla="*/ 295 h 738"/>
                      <a:gd name="T78" fmla="*/ 0 w 461"/>
                      <a:gd name="T79" fmla="*/ 235 h 738"/>
                      <a:gd name="T80" fmla="*/ 5 w 461"/>
                      <a:gd name="T81" fmla="*/ 165 h 738"/>
                      <a:gd name="T82" fmla="*/ 27 w 461"/>
                      <a:gd name="T83" fmla="*/ 105 h 738"/>
                      <a:gd name="T84" fmla="*/ 65 w 461"/>
                      <a:gd name="T85" fmla="*/ 59 h 738"/>
                      <a:gd name="T86" fmla="*/ 118 w 461"/>
                      <a:gd name="T87" fmla="*/ 27 h 738"/>
                      <a:gd name="T88" fmla="*/ 181 w 461"/>
                      <a:gd name="T89" fmla="*/ 7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1" h="738">
                        <a:moveTo>
                          <a:pt x="215" y="0"/>
                        </a:moveTo>
                        <a:lnTo>
                          <a:pt x="292" y="0"/>
                        </a:lnTo>
                        <a:lnTo>
                          <a:pt x="328" y="6"/>
                        </a:lnTo>
                        <a:lnTo>
                          <a:pt x="365" y="12"/>
                        </a:lnTo>
                        <a:lnTo>
                          <a:pt x="391" y="19"/>
                        </a:lnTo>
                        <a:lnTo>
                          <a:pt x="419" y="25"/>
                        </a:lnTo>
                        <a:lnTo>
                          <a:pt x="412" y="84"/>
                        </a:lnTo>
                        <a:lnTo>
                          <a:pt x="406" y="139"/>
                        </a:lnTo>
                        <a:lnTo>
                          <a:pt x="352" y="126"/>
                        </a:lnTo>
                        <a:lnTo>
                          <a:pt x="298" y="116"/>
                        </a:lnTo>
                        <a:lnTo>
                          <a:pt x="264" y="113"/>
                        </a:lnTo>
                        <a:lnTo>
                          <a:pt x="232" y="116"/>
                        </a:lnTo>
                        <a:lnTo>
                          <a:pt x="200" y="126"/>
                        </a:lnTo>
                        <a:lnTo>
                          <a:pt x="182" y="137"/>
                        </a:lnTo>
                        <a:lnTo>
                          <a:pt x="167" y="152"/>
                        </a:lnTo>
                        <a:lnTo>
                          <a:pt x="157" y="169"/>
                        </a:lnTo>
                        <a:lnTo>
                          <a:pt x="150" y="189"/>
                        </a:lnTo>
                        <a:lnTo>
                          <a:pt x="148" y="210"/>
                        </a:lnTo>
                        <a:lnTo>
                          <a:pt x="152" y="231"/>
                        </a:lnTo>
                        <a:lnTo>
                          <a:pt x="158" y="245"/>
                        </a:lnTo>
                        <a:lnTo>
                          <a:pt x="167" y="257"/>
                        </a:lnTo>
                        <a:lnTo>
                          <a:pt x="179" y="268"/>
                        </a:lnTo>
                        <a:lnTo>
                          <a:pt x="192" y="275"/>
                        </a:lnTo>
                        <a:lnTo>
                          <a:pt x="237" y="296"/>
                        </a:lnTo>
                        <a:lnTo>
                          <a:pt x="281" y="315"/>
                        </a:lnTo>
                        <a:lnTo>
                          <a:pt x="319" y="330"/>
                        </a:lnTo>
                        <a:lnTo>
                          <a:pt x="356" y="349"/>
                        </a:lnTo>
                        <a:lnTo>
                          <a:pt x="391" y="371"/>
                        </a:lnTo>
                        <a:lnTo>
                          <a:pt x="417" y="397"/>
                        </a:lnTo>
                        <a:lnTo>
                          <a:pt x="437" y="425"/>
                        </a:lnTo>
                        <a:lnTo>
                          <a:pt x="450" y="456"/>
                        </a:lnTo>
                        <a:lnTo>
                          <a:pt x="458" y="489"/>
                        </a:lnTo>
                        <a:lnTo>
                          <a:pt x="461" y="525"/>
                        </a:lnTo>
                        <a:lnTo>
                          <a:pt x="458" y="557"/>
                        </a:lnTo>
                        <a:lnTo>
                          <a:pt x="453" y="586"/>
                        </a:lnTo>
                        <a:lnTo>
                          <a:pt x="442" y="615"/>
                        </a:lnTo>
                        <a:lnTo>
                          <a:pt x="428" y="641"/>
                        </a:lnTo>
                        <a:lnTo>
                          <a:pt x="408" y="666"/>
                        </a:lnTo>
                        <a:lnTo>
                          <a:pt x="383" y="687"/>
                        </a:lnTo>
                        <a:lnTo>
                          <a:pt x="356" y="704"/>
                        </a:lnTo>
                        <a:lnTo>
                          <a:pt x="328" y="717"/>
                        </a:lnTo>
                        <a:lnTo>
                          <a:pt x="298" y="726"/>
                        </a:lnTo>
                        <a:lnTo>
                          <a:pt x="266" y="732"/>
                        </a:lnTo>
                        <a:lnTo>
                          <a:pt x="204" y="738"/>
                        </a:lnTo>
                        <a:lnTo>
                          <a:pt x="143" y="735"/>
                        </a:lnTo>
                        <a:lnTo>
                          <a:pt x="81" y="727"/>
                        </a:lnTo>
                        <a:lnTo>
                          <a:pt x="19" y="711"/>
                        </a:lnTo>
                        <a:lnTo>
                          <a:pt x="18" y="711"/>
                        </a:lnTo>
                        <a:lnTo>
                          <a:pt x="16" y="709"/>
                        </a:lnTo>
                        <a:lnTo>
                          <a:pt x="14" y="707"/>
                        </a:lnTo>
                        <a:lnTo>
                          <a:pt x="13" y="705"/>
                        </a:lnTo>
                        <a:lnTo>
                          <a:pt x="12" y="704"/>
                        </a:lnTo>
                        <a:lnTo>
                          <a:pt x="23" y="583"/>
                        </a:lnTo>
                        <a:lnTo>
                          <a:pt x="55" y="596"/>
                        </a:lnTo>
                        <a:lnTo>
                          <a:pt x="85" y="608"/>
                        </a:lnTo>
                        <a:lnTo>
                          <a:pt x="120" y="618"/>
                        </a:lnTo>
                        <a:lnTo>
                          <a:pt x="157" y="624"/>
                        </a:lnTo>
                        <a:lnTo>
                          <a:pt x="194" y="625"/>
                        </a:lnTo>
                        <a:lnTo>
                          <a:pt x="230" y="618"/>
                        </a:lnTo>
                        <a:lnTo>
                          <a:pt x="253" y="611"/>
                        </a:lnTo>
                        <a:lnTo>
                          <a:pt x="275" y="599"/>
                        </a:lnTo>
                        <a:lnTo>
                          <a:pt x="292" y="584"/>
                        </a:lnTo>
                        <a:lnTo>
                          <a:pt x="305" y="566"/>
                        </a:lnTo>
                        <a:lnTo>
                          <a:pt x="311" y="546"/>
                        </a:lnTo>
                        <a:lnTo>
                          <a:pt x="311" y="525"/>
                        </a:lnTo>
                        <a:lnTo>
                          <a:pt x="306" y="506"/>
                        </a:lnTo>
                        <a:lnTo>
                          <a:pt x="296" y="488"/>
                        </a:lnTo>
                        <a:lnTo>
                          <a:pt x="279" y="472"/>
                        </a:lnTo>
                        <a:lnTo>
                          <a:pt x="251" y="456"/>
                        </a:lnTo>
                        <a:lnTo>
                          <a:pt x="222" y="442"/>
                        </a:lnTo>
                        <a:lnTo>
                          <a:pt x="195" y="429"/>
                        </a:lnTo>
                        <a:lnTo>
                          <a:pt x="162" y="414"/>
                        </a:lnTo>
                        <a:lnTo>
                          <a:pt x="128" y="400"/>
                        </a:lnTo>
                        <a:lnTo>
                          <a:pt x="97" y="384"/>
                        </a:lnTo>
                        <a:lnTo>
                          <a:pt x="68" y="366"/>
                        </a:lnTo>
                        <a:lnTo>
                          <a:pt x="46" y="345"/>
                        </a:lnTo>
                        <a:lnTo>
                          <a:pt x="27" y="321"/>
                        </a:lnTo>
                        <a:lnTo>
                          <a:pt x="13" y="295"/>
                        </a:lnTo>
                        <a:lnTo>
                          <a:pt x="5" y="266"/>
                        </a:lnTo>
                        <a:lnTo>
                          <a:pt x="0" y="235"/>
                        </a:lnTo>
                        <a:lnTo>
                          <a:pt x="0" y="202"/>
                        </a:lnTo>
                        <a:lnTo>
                          <a:pt x="5" y="165"/>
                        </a:lnTo>
                        <a:lnTo>
                          <a:pt x="14" y="134"/>
                        </a:lnTo>
                        <a:lnTo>
                          <a:pt x="27" y="105"/>
                        </a:lnTo>
                        <a:lnTo>
                          <a:pt x="44" y="80"/>
                        </a:lnTo>
                        <a:lnTo>
                          <a:pt x="65" y="59"/>
                        </a:lnTo>
                        <a:lnTo>
                          <a:pt x="90" y="41"/>
                        </a:lnTo>
                        <a:lnTo>
                          <a:pt x="118" y="27"/>
                        </a:lnTo>
                        <a:lnTo>
                          <a:pt x="148" y="15"/>
                        </a:lnTo>
                        <a:lnTo>
                          <a:pt x="181" y="7"/>
                        </a:lnTo>
                        <a:lnTo>
                          <a:pt x="215" y="0"/>
                        </a:lnTo>
                        <a:close/>
                      </a:path>
                    </a:pathLst>
                  </a:custGeom>
                  <a:solidFill>
                    <a:schemeClr val="bg1">
                      <a:lumMod val="50000"/>
                    </a:schemeClr>
                  </a:solidFill>
                  <a:ln w="9525">
                    <a:noFill/>
                    <a:round/>
                    <a:headEnd/>
                    <a:tailEnd/>
                  </a:ln>
                </p:spPr>
                <p:txBody>
                  <a:bodyPr vert="horz" wrap="square" lIns="83922" tIns="41962" rIns="83922" bIns="41962" numCol="1" anchor="t" anchorCtr="0" compatLnSpc="1">
                    <a:prstTxWarp prst="textNoShape">
                      <a:avLst/>
                    </a:prstTxWarp>
                  </a:bodyPr>
                  <a:lstStyle/>
                  <a:p>
                    <a:pPr defTabSz="839166"/>
                    <a:endParaRPr lang="en-US" sz="1600" kern="0" dirty="0">
                      <a:solidFill>
                        <a:schemeClr val="tx2"/>
                      </a:solidFill>
                    </a:endParaRPr>
                  </a:p>
                </p:txBody>
              </p:sp>
              <p:sp>
                <p:nvSpPr>
                  <p:cNvPr id="332" name="Freeform 10"/>
                  <p:cNvSpPr>
                    <a:spLocks noEditPoints="1"/>
                  </p:cNvSpPr>
                  <p:nvPr/>
                </p:nvSpPr>
                <p:spPr bwMode="auto">
                  <a:xfrm>
                    <a:off x="7187874" y="5390779"/>
                    <a:ext cx="61220" cy="88086"/>
                  </a:xfrm>
                  <a:custGeom>
                    <a:avLst/>
                    <a:gdLst>
                      <a:gd name="T0" fmla="*/ 144 w 499"/>
                      <a:gd name="T1" fmla="*/ 600 h 713"/>
                      <a:gd name="T2" fmla="*/ 216 w 499"/>
                      <a:gd name="T3" fmla="*/ 600 h 713"/>
                      <a:gd name="T4" fmla="*/ 294 w 499"/>
                      <a:gd name="T5" fmla="*/ 587 h 713"/>
                      <a:gd name="T6" fmla="*/ 332 w 499"/>
                      <a:gd name="T7" fmla="*/ 565 h 713"/>
                      <a:gd name="T8" fmla="*/ 355 w 499"/>
                      <a:gd name="T9" fmla="*/ 523 h 713"/>
                      <a:gd name="T10" fmla="*/ 356 w 499"/>
                      <a:gd name="T11" fmla="*/ 477 h 713"/>
                      <a:gd name="T12" fmla="*/ 338 w 499"/>
                      <a:gd name="T13" fmla="*/ 437 h 713"/>
                      <a:gd name="T14" fmla="*/ 301 w 499"/>
                      <a:gd name="T15" fmla="*/ 409 h 713"/>
                      <a:gd name="T16" fmla="*/ 234 w 499"/>
                      <a:gd name="T17" fmla="*/ 396 h 713"/>
                      <a:gd name="T18" fmla="*/ 144 w 499"/>
                      <a:gd name="T19" fmla="*/ 391 h 713"/>
                      <a:gd name="T20" fmla="*/ 148 w 499"/>
                      <a:gd name="T21" fmla="*/ 113 h 713"/>
                      <a:gd name="T22" fmla="*/ 145 w 499"/>
                      <a:gd name="T23" fmla="*/ 117 h 713"/>
                      <a:gd name="T24" fmla="*/ 143 w 499"/>
                      <a:gd name="T25" fmla="*/ 121 h 713"/>
                      <a:gd name="T26" fmla="*/ 143 w 499"/>
                      <a:gd name="T27" fmla="*/ 287 h 713"/>
                      <a:gd name="T28" fmla="*/ 190 w 499"/>
                      <a:gd name="T29" fmla="*/ 287 h 713"/>
                      <a:gd name="T30" fmla="*/ 250 w 499"/>
                      <a:gd name="T31" fmla="*/ 282 h 713"/>
                      <a:gd name="T32" fmla="*/ 300 w 499"/>
                      <a:gd name="T33" fmla="*/ 268 h 713"/>
                      <a:gd name="T34" fmla="*/ 327 w 499"/>
                      <a:gd name="T35" fmla="*/ 237 h 713"/>
                      <a:gd name="T36" fmla="*/ 335 w 499"/>
                      <a:gd name="T37" fmla="*/ 194 h 713"/>
                      <a:gd name="T38" fmla="*/ 323 w 499"/>
                      <a:gd name="T39" fmla="*/ 152 h 713"/>
                      <a:gd name="T40" fmla="*/ 293 w 499"/>
                      <a:gd name="T41" fmla="*/ 126 h 713"/>
                      <a:gd name="T42" fmla="*/ 232 w 499"/>
                      <a:gd name="T43" fmla="*/ 116 h 713"/>
                      <a:gd name="T44" fmla="*/ 150 w 499"/>
                      <a:gd name="T45" fmla="*/ 112 h 713"/>
                      <a:gd name="T46" fmla="*/ 150 w 499"/>
                      <a:gd name="T47" fmla="*/ 0 h 713"/>
                      <a:gd name="T48" fmla="*/ 318 w 499"/>
                      <a:gd name="T49" fmla="*/ 4 h 713"/>
                      <a:gd name="T50" fmla="*/ 380 w 499"/>
                      <a:gd name="T51" fmla="*/ 23 h 713"/>
                      <a:gd name="T52" fmla="*/ 435 w 499"/>
                      <a:gd name="T53" fmla="*/ 61 h 713"/>
                      <a:gd name="T54" fmla="*/ 467 w 499"/>
                      <a:gd name="T55" fmla="*/ 112 h 713"/>
                      <a:gd name="T56" fmla="*/ 478 w 499"/>
                      <a:gd name="T57" fmla="*/ 172 h 713"/>
                      <a:gd name="T58" fmla="*/ 470 w 499"/>
                      <a:gd name="T59" fmla="*/ 234 h 713"/>
                      <a:gd name="T60" fmla="*/ 445 w 499"/>
                      <a:gd name="T61" fmla="*/ 282 h 713"/>
                      <a:gd name="T62" fmla="*/ 406 w 499"/>
                      <a:gd name="T63" fmla="*/ 316 h 713"/>
                      <a:gd name="T64" fmla="*/ 352 w 499"/>
                      <a:gd name="T65" fmla="*/ 338 h 713"/>
                      <a:gd name="T66" fmla="*/ 340 w 499"/>
                      <a:gd name="T67" fmla="*/ 341 h 713"/>
                      <a:gd name="T68" fmla="*/ 339 w 499"/>
                      <a:gd name="T69" fmla="*/ 342 h 713"/>
                      <a:gd name="T70" fmla="*/ 339 w 499"/>
                      <a:gd name="T71" fmla="*/ 342 h 713"/>
                      <a:gd name="T72" fmla="*/ 340 w 499"/>
                      <a:gd name="T73" fmla="*/ 342 h 713"/>
                      <a:gd name="T74" fmla="*/ 365 w 499"/>
                      <a:gd name="T75" fmla="*/ 349 h 713"/>
                      <a:gd name="T76" fmla="*/ 416 w 499"/>
                      <a:gd name="T77" fmla="*/ 368 h 713"/>
                      <a:gd name="T78" fmla="*/ 466 w 499"/>
                      <a:gd name="T79" fmla="*/ 409 h 713"/>
                      <a:gd name="T80" fmla="*/ 493 w 499"/>
                      <a:gd name="T81" fmla="*/ 464 h 713"/>
                      <a:gd name="T82" fmla="*/ 499 w 499"/>
                      <a:gd name="T83" fmla="*/ 531 h 713"/>
                      <a:gd name="T84" fmla="*/ 483 w 499"/>
                      <a:gd name="T85" fmla="*/ 594 h 713"/>
                      <a:gd name="T86" fmla="*/ 453 w 499"/>
                      <a:gd name="T87" fmla="*/ 642 h 713"/>
                      <a:gd name="T88" fmla="*/ 408 w 499"/>
                      <a:gd name="T89" fmla="*/ 676 h 713"/>
                      <a:gd name="T90" fmla="*/ 355 w 499"/>
                      <a:gd name="T91" fmla="*/ 698 h 713"/>
                      <a:gd name="T92" fmla="*/ 280 w 499"/>
                      <a:gd name="T93" fmla="*/ 710 h 713"/>
                      <a:gd name="T94" fmla="*/ 126 w 499"/>
                      <a:gd name="T95" fmla="*/ 713 h 713"/>
                      <a:gd name="T96" fmla="*/ 10 w 499"/>
                      <a:gd name="T97" fmla="*/ 712 h 713"/>
                      <a:gd name="T98" fmla="*/ 3 w 499"/>
                      <a:gd name="T99" fmla="*/ 710 h 713"/>
                      <a:gd name="T100" fmla="*/ 0 w 499"/>
                      <a:gd name="T101" fmla="*/ 702 h 713"/>
                      <a:gd name="T102" fmla="*/ 0 w 499"/>
                      <a:gd name="T103" fmla="*/ 16 h 713"/>
                      <a:gd name="T104" fmla="*/ 0 w 499"/>
                      <a:gd name="T105" fmla="*/ 7 h 713"/>
                      <a:gd name="T106" fmla="*/ 5 w 499"/>
                      <a:gd name="T107" fmla="*/ 2 h 713"/>
                      <a:gd name="T108" fmla="*/ 16 w 499"/>
                      <a:gd name="T109" fmla="*/ 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9" h="713">
                        <a:moveTo>
                          <a:pt x="144" y="391"/>
                        </a:moveTo>
                        <a:lnTo>
                          <a:pt x="144" y="600"/>
                        </a:lnTo>
                        <a:lnTo>
                          <a:pt x="181" y="602"/>
                        </a:lnTo>
                        <a:lnTo>
                          <a:pt x="216" y="600"/>
                        </a:lnTo>
                        <a:lnTo>
                          <a:pt x="255" y="595"/>
                        </a:lnTo>
                        <a:lnTo>
                          <a:pt x="294" y="587"/>
                        </a:lnTo>
                        <a:lnTo>
                          <a:pt x="315" y="578"/>
                        </a:lnTo>
                        <a:lnTo>
                          <a:pt x="332" y="565"/>
                        </a:lnTo>
                        <a:lnTo>
                          <a:pt x="346" y="545"/>
                        </a:lnTo>
                        <a:lnTo>
                          <a:pt x="355" y="523"/>
                        </a:lnTo>
                        <a:lnTo>
                          <a:pt x="359" y="499"/>
                        </a:lnTo>
                        <a:lnTo>
                          <a:pt x="356" y="477"/>
                        </a:lnTo>
                        <a:lnTo>
                          <a:pt x="349" y="456"/>
                        </a:lnTo>
                        <a:lnTo>
                          <a:pt x="338" y="437"/>
                        </a:lnTo>
                        <a:lnTo>
                          <a:pt x="321" y="421"/>
                        </a:lnTo>
                        <a:lnTo>
                          <a:pt x="301" y="409"/>
                        </a:lnTo>
                        <a:lnTo>
                          <a:pt x="277" y="401"/>
                        </a:lnTo>
                        <a:lnTo>
                          <a:pt x="234" y="396"/>
                        </a:lnTo>
                        <a:lnTo>
                          <a:pt x="190" y="393"/>
                        </a:lnTo>
                        <a:lnTo>
                          <a:pt x="144" y="391"/>
                        </a:lnTo>
                        <a:close/>
                        <a:moveTo>
                          <a:pt x="150" y="112"/>
                        </a:moveTo>
                        <a:lnTo>
                          <a:pt x="148" y="113"/>
                        </a:lnTo>
                        <a:lnTo>
                          <a:pt x="147" y="114"/>
                        </a:lnTo>
                        <a:lnTo>
                          <a:pt x="145" y="117"/>
                        </a:lnTo>
                        <a:lnTo>
                          <a:pt x="144" y="118"/>
                        </a:lnTo>
                        <a:lnTo>
                          <a:pt x="143" y="121"/>
                        </a:lnTo>
                        <a:lnTo>
                          <a:pt x="143" y="203"/>
                        </a:lnTo>
                        <a:lnTo>
                          <a:pt x="143" y="287"/>
                        </a:lnTo>
                        <a:lnTo>
                          <a:pt x="167" y="289"/>
                        </a:lnTo>
                        <a:lnTo>
                          <a:pt x="190" y="287"/>
                        </a:lnTo>
                        <a:lnTo>
                          <a:pt x="220" y="285"/>
                        </a:lnTo>
                        <a:lnTo>
                          <a:pt x="250" y="282"/>
                        </a:lnTo>
                        <a:lnTo>
                          <a:pt x="279" y="275"/>
                        </a:lnTo>
                        <a:lnTo>
                          <a:pt x="300" y="268"/>
                        </a:lnTo>
                        <a:lnTo>
                          <a:pt x="317" y="255"/>
                        </a:lnTo>
                        <a:lnTo>
                          <a:pt x="327" y="237"/>
                        </a:lnTo>
                        <a:lnTo>
                          <a:pt x="334" y="217"/>
                        </a:lnTo>
                        <a:lnTo>
                          <a:pt x="335" y="194"/>
                        </a:lnTo>
                        <a:lnTo>
                          <a:pt x="331" y="172"/>
                        </a:lnTo>
                        <a:lnTo>
                          <a:pt x="323" y="152"/>
                        </a:lnTo>
                        <a:lnTo>
                          <a:pt x="311" y="138"/>
                        </a:lnTo>
                        <a:lnTo>
                          <a:pt x="293" y="126"/>
                        </a:lnTo>
                        <a:lnTo>
                          <a:pt x="272" y="120"/>
                        </a:lnTo>
                        <a:lnTo>
                          <a:pt x="232" y="116"/>
                        </a:lnTo>
                        <a:lnTo>
                          <a:pt x="191" y="114"/>
                        </a:lnTo>
                        <a:lnTo>
                          <a:pt x="150" y="112"/>
                        </a:lnTo>
                        <a:close/>
                        <a:moveTo>
                          <a:pt x="16" y="0"/>
                        </a:moveTo>
                        <a:lnTo>
                          <a:pt x="150" y="0"/>
                        </a:lnTo>
                        <a:lnTo>
                          <a:pt x="285" y="2"/>
                        </a:lnTo>
                        <a:lnTo>
                          <a:pt x="318" y="4"/>
                        </a:lnTo>
                        <a:lnTo>
                          <a:pt x="349" y="11"/>
                        </a:lnTo>
                        <a:lnTo>
                          <a:pt x="380" y="23"/>
                        </a:lnTo>
                        <a:lnTo>
                          <a:pt x="408" y="40"/>
                        </a:lnTo>
                        <a:lnTo>
                          <a:pt x="435" y="61"/>
                        </a:lnTo>
                        <a:lnTo>
                          <a:pt x="454" y="86"/>
                        </a:lnTo>
                        <a:lnTo>
                          <a:pt x="467" y="112"/>
                        </a:lnTo>
                        <a:lnTo>
                          <a:pt x="475" y="141"/>
                        </a:lnTo>
                        <a:lnTo>
                          <a:pt x="478" y="172"/>
                        </a:lnTo>
                        <a:lnTo>
                          <a:pt x="476" y="205"/>
                        </a:lnTo>
                        <a:lnTo>
                          <a:pt x="470" y="234"/>
                        </a:lnTo>
                        <a:lnTo>
                          <a:pt x="459" y="260"/>
                        </a:lnTo>
                        <a:lnTo>
                          <a:pt x="445" y="282"/>
                        </a:lnTo>
                        <a:lnTo>
                          <a:pt x="427" y="300"/>
                        </a:lnTo>
                        <a:lnTo>
                          <a:pt x="406" y="316"/>
                        </a:lnTo>
                        <a:lnTo>
                          <a:pt x="381" y="329"/>
                        </a:lnTo>
                        <a:lnTo>
                          <a:pt x="352" y="338"/>
                        </a:lnTo>
                        <a:lnTo>
                          <a:pt x="342" y="341"/>
                        </a:lnTo>
                        <a:lnTo>
                          <a:pt x="340" y="341"/>
                        </a:lnTo>
                        <a:lnTo>
                          <a:pt x="340" y="341"/>
                        </a:lnTo>
                        <a:lnTo>
                          <a:pt x="339" y="342"/>
                        </a:lnTo>
                        <a:lnTo>
                          <a:pt x="339" y="342"/>
                        </a:lnTo>
                        <a:lnTo>
                          <a:pt x="339" y="342"/>
                        </a:lnTo>
                        <a:lnTo>
                          <a:pt x="339" y="342"/>
                        </a:lnTo>
                        <a:lnTo>
                          <a:pt x="340" y="342"/>
                        </a:lnTo>
                        <a:lnTo>
                          <a:pt x="342" y="341"/>
                        </a:lnTo>
                        <a:lnTo>
                          <a:pt x="365" y="349"/>
                        </a:lnTo>
                        <a:lnTo>
                          <a:pt x="391" y="357"/>
                        </a:lnTo>
                        <a:lnTo>
                          <a:pt x="416" y="368"/>
                        </a:lnTo>
                        <a:lnTo>
                          <a:pt x="444" y="385"/>
                        </a:lnTo>
                        <a:lnTo>
                          <a:pt x="466" y="409"/>
                        </a:lnTo>
                        <a:lnTo>
                          <a:pt x="483" y="435"/>
                        </a:lnTo>
                        <a:lnTo>
                          <a:pt x="493" y="464"/>
                        </a:lnTo>
                        <a:lnTo>
                          <a:pt x="499" y="497"/>
                        </a:lnTo>
                        <a:lnTo>
                          <a:pt x="499" y="531"/>
                        </a:lnTo>
                        <a:lnTo>
                          <a:pt x="493" y="564"/>
                        </a:lnTo>
                        <a:lnTo>
                          <a:pt x="483" y="594"/>
                        </a:lnTo>
                        <a:lnTo>
                          <a:pt x="470" y="619"/>
                        </a:lnTo>
                        <a:lnTo>
                          <a:pt x="453" y="642"/>
                        </a:lnTo>
                        <a:lnTo>
                          <a:pt x="432" y="660"/>
                        </a:lnTo>
                        <a:lnTo>
                          <a:pt x="408" y="676"/>
                        </a:lnTo>
                        <a:lnTo>
                          <a:pt x="383" y="688"/>
                        </a:lnTo>
                        <a:lnTo>
                          <a:pt x="355" y="698"/>
                        </a:lnTo>
                        <a:lnTo>
                          <a:pt x="325" y="705"/>
                        </a:lnTo>
                        <a:lnTo>
                          <a:pt x="280" y="710"/>
                        </a:lnTo>
                        <a:lnTo>
                          <a:pt x="236" y="712"/>
                        </a:lnTo>
                        <a:lnTo>
                          <a:pt x="126" y="713"/>
                        </a:lnTo>
                        <a:lnTo>
                          <a:pt x="14" y="713"/>
                        </a:lnTo>
                        <a:lnTo>
                          <a:pt x="10" y="712"/>
                        </a:lnTo>
                        <a:lnTo>
                          <a:pt x="5" y="712"/>
                        </a:lnTo>
                        <a:lnTo>
                          <a:pt x="3" y="710"/>
                        </a:lnTo>
                        <a:lnTo>
                          <a:pt x="1" y="706"/>
                        </a:lnTo>
                        <a:lnTo>
                          <a:pt x="0" y="702"/>
                        </a:lnTo>
                        <a:lnTo>
                          <a:pt x="0" y="697"/>
                        </a:lnTo>
                        <a:lnTo>
                          <a:pt x="0" y="16"/>
                        </a:lnTo>
                        <a:lnTo>
                          <a:pt x="0" y="11"/>
                        </a:lnTo>
                        <a:lnTo>
                          <a:pt x="0" y="7"/>
                        </a:lnTo>
                        <a:lnTo>
                          <a:pt x="3" y="3"/>
                        </a:lnTo>
                        <a:lnTo>
                          <a:pt x="5" y="2"/>
                        </a:lnTo>
                        <a:lnTo>
                          <a:pt x="9" y="0"/>
                        </a:lnTo>
                        <a:lnTo>
                          <a:pt x="16" y="0"/>
                        </a:lnTo>
                        <a:close/>
                      </a:path>
                    </a:pathLst>
                  </a:custGeom>
                  <a:solidFill>
                    <a:schemeClr val="bg1">
                      <a:lumMod val="50000"/>
                    </a:schemeClr>
                  </a:solidFill>
                  <a:ln w="9525">
                    <a:noFill/>
                    <a:round/>
                    <a:headEnd/>
                    <a:tailEnd/>
                  </a:ln>
                </p:spPr>
                <p:txBody>
                  <a:bodyPr vert="horz" wrap="square" lIns="83922" tIns="41962" rIns="83922" bIns="41962" numCol="1" anchor="t" anchorCtr="0" compatLnSpc="1">
                    <a:prstTxWarp prst="textNoShape">
                      <a:avLst/>
                    </a:prstTxWarp>
                  </a:bodyPr>
                  <a:lstStyle/>
                  <a:p>
                    <a:pPr defTabSz="839166"/>
                    <a:endParaRPr lang="en-US" sz="1600" kern="0" dirty="0">
                      <a:solidFill>
                        <a:schemeClr val="tx2"/>
                      </a:solidFill>
                    </a:endParaRPr>
                  </a:p>
                </p:txBody>
              </p:sp>
              <p:sp>
                <p:nvSpPr>
                  <p:cNvPr id="333" name="Rectangle 11"/>
                  <p:cNvSpPr>
                    <a:spLocks noChangeArrowheads="1"/>
                  </p:cNvSpPr>
                  <p:nvPr/>
                </p:nvSpPr>
                <p:spPr bwMode="auto">
                  <a:xfrm>
                    <a:off x="7328508" y="5390779"/>
                    <a:ext cx="17210" cy="87839"/>
                  </a:xfrm>
                  <a:prstGeom prst="rect">
                    <a:avLst/>
                  </a:prstGeom>
                  <a:solidFill>
                    <a:schemeClr val="bg1">
                      <a:lumMod val="50000"/>
                    </a:schemeClr>
                  </a:solidFill>
                  <a:ln w="9525">
                    <a:noFill/>
                    <a:round/>
                    <a:headEnd/>
                    <a:tailEnd/>
                  </a:ln>
                </p:spPr>
                <p:txBody>
                  <a:bodyPr vert="horz" wrap="square" lIns="83922" tIns="41962" rIns="83922" bIns="41962" numCol="1" anchor="t" anchorCtr="0" compatLnSpc="1">
                    <a:prstTxWarp prst="textNoShape">
                      <a:avLst/>
                    </a:prstTxWarp>
                  </a:bodyPr>
                  <a:lstStyle/>
                  <a:p>
                    <a:pPr defTabSz="839166"/>
                    <a:endParaRPr lang="en-US" sz="1600" kern="0" dirty="0">
                      <a:solidFill>
                        <a:schemeClr val="tx2"/>
                      </a:solidFill>
                    </a:endParaRPr>
                  </a:p>
                </p:txBody>
              </p:sp>
              <p:sp>
                <p:nvSpPr>
                  <p:cNvPr id="334" name="Freeform 12"/>
                  <p:cNvSpPr>
                    <a:spLocks/>
                  </p:cNvSpPr>
                  <p:nvPr/>
                </p:nvSpPr>
                <p:spPr bwMode="auto">
                  <a:xfrm>
                    <a:off x="7462012" y="5418986"/>
                    <a:ext cx="20898" cy="20784"/>
                  </a:xfrm>
                  <a:custGeom>
                    <a:avLst/>
                    <a:gdLst>
                      <a:gd name="T0" fmla="*/ 13 w 168"/>
                      <a:gd name="T1" fmla="*/ 0 h 167"/>
                      <a:gd name="T2" fmla="*/ 21 w 168"/>
                      <a:gd name="T3" fmla="*/ 1 h 167"/>
                      <a:gd name="T4" fmla="*/ 26 w 168"/>
                      <a:gd name="T5" fmla="*/ 6 h 167"/>
                      <a:gd name="T6" fmla="*/ 31 w 168"/>
                      <a:gd name="T7" fmla="*/ 18 h 167"/>
                      <a:gd name="T8" fmla="*/ 57 w 168"/>
                      <a:gd name="T9" fmla="*/ 82 h 167"/>
                      <a:gd name="T10" fmla="*/ 83 w 168"/>
                      <a:gd name="T11" fmla="*/ 148 h 167"/>
                      <a:gd name="T12" fmla="*/ 90 w 168"/>
                      <a:gd name="T13" fmla="*/ 136 h 167"/>
                      <a:gd name="T14" fmla="*/ 94 w 168"/>
                      <a:gd name="T15" fmla="*/ 124 h 167"/>
                      <a:gd name="T16" fmla="*/ 117 w 168"/>
                      <a:gd name="T17" fmla="*/ 70 h 167"/>
                      <a:gd name="T18" fmla="*/ 138 w 168"/>
                      <a:gd name="T19" fmla="*/ 17 h 167"/>
                      <a:gd name="T20" fmla="*/ 146 w 168"/>
                      <a:gd name="T21" fmla="*/ 5 h 167"/>
                      <a:gd name="T22" fmla="*/ 155 w 168"/>
                      <a:gd name="T23" fmla="*/ 1 h 167"/>
                      <a:gd name="T24" fmla="*/ 168 w 168"/>
                      <a:gd name="T25" fmla="*/ 2 h 167"/>
                      <a:gd name="T26" fmla="*/ 168 w 168"/>
                      <a:gd name="T27" fmla="*/ 166 h 167"/>
                      <a:gd name="T28" fmla="*/ 153 w 168"/>
                      <a:gd name="T29" fmla="*/ 166 h 167"/>
                      <a:gd name="T30" fmla="*/ 153 w 168"/>
                      <a:gd name="T31" fmla="*/ 23 h 167"/>
                      <a:gd name="T32" fmla="*/ 150 w 168"/>
                      <a:gd name="T33" fmla="*/ 22 h 167"/>
                      <a:gd name="T34" fmla="*/ 120 w 168"/>
                      <a:gd name="T35" fmla="*/ 97 h 167"/>
                      <a:gd name="T36" fmla="*/ 95 w 168"/>
                      <a:gd name="T37" fmla="*/ 158 h 167"/>
                      <a:gd name="T38" fmla="*/ 93 w 168"/>
                      <a:gd name="T39" fmla="*/ 161 h 167"/>
                      <a:gd name="T40" fmla="*/ 90 w 168"/>
                      <a:gd name="T41" fmla="*/ 163 h 167"/>
                      <a:gd name="T42" fmla="*/ 87 w 168"/>
                      <a:gd name="T43" fmla="*/ 166 h 167"/>
                      <a:gd name="T44" fmla="*/ 85 w 168"/>
                      <a:gd name="T45" fmla="*/ 166 h 167"/>
                      <a:gd name="T46" fmla="*/ 82 w 168"/>
                      <a:gd name="T47" fmla="*/ 166 h 167"/>
                      <a:gd name="T48" fmla="*/ 78 w 168"/>
                      <a:gd name="T49" fmla="*/ 163 h 167"/>
                      <a:gd name="T50" fmla="*/ 76 w 168"/>
                      <a:gd name="T51" fmla="*/ 161 h 167"/>
                      <a:gd name="T52" fmla="*/ 74 w 168"/>
                      <a:gd name="T53" fmla="*/ 157 h 167"/>
                      <a:gd name="T54" fmla="*/ 21 w 168"/>
                      <a:gd name="T55" fmla="*/ 31 h 167"/>
                      <a:gd name="T56" fmla="*/ 19 w 168"/>
                      <a:gd name="T57" fmla="*/ 28 h 167"/>
                      <a:gd name="T58" fmla="*/ 18 w 168"/>
                      <a:gd name="T59" fmla="*/ 26 h 167"/>
                      <a:gd name="T60" fmla="*/ 15 w 168"/>
                      <a:gd name="T61" fmla="*/ 23 h 167"/>
                      <a:gd name="T62" fmla="*/ 15 w 168"/>
                      <a:gd name="T63" fmla="*/ 167 h 167"/>
                      <a:gd name="T64" fmla="*/ 0 w 168"/>
                      <a:gd name="T65" fmla="*/ 167 h 167"/>
                      <a:gd name="T66" fmla="*/ 0 w 168"/>
                      <a:gd name="T67" fmla="*/ 2 h 167"/>
                      <a:gd name="T68" fmla="*/ 13 w 168"/>
                      <a:gd name="T6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8" h="167">
                        <a:moveTo>
                          <a:pt x="13" y="0"/>
                        </a:moveTo>
                        <a:lnTo>
                          <a:pt x="21" y="1"/>
                        </a:lnTo>
                        <a:lnTo>
                          <a:pt x="26" y="6"/>
                        </a:lnTo>
                        <a:lnTo>
                          <a:pt x="31" y="18"/>
                        </a:lnTo>
                        <a:lnTo>
                          <a:pt x="57" y="82"/>
                        </a:lnTo>
                        <a:lnTo>
                          <a:pt x="83" y="148"/>
                        </a:lnTo>
                        <a:lnTo>
                          <a:pt x="90" y="136"/>
                        </a:lnTo>
                        <a:lnTo>
                          <a:pt x="94" y="124"/>
                        </a:lnTo>
                        <a:lnTo>
                          <a:pt x="117" y="70"/>
                        </a:lnTo>
                        <a:lnTo>
                          <a:pt x="138" y="17"/>
                        </a:lnTo>
                        <a:lnTo>
                          <a:pt x="146" y="5"/>
                        </a:lnTo>
                        <a:lnTo>
                          <a:pt x="155" y="1"/>
                        </a:lnTo>
                        <a:lnTo>
                          <a:pt x="168" y="2"/>
                        </a:lnTo>
                        <a:lnTo>
                          <a:pt x="168" y="166"/>
                        </a:lnTo>
                        <a:lnTo>
                          <a:pt x="153" y="166"/>
                        </a:lnTo>
                        <a:lnTo>
                          <a:pt x="153" y="23"/>
                        </a:lnTo>
                        <a:lnTo>
                          <a:pt x="150" y="22"/>
                        </a:lnTo>
                        <a:lnTo>
                          <a:pt x="120" y="97"/>
                        </a:lnTo>
                        <a:lnTo>
                          <a:pt x="95" y="158"/>
                        </a:lnTo>
                        <a:lnTo>
                          <a:pt x="93" y="161"/>
                        </a:lnTo>
                        <a:lnTo>
                          <a:pt x="90" y="163"/>
                        </a:lnTo>
                        <a:lnTo>
                          <a:pt x="87" y="166"/>
                        </a:lnTo>
                        <a:lnTo>
                          <a:pt x="85" y="166"/>
                        </a:lnTo>
                        <a:lnTo>
                          <a:pt x="82" y="166"/>
                        </a:lnTo>
                        <a:lnTo>
                          <a:pt x="78" y="163"/>
                        </a:lnTo>
                        <a:lnTo>
                          <a:pt x="76" y="161"/>
                        </a:lnTo>
                        <a:lnTo>
                          <a:pt x="74" y="157"/>
                        </a:lnTo>
                        <a:lnTo>
                          <a:pt x="21" y="31"/>
                        </a:lnTo>
                        <a:lnTo>
                          <a:pt x="19" y="28"/>
                        </a:lnTo>
                        <a:lnTo>
                          <a:pt x="18" y="26"/>
                        </a:lnTo>
                        <a:lnTo>
                          <a:pt x="15" y="23"/>
                        </a:lnTo>
                        <a:lnTo>
                          <a:pt x="15" y="167"/>
                        </a:lnTo>
                        <a:lnTo>
                          <a:pt x="0" y="167"/>
                        </a:lnTo>
                        <a:lnTo>
                          <a:pt x="0" y="2"/>
                        </a:lnTo>
                        <a:lnTo>
                          <a:pt x="13" y="0"/>
                        </a:lnTo>
                        <a:close/>
                      </a:path>
                    </a:pathLst>
                  </a:custGeom>
                  <a:solidFill>
                    <a:schemeClr val="bg1">
                      <a:lumMod val="50000"/>
                    </a:schemeClr>
                  </a:solidFill>
                  <a:ln w="9525">
                    <a:noFill/>
                    <a:round/>
                    <a:headEnd/>
                    <a:tailEnd/>
                  </a:ln>
                </p:spPr>
                <p:txBody>
                  <a:bodyPr vert="horz" wrap="square" lIns="83922" tIns="41962" rIns="83922" bIns="41962" numCol="1" anchor="t" anchorCtr="0" compatLnSpc="1">
                    <a:prstTxWarp prst="textNoShape">
                      <a:avLst/>
                    </a:prstTxWarp>
                  </a:bodyPr>
                  <a:lstStyle/>
                  <a:p>
                    <a:pPr defTabSz="839166"/>
                    <a:endParaRPr lang="en-US" sz="1600" kern="0" dirty="0">
                      <a:solidFill>
                        <a:schemeClr val="tx2"/>
                      </a:solidFill>
                    </a:endParaRPr>
                  </a:p>
                </p:txBody>
              </p:sp>
              <p:sp>
                <p:nvSpPr>
                  <p:cNvPr id="335" name="Freeform 13"/>
                  <p:cNvSpPr>
                    <a:spLocks/>
                  </p:cNvSpPr>
                  <p:nvPr/>
                </p:nvSpPr>
                <p:spPr bwMode="auto">
                  <a:xfrm>
                    <a:off x="7445047" y="5419234"/>
                    <a:ext cx="14014" cy="20289"/>
                  </a:xfrm>
                  <a:custGeom>
                    <a:avLst/>
                    <a:gdLst>
                      <a:gd name="T0" fmla="*/ 8 w 114"/>
                      <a:gd name="T1" fmla="*/ 0 h 165"/>
                      <a:gd name="T2" fmla="*/ 112 w 114"/>
                      <a:gd name="T3" fmla="*/ 0 h 165"/>
                      <a:gd name="T4" fmla="*/ 112 w 114"/>
                      <a:gd name="T5" fmla="*/ 5 h 165"/>
                      <a:gd name="T6" fmla="*/ 114 w 114"/>
                      <a:gd name="T7" fmla="*/ 13 h 165"/>
                      <a:gd name="T8" fmla="*/ 64 w 114"/>
                      <a:gd name="T9" fmla="*/ 13 h 165"/>
                      <a:gd name="T10" fmla="*/ 64 w 114"/>
                      <a:gd name="T11" fmla="*/ 165 h 165"/>
                      <a:gd name="T12" fmla="*/ 50 w 114"/>
                      <a:gd name="T13" fmla="*/ 165 h 165"/>
                      <a:gd name="T14" fmla="*/ 50 w 114"/>
                      <a:gd name="T15" fmla="*/ 13 h 165"/>
                      <a:gd name="T16" fmla="*/ 1 w 114"/>
                      <a:gd name="T17" fmla="*/ 13 h 165"/>
                      <a:gd name="T18" fmla="*/ 0 w 114"/>
                      <a:gd name="T19" fmla="*/ 10 h 165"/>
                      <a:gd name="T20" fmla="*/ 0 w 114"/>
                      <a:gd name="T21" fmla="*/ 6 h 165"/>
                      <a:gd name="T22" fmla="*/ 0 w 114"/>
                      <a:gd name="T23" fmla="*/ 4 h 165"/>
                      <a:gd name="T24" fmla="*/ 0 w 114"/>
                      <a:gd name="T25" fmla="*/ 3 h 165"/>
                      <a:gd name="T26" fmla="*/ 1 w 114"/>
                      <a:gd name="T27" fmla="*/ 1 h 165"/>
                      <a:gd name="T28" fmla="*/ 4 w 114"/>
                      <a:gd name="T29" fmla="*/ 0 h 165"/>
                      <a:gd name="T30" fmla="*/ 8 w 114"/>
                      <a:gd name="T31"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65">
                        <a:moveTo>
                          <a:pt x="8" y="0"/>
                        </a:moveTo>
                        <a:lnTo>
                          <a:pt x="112" y="0"/>
                        </a:lnTo>
                        <a:lnTo>
                          <a:pt x="112" y="5"/>
                        </a:lnTo>
                        <a:lnTo>
                          <a:pt x="114" y="13"/>
                        </a:lnTo>
                        <a:lnTo>
                          <a:pt x="64" y="13"/>
                        </a:lnTo>
                        <a:lnTo>
                          <a:pt x="64" y="165"/>
                        </a:lnTo>
                        <a:lnTo>
                          <a:pt x="50" y="165"/>
                        </a:lnTo>
                        <a:lnTo>
                          <a:pt x="50" y="13"/>
                        </a:lnTo>
                        <a:lnTo>
                          <a:pt x="1" y="13"/>
                        </a:lnTo>
                        <a:lnTo>
                          <a:pt x="0" y="10"/>
                        </a:lnTo>
                        <a:lnTo>
                          <a:pt x="0" y="6"/>
                        </a:lnTo>
                        <a:lnTo>
                          <a:pt x="0" y="4"/>
                        </a:lnTo>
                        <a:lnTo>
                          <a:pt x="0" y="3"/>
                        </a:lnTo>
                        <a:lnTo>
                          <a:pt x="1" y="1"/>
                        </a:lnTo>
                        <a:lnTo>
                          <a:pt x="4" y="0"/>
                        </a:lnTo>
                        <a:lnTo>
                          <a:pt x="8" y="0"/>
                        </a:lnTo>
                        <a:close/>
                      </a:path>
                    </a:pathLst>
                  </a:custGeom>
                  <a:solidFill>
                    <a:schemeClr val="bg1">
                      <a:lumMod val="50000"/>
                    </a:schemeClr>
                  </a:solidFill>
                  <a:ln w="9525">
                    <a:noFill/>
                    <a:round/>
                    <a:headEnd/>
                    <a:tailEnd/>
                  </a:ln>
                </p:spPr>
                <p:txBody>
                  <a:bodyPr vert="horz" wrap="square" lIns="83922" tIns="41962" rIns="83922" bIns="41962" numCol="1" anchor="t" anchorCtr="0" compatLnSpc="1">
                    <a:prstTxWarp prst="textNoShape">
                      <a:avLst/>
                    </a:prstTxWarp>
                  </a:bodyPr>
                  <a:lstStyle/>
                  <a:p>
                    <a:pPr defTabSz="839166"/>
                    <a:endParaRPr lang="en-US" sz="1600" kern="0" dirty="0">
                      <a:solidFill>
                        <a:schemeClr val="tx2"/>
                      </a:solidFill>
                    </a:endParaRPr>
                  </a:p>
                </p:txBody>
              </p:sp>
            </p:grpSp>
            <p:cxnSp>
              <p:nvCxnSpPr>
                <p:cNvPr id="323" name="Straight Connector 322"/>
                <p:cNvCxnSpPr/>
                <p:nvPr/>
              </p:nvCxnSpPr>
              <p:spPr>
                <a:xfrm flipH="1" flipV="1">
                  <a:off x="11604663" y="2598184"/>
                  <a:ext cx="16130" cy="448173"/>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324" name="Rectangle 323"/>
                <p:cNvSpPr/>
                <p:nvPr/>
              </p:nvSpPr>
              <p:spPr bwMode="auto">
                <a:xfrm>
                  <a:off x="8403616" y="3561482"/>
                  <a:ext cx="763264" cy="64633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spAutoFit/>
                </a:bodyPr>
                <a:lstStyle>
                  <a:defPPr>
                    <a:defRPr lang="en-US"/>
                  </a:defPPr>
                  <a:lvl1pPr marL="0" algn="l" defTabSz="932121" rtl="0" eaLnBrk="1" latinLnBrk="0" hangingPunct="1">
                    <a:defRPr sz="1800" kern="1200">
                      <a:solidFill>
                        <a:schemeClr val="lt1"/>
                      </a:solidFill>
                      <a:latin typeface="+mn-lt"/>
                      <a:ea typeface="+mn-ea"/>
                      <a:cs typeface="+mn-cs"/>
                    </a:defRPr>
                  </a:lvl1pPr>
                  <a:lvl2pPr marL="466060" algn="l" defTabSz="932121" rtl="0" eaLnBrk="1" latinLnBrk="0" hangingPunct="1">
                    <a:defRPr sz="1800" kern="1200">
                      <a:solidFill>
                        <a:schemeClr val="lt1"/>
                      </a:solidFill>
                      <a:latin typeface="+mn-lt"/>
                      <a:ea typeface="+mn-ea"/>
                      <a:cs typeface="+mn-cs"/>
                    </a:defRPr>
                  </a:lvl2pPr>
                  <a:lvl3pPr marL="932121" algn="l" defTabSz="932121" rtl="0" eaLnBrk="1" latinLnBrk="0" hangingPunct="1">
                    <a:defRPr sz="1800" kern="1200">
                      <a:solidFill>
                        <a:schemeClr val="lt1"/>
                      </a:solidFill>
                      <a:latin typeface="+mn-lt"/>
                      <a:ea typeface="+mn-ea"/>
                      <a:cs typeface="+mn-cs"/>
                    </a:defRPr>
                  </a:lvl3pPr>
                  <a:lvl4pPr marL="1398180" algn="l" defTabSz="932121" rtl="0" eaLnBrk="1" latinLnBrk="0" hangingPunct="1">
                    <a:defRPr sz="1800" kern="1200">
                      <a:solidFill>
                        <a:schemeClr val="lt1"/>
                      </a:solidFill>
                      <a:latin typeface="+mn-lt"/>
                      <a:ea typeface="+mn-ea"/>
                      <a:cs typeface="+mn-cs"/>
                    </a:defRPr>
                  </a:lvl4pPr>
                  <a:lvl5pPr marL="1864242" algn="l" defTabSz="932121" rtl="0" eaLnBrk="1" latinLnBrk="0" hangingPunct="1">
                    <a:defRPr sz="1800" kern="1200">
                      <a:solidFill>
                        <a:schemeClr val="lt1"/>
                      </a:solidFill>
                      <a:latin typeface="+mn-lt"/>
                      <a:ea typeface="+mn-ea"/>
                      <a:cs typeface="+mn-cs"/>
                    </a:defRPr>
                  </a:lvl5pPr>
                  <a:lvl6pPr marL="2330303" algn="l" defTabSz="932121" rtl="0" eaLnBrk="1" latinLnBrk="0" hangingPunct="1">
                    <a:defRPr sz="1800" kern="1200">
                      <a:solidFill>
                        <a:schemeClr val="lt1"/>
                      </a:solidFill>
                      <a:latin typeface="+mn-lt"/>
                      <a:ea typeface="+mn-ea"/>
                      <a:cs typeface="+mn-cs"/>
                    </a:defRPr>
                  </a:lvl6pPr>
                  <a:lvl7pPr marL="2796363" algn="l" defTabSz="932121" rtl="0" eaLnBrk="1" latinLnBrk="0" hangingPunct="1">
                    <a:defRPr sz="1800" kern="1200">
                      <a:solidFill>
                        <a:schemeClr val="lt1"/>
                      </a:solidFill>
                      <a:latin typeface="+mn-lt"/>
                      <a:ea typeface="+mn-ea"/>
                      <a:cs typeface="+mn-cs"/>
                    </a:defRPr>
                  </a:lvl7pPr>
                  <a:lvl8pPr marL="3262422" algn="l" defTabSz="932121" rtl="0" eaLnBrk="1" latinLnBrk="0" hangingPunct="1">
                    <a:defRPr sz="1800" kern="1200">
                      <a:solidFill>
                        <a:schemeClr val="lt1"/>
                      </a:solidFill>
                      <a:latin typeface="+mn-lt"/>
                      <a:ea typeface="+mn-ea"/>
                      <a:cs typeface="+mn-cs"/>
                    </a:defRPr>
                  </a:lvl8pPr>
                  <a:lvl9pPr marL="3728486" algn="l" defTabSz="932121" rtl="0" eaLnBrk="1" latinLnBrk="0" hangingPunct="1">
                    <a:defRPr sz="1800" kern="1200">
                      <a:solidFill>
                        <a:schemeClr val="lt1"/>
                      </a:solidFill>
                      <a:latin typeface="+mn-lt"/>
                      <a:ea typeface="+mn-ea"/>
                      <a:cs typeface="+mn-cs"/>
                    </a:defRPr>
                  </a:lvl9pPr>
                </a:lstStyle>
                <a:p>
                  <a:pPr algn="ctr" defTabSz="932384" fontAlgn="base"/>
                  <a:r>
                    <a:rPr lang="en-IN" sz="1200" dirty="0" smtClean="0">
                      <a:solidFill>
                        <a:schemeClr val="tx2"/>
                      </a:solidFill>
                      <a:latin typeface="Segoe UI Semibold" panose="020B0702040204020203" pitchFamily="34" charset="0"/>
                      <a:ea typeface="Segoe UI" pitchFamily="34" charset="0"/>
                      <a:cs typeface="Segoe UI" pitchFamily="34" charset="0"/>
                    </a:rPr>
                    <a:t>EU </a:t>
                  </a:r>
                  <a:r>
                    <a:rPr lang="en-IN" sz="1200" dirty="0">
                      <a:solidFill>
                        <a:schemeClr val="tx2"/>
                      </a:solidFill>
                      <a:latin typeface="Segoe UI Semibold" panose="020B0702040204020203" pitchFamily="34" charset="0"/>
                      <a:ea typeface="Segoe UI" pitchFamily="34" charset="0"/>
                      <a:cs typeface="Segoe UI" pitchFamily="34" charset="0"/>
                    </a:rPr>
                    <a:t>Data Protection Directive </a:t>
                  </a:r>
                </a:p>
              </p:txBody>
            </p:sp>
            <p:pic>
              <p:nvPicPr>
                <p:cNvPr id="3" name="Picture 2"/>
                <p:cNvPicPr>
                  <a:picLocks noChangeAspect="1"/>
                </p:cNvPicPr>
                <p:nvPr/>
              </p:nvPicPr>
              <p:blipFill rotWithShape="1">
                <a:blip r:embed="rId16"/>
                <a:srcRect l="21064" t="29857" r="36432"/>
                <a:stretch/>
              </p:blipFill>
              <p:spPr>
                <a:xfrm>
                  <a:off x="8521278" y="4231307"/>
                  <a:ext cx="585881" cy="669958"/>
                </a:xfrm>
                <a:prstGeom prst="rect">
                  <a:avLst/>
                </a:prstGeom>
              </p:spPr>
            </p:pic>
            <p:pic>
              <p:nvPicPr>
                <p:cNvPr id="256078" name="Picture 78" descr="http://www.defence.gov.au/images/Defence_stacked_black.png"/>
                <p:cNvPicPr>
                  <a:picLocks noChangeAspect="1" noChangeArrowheads="1"/>
                </p:cNvPicPr>
                <p:nvPr/>
              </p:nvPicPr>
              <p:blipFill>
                <a:blip r:embed="rId17">
                  <a:extLst>
                    <a:ext uri="{28A0092B-C50C-407E-A947-70E740481C1C}">
                      <a14:useLocalDpi xmlns:a14="http://schemas.microsoft.com/office/drawing/2010/main" val="0"/>
                    </a:ext>
                  </a:extLst>
                </a:blip>
                <a:stretch>
                  <a:fillRect/>
                </a:stretch>
              </p:blipFill>
              <p:spPr bwMode="auto">
                <a:xfrm>
                  <a:off x="8427273" y="1624633"/>
                  <a:ext cx="792692" cy="54063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6080" name="Picture 80" descr="http://www.paymentlawadvisor.com/files/2013/12/credibility_pci-logo.png"/>
                <p:cNvPicPr>
                  <a:picLocks noChangeAspect="1" noChangeArrowheads="1"/>
                </p:cNvPicPr>
                <p:nvPr/>
              </p:nvPicPr>
              <p:blipFill>
                <a:blip r:embed="rId18">
                  <a:extLst>
                    <a:ext uri="{28A0092B-C50C-407E-A947-70E740481C1C}">
                      <a14:useLocalDpi xmlns:a14="http://schemas.microsoft.com/office/drawing/2010/main" val="0"/>
                    </a:ext>
                  </a:extLst>
                </a:blip>
                <a:stretch>
                  <a:fillRect/>
                </a:stretch>
              </p:blipFill>
              <p:spPr bwMode="auto">
                <a:xfrm>
                  <a:off x="9259473" y="3975875"/>
                  <a:ext cx="871458" cy="456063"/>
                </a:xfrm>
                <a:prstGeom prst="rect">
                  <a:avLst/>
                </a:prstGeom>
                <a:noFill/>
                <a:ln>
                  <a:noFill/>
                </a:ln>
                <a:extLst>
                  <a:ext uri="{909E8E84-426E-40DD-AFC4-6F175D3DCCD1}">
                    <a14:hiddenFill xmlns:a14="http://schemas.microsoft.com/office/drawing/2010/main">
                      <a:solidFill>
                        <a:srgbClr val="FFFFFF"/>
                      </a:solidFill>
                    </a14:hiddenFill>
                  </a:ext>
                </a:extLst>
              </p:spPr>
            </p:pic>
          </p:grpSp>
        </p:grpSp>
        <p:cxnSp>
          <p:nvCxnSpPr>
            <p:cNvPr id="152" name="Straight Connector 151"/>
            <p:cNvCxnSpPr/>
            <p:nvPr/>
          </p:nvCxnSpPr>
          <p:spPr>
            <a:xfrm>
              <a:off x="8814219" y="3261854"/>
              <a:ext cx="0" cy="289416"/>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19"/>
            <a:stretch>
              <a:fillRect/>
            </a:stretch>
          </p:blipFill>
          <p:spPr>
            <a:xfrm>
              <a:off x="11318009" y="1759889"/>
              <a:ext cx="500062" cy="527338"/>
            </a:xfrm>
            <a:prstGeom prst="rect">
              <a:avLst/>
            </a:prstGeom>
          </p:spPr>
        </p:pic>
        <p:sp>
          <p:nvSpPr>
            <p:cNvPr id="155" name="Rectangle 154"/>
            <p:cNvSpPr/>
            <p:nvPr/>
          </p:nvSpPr>
          <p:spPr bwMode="auto">
            <a:xfrm>
              <a:off x="11250659" y="2303258"/>
              <a:ext cx="725312" cy="282513"/>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spAutoFit/>
            </a:bodyPr>
            <a:lstStyle/>
            <a:p>
              <a:pPr algn="ctr" defTabSz="932384" fontAlgn="base"/>
              <a:r>
                <a:rPr lang="en-IN" sz="1200" dirty="0" smtClean="0">
                  <a:solidFill>
                    <a:schemeClr val="tx2"/>
                  </a:solidFill>
                  <a:latin typeface="Segoe UI Semibold" panose="020B0702040204020203" pitchFamily="34" charset="0"/>
                  <a:ea typeface="Segoe UI" pitchFamily="34" charset="0"/>
                  <a:cs typeface="Segoe UI" pitchFamily="34" charset="0"/>
                </a:rPr>
                <a:t>CDSA</a:t>
              </a:r>
              <a:endParaRPr lang="en-IN" sz="1200" dirty="0">
                <a:solidFill>
                  <a:schemeClr val="tx2"/>
                </a:solidFill>
                <a:latin typeface="Segoe UI Semibold" panose="020B0702040204020203" pitchFamily="34" charset="0"/>
                <a:ea typeface="Segoe UI" pitchFamily="34" charset="0"/>
                <a:cs typeface="Segoe UI" pitchFamily="34" charset="0"/>
              </a:endParaRPr>
            </a:p>
          </p:txBody>
        </p:sp>
        <p:cxnSp>
          <p:nvCxnSpPr>
            <p:cNvPr id="156" name="Straight Connector 155"/>
            <p:cNvCxnSpPr/>
            <p:nvPr/>
          </p:nvCxnSpPr>
          <p:spPr>
            <a:xfrm flipV="1">
              <a:off x="4161023" y="2675391"/>
              <a:ext cx="0" cy="315395"/>
            </a:xfrm>
            <a:prstGeom prst="line">
              <a:avLst/>
            </a:prstGeom>
            <a:ln w="9525">
              <a:solidFill>
                <a:schemeClr val="bg1">
                  <a:lumMod val="65000"/>
                </a:schemeClr>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111774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2" presetClass="entr" presetSubtype="4"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ppt_x"/>
                                          </p:val>
                                        </p:tav>
                                        <p:tav tm="100000">
                                          <p:val>
                                            <p:strVal val="#ppt_x"/>
                                          </p:val>
                                        </p:tav>
                                      </p:tavLst>
                                    </p:anim>
                                    <p:anim calcmode="lin" valueType="num">
                                      <p:cBhvr additive="base">
                                        <p:cTn id="12" dur="75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1204"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effectLst/>
        </p:spPr>
        <p:txBody>
          <a:bodyPr/>
          <a:lstStyle/>
          <a:p>
            <a:pPr>
              <a:lnSpc>
                <a:spcPct val="100000"/>
              </a:lnSpc>
            </a:pPr>
            <a:r>
              <a:rPr lang="en-US" dirty="0"/>
              <a:t>Partnering with industry leaders</a:t>
            </a:r>
          </a:p>
        </p:txBody>
      </p:sp>
      <p:grpSp>
        <p:nvGrpSpPr>
          <p:cNvPr id="17" name="Group 16"/>
          <p:cNvGrpSpPr/>
          <p:nvPr/>
        </p:nvGrpSpPr>
        <p:grpSpPr>
          <a:xfrm>
            <a:off x="3844324" y="1424953"/>
            <a:ext cx="3215618" cy="5272710"/>
            <a:chOff x="3844324" y="1424953"/>
            <a:chExt cx="3215618" cy="5272710"/>
          </a:xfrm>
        </p:grpSpPr>
        <p:sp>
          <p:nvSpPr>
            <p:cNvPr id="9" name="Rectangle 8"/>
            <p:cNvSpPr/>
            <p:nvPr/>
          </p:nvSpPr>
          <p:spPr bwMode="auto">
            <a:xfrm>
              <a:off x="3844324" y="1424953"/>
              <a:ext cx="3215618" cy="2011096"/>
            </a:xfrm>
            <a:prstGeom prst="rect">
              <a:avLst/>
            </a:prstGeom>
            <a:solidFill>
              <a:schemeClr val="accent2"/>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91440" rIns="137160" bIns="91440" numCol="1" rtlCol="0" anchor="t" anchorCtr="0" compatLnSpc="1">
              <a:prstTxWarp prst="textNoShape">
                <a:avLst/>
              </a:prstTxWarp>
              <a:noAutofit/>
            </a:bodyPr>
            <a:lstStyle/>
            <a:p>
              <a:pPr defTabSz="932563">
                <a:spcAft>
                  <a:spcPts val="587"/>
                </a:spcAft>
              </a:pPr>
              <a:r>
                <a:rPr lang="en-IN" sz="2200" dirty="0">
                  <a:solidFill>
                    <a:schemeClr val="bg1"/>
                  </a:solidFill>
                  <a:latin typeface="+mj-lt"/>
                  <a:cs typeface="Segoe UI Semibold" panose="020B0702040204020203" pitchFamily="34" charset="0"/>
                </a:rPr>
                <a:t>Extensive experience in security compliance assessments for both U.S. and global government customers</a:t>
              </a:r>
            </a:p>
          </p:txBody>
        </p:sp>
        <p:sp>
          <p:nvSpPr>
            <p:cNvPr id="10" name="Rectangle 9"/>
            <p:cNvSpPr/>
            <p:nvPr/>
          </p:nvSpPr>
          <p:spPr>
            <a:xfrm>
              <a:off x="3844324" y="3362897"/>
              <a:ext cx="3215618" cy="73152"/>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sp>
          <p:nvSpPr>
            <p:cNvPr id="57" name="Rectangle 56"/>
            <p:cNvSpPr/>
            <p:nvPr/>
          </p:nvSpPr>
          <p:spPr bwMode="auto">
            <a:xfrm>
              <a:off x="3844324" y="3436049"/>
              <a:ext cx="3215618" cy="3261614"/>
            </a:xfrm>
            <a:prstGeom prst="rect">
              <a:avLst/>
            </a:prstGeom>
            <a:solidFill>
              <a:schemeClr val="bg1">
                <a:lumMod val="9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91440" rIns="137160" bIns="91440" numCol="1" rtlCol="0" anchor="t" anchorCtr="0" compatLnSpc="1">
              <a:prstTxWarp prst="textNoShape">
                <a:avLst/>
              </a:prstTxWarp>
              <a:noAutofit/>
            </a:bodyPr>
            <a:lstStyle/>
            <a:p>
              <a:pPr lvl="0">
                <a:spcBef>
                  <a:spcPts val="1200"/>
                </a:spcBef>
              </a:pPr>
              <a:endParaRPr lang="en-IN" sz="1600" i="1" dirty="0">
                <a:solidFill>
                  <a:srgbClr val="505050"/>
                </a:solidFill>
              </a:endParaRPr>
            </a:p>
          </p:txBody>
        </p:sp>
        <p:pic>
          <p:nvPicPr>
            <p:cNvPr id="67" name="Picture 6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614997" y="3774830"/>
              <a:ext cx="1602923" cy="440804"/>
            </a:xfrm>
            <a:prstGeom prst="rect">
              <a:avLst/>
            </a:prstGeom>
            <a:noFill/>
            <a:ln>
              <a:noFill/>
            </a:ln>
          </p:spPr>
        </p:pic>
        <p:pic>
          <p:nvPicPr>
            <p:cNvPr id="68" name="Picture 67"/>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593980" y="4528065"/>
              <a:ext cx="1803287" cy="1188834"/>
            </a:xfrm>
            <a:prstGeom prst="rect">
              <a:avLst/>
            </a:prstGeom>
            <a:noFill/>
            <a:ln>
              <a:noFill/>
            </a:ln>
          </p:spPr>
        </p:pic>
      </p:grpSp>
      <p:grpSp>
        <p:nvGrpSpPr>
          <p:cNvPr id="16" name="Group 15"/>
          <p:cNvGrpSpPr/>
          <p:nvPr/>
        </p:nvGrpSpPr>
        <p:grpSpPr>
          <a:xfrm>
            <a:off x="585216" y="1424953"/>
            <a:ext cx="3215618" cy="5272710"/>
            <a:chOff x="585216" y="1424953"/>
            <a:chExt cx="3215618" cy="5272710"/>
          </a:xfrm>
        </p:grpSpPr>
        <p:sp>
          <p:nvSpPr>
            <p:cNvPr id="51" name="Rectangle 50"/>
            <p:cNvSpPr/>
            <p:nvPr/>
          </p:nvSpPr>
          <p:spPr bwMode="auto">
            <a:xfrm>
              <a:off x="585216" y="1424953"/>
              <a:ext cx="3215618" cy="2011096"/>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91440" rIns="137160" bIns="91440" numCol="1" rtlCol="0" anchor="t" anchorCtr="0" compatLnSpc="1">
              <a:prstTxWarp prst="textNoShape">
                <a:avLst/>
              </a:prstTxWarp>
              <a:noAutofit/>
            </a:bodyPr>
            <a:lstStyle/>
            <a:p>
              <a:pPr defTabSz="932563">
                <a:spcAft>
                  <a:spcPts val="587"/>
                </a:spcAft>
              </a:pPr>
              <a:r>
                <a:rPr lang="en-IN" sz="2200" dirty="0">
                  <a:solidFill>
                    <a:schemeClr val="bg1"/>
                  </a:solidFill>
                  <a:latin typeface="+mj-lt"/>
                  <a:cs typeface="Segoe UI Semibold" panose="020B0702040204020203" pitchFamily="34" charset="0"/>
                </a:rPr>
                <a:t>Promoting a standards-based approach to cloud compliance</a:t>
              </a:r>
            </a:p>
          </p:txBody>
        </p:sp>
        <p:sp>
          <p:nvSpPr>
            <p:cNvPr id="53" name="Rectangle 52"/>
            <p:cNvSpPr/>
            <p:nvPr/>
          </p:nvSpPr>
          <p:spPr>
            <a:xfrm>
              <a:off x="585216" y="3362897"/>
              <a:ext cx="3215618" cy="73152"/>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sp>
          <p:nvSpPr>
            <p:cNvPr id="56" name="Rectangle 55"/>
            <p:cNvSpPr/>
            <p:nvPr/>
          </p:nvSpPr>
          <p:spPr bwMode="auto">
            <a:xfrm>
              <a:off x="585216" y="3436049"/>
              <a:ext cx="3215618" cy="3261614"/>
            </a:xfrm>
            <a:prstGeom prst="rect">
              <a:avLst/>
            </a:prstGeom>
            <a:solidFill>
              <a:schemeClr val="bg1">
                <a:lumMod val="9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91440" rIns="137160" bIns="91440" numCol="1" rtlCol="0" anchor="t" anchorCtr="0" compatLnSpc="1">
              <a:prstTxWarp prst="textNoShape">
                <a:avLst/>
              </a:prstTxWarp>
              <a:noAutofit/>
            </a:bodyPr>
            <a:lstStyle/>
            <a:p>
              <a:pPr lvl="0">
                <a:spcBef>
                  <a:spcPts val="1200"/>
                </a:spcBef>
              </a:pPr>
              <a:endParaRPr lang="en-US" sz="1600" i="1" dirty="0">
                <a:solidFill>
                  <a:srgbClr val="505050"/>
                </a:solidFill>
              </a:endParaRPr>
            </a:p>
          </p:txBody>
        </p:sp>
        <p:pic>
          <p:nvPicPr>
            <p:cNvPr id="60" name="Picture 59"/>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1923717" y="5375531"/>
              <a:ext cx="620264" cy="1186041"/>
            </a:xfrm>
            <a:prstGeom prst="rect">
              <a:avLst/>
            </a:prstGeom>
          </p:spPr>
        </p:pic>
        <p:pic>
          <p:nvPicPr>
            <p:cNvPr id="61" name="Picture 4" descr="http://www.gow-mac.com/Portals/0/images/BSI_wLIC_Logo_Web.gif"/>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l="15138" r="18093" b="28887"/>
            <a:stretch/>
          </p:blipFill>
          <p:spPr bwMode="auto">
            <a:xfrm>
              <a:off x="801755" y="3607358"/>
              <a:ext cx="872241" cy="880555"/>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2" descr="https://local-cdn.cloudsecurityalliance.org/global/site/logos/CSA_logo.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357091" y="4773681"/>
              <a:ext cx="1321494" cy="511144"/>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8" descr="http://www.centrilogic.com/wp-content/uploads/2013/05/SOC-Service-Org_B_Marks_2c_Web-260x220.png"/>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1849862" y="3626092"/>
              <a:ext cx="930369" cy="83241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3" name="Picture 80" descr="http://www.paymentlawadvisor.com/files/2013/12/credibility_pci-logo.png"/>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802537" y="4724474"/>
              <a:ext cx="1380767" cy="72260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5" name="Picture 2"/>
            <p:cNvPicPr>
              <a:picLocks noChangeAspect="1" noChangeArrowheads="1"/>
            </p:cNvPicPr>
            <p:nvPr/>
          </p:nvPicPr>
          <p:blipFill rotWithShape="1">
            <a:blip r:embed="rId14">
              <a:extLst>
                <a:ext uri="{28A0092B-C50C-407E-A947-70E740481C1C}">
                  <a14:useLocalDpi xmlns:a14="http://schemas.microsoft.com/office/drawing/2010/main" val="0"/>
                </a:ext>
              </a:extLst>
            </a:blip>
            <a:srcRect l="2052" t="2052" r="2052" b="2052"/>
            <a:stretch/>
          </p:blipFill>
          <p:spPr bwMode="auto">
            <a:xfrm>
              <a:off x="2917337" y="3677277"/>
              <a:ext cx="761249" cy="761245"/>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7103432" y="1424953"/>
            <a:ext cx="3215618" cy="5272710"/>
            <a:chOff x="7103432" y="1424953"/>
            <a:chExt cx="3215618" cy="5272710"/>
          </a:xfrm>
        </p:grpSpPr>
        <p:sp>
          <p:nvSpPr>
            <p:cNvPr id="12" name="Rectangle 11"/>
            <p:cNvSpPr/>
            <p:nvPr/>
          </p:nvSpPr>
          <p:spPr bwMode="auto">
            <a:xfrm>
              <a:off x="7103432" y="1424953"/>
              <a:ext cx="3215618" cy="2011096"/>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91440" rIns="137160" bIns="91440" numCol="1" rtlCol="0" anchor="t" anchorCtr="0" compatLnSpc="1">
              <a:prstTxWarp prst="textNoShape">
                <a:avLst/>
              </a:prstTxWarp>
              <a:noAutofit/>
            </a:bodyPr>
            <a:lstStyle/>
            <a:p>
              <a:pPr defTabSz="932563">
                <a:spcAft>
                  <a:spcPts val="587"/>
                </a:spcAft>
              </a:pPr>
              <a:r>
                <a:rPr lang="en-IN" sz="2200" dirty="0">
                  <a:solidFill>
                    <a:schemeClr val="bg1"/>
                  </a:solidFill>
                  <a:latin typeface="+mj-lt"/>
                  <a:cs typeface="Segoe UI Semibold" panose="020B0702040204020203" pitchFamily="34" charset="0"/>
                </a:rPr>
                <a:t>Proposing clear principles for reform of government surveillance</a:t>
              </a:r>
            </a:p>
          </p:txBody>
        </p:sp>
        <p:sp>
          <p:nvSpPr>
            <p:cNvPr id="13" name="Rectangle 12"/>
            <p:cNvSpPr/>
            <p:nvPr/>
          </p:nvSpPr>
          <p:spPr>
            <a:xfrm>
              <a:off x="7103432" y="3362897"/>
              <a:ext cx="3215618" cy="73152"/>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sp>
          <p:nvSpPr>
            <p:cNvPr id="58" name="Rectangle 57"/>
            <p:cNvSpPr/>
            <p:nvPr/>
          </p:nvSpPr>
          <p:spPr bwMode="auto">
            <a:xfrm>
              <a:off x="7103432" y="3436049"/>
              <a:ext cx="3215618" cy="3261614"/>
            </a:xfrm>
            <a:prstGeom prst="rect">
              <a:avLst/>
            </a:prstGeom>
            <a:solidFill>
              <a:schemeClr val="bg1">
                <a:lumMod val="9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91440" rIns="137160" bIns="91440" numCol="1" rtlCol="0" anchor="t" anchorCtr="0" compatLnSpc="1">
              <a:prstTxWarp prst="textNoShape">
                <a:avLst/>
              </a:prstTxWarp>
              <a:noAutofit/>
            </a:bodyPr>
            <a:lstStyle/>
            <a:p>
              <a:pPr lvl="0">
                <a:spcBef>
                  <a:spcPts val="1200"/>
                </a:spcBef>
              </a:pPr>
              <a:endParaRPr lang="en-IN" sz="1600" i="1" dirty="0">
                <a:solidFill>
                  <a:srgbClr val="505050"/>
                </a:solidFill>
              </a:endParaRPr>
            </a:p>
          </p:txBody>
        </p:sp>
        <p:pic>
          <p:nvPicPr>
            <p:cNvPr id="71" name="Picture 70"/>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418638" y="3666853"/>
              <a:ext cx="656851" cy="656758"/>
            </a:xfrm>
            <a:prstGeom prst="rect">
              <a:avLst/>
            </a:prstGeom>
          </p:spPr>
        </p:pic>
        <p:pic>
          <p:nvPicPr>
            <p:cNvPr id="73" name="Picture 72"/>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7325224" y="4789121"/>
              <a:ext cx="637133" cy="637042"/>
            </a:xfrm>
            <a:prstGeom prst="rect">
              <a:avLst/>
            </a:prstGeom>
          </p:spPr>
        </p:pic>
        <p:pic>
          <p:nvPicPr>
            <p:cNvPr id="74" name="Picture 73"/>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8320246" y="4788993"/>
              <a:ext cx="629371" cy="627874"/>
            </a:xfrm>
            <a:prstGeom prst="rect">
              <a:avLst/>
            </a:prstGeom>
          </p:spPr>
        </p:pic>
        <p:pic>
          <p:nvPicPr>
            <p:cNvPr id="75" name="Picture 14" descr="http://www.logoeps.com/wp-content/uploads/2013/02/yahoo-y-vector-logo-200x200.png"/>
            <p:cNvPicPr>
              <a:picLocks noChangeAspect="1" noChangeArrowheads="1"/>
            </p:cNvPicPr>
            <p:nvPr/>
          </p:nvPicPr>
          <p:blipFill rotWithShape="1">
            <a:blip r:embed="rId18" cstate="email">
              <a:extLst>
                <a:ext uri="{28A0092B-C50C-407E-A947-70E740481C1C}">
                  <a14:useLocalDpi xmlns:a14="http://schemas.microsoft.com/office/drawing/2010/main"/>
                </a:ext>
              </a:extLst>
            </a:blip>
            <a:srcRect t="21818" b="22701"/>
            <a:stretch/>
          </p:blipFill>
          <p:spPr bwMode="auto">
            <a:xfrm>
              <a:off x="8058100" y="5649796"/>
              <a:ext cx="1306283" cy="724733"/>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8"/>
            <p:cNvPicPr>
              <a:picLocks noChangeAspect="1"/>
            </p:cNvPicPr>
            <p:nvPr/>
          </p:nvPicPr>
          <p:blipFill>
            <a:blip r:embed="rId19"/>
            <a:stretch>
              <a:fillRect/>
            </a:stretch>
          </p:blipFill>
          <p:spPr>
            <a:xfrm>
              <a:off x="9364383" y="4796077"/>
              <a:ext cx="594929" cy="612491"/>
            </a:xfrm>
            <a:prstGeom prst="rect">
              <a:avLst/>
            </a:prstGeom>
          </p:spPr>
        </p:pic>
        <p:pic>
          <p:nvPicPr>
            <p:cNvPr id="52" name="Picture 51"/>
            <p:cNvPicPr>
              <a:picLocks noChangeAspect="1"/>
            </p:cNvPicPr>
            <p:nvPr/>
          </p:nvPicPr>
          <p:blipFill>
            <a:blip r:embed="rId20"/>
            <a:stretch>
              <a:fillRect/>
            </a:stretch>
          </p:blipFill>
          <p:spPr>
            <a:xfrm>
              <a:off x="8387699" y="3522772"/>
              <a:ext cx="655284" cy="811934"/>
            </a:xfrm>
            <a:prstGeom prst="rect">
              <a:avLst/>
            </a:prstGeom>
          </p:spPr>
        </p:pic>
        <p:pic>
          <p:nvPicPr>
            <p:cNvPr id="55" name="Picture 54"/>
            <p:cNvPicPr>
              <a:picLocks noChangeAspect="1"/>
            </p:cNvPicPr>
            <p:nvPr/>
          </p:nvPicPr>
          <p:blipFill>
            <a:blip r:embed="rId21"/>
            <a:stretch>
              <a:fillRect/>
            </a:stretch>
          </p:blipFill>
          <p:spPr>
            <a:xfrm>
              <a:off x="7279298" y="3634652"/>
              <a:ext cx="882831" cy="776981"/>
            </a:xfrm>
            <a:prstGeom prst="rect">
              <a:avLst/>
            </a:prstGeom>
          </p:spPr>
        </p:pic>
      </p:grpSp>
      <p:sp>
        <p:nvSpPr>
          <p:cNvPr id="78" name="Rectangle 77"/>
          <p:cNvSpPr/>
          <p:nvPr/>
        </p:nvSpPr>
        <p:spPr>
          <a:xfrm>
            <a:off x="0" y="6697663"/>
            <a:ext cx="12436475" cy="296861"/>
          </a:xfrm>
          <a:prstGeom prst="rect">
            <a:avLst/>
          </a:prstGeom>
          <a:solidFill>
            <a:schemeClr val="bg1"/>
          </a:solidFill>
        </p:spPr>
        <p:txBody>
          <a:bodyPr wrap="square" rtlCol="0" anchor="ctr">
            <a:noAutofit/>
          </a:bodyPr>
          <a:lstStyle/>
          <a:p>
            <a:pPr algn="l"/>
            <a:endParaRPr lang="en-US" sz="2400" dirty="0">
              <a:solidFill>
                <a:srgbClr val="FFFFFF"/>
              </a:solidFill>
              <a:latin typeface="+mj-lt"/>
              <a:cs typeface="Segoe UI Light"/>
            </a:endParaRPr>
          </a:p>
        </p:txBody>
      </p:sp>
      <p:grpSp>
        <p:nvGrpSpPr>
          <p:cNvPr id="3" name="Group 2"/>
          <p:cNvGrpSpPr/>
          <p:nvPr/>
        </p:nvGrpSpPr>
        <p:grpSpPr>
          <a:xfrm>
            <a:off x="0" y="4725700"/>
            <a:ext cx="12435840" cy="2268825"/>
            <a:chOff x="0" y="4725700"/>
            <a:chExt cx="12435840" cy="2268825"/>
          </a:xfrm>
        </p:grpSpPr>
        <p:sp>
          <p:nvSpPr>
            <p:cNvPr id="240" name="Rectangle 20"/>
            <p:cNvSpPr>
              <a:spLocks noChangeArrowheads="1"/>
            </p:cNvSpPr>
            <p:nvPr/>
          </p:nvSpPr>
          <p:spPr bwMode="auto">
            <a:xfrm>
              <a:off x="0" y="6938891"/>
              <a:ext cx="12435840" cy="55634"/>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nvGrpSpPr>
            <p:cNvPr id="38" name="Group 37"/>
            <p:cNvGrpSpPr/>
            <p:nvPr/>
          </p:nvGrpSpPr>
          <p:grpSpPr>
            <a:xfrm>
              <a:off x="10530312" y="4725700"/>
              <a:ext cx="1586562" cy="2206852"/>
              <a:chOff x="5110915" y="2871293"/>
              <a:chExt cx="2033173" cy="2828072"/>
            </a:xfrm>
          </p:grpSpPr>
          <p:grpSp>
            <p:nvGrpSpPr>
              <p:cNvPr id="39" name="Group 38"/>
              <p:cNvGrpSpPr/>
              <p:nvPr/>
            </p:nvGrpSpPr>
            <p:grpSpPr>
              <a:xfrm>
                <a:off x="5110915" y="3548072"/>
                <a:ext cx="794699" cy="2151293"/>
                <a:chOff x="6789906" y="3124658"/>
                <a:chExt cx="569182" cy="1540806"/>
              </a:xfrm>
            </p:grpSpPr>
            <p:sp>
              <p:nvSpPr>
                <p:cNvPr id="130" name="Rectangle 24"/>
                <p:cNvSpPr>
                  <a:spLocks noChangeArrowheads="1"/>
                </p:cNvSpPr>
                <p:nvPr/>
              </p:nvSpPr>
              <p:spPr bwMode="auto">
                <a:xfrm>
                  <a:off x="7025603" y="3406742"/>
                  <a:ext cx="97789" cy="29838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1" name="Freeform 25"/>
                <p:cNvSpPr>
                  <a:spLocks/>
                </p:cNvSpPr>
                <p:nvPr/>
              </p:nvSpPr>
              <p:spPr bwMode="auto">
                <a:xfrm>
                  <a:off x="6939096" y="4604032"/>
                  <a:ext cx="127878" cy="61432"/>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2" name="Freeform 26"/>
                <p:cNvSpPr>
                  <a:spLocks/>
                </p:cNvSpPr>
                <p:nvPr/>
              </p:nvSpPr>
              <p:spPr bwMode="auto">
                <a:xfrm>
                  <a:off x="7077004" y="4604032"/>
                  <a:ext cx="129132" cy="61432"/>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3" name="Freeform 27"/>
                <p:cNvSpPr>
                  <a:spLocks/>
                </p:cNvSpPr>
                <p:nvPr/>
              </p:nvSpPr>
              <p:spPr bwMode="auto">
                <a:xfrm>
                  <a:off x="6985484" y="3149732"/>
                  <a:ext cx="194325" cy="236951"/>
                </a:xfrm>
                <a:custGeom>
                  <a:avLst/>
                  <a:gdLst>
                    <a:gd name="T0" fmla="*/ 34 w 38"/>
                    <a:gd name="T1" fmla="*/ 26 h 46"/>
                    <a:gd name="T2" fmla="*/ 13 w 38"/>
                    <a:gd name="T3" fmla="*/ 43 h 46"/>
                    <a:gd name="T4" fmla="*/ 4 w 38"/>
                    <a:gd name="T5" fmla="*/ 18 h 46"/>
                    <a:gd name="T6" fmla="*/ 26 w 38"/>
                    <a:gd name="T7" fmla="*/ 3 h 46"/>
                    <a:gd name="T8" fmla="*/ 34 w 38"/>
                    <a:gd name="T9" fmla="*/ 26 h 46"/>
                  </a:gdLst>
                  <a:ahLst/>
                  <a:cxnLst>
                    <a:cxn ang="0">
                      <a:pos x="T0" y="T1"/>
                    </a:cxn>
                    <a:cxn ang="0">
                      <a:pos x="T2" y="T3"/>
                    </a:cxn>
                    <a:cxn ang="0">
                      <a:pos x="T4" y="T5"/>
                    </a:cxn>
                    <a:cxn ang="0">
                      <a:pos x="T6" y="T7"/>
                    </a:cxn>
                    <a:cxn ang="0">
                      <a:pos x="T8" y="T9"/>
                    </a:cxn>
                  </a:cxnLst>
                  <a:rect l="0" t="0" r="r" b="b"/>
                  <a:pathLst>
                    <a:path w="38" h="46">
                      <a:moveTo>
                        <a:pt x="34" y="26"/>
                      </a:moveTo>
                      <a:cubicBezTo>
                        <a:pt x="30" y="37"/>
                        <a:pt x="22" y="46"/>
                        <a:pt x="13" y="43"/>
                      </a:cubicBezTo>
                      <a:cubicBezTo>
                        <a:pt x="4" y="40"/>
                        <a:pt x="0" y="29"/>
                        <a:pt x="4" y="18"/>
                      </a:cubicBezTo>
                      <a:cubicBezTo>
                        <a:pt x="7" y="7"/>
                        <a:pt x="18" y="0"/>
                        <a:pt x="26" y="3"/>
                      </a:cubicBezTo>
                      <a:cubicBezTo>
                        <a:pt x="35" y="6"/>
                        <a:pt x="38" y="15"/>
                        <a:pt x="34"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4" name="Freeform 28"/>
                <p:cNvSpPr>
                  <a:spLocks/>
                </p:cNvSpPr>
                <p:nvPr/>
              </p:nvSpPr>
              <p:spPr bwMode="auto">
                <a:xfrm>
                  <a:off x="6959156" y="3124658"/>
                  <a:ext cx="190563" cy="220652"/>
                </a:xfrm>
                <a:custGeom>
                  <a:avLst/>
                  <a:gdLst>
                    <a:gd name="T0" fmla="*/ 32 w 37"/>
                    <a:gd name="T1" fmla="*/ 14 h 43"/>
                    <a:gd name="T2" fmla="*/ 29 w 37"/>
                    <a:gd name="T3" fmla="*/ 39 h 43"/>
                    <a:gd name="T4" fmla="*/ 6 w 37"/>
                    <a:gd name="T5" fmla="*/ 29 h 43"/>
                    <a:gd name="T6" fmla="*/ 9 w 37"/>
                    <a:gd name="T7" fmla="*/ 5 h 43"/>
                    <a:gd name="T8" fmla="*/ 32 w 37"/>
                    <a:gd name="T9" fmla="*/ 14 h 43"/>
                  </a:gdLst>
                  <a:ahLst/>
                  <a:cxnLst>
                    <a:cxn ang="0">
                      <a:pos x="T0" y="T1"/>
                    </a:cxn>
                    <a:cxn ang="0">
                      <a:pos x="T2" y="T3"/>
                    </a:cxn>
                    <a:cxn ang="0">
                      <a:pos x="T4" y="T5"/>
                    </a:cxn>
                    <a:cxn ang="0">
                      <a:pos x="T6" y="T7"/>
                    </a:cxn>
                    <a:cxn ang="0">
                      <a:pos x="T8" y="T9"/>
                    </a:cxn>
                  </a:cxnLst>
                  <a:rect l="0" t="0" r="r" b="b"/>
                  <a:pathLst>
                    <a:path w="37" h="43">
                      <a:moveTo>
                        <a:pt x="32" y="14"/>
                      </a:moveTo>
                      <a:cubicBezTo>
                        <a:pt x="37" y="23"/>
                        <a:pt x="36" y="34"/>
                        <a:pt x="29" y="39"/>
                      </a:cubicBezTo>
                      <a:cubicBezTo>
                        <a:pt x="21" y="43"/>
                        <a:pt x="11" y="39"/>
                        <a:pt x="6" y="29"/>
                      </a:cubicBezTo>
                      <a:cubicBezTo>
                        <a:pt x="0" y="20"/>
                        <a:pt x="2" y="9"/>
                        <a:pt x="9" y="5"/>
                      </a:cubicBezTo>
                      <a:cubicBezTo>
                        <a:pt x="16" y="0"/>
                        <a:pt x="26" y="5"/>
                        <a:pt x="32"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5" name="Freeform 29"/>
                <p:cNvSpPr>
                  <a:spLocks/>
                </p:cNvSpPr>
                <p:nvPr/>
              </p:nvSpPr>
              <p:spPr bwMode="auto">
                <a:xfrm>
                  <a:off x="7025603" y="3330266"/>
                  <a:ext cx="97789" cy="102804"/>
                </a:xfrm>
                <a:custGeom>
                  <a:avLst/>
                  <a:gdLst>
                    <a:gd name="T0" fmla="*/ 78 w 78"/>
                    <a:gd name="T1" fmla="*/ 61 h 82"/>
                    <a:gd name="T2" fmla="*/ 37 w 78"/>
                    <a:gd name="T3" fmla="*/ 82 h 82"/>
                    <a:gd name="T4" fmla="*/ 0 w 78"/>
                    <a:gd name="T5" fmla="*/ 61 h 82"/>
                    <a:gd name="T6" fmla="*/ 0 w 78"/>
                    <a:gd name="T7" fmla="*/ 0 h 82"/>
                    <a:gd name="T8" fmla="*/ 78 w 78"/>
                    <a:gd name="T9" fmla="*/ 0 h 82"/>
                    <a:gd name="T10" fmla="*/ 78 w 78"/>
                    <a:gd name="T11" fmla="*/ 61 h 82"/>
                  </a:gdLst>
                  <a:ahLst/>
                  <a:cxnLst>
                    <a:cxn ang="0">
                      <a:pos x="T0" y="T1"/>
                    </a:cxn>
                    <a:cxn ang="0">
                      <a:pos x="T2" y="T3"/>
                    </a:cxn>
                    <a:cxn ang="0">
                      <a:pos x="T4" y="T5"/>
                    </a:cxn>
                    <a:cxn ang="0">
                      <a:pos x="T6" y="T7"/>
                    </a:cxn>
                    <a:cxn ang="0">
                      <a:pos x="T8" y="T9"/>
                    </a:cxn>
                    <a:cxn ang="0">
                      <a:pos x="T10" y="T11"/>
                    </a:cxn>
                  </a:cxnLst>
                  <a:rect l="0" t="0" r="r" b="b"/>
                  <a:pathLst>
                    <a:path w="78" h="82">
                      <a:moveTo>
                        <a:pt x="78" y="61"/>
                      </a:moveTo>
                      <a:lnTo>
                        <a:pt x="37" y="82"/>
                      </a:lnTo>
                      <a:lnTo>
                        <a:pt x="0" y="61"/>
                      </a:lnTo>
                      <a:lnTo>
                        <a:pt x="0" y="0"/>
                      </a:lnTo>
                      <a:lnTo>
                        <a:pt x="78" y="0"/>
                      </a:lnTo>
                      <a:lnTo>
                        <a:pt x="78" y="6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6" name="Freeform 30"/>
                <p:cNvSpPr>
                  <a:spLocks/>
                </p:cNvSpPr>
                <p:nvPr/>
              </p:nvSpPr>
              <p:spPr bwMode="auto">
                <a:xfrm>
                  <a:off x="7046915" y="3433070"/>
                  <a:ext cx="56417" cy="389903"/>
                </a:xfrm>
                <a:custGeom>
                  <a:avLst/>
                  <a:gdLst>
                    <a:gd name="T0" fmla="*/ 33 w 45"/>
                    <a:gd name="T1" fmla="*/ 24 h 311"/>
                    <a:gd name="T2" fmla="*/ 45 w 45"/>
                    <a:gd name="T3" fmla="*/ 16 h 311"/>
                    <a:gd name="T4" fmla="*/ 20 w 45"/>
                    <a:gd name="T5" fmla="*/ 0 h 311"/>
                    <a:gd name="T6" fmla="*/ 0 w 45"/>
                    <a:gd name="T7" fmla="*/ 16 h 311"/>
                    <a:gd name="T8" fmla="*/ 8 w 45"/>
                    <a:gd name="T9" fmla="*/ 24 h 311"/>
                    <a:gd name="T10" fmla="*/ 8 w 45"/>
                    <a:gd name="T11" fmla="*/ 286 h 311"/>
                    <a:gd name="T12" fmla="*/ 20 w 45"/>
                    <a:gd name="T13" fmla="*/ 311 h 311"/>
                    <a:gd name="T14" fmla="*/ 33 w 45"/>
                    <a:gd name="T15" fmla="*/ 286 h 311"/>
                    <a:gd name="T16" fmla="*/ 33 w 45"/>
                    <a:gd name="T17" fmla="*/ 24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1">
                      <a:moveTo>
                        <a:pt x="33" y="24"/>
                      </a:moveTo>
                      <a:lnTo>
                        <a:pt x="45" y="16"/>
                      </a:lnTo>
                      <a:lnTo>
                        <a:pt x="20" y="0"/>
                      </a:lnTo>
                      <a:lnTo>
                        <a:pt x="0" y="16"/>
                      </a:lnTo>
                      <a:lnTo>
                        <a:pt x="8" y="24"/>
                      </a:lnTo>
                      <a:lnTo>
                        <a:pt x="8" y="286"/>
                      </a:lnTo>
                      <a:lnTo>
                        <a:pt x="20" y="311"/>
                      </a:lnTo>
                      <a:lnTo>
                        <a:pt x="33" y="286"/>
                      </a:lnTo>
                      <a:lnTo>
                        <a:pt x="33" y="2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7" name="Freeform 31"/>
                <p:cNvSpPr>
                  <a:spLocks/>
                </p:cNvSpPr>
                <p:nvPr/>
              </p:nvSpPr>
              <p:spPr bwMode="auto">
                <a:xfrm>
                  <a:off x="6789906" y="3438085"/>
                  <a:ext cx="210623" cy="549124"/>
                </a:xfrm>
                <a:custGeom>
                  <a:avLst/>
                  <a:gdLst>
                    <a:gd name="T0" fmla="*/ 41 w 41"/>
                    <a:gd name="T1" fmla="*/ 4 h 107"/>
                    <a:gd name="T2" fmla="*/ 25 w 41"/>
                    <a:gd name="T3" fmla="*/ 0 h 107"/>
                    <a:gd name="T4" fmla="*/ 0 w 41"/>
                    <a:gd name="T5" fmla="*/ 107 h 107"/>
                    <a:gd name="T6" fmla="*/ 16 w 41"/>
                    <a:gd name="T7" fmla="*/ 107 h 107"/>
                    <a:gd name="T8" fmla="*/ 41 w 41"/>
                    <a:gd name="T9" fmla="*/ 4 h 107"/>
                  </a:gdLst>
                  <a:ahLst/>
                  <a:cxnLst>
                    <a:cxn ang="0">
                      <a:pos x="T0" y="T1"/>
                    </a:cxn>
                    <a:cxn ang="0">
                      <a:pos x="T2" y="T3"/>
                    </a:cxn>
                    <a:cxn ang="0">
                      <a:pos x="T4" y="T5"/>
                    </a:cxn>
                    <a:cxn ang="0">
                      <a:pos x="T6" y="T7"/>
                    </a:cxn>
                    <a:cxn ang="0">
                      <a:pos x="T8" y="T9"/>
                    </a:cxn>
                  </a:cxnLst>
                  <a:rect l="0" t="0" r="r" b="b"/>
                  <a:pathLst>
                    <a:path w="41" h="107">
                      <a:moveTo>
                        <a:pt x="41" y="4"/>
                      </a:moveTo>
                      <a:cubicBezTo>
                        <a:pt x="36" y="3"/>
                        <a:pt x="30" y="1"/>
                        <a:pt x="25" y="0"/>
                      </a:cubicBezTo>
                      <a:cubicBezTo>
                        <a:pt x="9" y="34"/>
                        <a:pt x="3" y="69"/>
                        <a:pt x="0" y="107"/>
                      </a:cubicBezTo>
                      <a:cubicBezTo>
                        <a:pt x="16" y="107"/>
                        <a:pt x="16" y="107"/>
                        <a:pt x="16" y="107"/>
                      </a:cubicBezTo>
                      <a:cubicBezTo>
                        <a:pt x="20" y="71"/>
                        <a:pt x="26" y="37"/>
                        <a:pt x="41"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8" name="Freeform 33"/>
                <p:cNvSpPr>
                  <a:spLocks/>
                </p:cNvSpPr>
                <p:nvPr/>
              </p:nvSpPr>
              <p:spPr bwMode="auto">
                <a:xfrm>
                  <a:off x="6944111" y="4033595"/>
                  <a:ext cx="127878" cy="580467"/>
                </a:xfrm>
                <a:custGeom>
                  <a:avLst/>
                  <a:gdLst>
                    <a:gd name="T0" fmla="*/ 82 w 102"/>
                    <a:gd name="T1" fmla="*/ 463 h 463"/>
                    <a:gd name="T2" fmla="*/ 12 w 102"/>
                    <a:gd name="T3" fmla="*/ 463 h 463"/>
                    <a:gd name="T4" fmla="*/ 0 w 102"/>
                    <a:gd name="T5" fmla="*/ 0 h 463"/>
                    <a:gd name="T6" fmla="*/ 102 w 102"/>
                    <a:gd name="T7" fmla="*/ 0 h 463"/>
                    <a:gd name="T8" fmla="*/ 82 w 102"/>
                    <a:gd name="T9" fmla="*/ 463 h 463"/>
                  </a:gdLst>
                  <a:ahLst/>
                  <a:cxnLst>
                    <a:cxn ang="0">
                      <a:pos x="T0" y="T1"/>
                    </a:cxn>
                    <a:cxn ang="0">
                      <a:pos x="T2" y="T3"/>
                    </a:cxn>
                    <a:cxn ang="0">
                      <a:pos x="T4" y="T5"/>
                    </a:cxn>
                    <a:cxn ang="0">
                      <a:pos x="T6" y="T7"/>
                    </a:cxn>
                    <a:cxn ang="0">
                      <a:pos x="T8" y="T9"/>
                    </a:cxn>
                  </a:cxnLst>
                  <a:rect l="0" t="0" r="r" b="b"/>
                  <a:pathLst>
                    <a:path w="102" h="463">
                      <a:moveTo>
                        <a:pt x="82" y="463"/>
                      </a:moveTo>
                      <a:lnTo>
                        <a:pt x="12" y="463"/>
                      </a:lnTo>
                      <a:lnTo>
                        <a:pt x="0" y="0"/>
                      </a:lnTo>
                      <a:lnTo>
                        <a:pt x="102" y="0"/>
                      </a:lnTo>
                      <a:lnTo>
                        <a:pt x="82"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9" name="Freeform 34"/>
                <p:cNvSpPr>
                  <a:spLocks/>
                </p:cNvSpPr>
                <p:nvPr/>
              </p:nvSpPr>
              <p:spPr bwMode="auto">
                <a:xfrm>
                  <a:off x="7077004" y="4033595"/>
                  <a:ext cx="122863" cy="580467"/>
                </a:xfrm>
                <a:custGeom>
                  <a:avLst/>
                  <a:gdLst>
                    <a:gd name="T0" fmla="*/ 86 w 98"/>
                    <a:gd name="T1" fmla="*/ 463 h 463"/>
                    <a:gd name="T2" fmla="*/ 17 w 98"/>
                    <a:gd name="T3" fmla="*/ 463 h 463"/>
                    <a:gd name="T4" fmla="*/ 0 w 98"/>
                    <a:gd name="T5" fmla="*/ 0 h 463"/>
                    <a:gd name="T6" fmla="*/ 98 w 98"/>
                    <a:gd name="T7" fmla="*/ 0 h 463"/>
                    <a:gd name="T8" fmla="*/ 86 w 98"/>
                    <a:gd name="T9" fmla="*/ 463 h 463"/>
                  </a:gdLst>
                  <a:ahLst/>
                  <a:cxnLst>
                    <a:cxn ang="0">
                      <a:pos x="T0" y="T1"/>
                    </a:cxn>
                    <a:cxn ang="0">
                      <a:pos x="T2" y="T3"/>
                    </a:cxn>
                    <a:cxn ang="0">
                      <a:pos x="T4" y="T5"/>
                    </a:cxn>
                    <a:cxn ang="0">
                      <a:pos x="T6" y="T7"/>
                    </a:cxn>
                    <a:cxn ang="0">
                      <a:pos x="T8" y="T9"/>
                    </a:cxn>
                  </a:cxnLst>
                  <a:rect l="0" t="0" r="r" b="b"/>
                  <a:pathLst>
                    <a:path w="98" h="463">
                      <a:moveTo>
                        <a:pt x="86" y="463"/>
                      </a:moveTo>
                      <a:lnTo>
                        <a:pt x="17" y="463"/>
                      </a:lnTo>
                      <a:lnTo>
                        <a:pt x="0" y="0"/>
                      </a:lnTo>
                      <a:lnTo>
                        <a:pt x="98" y="0"/>
                      </a:lnTo>
                      <a:lnTo>
                        <a:pt x="86"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0" name="Freeform 35"/>
                <p:cNvSpPr>
                  <a:spLocks/>
                </p:cNvSpPr>
                <p:nvPr/>
              </p:nvSpPr>
              <p:spPr bwMode="auto">
                <a:xfrm>
                  <a:off x="6799935" y="3987208"/>
                  <a:ext cx="62685" cy="66447"/>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3" y="13"/>
                        <a:pt x="6" y="13"/>
                      </a:cubicBezTo>
                      <a:cubicBezTo>
                        <a:pt x="10"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1" name="Freeform 37"/>
                <p:cNvSpPr>
                  <a:spLocks/>
                </p:cNvSpPr>
                <p:nvPr/>
              </p:nvSpPr>
              <p:spPr bwMode="auto">
                <a:xfrm>
                  <a:off x="6912769" y="3406742"/>
                  <a:ext cx="318441" cy="626853"/>
                </a:xfrm>
                <a:custGeom>
                  <a:avLst/>
                  <a:gdLst>
                    <a:gd name="T0" fmla="*/ 168 w 254"/>
                    <a:gd name="T1" fmla="*/ 0 h 500"/>
                    <a:gd name="T2" fmla="*/ 127 w 254"/>
                    <a:gd name="T3" fmla="*/ 316 h 500"/>
                    <a:gd name="T4" fmla="*/ 90 w 254"/>
                    <a:gd name="T5" fmla="*/ 0 h 500"/>
                    <a:gd name="T6" fmla="*/ 0 w 254"/>
                    <a:gd name="T7" fmla="*/ 25 h 500"/>
                    <a:gd name="T8" fmla="*/ 5 w 254"/>
                    <a:gd name="T9" fmla="*/ 500 h 500"/>
                    <a:gd name="T10" fmla="*/ 250 w 254"/>
                    <a:gd name="T11" fmla="*/ 500 h 500"/>
                    <a:gd name="T12" fmla="*/ 254 w 254"/>
                    <a:gd name="T13" fmla="*/ 25 h 500"/>
                    <a:gd name="T14" fmla="*/ 168 w 254"/>
                    <a:gd name="T15" fmla="*/ 0 h 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4" h="500">
                      <a:moveTo>
                        <a:pt x="168" y="0"/>
                      </a:moveTo>
                      <a:lnTo>
                        <a:pt x="127" y="316"/>
                      </a:lnTo>
                      <a:lnTo>
                        <a:pt x="90" y="0"/>
                      </a:lnTo>
                      <a:lnTo>
                        <a:pt x="0" y="25"/>
                      </a:lnTo>
                      <a:lnTo>
                        <a:pt x="5" y="500"/>
                      </a:lnTo>
                      <a:lnTo>
                        <a:pt x="250" y="500"/>
                      </a:lnTo>
                      <a:lnTo>
                        <a:pt x="254" y="25"/>
                      </a:lnTo>
                      <a:lnTo>
                        <a:pt x="168"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2" name="Freeform 42"/>
                <p:cNvSpPr>
                  <a:spLocks/>
                </p:cNvSpPr>
                <p:nvPr/>
              </p:nvSpPr>
              <p:spPr bwMode="auto">
                <a:xfrm>
                  <a:off x="6995514" y="321743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3" name="Freeform 46"/>
                <p:cNvSpPr>
                  <a:spLocks/>
                </p:cNvSpPr>
                <p:nvPr/>
              </p:nvSpPr>
              <p:spPr bwMode="auto">
                <a:xfrm>
                  <a:off x="6990499" y="323247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4" name="Freeform 47"/>
                <p:cNvSpPr>
                  <a:spLocks/>
                </p:cNvSpPr>
                <p:nvPr/>
              </p:nvSpPr>
              <p:spPr bwMode="auto">
                <a:xfrm>
                  <a:off x="6990499" y="32274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5" name="Freeform 48"/>
                <p:cNvSpPr>
                  <a:spLocks/>
                </p:cNvSpPr>
                <p:nvPr/>
              </p:nvSpPr>
              <p:spPr bwMode="auto">
                <a:xfrm>
                  <a:off x="6990499" y="322244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6" name="Freeform 49"/>
                <p:cNvSpPr>
                  <a:spLocks/>
                </p:cNvSpPr>
                <p:nvPr/>
              </p:nvSpPr>
              <p:spPr bwMode="auto">
                <a:xfrm>
                  <a:off x="6990499" y="3227462"/>
                  <a:ext cx="0" cy="501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7" name="Freeform 50"/>
                <p:cNvSpPr>
                  <a:spLocks/>
                </p:cNvSpPr>
                <p:nvPr/>
              </p:nvSpPr>
              <p:spPr bwMode="auto">
                <a:xfrm>
                  <a:off x="6975454" y="3211163"/>
                  <a:ext cx="194325" cy="175519"/>
                </a:xfrm>
                <a:custGeom>
                  <a:avLst/>
                  <a:gdLst>
                    <a:gd name="T0" fmla="*/ 36 w 38"/>
                    <a:gd name="T1" fmla="*/ 8 h 34"/>
                    <a:gd name="T2" fmla="*/ 35 w 38"/>
                    <a:gd name="T3" fmla="*/ 8 h 34"/>
                    <a:gd name="T4" fmla="*/ 35 w 38"/>
                    <a:gd name="T5" fmla="*/ 5 h 34"/>
                    <a:gd name="T6" fmla="*/ 35 w 38"/>
                    <a:gd name="T7" fmla="*/ 5 h 34"/>
                    <a:gd name="T8" fmla="*/ 35 w 38"/>
                    <a:gd name="T9" fmla="*/ 4 h 34"/>
                    <a:gd name="T10" fmla="*/ 35 w 38"/>
                    <a:gd name="T11" fmla="*/ 4 h 34"/>
                    <a:gd name="T12" fmla="*/ 35 w 38"/>
                    <a:gd name="T13" fmla="*/ 4 h 34"/>
                    <a:gd name="T14" fmla="*/ 35 w 38"/>
                    <a:gd name="T15" fmla="*/ 3 h 34"/>
                    <a:gd name="T16" fmla="*/ 35 w 38"/>
                    <a:gd name="T17" fmla="*/ 3 h 34"/>
                    <a:gd name="T18" fmla="*/ 35 w 38"/>
                    <a:gd name="T19" fmla="*/ 3 h 34"/>
                    <a:gd name="T20" fmla="*/ 34 w 38"/>
                    <a:gd name="T21" fmla="*/ 2 h 34"/>
                    <a:gd name="T22" fmla="*/ 34 w 38"/>
                    <a:gd name="T23" fmla="*/ 2 h 34"/>
                    <a:gd name="T24" fmla="*/ 34 w 38"/>
                    <a:gd name="T25" fmla="*/ 1 h 34"/>
                    <a:gd name="T26" fmla="*/ 34 w 38"/>
                    <a:gd name="T27" fmla="*/ 1 h 34"/>
                    <a:gd name="T28" fmla="*/ 34 w 38"/>
                    <a:gd name="T29" fmla="*/ 1 h 34"/>
                    <a:gd name="T30" fmla="*/ 34 w 38"/>
                    <a:gd name="T31" fmla="*/ 1 h 34"/>
                    <a:gd name="T32" fmla="*/ 31 w 38"/>
                    <a:gd name="T33" fmla="*/ 1 h 34"/>
                    <a:gd name="T34" fmla="*/ 25 w 38"/>
                    <a:gd name="T35" fmla="*/ 0 h 34"/>
                    <a:gd name="T36" fmla="*/ 15 w 38"/>
                    <a:gd name="T37" fmla="*/ 1 h 34"/>
                    <a:gd name="T38" fmla="*/ 5 w 38"/>
                    <a:gd name="T39" fmla="*/ 0 h 34"/>
                    <a:gd name="T40" fmla="*/ 4 w 38"/>
                    <a:gd name="T41" fmla="*/ 1 h 34"/>
                    <a:gd name="T42" fmla="*/ 4 w 38"/>
                    <a:gd name="T43" fmla="*/ 1 h 34"/>
                    <a:gd name="T44" fmla="*/ 3 w 38"/>
                    <a:gd name="T45" fmla="*/ 2 h 34"/>
                    <a:gd name="T46" fmla="*/ 3 w 38"/>
                    <a:gd name="T47" fmla="*/ 2 h 34"/>
                    <a:gd name="T48" fmla="*/ 3 w 38"/>
                    <a:gd name="T49" fmla="*/ 3 h 34"/>
                    <a:gd name="T50" fmla="*/ 3 w 38"/>
                    <a:gd name="T51" fmla="*/ 3 h 34"/>
                    <a:gd name="T52" fmla="*/ 3 w 38"/>
                    <a:gd name="T53" fmla="*/ 3 h 34"/>
                    <a:gd name="T54" fmla="*/ 3 w 38"/>
                    <a:gd name="T55" fmla="*/ 4 h 34"/>
                    <a:gd name="T56" fmla="*/ 3 w 38"/>
                    <a:gd name="T57" fmla="*/ 4 h 34"/>
                    <a:gd name="T58" fmla="*/ 3 w 38"/>
                    <a:gd name="T59" fmla="*/ 4 h 34"/>
                    <a:gd name="T60" fmla="*/ 3 w 38"/>
                    <a:gd name="T61" fmla="*/ 5 h 34"/>
                    <a:gd name="T62" fmla="*/ 3 w 38"/>
                    <a:gd name="T63" fmla="*/ 8 h 34"/>
                    <a:gd name="T64" fmla="*/ 2 w 38"/>
                    <a:gd name="T65" fmla="*/ 8 h 34"/>
                    <a:gd name="T66" fmla="*/ 0 w 38"/>
                    <a:gd name="T67" fmla="*/ 10 h 34"/>
                    <a:gd name="T68" fmla="*/ 0 w 38"/>
                    <a:gd name="T69" fmla="*/ 16 h 34"/>
                    <a:gd name="T70" fmla="*/ 3 w 38"/>
                    <a:gd name="T71" fmla="*/ 19 h 34"/>
                    <a:gd name="T72" fmla="*/ 12 w 38"/>
                    <a:gd name="T73" fmla="*/ 34 h 34"/>
                    <a:gd name="T74" fmla="*/ 26 w 38"/>
                    <a:gd name="T75" fmla="*/ 34 h 34"/>
                    <a:gd name="T76" fmla="*/ 35 w 38"/>
                    <a:gd name="T77" fmla="*/ 19 h 34"/>
                    <a:gd name="T78" fmla="*/ 38 w 38"/>
                    <a:gd name="T79" fmla="*/ 16 h 34"/>
                    <a:gd name="T80" fmla="*/ 38 w 38"/>
                    <a:gd name="T81" fmla="*/ 10 h 34"/>
                    <a:gd name="T82" fmla="*/ 36 w 38"/>
                    <a:gd name="T8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 h="34">
                      <a:moveTo>
                        <a:pt x="36" y="8"/>
                      </a:moveTo>
                      <a:cubicBezTo>
                        <a:pt x="36" y="8"/>
                        <a:pt x="36" y="8"/>
                        <a:pt x="35" y="8"/>
                      </a:cubicBezTo>
                      <a:cubicBezTo>
                        <a:pt x="35" y="5"/>
                        <a:pt x="35" y="5"/>
                        <a:pt x="35" y="5"/>
                      </a:cubicBezTo>
                      <a:cubicBezTo>
                        <a:pt x="35" y="5"/>
                        <a:pt x="35" y="5"/>
                        <a:pt x="35" y="5"/>
                      </a:cubicBezTo>
                      <a:cubicBezTo>
                        <a:pt x="35" y="4"/>
                        <a:pt x="35" y="4"/>
                        <a:pt x="35" y="4"/>
                      </a:cubicBezTo>
                      <a:cubicBezTo>
                        <a:pt x="35" y="4"/>
                        <a:pt x="35" y="4"/>
                        <a:pt x="35" y="4"/>
                      </a:cubicBezTo>
                      <a:cubicBezTo>
                        <a:pt x="35" y="4"/>
                        <a:pt x="35" y="4"/>
                        <a:pt x="35" y="4"/>
                      </a:cubicBezTo>
                      <a:cubicBezTo>
                        <a:pt x="35" y="3"/>
                        <a:pt x="35" y="3"/>
                        <a:pt x="35" y="3"/>
                      </a:cubicBezTo>
                      <a:cubicBezTo>
                        <a:pt x="35" y="3"/>
                        <a:pt x="35" y="3"/>
                        <a:pt x="35" y="3"/>
                      </a:cubicBezTo>
                      <a:cubicBezTo>
                        <a:pt x="35" y="3"/>
                        <a:pt x="35" y="3"/>
                        <a:pt x="35" y="3"/>
                      </a:cubicBezTo>
                      <a:cubicBezTo>
                        <a:pt x="35" y="2"/>
                        <a:pt x="35" y="2"/>
                        <a:pt x="34" y="2"/>
                      </a:cubicBezTo>
                      <a:cubicBezTo>
                        <a:pt x="34" y="2"/>
                        <a:pt x="34" y="2"/>
                        <a:pt x="34" y="2"/>
                      </a:cubicBezTo>
                      <a:cubicBezTo>
                        <a:pt x="34" y="2"/>
                        <a:pt x="34" y="1"/>
                        <a:pt x="34" y="1"/>
                      </a:cubicBezTo>
                      <a:cubicBezTo>
                        <a:pt x="34" y="1"/>
                        <a:pt x="34" y="1"/>
                        <a:pt x="34" y="1"/>
                      </a:cubicBezTo>
                      <a:cubicBezTo>
                        <a:pt x="34" y="1"/>
                        <a:pt x="34" y="1"/>
                        <a:pt x="34" y="1"/>
                      </a:cubicBezTo>
                      <a:cubicBezTo>
                        <a:pt x="34" y="1"/>
                        <a:pt x="34" y="1"/>
                        <a:pt x="34" y="1"/>
                      </a:cubicBezTo>
                      <a:cubicBezTo>
                        <a:pt x="33" y="1"/>
                        <a:pt x="32" y="1"/>
                        <a:pt x="31" y="1"/>
                      </a:cubicBezTo>
                      <a:cubicBezTo>
                        <a:pt x="28" y="1"/>
                        <a:pt x="27" y="1"/>
                        <a:pt x="25" y="0"/>
                      </a:cubicBezTo>
                      <a:cubicBezTo>
                        <a:pt x="23" y="1"/>
                        <a:pt x="19" y="1"/>
                        <a:pt x="15" y="1"/>
                      </a:cubicBezTo>
                      <a:cubicBezTo>
                        <a:pt x="11" y="1"/>
                        <a:pt x="8" y="0"/>
                        <a:pt x="5" y="0"/>
                      </a:cubicBezTo>
                      <a:cubicBezTo>
                        <a:pt x="5" y="0"/>
                        <a:pt x="4" y="1"/>
                        <a:pt x="4" y="1"/>
                      </a:cubicBezTo>
                      <a:cubicBezTo>
                        <a:pt x="4" y="1"/>
                        <a:pt x="4" y="1"/>
                        <a:pt x="4" y="1"/>
                      </a:cubicBezTo>
                      <a:cubicBezTo>
                        <a:pt x="4" y="2"/>
                        <a:pt x="3" y="2"/>
                        <a:pt x="3" y="2"/>
                      </a:cubicBezTo>
                      <a:cubicBezTo>
                        <a:pt x="3" y="2"/>
                        <a:pt x="3" y="2"/>
                        <a:pt x="3" y="2"/>
                      </a:cubicBezTo>
                      <a:cubicBezTo>
                        <a:pt x="3" y="2"/>
                        <a:pt x="3" y="3"/>
                        <a:pt x="3" y="3"/>
                      </a:cubicBezTo>
                      <a:cubicBezTo>
                        <a:pt x="3" y="3"/>
                        <a:pt x="3" y="3"/>
                        <a:pt x="3" y="3"/>
                      </a:cubicBezTo>
                      <a:cubicBezTo>
                        <a:pt x="3" y="3"/>
                        <a:pt x="3" y="3"/>
                        <a:pt x="3" y="3"/>
                      </a:cubicBezTo>
                      <a:cubicBezTo>
                        <a:pt x="3" y="4"/>
                        <a:pt x="3" y="4"/>
                        <a:pt x="3" y="4"/>
                      </a:cubicBezTo>
                      <a:cubicBezTo>
                        <a:pt x="3" y="4"/>
                        <a:pt x="3" y="4"/>
                        <a:pt x="3" y="4"/>
                      </a:cubicBezTo>
                      <a:cubicBezTo>
                        <a:pt x="3" y="4"/>
                        <a:pt x="3" y="4"/>
                        <a:pt x="3" y="4"/>
                      </a:cubicBezTo>
                      <a:cubicBezTo>
                        <a:pt x="3" y="5"/>
                        <a:pt x="3" y="5"/>
                        <a:pt x="3" y="5"/>
                      </a:cubicBezTo>
                      <a:cubicBezTo>
                        <a:pt x="3" y="8"/>
                        <a:pt x="3" y="8"/>
                        <a:pt x="3" y="8"/>
                      </a:cubicBezTo>
                      <a:cubicBezTo>
                        <a:pt x="2" y="8"/>
                        <a:pt x="2" y="8"/>
                        <a:pt x="2" y="8"/>
                      </a:cubicBezTo>
                      <a:cubicBezTo>
                        <a:pt x="1" y="8"/>
                        <a:pt x="0" y="9"/>
                        <a:pt x="0" y="10"/>
                      </a:cubicBezTo>
                      <a:cubicBezTo>
                        <a:pt x="0" y="16"/>
                        <a:pt x="0" y="16"/>
                        <a:pt x="0" y="16"/>
                      </a:cubicBezTo>
                      <a:cubicBezTo>
                        <a:pt x="0" y="18"/>
                        <a:pt x="1" y="19"/>
                        <a:pt x="3" y="19"/>
                      </a:cubicBezTo>
                      <a:cubicBezTo>
                        <a:pt x="3" y="19"/>
                        <a:pt x="7" y="34"/>
                        <a:pt x="12" y="34"/>
                      </a:cubicBezTo>
                      <a:cubicBezTo>
                        <a:pt x="26" y="34"/>
                        <a:pt x="26" y="34"/>
                        <a:pt x="26" y="34"/>
                      </a:cubicBezTo>
                      <a:cubicBezTo>
                        <a:pt x="31" y="34"/>
                        <a:pt x="35" y="19"/>
                        <a:pt x="35" y="19"/>
                      </a:cubicBezTo>
                      <a:cubicBezTo>
                        <a:pt x="37" y="19"/>
                        <a:pt x="38" y="18"/>
                        <a:pt x="38" y="16"/>
                      </a:cubicBezTo>
                      <a:cubicBezTo>
                        <a:pt x="38" y="10"/>
                        <a:pt x="38" y="10"/>
                        <a:pt x="38" y="10"/>
                      </a:cubicBezTo>
                      <a:cubicBezTo>
                        <a:pt x="38" y="9"/>
                        <a:pt x="37" y="8"/>
                        <a:pt x="36" y="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8" name="Freeform 51"/>
                <p:cNvSpPr>
                  <a:spLocks noEditPoints="1"/>
                </p:cNvSpPr>
                <p:nvPr/>
              </p:nvSpPr>
              <p:spPr bwMode="auto">
                <a:xfrm>
                  <a:off x="6990499" y="3242506"/>
                  <a:ext cx="169251" cy="56417"/>
                </a:xfrm>
                <a:custGeom>
                  <a:avLst/>
                  <a:gdLst>
                    <a:gd name="T0" fmla="*/ 32 w 33"/>
                    <a:gd name="T1" fmla="*/ 1 h 11"/>
                    <a:gd name="T2" fmla="*/ 24 w 33"/>
                    <a:gd name="T3" fmla="*/ 1 h 11"/>
                    <a:gd name="T4" fmla="*/ 16 w 33"/>
                    <a:gd name="T5" fmla="*/ 2 h 11"/>
                    <a:gd name="T6" fmla="*/ 9 w 33"/>
                    <a:gd name="T7" fmla="*/ 1 h 11"/>
                    <a:gd name="T8" fmla="*/ 0 w 33"/>
                    <a:gd name="T9" fmla="*/ 1 h 11"/>
                    <a:gd name="T10" fmla="*/ 0 w 33"/>
                    <a:gd name="T11" fmla="*/ 2 h 11"/>
                    <a:gd name="T12" fmla="*/ 1 w 33"/>
                    <a:gd name="T13" fmla="*/ 4 h 11"/>
                    <a:gd name="T14" fmla="*/ 2 w 33"/>
                    <a:gd name="T15" fmla="*/ 6 h 11"/>
                    <a:gd name="T16" fmla="*/ 10 w 33"/>
                    <a:gd name="T17" fmla="*/ 10 h 11"/>
                    <a:gd name="T18" fmla="*/ 15 w 33"/>
                    <a:gd name="T19" fmla="*/ 5 h 11"/>
                    <a:gd name="T20" fmla="*/ 16 w 33"/>
                    <a:gd name="T21" fmla="*/ 4 h 11"/>
                    <a:gd name="T22" fmla="*/ 18 w 33"/>
                    <a:gd name="T23" fmla="*/ 5 h 11"/>
                    <a:gd name="T24" fmla="*/ 23 w 33"/>
                    <a:gd name="T25" fmla="*/ 10 h 11"/>
                    <a:gd name="T26" fmla="*/ 31 w 33"/>
                    <a:gd name="T27" fmla="*/ 6 h 11"/>
                    <a:gd name="T28" fmla="*/ 32 w 33"/>
                    <a:gd name="T29" fmla="*/ 4 h 11"/>
                    <a:gd name="T30" fmla="*/ 32 w 33"/>
                    <a:gd name="T31" fmla="*/ 2 h 11"/>
                    <a:gd name="T32" fmla="*/ 32 w 33"/>
                    <a:gd name="T33" fmla="*/ 1 h 11"/>
                    <a:gd name="T34" fmla="*/ 12 w 33"/>
                    <a:gd name="T35" fmla="*/ 8 h 11"/>
                    <a:gd name="T36" fmla="*/ 7 w 33"/>
                    <a:gd name="T37" fmla="*/ 10 h 11"/>
                    <a:gd name="T38" fmla="*/ 3 w 33"/>
                    <a:gd name="T39" fmla="*/ 4 h 11"/>
                    <a:gd name="T40" fmla="*/ 9 w 33"/>
                    <a:gd name="T41" fmla="*/ 2 h 11"/>
                    <a:gd name="T42" fmla="*/ 13 w 33"/>
                    <a:gd name="T43" fmla="*/ 3 h 11"/>
                    <a:gd name="T44" fmla="*/ 12 w 33"/>
                    <a:gd name="T45" fmla="*/ 8 h 11"/>
                    <a:gd name="T46" fmla="*/ 26 w 33"/>
                    <a:gd name="T47" fmla="*/ 10 h 11"/>
                    <a:gd name="T48" fmla="*/ 20 w 33"/>
                    <a:gd name="T49" fmla="*/ 8 h 11"/>
                    <a:gd name="T50" fmla="*/ 20 w 33"/>
                    <a:gd name="T51" fmla="*/ 3 h 11"/>
                    <a:gd name="T52" fmla="*/ 24 w 33"/>
                    <a:gd name="T53" fmla="*/ 2 h 11"/>
                    <a:gd name="T54" fmla="*/ 30 w 33"/>
                    <a:gd name="T55" fmla="*/ 4 h 11"/>
                    <a:gd name="T56" fmla="*/ 26 w 33"/>
                    <a:gd name="T5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11">
                      <a:moveTo>
                        <a:pt x="32" y="1"/>
                      </a:moveTo>
                      <a:cubicBezTo>
                        <a:pt x="32" y="1"/>
                        <a:pt x="28" y="0"/>
                        <a:pt x="24" y="1"/>
                      </a:cubicBezTo>
                      <a:cubicBezTo>
                        <a:pt x="21" y="1"/>
                        <a:pt x="18" y="2"/>
                        <a:pt x="16" y="2"/>
                      </a:cubicBezTo>
                      <a:cubicBezTo>
                        <a:pt x="15" y="2"/>
                        <a:pt x="12" y="1"/>
                        <a:pt x="9" y="1"/>
                      </a:cubicBezTo>
                      <a:cubicBezTo>
                        <a:pt x="5" y="0"/>
                        <a:pt x="0" y="1"/>
                        <a:pt x="0" y="1"/>
                      </a:cubicBezTo>
                      <a:cubicBezTo>
                        <a:pt x="0" y="1"/>
                        <a:pt x="0" y="2"/>
                        <a:pt x="0" y="2"/>
                      </a:cubicBezTo>
                      <a:cubicBezTo>
                        <a:pt x="0" y="3"/>
                        <a:pt x="0" y="3"/>
                        <a:pt x="1" y="4"/>
                      </a:cubicBezTo>
                      <a:cubicBezTo>
                        <a:pt x="2" y="4"/>
                        <a:pt x="2" y="6"/>
                        <a:pt x="2" y="6"/>
                      </a:cubicBezTo>
                      <a:cubicBezTo>
                        <a:pt x="3" y="10"/>
                        <a:pt x="6" y="11"/>
                        <a:pt x="10" y="10"/>
                      </a:cubicBezTo>
                      <a:cubicBezTo>
                        <a:pt x="14" y="10"/>
                        <a:pt x="15" y="5"/>
                        <a:pt x="15" y="5"/>
                      </a:cubicBezTo>
                      <a:cubicBezTo>
                        <a:pt x="16" y="4"/>
                        <a:pt x="16" y="4"/>
                        <a:pt x="16" y="4"/>
                      </a:cubicBezTo>
                      <a:cubicBezTo>
                        <a:pt x="16" y="4"/>
                        <a:pt x="17" y="4"/>
                        <a:pt x="18" y="5"/>
                      </a:cubicBezTo>
                      <a:cubicBezTo>
                        <a:pt x="18" y="5"/>
                        <a:pt x="19" y="10"/>
                        <a:pt x="23" y="10"/>
                      </a:cubicBezTo>
                      <a:cubicBezTo>
                        <a:pt x="27" y="11"/>
                        <a:pt x="30" y="10"/>
                        <a:pt x="31" y="6"/>
                      </a:cubicBezTo>
                      <a:cubicBezTo>
                        <a:pt x="31" y="6"/>
                        <a:pt x="31" y="4"/>
                        <a:pt x="32" y="4"/>
                      </a:cubicBezTo>
                      <a:cubicBezTo>
                        <a:pt x="32" y="3"/>
                        <a:pt x="32" y="3"/>
                        <a:pt x="32" y="2"/>
                      </a:cubicBezTo>
                      <a:cubicBezTo>
                        <a:pt x="33" y="2"/>
                        <a:pt x="33" y="1"/>
                        <a:pt x="32" y="1"/>
                      </a:cubicBezTo>
                      <a:close/>
                      <a:moveTo>
                        <a:pt x="12" y="8"/>
                      </a:moveTo>
                      <a:cubicBezTo>
                        <a:pt x="11" y="10"/>
                        <a:pt x="9" y="10"/>
                        <a:pt x="7" y="10"/>
                      </a:cubicBezTo>
                      <a:cubicBezTo>
                        <a:pt x="4" y="9"/>
                        <a:pt x="3" y="7"/>
                        <a:pt x="3" y="4"/>
                      </a:cubicBezTo>
                      <a:cubicBezTo>
                        <a:pt x="3" y="1"/>
                        <a:pt x="9" y="2"/>
                        <a:pt x="9" y="2"/>
                      </a:cubicBezTo>
                      <a:cubicBezTo>
                        <a:pt x="11" y="2"/>
                        <a:pt x="11" y="2"/>
                        <a:pt x="13" y="3"/>
                      </a:cubicBezTo>
                      <a:cubicBezTo>
                        <a:pt x="15" y="3"/>
                        <a:pt x="14" y="7"/>
                        <a:pt x="12" y="8"/>
                      </a:cubicBezTo>
                      <a:close/>
                      <a:moveTo>
                        <a:pt x="26" y="10"/>
                      </a:moveTo>
                      <a:cubicBezTo>
                        <a:pt x="24" y="10"/>
                        <a:pt x="22" y="10"/>
                        <a:pt x="20" y="8"/>
                      </a:cubicBezTo>
                      <a:cubicBezTo>
                        <a:pt x="19" y="7"/>
                        <a:pt x="18" y="3"/>
                        <a:pt x="20" y="3"/>
                      </a:cubicBezTo>
                      <a:cubicBezTo>
                        <a:pt x="22" y="2"/>
                        <a:pt x="22" y="2"/>
                        <a:pt x="24" y="2"/>
                      </a:cubicBezTo>
                      <a:cubicBezTo>
                        <a:pt x="24" y="2"/>
                        <a:pt x="30" y="1"/>
                        <a:pt x="30" y="4"/>
                      </a:cubicBezTo>
                      <a:cubicBezTo>
                        <a:pt x="30" y="7"/>
                        <a:pt x="29" y="9"/>
                        <a:pt x="26"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9" name="Oval 52"/>
                <p:cNvSpPr>
                  <a:spLocks noChangeArrowheads="1"/>
                </p:cNvSpPr>
                <p:nvPr/>
              </p:nvSpPr>
              <p:spPr bwMode="auto">
                <a:xfrm>
                  <a:off x="6995514" y="3252536"/>
                  <a:ext cx="5015" cy="50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50" name="Freeform 32"/>
                <p:cNvSpPr>
                  <a:spLocks/>
                </p:cNvSpPr>
                <p:nvPr/>
              </p:nvSpPr>
              <p:spPr bwMode="auto">
                <a:xfrm>
                  <a:off x="7149719" y="3438085"/>
                  <a:ext cx="209369" cy="549124"/>
                </a:xfrm>
                <a:custGeom>
                  <a:avLst/>
                  <a:gdLst>
                    <a:gd name="T0" fmla="*/ 0 w 41"/>
                    <a:gd name="T1" fmla="*/ 4 h 107"/>
                    <a:gd name="T2" fmla="*/ 16 w 41"/>
                    <a:gd name="T3" fmla="*/ 0 h 107"/>
                    <a:gd name="T4" fmla="*/ 41 w 41"/>
                    <a:gd name="T5" fmla="*/ 107 h 107"/>
                    <a:gd name="T6" fmla="*/ 25 w 41"/>
                    <a:gd name="T7" fmla="*/ 107 h 107"/>
                    <a:gd name="T8" fmla="*/ 0 w 41"/>
                    <a:gd name="T9" fmla="*/ 4 h 107"/>
                  </a:gdLst>
                  <a:ahLst/>
                  <a:cxnLst>
                    <a:cxn ang="0">
                      <a:pos x="T0" y="T1"/>
                    </a:cxn>
                    <a:cxn ang="0">
                      <a:pos x="T2" y="T3"/>
                    </a:cxn>
                    <a:cxn ang="0">
                      <a:pos x="T4" y="T5"/>
                    </a:cxn>
                    <a:cxn ang="0">
                      <a:pos x="T6" y="T7"/>
                    </a:cxn>
                    <a:cxn ang="0">
                      <a:pos x="T8" y="T9"/>
                    </a:cxn>
                  </a:cxnLst>
                  <a:rect l="0" t="0" r="r" b="b"/>
                  <a:pathLst>
                    <a:path w="41" h="107">
                      <a:moveTo>
                        <a:pt x="0" y="4"/>
                      </a:moveTo>
                      <a:cubicBezTo>
                        <a:pt x="5" y="3"/>
                        <a:pt x="11" y="1"/>
                        <a:pt x="16" y="0"/>
                      </a:cubicBezTo>
                      <a:cubicBezTo>
                        <a:pt x="32" y="34"/>
                        <a:pt x="38" y="69"/>
                        <a:pt x="41" y="107"/>
                      </a:cubicBezTo>
                      <a:cubicBezTo>
                        <a:pt x="25" y="107"/>
                        <a:pt x="25" y="107"/>
                        <a:pt x="25" y="107"/>
                      </a:cubicBezTo>
                      <a:cubicBezTo>
                        <a:pt x="21" y="71"/>
                        <a:pt x="15" y="37"/>
                        <a:pt x="0"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nvGrpSpPr>
              <p:cNvPr id="40" name="Group 39"/>
              <p:cNvGrpSpPr/>
              <p:nvPr/>
            </p:nvGrpSpPr>
            <p:grpSpPr>
              <a:xfrm>
                <a:off x="5503885" y="3189504"/>
                <a:ext cx="904327" cy="2509861"/>
                <a:chOff x="7138436" y="2914035"/>
                <a:chExt cx="641898" cy="1781518"/>
              </a:xfrm>
            </p:grpSpPr>
            <p:sp>
              <p:nvSpPr>
                <p:cNvPr id="98" name="Freeform 36"/>
                <p:cNvSpPr>
                  <a:spLocks/>
                </p:cNvSpPr>
                <p:nvPr/>
              </p:nvSpPr>
              <p:spPr bwMode="auto">
                <a:xfrm>
                  <a:off x="7287627" y="3987208"/>
                  <a:ext cx="61432" cy="66447"/>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2" y="13"/>
                        <a:pt x="6" y="13"/>
                      </a:cubicBezTo>
                      <a:cubicBezTo>
                        <a:pt x="9"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99" name="Freeform 38"/>
                <p:cNvSpPr>
                  <a:spLocks/>
                </p:cNvSpPr>
                <p:nvPr/>
              </p:nvSpPr>
              <p:spPr bwMode="auto">
                <a:xfrm>
                  <a:off x="7154734" y="3227462"/>
                  <a:ext cx="0" cy="501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00" name="Freeform 39"/>
                <p:cNvSpPr>
                  <a:spLocks/>
                </p:cNvSpPr>
                <p:nvPr/>
              </p:nvSpPr>
              <p:spPr bwMode="auto">
                <a:xfrm>
                  <a:off x="7154734" y="32274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01" name="Freeform 40"/>
                <p:cNvSpPr>
                  <a:spLocks/>
                </p:cNvSpPr>
                <p:nvPr/>
              </p:nvSpPr>
              <p:spPr bwMode="auto">
                <a:xfrm>
                  <a:off x="7149719" y="321743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02" name="Freeform 41"/>
                <p:cNvSpPr>
                  <a:spLocks/>
                </p:cNvSpPr>
                <p:nvPr/>
              </p:nvSpPr>
              <p:spPr bwMode="auto">
                <a:xfrm>
                  <a:off x="7149719" y="322244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03" name="Freeform 43"/>
                <p:cNvSpPr>
                  <a:spLocks/>
                </p:cNvSpPr>
                <p:nvPr/>
              </p:nvSpPr>
              <p:spPr bwMode="auto">
                <a:xfrm>
                  <a:off x="7154734" y="323247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04" name="Freeform 44"/>
                <p:cNvSpPr>
                  <a:spLocks/>
                </p:cNvSpPr>
                <p:nvPr/>
              </p:nvSpPr>
              <p:spPr bwMode="auto">
                <a:xfrm>
                  <a:off x="7154734" y="32374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05" name="Rectangle 45"/>
                <p:cNvSpPr>
                  <a:spLocks noChangeArrowheads="1"/>
                </p:cNvSpPr>
                <p:nvPr/>
              </p:nvSpPr>
              <p:spPr bwMode="auto">
                <a:xfrm>
                  <a:off x="7149719" y="3217432"/>
                  <a:ext cx="1254" cy="1254"/>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06" name="Oval 53"/>
                <p:cNvSpPr>
                  <a:spLocks noChangeArrowheads="1"/>
                </p:cNvSpPr>
                <p:nvPr/>
              </p:nvSpPr>
              <p:spPr bwMode="auto">
                <a:xfrm>
                  <a:off x="7149719" y="3252536"/>
                  <a:ext cx="5015" cy="50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07" name="Freeform 54"/>
                <p:cNvSpPr>
                  <a:spLocks/>
                </p:cNvSpPr>
                <p:nvPr/>
              </p:nvSpPr>
              <p:spPr bwMode="auto">
                <a:xfrm>
                  <a:off x="7390431" y="3217432"/>
                  <a:ext cx="137908" cy="147937"/>
                </a:xfrm>
                <a:custGeom>
                  <a:avLst/>
                  <a:gdLst>
                    <a:gd name="T0" fmla="*/ 0 w 110"/>
                    <a:gd name="T1" fmla="*/ 12 h 118"/>
                    <a:gd name="T2" fmla="*/ 8 w 110"/>
                    <a:gd name="T3" fmla="*/ 0 h 118"/>
                    <a:gd name="T4" fmla="*/ 98 w 110"/>
                    <a:gd name="T5" fmla="*/ 0 h 118"/>
                    <a:gd name="T6" fmla="*/ 110 w 110"/>
                    <a:gd name="T7" fmla="*/ 12 h 118"/>
                    <a:gd name="T8" fmla="*/ 82 w 110"/>
                    <a:gd name="T9" fmla="*/ 110 h 118"/>
                    <a:gd name="T10" fmla="*/ 41 w 110"/>
                    <a:gd name="T11" fmla="*/ 118 h 118"/>
                    <a:gd name="T12" fmla="*/ 4 w 110"/>
                    <a:gd name="T13" fmla="*/ 73 h 118"/>
                    <a:gd name="T14" fmla="*/ 0 w 110"/>
                    <a:gd name="T15" fmla="*/ 12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118">
                      <a:moveTo>
                        <a:pt x="0" y="12"/>
                      </a:moveTo>
                      <a:lnTo>
                        <a:pt x="8" y="0"/>
                      </a:lnTo>
                      <a:lnTo>
                        <a:pt x="98" y="0"/>
                      </a:lnTo>
                      <a:lnTo>
                        <a:pt x="110" y="12"/>
                      </a:lnTo>
                      <a:lnTo>
                        <a:pt x="82" y="110"/>
                      </a:lnTo>
                      <a:lnTo>
                        <a:pt x="41" y="118"/>
                      </a:lnTo>
                      <a:lnTo>
                        <a:pt x="4" y="73"/>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08" name="Freeform 55"/>
                <p:cNvSpPr>
                  <a:spLocks/>
                </p:cNvSpPr>
                <p:nvPr/>
              </p:nvSpPr>
              <p:spPr bwMode="auto">
                <a:xfrm>
                  <a:off x="7307686" y="4624091"/>
                  <a:ext cx="139162" cy="71462"/>
                </a:xfrm>
                <a:custGeom>
                  <a:avLst/>
                  <a:gdLst>
                    <a:gd name="T0" fmla="*/ 14 w 27"/>
                    <a:gd name="T1" fmla="*/ 0 h 14"/>
                    <a:gd name="T2" fmla="*/ 0 w 27"/>
                    <a:gd name="T3" fmla="*/ 14 h 14"/>
                    <a:gd name="T4" fmla="*/ 27 w 27"/>
                    <a:gd name="T5" fmla="*/ 14 h 14"/>
                    <a:gd name="T6" fmla="*/ 14 w 27"/>
                    <a:gd name="T7" fmla="*/ 0 h 14"/>
                  </a:gdLst>
                  <a:ahLst/>
                  <a:cxnLst>
                    <a:cxn ang="0">
                      <a:pos x="T0" y="T1"/>
                    </a:cxn>
                    <a:cxn ang="0">
                      <a:pos x="T2" y="T3"/>
                    </a:cxn>
                    <a:cxn ang="0">
                      <a:pos x="T4" y="T5"/>
                    </a:cxn>
                    <a:cxn ang="0">
                      <a:pos x="T6" y="T7"/>
                    </a:cxn>
                  </a:cxnLst>
                  <a:rect l="0" t="0" r="r" b="b"/>
                  <a:pathLst>
                    <a:path w="27" h="14">
                      <a:moveTo>
                        <a:pt x="14" y="0"/>
                      </a:moveTo>
                      <a:cubicBezTo>
                        <a:pt x="6" y="0"/>
                        <a:pt x="0" y="6"/>
                        <a:pt x="0" y="14"/>
                      </a:cubicBezTo>
                      <a:cubicBezTo>
                        <a:pt x="27" y="14"/>
                        <a:pt x="27" y="14"/>
                        <a:pt x="27" y="14"/>
                      </a:cubicBezTo>
                      <a:cubicBezTo>
                        <a:pt x="27" y="6"/>
                        <a:pt x="21" y="0"/>
                        <a:pt x="1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09" name="Freeform 56"/>
                <p:cNvSpPr>
                  <a:spLocks/>
                </p:cNvSpPr>
                <p:nvPr/>
              </p:nvSpPr>
              <p:spPr bwMode="auto">
                <a:xfrm>
                  <a:off x="7292642" y="3874375"/>
                  <a:ext cx="174266" cy="764761"/>
                </a:xfrm>
                <a:custGeom>
                  <a:avLst/>
                  <a:gdLst>
                    <a:gd name="T0" fmla="*/ 106 w 139"/>
                    <a:gd name="T1" fmla="*/ 610 h 610"/>
                    <a:gd name="T2" fmla="*/ 25 w 139"/>
                    <a:gd name="T3" fmla="*/ 610 h 610"/>
                    <a:gd name="T4" fmla="*/ 0 w 139"/>
                    <a:gd name="T5" fmla="*/ 0 h 610"/>
                    <a:gd name="T6" fmla="*/ 139 w 139"/>
                    <a:gd name="T7" fmla="*/ 0 h 610"/>
                    <a:gd name="T8" fmla="*/ 106 w 139"/>
                    <a:gd name="T9" fmla="*/ 610 h 610"/>
                  </a:gdLst>
                  <a:ahLst/>
                  <a:cxnLst>
                    <a:cxn ang="0">
                      <a:pos x="T0" y="T1"/>
                    </a:cxn>
                    <a:cxn ang="0">
                      <a:pos x="T2" y="T3"/>
                    </a:cxn>
                    <a:cxn ang="0">
                      <a:pos x="T4" y="T5"/>
                    </a:cxn>
                    <a:cxn ang="0">
                      <a:pos x="T6" y="T7"/>
                    </a:cxn>
                    <a:cxn ang="0">
                      <a:pos x="T8" y="T9"/>
                    </a:cxn>
                  </a:cxnLst>
                  <a:rect l="0" t="0" r="r" b="b"/>
                  <a:pathLst>
                    <a:path w="139" h="610">
                      <a:moveTo>
                        <a:pt x="106" y="610"/>
                      </a:moveTo>
                      <a:lnTo>
                        <a:pt x="25" y="610"/>
                      </a:lnTo>
                      <a:lnTo>
                        <a:pt x="0" y="0"/>
                      </a:lnTo>
                      <a:lnTo>
                        <a:pt x="139" y="0"/>
                      </a:lnTo>
                      <a:lnTo>
                        <a:pt x="106" y="6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0" name="Freeform 57"/>
                <p:cNvSpPr>
                  <a:spLocks/>
                </p:cNvSpPr>
                <p:nvPr/>
              </p:nvSpPr>
              <p:spPr bwMode="auto">
                <a:xfrm>
                  <a:off x="7446848" y="3874375"/>
                  <a:ext cx="174266" cy="764761"/>
                </a:xfrm>
                <a:custGeom>
                  <a:avLst/>
                  <a:gdLst>
                    <a:gd name="T0" fmla="*/ 114 w 139"/>
                    <a:gd name="T1" fmla="*/ 610 h 610"/>
                    <a:gd name="T2" fmla="*/ 33 w 139"/>
                    <a:gd name="T3" fmla="*/ 610 h 610"/>
                    <a:gd name="T4" fmla="*/ 0 w 139"/>
                    <a:gd name="T5" fmla="*/ 0 h 610"/>
                    <a:gd name="T6" fmla="*/ 139 w 139"/>
                    <a:gd name="T7" fmla="*/ 0 h 610"/>
                    <a:gd name="T8" fmla="*/ 114 w 139"/>
                    <a:gd name="T9" fmla="*/ 610 h 610"/>
                  </a:gdLst>
                  <a:ahLst/>
                  <a:cxnLst>
                    <a:cxn ang="0">
                      <a:pos x="T0" y="T1"/>
                    </a:cxn>
                    <a:cxn ang="0">
                      <a:pos x="T2" y="T3"/>
                    </a:cxn>
                    <a:cxn ang="0">
                      <a:pos x="T4" y="T5"/>
                    </a:cxn>
                    <a:cxn ang="0">
                      <a:pos x="T6" y="T7"/>
                    </a:cxn>
                    <a:cxn ang="0">
                      <a:pos x="T8" y="T9"/>
                    </a:cxn>
                  </a:cxnLst>
                  <a:rect l="0" t="0" r="r" b="b"/>
                  <a:pathLst>
                    <a:path w="139" h="610">
                      <a:moveTo>
                        <a:pt x="114" y="610"/>
                      </a:moveTo>
                      <a:lnTo>
                        <a:pt x="33" y="610"/>
                      </a:lnTo>
                      <a:lnTo>
                        <a:pt x="0" y="0"/>
                      </a:lnTo>
                      <a:lnTo>
                        <a:pt x="139" y="0"/>
                      </a:lnTo>
                      <a:lnTo>
                        <a:pt x="114" y="6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1" name="Freeform 58"/>
                <p:cNvSpPr>
                  <a:spLocks/>
                </p:cNvSpPr>
                <p:nvPr/>
              </p:nvSpPr>
              <p:spPr bwMode="auto">
                <a:xfrm>
                  <a:off x="7471922" y="4624091"/>
                  <a:ext cx="139162" cy="71462"/>
                </a:xfrm>
                <a:custGeom>
                  <a:avLst/>
                  <a:gdLst>
                    <a:gd name="T0" fmla="*/ 13 w 27"/>
                    <a:gd name="T1" fmla="*/ 0 h 14"/>
                    <a:gd name="T2" fmla="*/ 0 w 27"/>
                    <a:gd name="T3" fmla="*/ 14 h 14"/>
                    <a:gd name="T4" fmla="*/ 27 w 27"/>
                    <a:gd name="T5" fmla="*/ 14 h 14"/>
                    <a:gd name="T6" fmla="*/ 13 w 27"/>
                    <a:gd name="T7" fmla="*/ 0 h 14"/>
                  </a:gdLst>
                  <a:ahLst/>
                  <a:cxnLst>
                    <a:cxn ang="0">
                      <a:pos x="T0" y="T1"/>
                    </a:cxn>
                    <a:cxn ang="0">
                      <a:pos x="T2" y="T3"/>
                    </a:cxn>
                    <a:cxn ang="0">
                      <a:pos x="T4" y="T5"/>
                    </a:cxn>
                    <a:cxn ang="0">
                      <a:pos x="T6" y="T7"/>
                    </a:cxn>
                  </a:cxnLst>
                  <a:rect l="0" t="0" r="r" b="b"/>
                  <a:pathLst>
                    <a:path w="27" h="14">
                      <a:moveTo>
                        <a:pt x="13" y="0"/>
                      </a:moveTo>
                      <a:cubicBezTo>
                        <a:pt x="6" y="0"/>
                        <a:pt x="0" y="6"/>
                        <a:pt x="0" y="14"/>
                      </a:cubicBezTo>
                      <a:cubicBezTo>
                        <a:pt x="27" y="14"/>
                        <a:pt x="27" y="14"/>
                        <a:pt x="27" y="14"/>
                      </a:cubicBezTo>
                      <a:cubicBezTo>
                        <a:pt x="27" y="6"/>
                        <a:pt x="21"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2" name="Freeform 59"/>
                <p:cNvSpPr>
                  <a:spLocks/>
                </p:cNvSpPr>
                <p:nvPr/>
              </p:nvSpPr>
              <p:spPr bwMode="auto">
                <a:xfrm>
                  <a:off x="7375386" y="3237492"/>
                  <a:ext cx="174266" cy="462618"/>
                </a:xfrm>
                <a:custGeom>
                  <a:avLst/>
                  <a:gdLst>
                    <a:gd name="T0" fmla="*/ 139 w 139"/>
                    <a:gd name="T1" fmla="*/ 78 h 369"/>
                    <a:gd name="T2" fmla="*/ 69 w 139"/>
                    <a:gd name="T3" fmla="*/ 0 h 369"/>
                    <a:gd name="T4" fmla="*/ 0 w 139"/>
                    <a:gd name="T5" fmla="*/ 70 h 369"/>
                    <a:gd name="T6" fmla="*/ 53 w 139"/>
                    <a:gd name="T7" fmla="*/ 340 h 369"/>
                    <a:gd name="T8" fmla="*/ 65 w 139"/>
                    <a:gd name="T9" fmla="*/ 369 h 369"/>
                    <a:gd name="T10" fmla="*/ 81 w 139"/>
                    <a:gd name="T11" fmla="*/ 340 h 369"/>
                    <a:gd name="T12" fmla="*/ 139 w 139"/>
                    <a:gd name="T13" fmla="*/ 78 h 369"/>
                  </a:gdLst>
                  <a:ahLst/>
                  <a:cxnLst>
                    <a:cxn ang="0">
                      <a:pos x="T0" y="T1"/>
                    </a:cxn>
                    <a:cxn ang="0">
                      <a:pos x="T2" y="T3"/>
                    </a:cxn>
                    <a:cxn ang="0">
                      <a:pos x="T4" y="T5"/>
                    </a:cxn>
                    <a:cxn ang="0">
                      <a:pos x="T6" y="T7"/>
                    </a:cxn>
                    <a:cxn ang="0">
                      <a:pos x="T8" y="T9"/>
                    </a:cxn>
                    <a:cxn ang="0">
                      <a:pos x="T10" y="T11"/>
                    </a:cxn>
                    <a:cxn ang="0">
                      <a:pos x="T12" y="T13"/>
                    </a:cxn>
                  </a:cxnLst>
                  <a:rect l="0" t="0" r="r" b="b"/>
                  <a:pathLst>
                    <a:path w="139" h="369">
                      <a:moveTo>
                        <a:pt x="139" y="78"/>
                      </a:moveTo>
                      <a:lnTo>
                        <a:pt x="69" y="0"/>
                      </a:lnTo>
                      <a:lnTo>
                        <a:pt x="0" y="70"/>
                      </a:lnTo>
                      <a:lnTo>
                        <a:pt x="53" y="340"/>
                      </a:lnTo>
                      <a:lnTo>
                        <a:pt x="65" y="369"/>
                      </a:lnTo>
                      <a:lnTo>
                        <a:pt x="81" y="340"/>
                      </a:lnTo>
                      <a:lnTo>
                        <a:pt x="139" y="7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3" name="Freeform 60"/>
                <p:cNvSpPr>
                  <a:spLocks/>
                </p:cNvSpPr>
                <p:nvPr/>
              </p:nvSpPr>
              <p:spPr bwMode="auto">
                <a:xfrm>
                  <a:off x="7359089" y="2924065"/>
                  <a:ext cx="215638" cy="272055"/>
                </a:xfrm>
                <a:custGeom>
                  <a:avLst/>
                  <a:gdLst>
                    <a:gd name="T0" fmla="*/ 37 w 42"/>
                    <a:gd name="T1" fmla="*/ 32 h 53"/>
                    <a:gd name="T2" fmla="*/ 15 w 42"/>
                    <a:gd name="T3" fmla="*/ 49 h 53"/>
                    <a:gd name="T4" fmla="*/ 4 w 42"/>
                    <a:gd name="T5" fmla="*/ 21 h 53"/>
                    <a:gd name="T6" fmla="*/ 31 w 42"/>
                    <a:gd name="T7" fmla="*/ 3 h 53"/>
                    <a:gd name="T8" fmla="*/ 37 w 42"/>
                    <a:gd name="T9" fmla="*/ 32 h 53"/>
                  </a:gdLst>
                  <a:ahLst/>
                  <a:cxnLst>
                    <a:cxn ang="0">
                      <a:pos x="T0" y="T1"/>
                    </a:cxn>
                    <a:cxn ang="0">
                      <a:pos x="T2" y="T3"/>
                    </a:cxn>
                    <a:cxn ang="0">
                      <a:pos x="T4" y="T5"/>
                    </a:cxn>
                    <a:cxn ang="0">
                      <a:pos x="T6" y="T7"/>
                    </a:cxn>
                    <a:cxn ang="0">
                      <a:pos x="T8" y="T9"/>
                    </a:cxn>
                  </a:cxnLst>
                  <a:rect l="0" t="0" r="r" b="b"/>
                  <a:pathLst>
                    <a:path w="42" h="53">
                      <a:moveTo>
                        <a:pt x="37" y="32"/>
                      </a:moveTo>
                      <a:cubicBezTo>
                        <a:pt x="30" y="53"/>
                        <a:pt x="25" y="52"/>
                        <a:pt x="15" y="49"/>
                      </a:cubicBezTo>
                      <a:cubicBezTo>
                        <a:pt x="5" y="46"/>
                        <a:pt x="0" y="33"/>
                        <a:pt x="4" y="21"/>
                      </a:cubicBezTo>
                      <a:cubicBezTo>
                        <a:pt x="8" y="9"/>
                        <a:pt x="21" y="0"/>
                        <a:pt x="31" y="3"/>
                      </a:cubicBezTo>
                      <a:cubicBezTo>
                        <a:pt x="41" y="6"/>
                        <a:pt x="42" y="20"/>
                        <a:pt x="37"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4" name="Freeform 61"/>
                <p:cNvSpPr>
                  <a:spLocks/>
                </p:cNvSpPr>
                <p:nvPr/>
              </p:nvSpPr>
              <p:spPr bwMode="auto">
                <a:xfrm>
                  <a:off x="7318970" y="2914035"/>
                  <a:ext cx="240712" cy="297129"/>
                </a:xfrm>
                <a:custGeom>
                  <a:avLst/>
                  <a:gdLst>
                    <a:gd name="T0" fmla="*/ 41 w 47"/>
                    <a:gd name="T1" fmla="*/ 11 h 58"/>
                    <a:gd name="T2" fmla="*/ 34 w 47"/>
                    <a:gd name="T3" fmla="*/ 49 h 58"/>
                    <a:gd name="T4" fmla="*/ 14 w 47"/>
                    <a:gd name="T5" fmla="*/ 47 h 58"/>
                    <a:gd name="T6" fmla="*/ 14 w 47"/>
                    <a:gd name="T7" fmla="*/ 4 h 58"/>
                    <a:gd name="T8" fmla="*/ 41 w 47"/>
                    <a:gd name="T9" fmla="*/ 11 h 58"/>
                  </a:gdLst>
                  <a:ahLst/>
                  <a:cxnLst>
                    <a:cxn ang="0">
                      <a:pos x="T0" y="T1"/>
                    </a:cxn>
                    <a:cxn ang="0">
                      <a:pos x="T2" y="T3"/>
                    </a:cxn>
                    <a:cxn ang="0">
                      <a:pos x="T4" y="T5"/>
                    </a:cxn>
                    <a:cxn ang="0">
                      <a:pos x="T6" y="T7"/>
                    </a:cxn>
                    <a:cxn ang="0">
                      <a:pos x="T8" y="T9"/>
                    </a:cxn>
                  </a:cxnLst>
                  <a:rect l="0" t="0" r="r" b="b"/>
                  <a:pathLst>
                    <a:path w="47" h="58">
                      <a:moveTo>
                        <a:pt x="41" y="11"/>
                      </a:moveTo>
                      <a:cubicBezTo>
                        <a:pt x="47" y="22"/>
                        <a:pt x="43" y="44"/>
                        <a:pt x="34" y="49"/>
                      </a:cubicBezTo>
                      <a:cubicBezTo>
                        <a:pt x="26" y="53"/>
                        <a:pt x="20" y="58"/>
                        <a:pt x="14" y="47"/>
                      </a:cubicBezTo>
                      <a:cubicBezTo>
                        <a:pt x="8" y="37"/>
                        <a:pt x="0" y="10"/>
                        <a:pt x="14" y="4"/>
                      </a:cubicBezTo>
                      <a:cubicBezTo>
                        <a:pt x="22" y="0"/>
                        <a:pt x="35" y="1"/>
                        <a:pt x="41"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5" name="Freeform 62"/>
                <p:cNvSpPr>
                  <a:spLocks/>
                </p:cNvSpPr>
                <p:nvPr/>
              </p:nvSpPr>
              <p:spPr bwMode="auto">
                <a:xfrm>
                  <a:off x="7400460" y="3129673"/>
                  <a:ext cx="112834" cy="132893"/>
                </a:xfrm>
                <a:custGeom>
                  <a:avLst/>
                  <a:gdLst>
                    <a:gd name="T0" fmla="*/ 90 w 90"/>
                    <a:gd name="T1" fmla="*/ 70 h 106"/>
                    <a:gd name="T2" fmla="*/ 45 w 90"/>
                    <a:gd name="T3" fmla="*/ 106 h 106"/>
                    <a:gd name="T4" fmla="*/ 0 w 90"/>
                    <a:gd name="T5" fmla="*/ 70 h 106"/>
                    <a:gd name="T6" fmla="*/ 0 w 90"/>
                    <a:gd name="T7" fmla="*/ 0 h 106"/>
                    <a:gd name="T8" fmla="*/ 90 w 90"/>
                    <a:gd name="T9" fmla="*/ 0 h 106"/>
                    <a:gd name="T10" fmla="*/ 90 w 90"/>
                    <a:gd name="T11" fmla="*/ 70 h 106"/>
                  </a:gdLst>
                  <a:ahLst/>
                  <a:cxnLst>
                    <a:cxn ang="0">
                      <a:pos x="T0" y="T1"/>
                    </a:cxn>
                    <a:cxn ang="0">
                      <a:pos x="T2" y="T3"/>
                    </a:cxn>
                    <a:cxn ang="0">
                      <a:pos x="T4" y="T5"/>
                    </a:cxn>
                    <a:cxn ang="0">
                      <a:pos x="T6" y="T7"/>
                    </a:cxn>
                    <a:cxn ang="0">
                      <a:pos x="T8" y="T9"/>
                    </a:cxn>
                    <a:cxn ang="0">
                      <a:pos x="T10" y="T11"/>
                    </a:cxn>
                  </a:cxnLst>
                  <a:rect l="0" t="0" r="r" b="b"/>
                  <a:pathLst>
                    <a:path w="90" h="106">
                      <a:moveTo>
                        <a:pt x="90" y="70"/>
                      </a:moveTo>
                      <a:lnTo>
                        <a:pt x="45" y="106"/>
                      </a:lnTo>
                      <a:lnTo>
                        <a:pt x="0" y="70"/>
                      </a:lnTo>
                      <a:lnTo>
                        <a:pt x="0" y="0"/>
                      </a:lnTo>
                      <a:lnTo>
                        <a:pt x="90" y="0"/>
                      </a:lnTo>
                      <a:lnTo>
                        <a:pt x="90" y="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6" name="Freeform 63"/>
                <p:cNvSpPr>
                  <a:spLocks/>
                </p:cNvSpPr>
                <p:nvPr/>
              </p:nvSpPr>
              <p:spPr bwMode="auto">
                <a:xfrm>
                  <a:off x="7138436" y="3252536"/>
                  <a:ext cx="236951" cy="616824"/>
                </a:xfrm>
                <a:custGeom>
                  <a:avLst/>
                  <a:gdLst>
                    <a:gd name="T0" fmla="*/ 46 w 46"/>
                    <a:gd name="T1" fmla="*/ 5 h 120"/>
                    <a:gd name="T2" fmla="*/ 28 w 46"/>
                    <a:gd name="T3" fmla="*/ 0 h 120"/>
                    <a:gd name="T4" fmla="*/ 0 w 46"/>
                    <a:gd name="T5" fmla="*/ 120 h 120"/>
                    <a:gd name="T6" fmla="*/ 19 w 46"/>
                    <a:gd name="T7" fmla="*/ 120 h 120"/>
                    <a:gd name="T8" fmla="*/ 46 w 46"/>
                    <a:gd name="T9" fmla="*/ 5 h 120"/>
                  </a:gdLst>
                  <a:ahLst/>
                  <a:cxnLst>
                    <a:cxn ang="0">
                      <a:pos x="T0" y="T1"/>
                    </a:cxn>
                    <a:cxn ang="0">
                      <a:pos x="T2" y="T3"/>
                    </a:cxn>
                    <a:cxn ang="0">
                      <a:pos x="T4" y="T5"/>
                    </a:cxn>
                    <a:cxn ang="0">
                      <a:pos x="T6" y="T7"/>
                    </a:cxn>
                    <a:cxn ang="0">
                      <a:pos x="T8" y="T9"/>
                    </a:cxn>
                  </a:cxnLst>
                  <a:rect l="0" t="0" r="r" b="b"/>
                  <a:pathLst>
                    <a:path w="46" h="120">
                      <a:moveTo>
                        <a:pt x="46" y="5"/>
                      </a:moveTo>
                      <a:cubicBezTo>
                        <a:pt x="40" y="3"/>
                        <a:pt x="34" y="2"/>
                        <a:pt x="28" y="0"/>
                      </a:cubicBezTo>
                      <a:cubicBezTo>
                        <a:pt x="10" y="39"/>
                        <a:pt x="4" y="77"/>
                        <a:pt x="0" y="120"/>
                      </a:cubicBezTo>
                      <a:cubicBezTo>
                        <a:pt x="19" y="120"/>
                        <a:pt x="19" y="120"/>
                        <a:pt x="19" y="120"/>
                      </a:cubicBezTo>
                      <a:cubicBezTo>
                        <a:pt x="23" y="79"/>
                        <a:pt x="29" y="42"/>
                        <a:pt x="46"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7" name="Freeform 65"/>
                <p:cNvSpPr>
                  <a:spLocks/>
                </p:cNvSpPr>
                <p:nvPr/>
              </p:nvSpPr>
              <p:spPr bwMode="auto">
                <a:xfrm>
                  <a:off x="7149719" y="3869360"/>
                  <a:ext cx="71462" cy="76477"/>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8" name="Freeform 67"/>
                <p:cNvSpPr>
                  <a:spLocks/>
                </p:cNvSpPr>
                <p:nvPr/>
              </p:nvSpPr>
              <p:spPr bwMode="auto">
                <a:xfrm>
                  <a:off x="7277597" y="3232477"/>
                  <a:ext cx="358560" cy="620585"/>
                </a:xfrm>
                <a:custGeom>
                  <a:avLst/>
                  <a:gdLst>
                    <a:gd name="T0" fmla="*/ 200 w 286"/>
                    <a:gd name="T1" fmla="*/ 0 h 495"/>
                    <a:gd name="T2" fmla="*/ 143 w 286"/>
                    <a:gd name="T3" fmla="*/ 94 h 495"/>
                    <a:gd name="T4" fmla="*/ 90 w 286"/>
                    <a:gd name="T5" fmla="*/ 0 h 495"/>
                    <a:gd name="T6" fmla="*/ 0 w 286"/>
                    <a:gd name="T7" fmla="*/ 16 h 495"/>
                    <a:gd name="T8" fmla="*/ 8 w 286"/>
                    <a:gd name="T9" fmla="*/ 495 h 495"/>
                    <a:gd name="T10" fmla="*/ 282 w 286"/>
                    <a:gd name="T11" fmla="*/ 495 h 495"/>
                    <a:gd name="T12" fmla="*/ 286 w 286"/>
                    <a:gd name="T13" fmla="*/ 16 h 495"/>
                    <a:gd name="T14" fmla="*/ 200 w 286"/>
                    <a:gd name="T15" fmla="*/ 0 h 4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6" h="495">
                      <a:moveTo>
                        <a:pt x="200" y="0"/>
                      </a:moveTo>
                      <a:lnTo>
                        <a:pt x="143" y="94"/>
                      </a:lnTo>
                      <a:lnTo>
                        <a:pt x="90" y="0"/>
                      </a:lnTo>
                      <a:lnTo>
                        <a:pt x="0" y="16"/>
                      </a:lnTo>
                      <a:lnTo>
                        <a:pt x="8" y="495"/>
                      </a:lnTo>
                      <a:lnTo>
                        <a:pt x="282" y="495"/>
                      </a:lnTo>
                      <a:lnTo>
                        <a:pt x="286" y="16"/>
                      </a:lnTo>
                      <a:lnTo>
                        <a:pt x="20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9" name="Freeform 72"/>
                <p:cNvSpPr>
                  <a:spLocks/>
                </p:cNvSpPr>
                <p:nvPr/>
              </p:nvSpPr>
              <p:spPr bwMode="auto">
                <a:xfrm>
                  <a:off x="7369118" y="300681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0" name="Freeform 76"/>
                <p:cNvSpPr>
                  <a:spLocks/>
                </p:cNvSpPr>
                <p:nvPr/>
              </p:nvSpPr>
              <p:spPr bwMode="auto">
                <a:xfrm>
                  <a:off x="7364103" y="3021854"/>
                  <a:ext cx="0" cy="501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1" name="Freeform 77"/>
                <p:cNvSpPr>
                  <a:spLocks/>
                </p:cNvSpPr>
                <p:nvPr/>
              </p:nvSpPr>
              <p:spPr bwMode="auto">
                <a:xfrm>
                  <a:off x="7364103" y="30168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2" name="Freeform 78"/>
                <p:cNvSpPr>
                  <a:spLocks/>
                </p:cNvSpPr>
                <p:nvPr/>
              </p:nvSpPr>
              <p:spPr bwMode="auto">
                <a:xfrm>
                  <a:off x="7364103" y="301182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3" name="Freeform 79"/>
                <p:cNvSpPr>
                  <a:spLocks/>
                </p:cNvSpPr>
                <p:nvPr/>
              </p:nvSpPr>
              <p:spPr bwMode="auto">
                <a:xfrm>
                  <a:off x="7364103" y="3016839"/>
                  <a:ext cx="0" cy="501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4" name="Freeform 80"/>
                <p:cNvSpPr>
                  <a:spLocks/>
                </p:cNvSpPr>
                <p:nvPr/>
              </p:nvSpPr>
              <p:spPr bwMode="auto">
                <a:xfrm>
                  <a:off x="7344044" y="2995526"/>
                  <a:ext cx="220652" cy="195578"/>
                </a:xfrm>
                <a:custGeom>
                  <a:avLst/>
                  <a:gdLst>
                    <a:gd name="T0" fmla="*/ 41 w 43"/>
                    <a:gd name="T1" fmla="*/ 9 h 38"/>
                    <a:gd name="T2" fmla="*/ 40 w 43"/>
                    <a:gd name="T3" fmla="*/ 9 h 38"/>
                    <a:gd name="T4" fmla="*/ 40 w 43"/>
                    <a:gd name="T5" fmla="*/ 6 h 38"/>
                    <a:gd name="T6" fmla="*/ 40 w 43"/>
                    <a:gd name="T7" fmla="*/ 6 h 38"/>
                    <a:gd name="T8" fmla="*/ 40 w 43"/>
                    <a:gd name="T9" fmla="*/ 5 h 38"/>
                    <a:gd name="T10" fmla="*/ 40 w 43"/>
                    <a:gd name="T11" fmla="*/ 5 h 38"/>
                    <a:gd name="T12" fmla="*/ 40 w 43"/>
                    <a:gd name="T13" fmla="*/ 5 h 38"/>
                    <a:gd name="T14" fmla="*/ 40 w 43"/>
                    <a:gd name="T15" fmla="*/ 4 h 38"/>
                    <a:gd name="T16" fmla="*/ 40 w 43"/>
                    <a:gd name="T17" fmla="*/ 4 h 38"/>
                    <a:gd name="T18" fmla="*/ 40 w 43"/>
                    <a:gd name="T19" fmla="*/ 3 h 38"/>
                    <a:gd name="T20" fmla="*/ 39 w 43"/>
                    <a:gd name="T21" fmla="*/ 3 h 38"/>
                    <a:gd name="T22" fmla="*/ 39 w 43"/>
                    <a:gd name="T23" fmla="*/ 2 h 38"/>
                    <a:gd name="T24" fmla="*/ 39 w 43"/>
                    <a:gd name="T25" fmla="*/ 2 h 38"/>
                    <a:gd name="T26" fmla="*/ 39 w 43"/>
                    <a:gd name="T27" fmla="*/ 2 h 38"/>
                    <a:gd name="T28" fmla="*/ 39 w 43"/>
                    <a:gd name="T29" fmla="*/ 1 h 38"/>
                    <a:gd name="T30" fmla="*/ 39 w 43"/>
                    <a:gd name="T31" fmla="*/ 1 h 38"/>
                    <a:gd name="T32" fmla="*/ 35 w 43"/>
                    <a:gd name="T33" fmla="*/ 2 h 38"/>
                    <a:gd name="T34" fmla="*/ 29 w 43"/>
                    <a:gd name="T35" fmla="*/ 0 h 38"/>
                    <a:gd name="T36" fmla="*/ 18 w 43"/>
                    <a:gd name="T37" fmla="*/ 2 h 38"/>
                    <a:gd name="T38" fmla="*/ 6 w 43"/>
                    <a:gd name="T39" fmla="*/ 0 h 38"/>
                    <a:gd name="T40" fmla="*/ 5 w 43"/>
                    <a:gd name="T41" fmla="*/ 2 h 38"/>
                    <a:gd name="T42" fmla="*/ 5 w 43"/>
                    <a:gd name="T43" fmla="*/ 2 h 38"/>
                    <a:gd name="T44" fmla="*/ 4 w 43"/>
                    <a:gd name="T45" fmla="*/ 3 h 38"/>
                    <a:gd name="T46" fmla="*/ 4 w 43"/>
                    <a:gd name="T47" fmla="*/ 3 h 38"/>
                    <a:gd name="T48" fmla="*/ 4 w 43"/>
                    <a:gd name="T49" fmla="*/ 4 h 38"/>
                    <a:gd name="T50" fmla="*/ 4 w 43"/>
                    <a:gd name="T51" fmla="*/ 4 h 38"/>
                    <a:gd name="T52" fmla="*/ 4 w 43"/>
                    <a:gd name="T53" fmla="*/ 4 h 38"/>
                    <a:gd name="T54" fmla="*/ 4 w 43"/>
                    <a:gd name="T55" fmla="*/ 5 h 38"/>
                    <a:gd name="T56" fmla="*/ 4 w 43"/>
                    <a:gd name="T57" fmla="*/ 5 h 38"/>
                    <a:gd name="T58" fmla="*/ 4 w 43"/>
                    <a:gd name="T59" fmla="*/ 6 h 38"/>
                    <a:gd name="T60" fmla="*/ 4 w 43"/>
                    <a:gd name="T61" fmla="*/ 6 h 38"/>
                    <a:gd name="T62" fmla="*/ 4 w 43"/>
                    <a:gd name="T63" fmla="*/ 9 h 38"/>
                    <a:gd name="T64" fmla="*/ 3 w 43"/>
                    <a:gd name="T65" fmla="*/ 9 h 38"/>
                    <a:gd name="T66" fmla="*/ 0 w 43"/>
                    <a:gd name="T67" fmla="*/ 12 h 38"/>
                    <a:gd name="T68" fmla="*/ 0 w 43"/>
                    <a:gd name="T69" fmla="*/ 19 h 38"/>
                    <a:gd name="T70" fmla="*/ 4 w 43"/>
                    <a:gd name="T71" fmla="*/ 22 h 38"/>
                    <a:gd name="T72" fmla="*/ 14 w 43"/>
                    <a:gd name="T73" fmla="*/ 38 h 38"/>
                    <a:gd name="T74" fmla="*/ 30 w 43"/>
                    <a:gd name="T75" fmla="*/ 38 h 38"/>
                    <a:gd name="T76" fmla="*/ 40 w 43"/>
                    <a:gd name="T77" fmla="*/ 22 h 38"/>
                    <a:gd name="T78" fmla="*/ 43 w 43"/>
                    <a:gd name="T79" fmla="*/ 19 h 38"/>
                    <a:gd name="T80" fmla="*/ 43 w 43"/>
                    <a:gd name="T81" fmla="*/ 12 h 38"/>
                    <a:gd name="T82" fmla="*/ 41 w 43"/>
                    <a:gd name="T83"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 h="38">
                      <a:moveTo>
                        <a:pt x="41" y="9"/>
                      </a:moveTo>
                      <a:cubicBezTo>
                        <a:pt x="41" y="9"/>
                        <a:pt x="41" y="9"/>
                        <a:pt x="40" y="9"/>
                      </a:cubicBezTo>
                      <a:cubicBezTo>
                        <a:pt x="40" y="6"/>
                        <a:pt x="40" y="6"/>
                        <a:pt x="40" y="6"/>
                      </a:cubicBezTo>
                      <a:cubicBezTo>
                        <a:pt x="40" y="6"/>
                        <a:pt x="40" y="6"/>
                        <a:pt x="40" y="6"/>
                      </a:cubicBezTo>
                      <a:cubicBezTo>
                        <a:pt x="40" y="6"/>
                        <a:pt x="40" y="5"/>
                        <a:pt x="40" y="5"/>
                      </a:cubicBezTo>
                      <a:cubicBezTo>
                        <a:pt x="40" y="5"/>
                        <a:pt x="40" y="5"/>
                        <a:pt x="40" y="5"/>
                      </a:cubicBezTo>
                      <a:cubicBezTo>
                        <a:pt x="40" y="5"/>
                        <a:pt x="40" y="5"/>
                        <a:pt x="40" y="5"/>
                      </a:cubicBezTo>
                      <a:cubicBezTo>
                        <a:pt x="40" y="4"/>
                        <a:pt x="40" y="4"/>
                        <a:pt x="40" y="4"/>
                      </a:cubicBezTo>
                      <a:cubicBezTo>
                        <a:pt x="40" y="4"/>
                        <a:pt x="40" y="4"/>
                        <a:pt x="40" y="4"/>
                      </a:cubicBezTo>
                      <a:cubicBezTo>
                        <a:pt x="40" y="4"/>
                        <a:pt x="40" y="4"/>
                        <a:pt x="40" y="3"/>
                      </a:cubicBezTo>
                      <a:cubicBezTo>
                        <a:pt x="40" y="3"/>
                        <a:pt x="39" y="3"/>
                        <a:pt x="39" y="3"/>
                      </a:cubicBezTo>
                      <a:cubicBezTo>
                        <a:pt x="39" y="3"/>
                        <a:pt x="39" y="2"/>
                        <a:pt x="39" y="2"/>
                      </a:cubicBezTo>
                      <a:cubicBezTo>
                        <a:pt x="39" y="2"/>
                        <a:pt x="39" y="2"/>
                        <a:pt x="39" y="2"/>
                      </a:cubicBezTo>
                      <a:cubicBezTo>
                        <a:pt x="39" y="2"/>
                        <a:pt x="39" y="2"/>
                        <a:pt x="39" y="2"/>
                      </a:cubicBezTo>
                      <a:cubicBezTo>
                        <a:pt x="39" y="2"/>
                        <a:pt x="39" y="1"/>
                        <a:pt x="39" y="1"/>
                      </a:cubicBezTo>
                      <a:cubicBezTo>
                        <a:pt x="39" y="1"/>
                        <a:pt x="39" y="1"/>
                        <a:pt x="39" y="1"/>
                      </a:cubicBezTo>
                      <a:cubicBezTo>
                        <a:pt x="38" y="2"/>
                        <a:pt x="36" y="2"/>
                        <a:pt x="35" y="2"/>
                      </a:cubicBezTo>
                      <a:cubicBezTo>
                        <a:pt x="33" y="2"/>
                        <a:pt x="30" y="1"/>
                        <a:pt x="29" y="0"/>
                      </a:cubicBezTo>
                      <a:cubicBezTo>
                        <a:pt x="26" y="1"/>
                        <a:pt x="22" y="2"/>
                        <a:pt x="18" y="2"/>
                      </a:cubicBezTo>
                      <a:cubicBezTo>
                        <a:pt x="13" y="2"/>
                        <a:pt x="9" y="1"/>
                        <a:pt x="6" y="0"/>
                      </a:cubicBezTo>
                      <a:cubicBezTo>
                        <a:pt x="6" y="1"/>
                        <a:pt x="5" y="1"/>
                        <a:pt x="5" y="2"/>
                      </a:cubicBezTo>
                      <a:cubicBezTo>
                        <a:pt x="5" y="2"/>
                        <a:pt x="5" y="2"/>
                        <a:pt x="5" y="2"/>
                      </a:cubicBezTo>
                      <a:cubicBezTo>
                        <a:pt x="5" y="2"/>
                        <a:pt x="5" y="3"/>
                        <a:pt x="4" y="3"/>
                      </a:cubicBezTo>
                      <a:cubicBezTo>
                        <a:pt x="4" y="3"/>
                        <a:pt x="4" y="3"/>
                        <a:pt x="4" y="3"/>
                      </a:cubicBezTo>
                      <a:cubicBezTo>
                        <a:pt x="4" y="3"/>
                        <a:pt x="4" y="3"/>
                        <a:pt x="4" y="4"/>
                      </a:cubicBezTo>
                      <a:cubicBezTo>
                        <a:pt x="4" y="4"/>
                        <a:pt x="4" y="4"/>
                        <a:pt x="4" y="4"/>
                      </a:cubicBezTo>
                      <a:cubicBezTo>
                        <a:pt x="4" y="4"/>
                        <a:pt x="4" y="4"/>
                        <a:pt x="4" y="4"/>
                      </a:cubicBezTo>
                      <a:cubicBezTo>
                        <a:pt x="4" y="5"/>
                        <a:pt x="4" y="5"/>
                        <a:pt x="4" y="5"/>
                      </a:cubicBezTo>
                      <a:cubicBezTo>
                        <a:pt x="4" y="5"/>
                        <a:pt x="4" y="5"/>
                        <a:pt x="4" y="5"/>
                      </a:cubicBezTo>
                      <a:cubicBezTo>
                        <a:pt x="4" y="5"/>
                        <a:pt x="4" y="5"/>
                        <a:pt x="4" y="6"/>
                      </a:cubicBezTo>
                      <a:cubicBezTo>
                        <a:pt x="4" y="6"/>
                        <a:pt x="4" y="6"/>
                        <a:pt x="4" y="6"/>
                      </a:cubicBezTo>
                      <a:cubicBezTo>
                        <a:pt x="4" y="9"/>
                        <a:pt x="4" y="9"/>
                        <a:pt x="4" y="9"/>
                      </a:cubicBezTo>
                      <a:cubicBezTo>
                        <a:pt x="3" y="9"/>
                        <a:pt x="3" y="9"/>
                        <a:pt x="3" y="9"/>
                      </a:cubicBezTo>
                      <a:cubicBezTo>
                        <a:pt x="2" y="9"/>
                        <a:pt x="0" y="11"/>
                        <a:pt x="0" y="12"/>
                      </a:cubicBezTo>
                      <a:cubicBezTo>
                        <a:pt x="0" y="19"/>
                        <a:pt x="0" y="19"/>
                        <a:pt x="0" y="19"/>
                      </a:cubicBezTo>
                      <a:cubicBezTo>
                        <a:pt x="0" y="21"/>
                        <a:pt x="2" y="22"/>
                        <a:pt x="4" y="22"/>
                      </a:cubicBezTo>
                      <a:cubicBezTo>
                        <a:pt x="4" y="22"/>
                        <a:pt x="9" y="38"/>
                        <a:pt x="14" y="38"/>
                      </a:cubicBezTo>
                      <a:cubicBezTo>
                        <a:pt x="30" y="38"/>
                        <a:pt x="30" y="38"/>
                        <a:pt x="30" y="38"/>
                      </a:cubicBezTo>
                      <a:cubicBezTo>
                        <a:pt x="35" y="38"/>
                        <a:pt x="40" y="22"/>
                        <a:pt x="40" y="22"/>
                      </a:cubicBezTo>
                      <a:cubicBezTo>
                        <a:pt x="42" y="22"/>
                        <a:pt x="43" y="21"/>
                        <a:pt x="43" y="19"/>
                      </a:cubicBezTo>
                      <a:cubicBezTo>
                        <a:pt x="43" y="12"/>
                        <a:pt x="43" y="12"/>
                        <a:pt x="43" y="12"/>
                      </a:cubicBezTo>
                      <a:cubicBezTo>
                        <a:pt x="43" y="11"/>
                        <a:pt x="43" y="10"/>
                        <a:pt x="41" y="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5" name="Rectangle 81"/>
                <p:cNvSpPr>
                  <a:spLocks noChangeArrowheads="1"/>
                </p:cNvSpPr>
                <p:nvPr/>
              </p:nvSpPr>
              <p:spPr bwMode="auto">
                <a:xfrm>
                  <a:off x="7287627" y="3853061"/>
                  <a:ext cx="343516" cy="263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6" name="Rectangle 82"/>
                <p:cNvSpPr>
                  <a:spLocks noChangeArrowheads="1"/>
                </p:cNvSpPr>
                <p:nvPr/>
              </p:nvSpPr>
              <p:spPr bwMode="auto">
                <a:xfrm>
                  <a:off x="7425535" y="3853061"/>
                  <a:ext cx="62685" cy="2632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7" name="Oval 83"/>
                <p:cNvSpPr>
                  <a:spLocks noChangeArrowheads="1"/>
                </p:cNvSpPr>
                <p:nvPr/>
              </p:nvSpPr>
              <p:spPr bwMode="auto">
                <a:xfrm>
                  <a:off x="7451863" y="3283878"/>
                  <a:ext cx="10030" cy="1003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8" name="Oval 84"/>
                <p:cNvSpPr>
                  <a:spLocks noChangeArrowheads="1"/>
                </p:cNvSpPr>
                <p:nvPr/>
              </p:nvSpPr>
              <p:spPr bwMode="auto">
                <a:xfrm>
                  <a:off x="7451863" y="3318982"/>
                  <a:ext cx="10030" cy="16299"/>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9" name="Freeform 64"/>
                <p:cNvSpPr>
                  <a:spLocks/>
                </p:cNvSpPr>
                <p:nvPr/>
              </p:nvSpPr>
              <p:spPr bwMode="auto">
                <a:xfrm>
                  <a:off x="7544637" y="3252536"/>
                  <a:ext cx="235697" cy="616824"/>
                </a:xfrm>
                <a:custGeom>
                  <a:avLst/>
                  <a:gdLst>
                    <a:gd name="T0" fmla="*/ 0 w 46"/>
                    <a:gd name="T1" fmla="*/ 5 h 120"/>
                    <a:gd name="T2" fmla="*/ 18 w 46"/>
                    <a:gd name="T3" fmla="*/ 0 h 120"/>
                    <a:gd name="T4" fmla="*/ 46 w 46"/>
                    <a:gd name="T5" fmla="*/ 120 h 120"/>
                    <a:gd name="T6" fmla="*/ 27 w 46"/>
                    <a:gd name="T7" fmla="*/ 120 h 120"/>
                    <a:gd name="T8" fmla="*/ 0 w 46"/>
                    <a:gd name="T9" fmla="*/ 5 h 120"/>
                  </a:gdLst>
                  <a:ahLst/>
                  <a:cxnLst>
                    <a:cxn ang="0">
                      <a:pos x="T0" y="T1"/>
                    </a:cxn>
                    <a:cxn ang="0">
                      <a:pos x="T2" y="T3"/>
                    </a:cxn>
                    <a:cxn ang="0">
                      <a:pos x="T4" y="T5"/>
                    </a:cxn>
                    <a:cxn ang="0">
                      <a:pos x="T6" y="T7"/>
                    </a:cxn>
                    <a:cxn ang="0">
                      <a:pos x="T8" y="T9"/>
                    </a:cxn>
                  </a:cxnLst>
                  <a:rect l="0" t="0" r="r" b="b"/>
                  <a:pathLst>
                    <a:path w="46" h="120">
                      <a:moveTo>
                        <a:pt x="0" y="5"/>
                      </a:moveTo>
                      <a:cubicBezTo>
                        <a:pt x="6" y="3"/>
                        <a:pt x="12" y="2"/>
                        <a:pt x="18" y="0"/>
                      </a:cubicBezTo>
                      <a:cubicBezTo>
                        <a:pt x="36" y="39"/>
                        <a:pt x="42" y="77"/>
                        <a:pt x="46" y="120"/>
                      </a:cubicBezTo>
                      <a:cubicBezTo>
                        <a:pt x="27" y="120"/>
                        <a:pt x="27" y="120"/>
                        <a:pt x="27" y="120"/>
                      </a:cubicBezTo>
                      <a:cubicBezTo>
                        <a:pt x="23" y="79"/>
                        <a:pt x="17" y="42"/>
                        <a:pt x="0"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nvGrpSpPr>
              <p:cNvPr id="41" name="Group 40"/>
              <p:cNvGrpSpPr/>
              <p:nvPr/>
            </p:nvGrpSpPr>
            <p:grpSpPr>
              <a:xfrm>
                <a:off x="6062441" y="2871293"/>
                <a:ext cx="1081647" cy="2828072"/>
                <a:chOff x="7544637" y="2749799"/>
                <a:chExt cx="738434" cy="1930710"/>
              </a:xfrm>
            </p:grpSpPr>
            <p:sp>
              <p:nvSpPr>
                <p:cNvPr id="44" name="Freeform 94"/>
                <p:cNvSpPr>
                  <a:spLocks/>
                </p:cNvSpPr>
                <p:nvPr/>
              </p:nvSpPr>
              <p:spPr bwMode="auto">
                <a:xfrm>
                  <a:off x="7559682" y="3144717"/>
                  <a:ext cx="267040" cy="693300"/>
                </a:xfrm>
                <a:custGeom>
                  <a:avLst/>
                  <a:gdLst>
                    <a:gd name="T0" fmla="*/ 52 w 52"/>
                    <a:gd name="T1" fmla="*/ 6 h 135"/>
                    <a:gd name="T2" fmla="*/ 32 w 52"/>
                    <a:gd name="T3" fmla="*/ 0 h 135"/>
                    <a:gd name="T4" fmla="*/ 0 w 52"/>
                    <a:gd name="T5" fmla="*/ 135 h 135"/>
                    <a:gd name="T6" fmla="*/ 21 w 52"/>
                    <a:gd name="T7" fmla="*/ 135 h 135"/>
                    <a:gd name="T8" fmla="*/ 52 w 52"/>
                    <a:gd name="T9" fmla="*/ 6 h 135"/>
                  </a:gdLst>
                  <a:ahLst/>
                  <a:cxnLst>
                    <a:cxn ang="0">
                      <a:pos x="T0" y="T1"/>
                    </a:cxn>
                    <a:cxn ang="0">
                      <a:pos x="T2" y="T3"/>
                    </a:cxn>
                    <a:cxn ang="0">
                      <a:pos x="T4" y="T5"/>
                    </a:cxn>
                    <a:cxn ang="0">
                      <a:pos x="T6" y="T7"/>
                    </a:cxn>
                    <a:cxn ang="0">
                      <a:pos x="T8" y="T9"/>
                    </a:cxn>
                  </a:cxnLst>
                  <a:rect l="0" t="0" r="r" b="b"/>
                  <a:pathLst>
                    <a:path w="52" h="135">
                      <a:moveTo>
                        <a:pt x="52" y="6"/>
                      </a:moveTo>
                      <a:cubicBezTo>
                        <a:pt x="45" y="4"/>
                        <a:pt x="38" y="2"/>
                        <a:pt x="32" y="0"/>
                      </a:cubicBezTo>
                      <a:cubicBezTo>
                        <a:pt x="11" y="44"/>
                        <a:pt x="5" y="87"/>
                        <a:pt x="0" y="135"/>
                      </a:cubicBezTo>
                      <a:cubicBezTo>
                        <a:pt x="21" y="135"/>
                        <a:pt x="21" y="135"/>
                        <a:pt x="21" y="135"/>
                      </a:cubicBezTo>
                      <a:cubicBezTo>
                        <a:pt x="26" y="89"/>
                        <a:pt x="33" y="47"/>
                        <a:pt x="52" y="6"/>
                      </a:cubicBezTo>
                      <a:close/>
                    </a:path>
                  </a:pathLst>
                </a:custGeom>
                <a:solidFill>
                  <a:srgbClr val="ADD4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nvGrpSpPr>
                <p:cNvPr id="46" name="Group 45"/>
                <p:cNvGrpSpPr/>
                <p:nvPr/>
              </p:nvGrpSpPr>
              <p:grpSpPr>
                <a:xfrm>
                  <a:off x="7544637" y="2749799"/>
                  <a:ext cx="738434" cy="1930710"/>
                  <a:chOff x="7544637" y="2749799"/>
                  <a:chExt cx="738434" cy="1930710"/>
                </a:xfrm>
              </p:grpSpPr>
              <p:sp>
                <p:nvSpPr>
                  <p:cNvPr id="47" name="Freeform 66"/>
                  <p:cNvSpPr>
                    <a:spLocks/>
                  </p:cNvSpPr>
                  <p:nvPr/>
                </p:nvSpPr>
                <p:spPr bwMode="auto">
                  <a:xfrm>
                    <a:off x="7697589" y="3869360"/>
                    <a:ext cx="72715" cy="76477"/>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8" name="Freeform 68"/>
                  <p:cNvSpPr>
                    <a:spLocks/>
                  </p:cNvSpPr>
                  <p:nvPr/>
                </p:nvSpPr>
                <p:spPr bwMode="auto">
                  <a:xfrm>
                    <a:off x="7549652" y="3016839"/>
                    <a:ext cx="0" cy="501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50" name="Freeform 69"/>
                  <p:cNvSpPr>
                    <a:spLocks/>
                  </p:cNvSpPr>
                  <p:nvPr/>
                </p:nvSpPr>
                <p:spPr bwMode="auto">
                  <a:xfrm>
                    <a:off x="7549652" y="3011824"/>
                    <a:ext cx="0" cy="501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54" name="Freeform 70"/>
                  <p:cNvSpPr>
                    <a:spLocks/>
                  </p:cNvSpPr>
                  <p:nvPr/>
                </p:nvSpPr>
                <p:spPr bwMode="auto">
                  <a:xfrm>
                    <a:off x="7544637" y="300681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59" name="Freeform 71"/>
                  <p:cNvSpPr>
                    <a:spLocks/>
                  </p:cNvSpPr>
                  <p:nvPr/>
                </p:nvSpPr>
                <p:spPr bwMode="auto">
                  <a:xfrm>
                    <a:off x="7544637" y="3006810"/>
                    <a:ext cx="0" cy="501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62" name="Freeform 73"/>
                  <p:cNvSpPr>
                    <a:spLocks/>
                  </p:cNvSpPr>
                  <p:nvPr/>
                </p:nvSpPr>
                <p:spPr bwMode="auto">
                  <a:xfrm>
                    <a:off x="7549652" y="302185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63" name="Freeform 74"/>
                  <p:cNvSpPr>
                    <a:spLocks/>
                  </p:cNvSpPr>
                  <p:nvPr/>
                </p:nvSpPr>
                <p:spPr bwMode="auto">
                  <a:xfrm>
                    <a:off x="7549652" y="302686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64" name="Rectangle 75"/>
                  <p:cNvSpPr>
                    <a:spLocks noChangeArrowheads="1"/>
                  </p:cNvSpPr>
                  <p:nvPr/>
                </p:nvSpPr>
                <p:spPr bwMode="auto">
                  <a:xfrm>
                    <a:off x="7544637" y="3000541"/>
                    <a:ext cx="1254" cy="1254"/>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66" name="Freeform 87"/>
                  <p:cNvSpPr>
                    <a:spLocks/>
                  </p:cNvSpPr>
                  <p:nvPr/>
                </p:nvSpPr>
                <p:spPr bwMode="auto">
                  <a:xfrm>
                    <a:off x="7756806" y="4604032"/>
                    <a:ext cx="154206" cy="76477"/>
                  </a:xfrm>
                  <a:custGeom>
                    <a:avLst/>
                    <a:gdLst>
                      <a:gd name="T0" fmla="*/ 15 w 30"/>
                      <a:gd name="T1" fmla="*/ 0 h 15"/>
                      <a:gd name="T2" fmla="*/ 0 w 30"/>
                      <a:gd name="T3" fmla="*/ 15 h 15"/>
                      <a:gd name="T4" fmla="*/ 30 w 30"/>
                      <a:gd name="T5" fmla="*/ 15 h 15"/>
                      <a:gd name="T6" fmla="*/ 15 w 30"/>
                      <a:gd name="T7" fmla="*/ 0 h 15"/>
                    </a:gdLst>
                    <a:ahLst/>
                    <a:cxnLst>
                      <a:cxn ang="0">
                        <a:pos x="T0" y="T1"/>
                      </a:cxn>
                      <a:cxn ang="0">
                        <a:pos x="T2" y="T3"/>
                      </a:cxn>
                      <a:cxn ang="0">
                        <a:pos x="T4" y="T5"/>
                      </a:cxn>
                      <a:cxn ang="0">
                        <a:pos x="T6" y="T7"/>
                      </a:cxn>
                    </a:cxnLst>
                    <a:rect l="0" t="0" r="r" b="b"/>
                    <a:pathLst>
                      <a:path w="30" h="15">
                        <a:moveTo>
                          <a:pt x="15" y="0"/>
                        </a:moveTo>
                        <a:cubicBezTo>
                          <a:pt x="7" y="0"/>
                          <a:pt x="0" y="7"/>
                          <a:pt x="0" y="15"/>
                        </a:cubicBezTo>
                        <a:cubicBezTo>
                          <a:pt x="30" y="15"/>
                          <a:pt x="30" y="15"/>
                          <a:pt x="30" y="15"/>
                        </a:cubicBezTo>
                        <a:cubicBezTo>
                          <a:pt x="30"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69" name="Freeform 88"/>
                  <p:cNvSpPr>
                    <a:spLocks/>
                  </p:cNvSpPr>
                  <p:nvPr/>
                </p:nvSpPr>
                <p:spPr bwMode="auto">
                  <a:xfrm>
                    <a:off x="7933677" y="4604032"/>
                    <a:ext cx="149191" cy="76477"/>
                  </a:xfrm>
                  <a:custGeom>
                    <a:avLst/>
                    <a:gdLst>
                      <a:gd name="T0" fmla="*/ 15 w 29"/>
                      <a:gd name="T1" fmla="*/ 0 h 15"/>
                      <a:gd name="T2" fmla="*/ 0 w 29"/>
                      <a:gd name="T3" fmla="*/ 15 h 15"/>
                      <a:gd name="T4" fmla="*/ 29 w 29"/>
                      <a:gd name="T5" fmla="*/ 15 h 15"/>
                      <a:gd name="T6" fmla="*/ 15 w 29"/>
                      <a:gd name="T7" fmla="*/ 0 h 15"/>
                    </a:gdLst>
                    <a:ahLst/>
                    <a:cxnLst>
                      <a:cxn ang="0">
                        <a:pos x="T0" y="T1"/>
                      </a:cxn>
                      <a:cxn ang="0">
                        <a:pos x="T2" y="T3"/>
                      </a:cxn>
                      <a:cxn ang="0">
                        <a:pos x="T4" y="T5"/>
                      </a:cxn>
                      <a:cxn ang="0">
                        <a:pos x="T6" y="T7"/>
                      </a:cxn>
                    </a:cxnLst>
                    <a:rect l="0" t="0" r="r" b="b"/>
                    <a:pathLst>
                      <a:path w="29" h="15">
                        <a:moveTo>
                          <a:pt x="15" y="0"/>
                        </a:moveTo>
                        <a:cubicBezTo>
                          <a:pt x="7" y="0"/>
                          <a:pt x="0" y="7"/>
                          <a:pt x="0" y="15"/>
                        </a:cubicBezTo>
                        <a:cubicBezTo>
                          <a:pt x="29" y="15"/>
                          <a:pt x="29" y="15"/>
                          <a:pt x="29" y="15"/>
                        </a:cubicBezTo>
                        <a:cubicBezTo>
                          <a:pt x="29"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70" name="Rectangle 89"/>
                  <p:cNvSpPr>
                    <a:spLocks noChangeArrowheads="1"/>
                  </p:cNvSpPr>
                  <p:nvPr/>
                </p:nvSpPr>
                <p:spPr bwMode="auto">
                  <a:xfrm>
                    <a:off x="7856810" y="3108359"/>
                    <a:ext cx="122863" cy="36984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72" name="Freeform 90"/>
                  <p:cNvSpPr>
                    <a:spLocks/>
                  </p:cNvSpPr>
                  <p:nvPr/>
                </p:nvSpPr>
                <p:spPr bwMode="auto">
                  <a:xfrm>
                    <a:off x="7810423" y="2784903"/>
                    <a:ext cx="241966" cy="293367"/>
                  </a:xfrm>
                  <a:custGeom>
                    <a:avLst/>
                    <a:gdLst>
                      <a:gd name="T0" fmla="*/ 42 w 47"/>
                      <a:gd name="T1" fmla="*/ 32 h 57"/>
                      <a:gd name="T2" fmla="*/ 16 w 47"/>
                      <a:gd name="T3" fmla="*/ 53 h 57"/>
                      <a:gd name="T4" fmla="*/ 4 w 47"/>
                      <a:gd name="T5" fmla="*/ 22 h 57"/>
                      <a:gd name="T6" fmla="*/ 33 w 47"/>
                      <a:gd name="T7" fmla="*/ 3 h 57"/>
                      <a:gd name="T8" fmla="*/ 42 w 47"/>
                      <a:gd name="T9" fmla="*/ 32 h 57"/>
                    </a:gdLst>
                    <a:ahLst/>
                    <a:cxnLst>
                      <a:cxn ang="0">
                        <a:pos x="T0" y="T1"/>
                      </a:cxn>
                      <a:cxn ang="0">
                        <a:pos x="T2" y="T3"/>
                      </a:cxn>
                      <a:cxn ang="0">
                        <a:pos x="T4" y="T5"/>
                      </a:cxn>
                      <a:cxn ang="0">
                        <a:pos x="T6" y="T7"/>
                      </a:cxn>
                      <a:cxn ang="0">
                        <a:pos x="T8" y="T9"/>
                      </a:cxn>
                    </a:cxnLst>
                    <a:rect l="0" t="0" r="r" b="b"/>
                    <a:pathLst>
                      <a:path w="47" h="57">
                        <a:moveTo>
                          <a:pt x="42" y="32"/>
                        </a:moveTo>
                        <a:cubicBezTo>
                          <a:pt x="38" y="46"/>
                          <a:pt x="28" y="57"/>
                          <a:pt x="16" y="53"/>
                        </a:cubicBezTo>
                        <a:cubicBezTo>
                          <a:pt x="5" y="50"/>
                          <a:pt x="0" y="35"/>
                          <a:pt x="4" y="22"/>
                        </a:cubicBezTo>
                        <a:cubicBezTo>
                          <a:pt x="9" y="8"/>
                          <a:pt x="22" y="0"/>
                          <a:pt x="33" y="3"/>
                        </a:cubicBezTo>
                        <a:cubicBezTo>
                          <a:pt x="44" y="7"/>
                          <a:pt x="47" y="18"/>
                          <a:pt x="42" y="3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76" name="Freeform 91"/>
                  <p:cNvSpPr>
                    <a:spLocks/>
                  </p:cNvSpPr>
                  <p:nvPr/>
                </p:nvSpPr>
                <p:spPr bwMode="auto">
                  <a:xfrm>
                    <a:off x="7775319" y="2749799"/>
                    <a:ext cx="240712" cy="277070"/>
                  </a:xfrm>
                  <a:custGeom>
                    <a:avLst/>
                    <a:gdLst>
                      <a:gd name="T0" fmla="*/ 41 w 47"/>
                      <a:gd name="T1" fmla="*/ 17 h 54"/>
                      <a:gd name="T2" fmla="*/ 36 w 47"/>
                      <a:gd name="T3" fmla="*/ 49 h 54"/>
                      <a:gd name="T4" fmla="*/ 7 w 47"/>
                      <a:gd name="T5" fmla="*/ 37 h 54"/>
                      <a:gd name="T6" fmla="*/ 11 w 47"/>
                      <a:gd name="T7" fmla="*/ 6 h 54"/>
                      <a:gd name="T8" fmla="*/ 41 w 47"/>
                      <a:gd name="T9" fmla="*/ 17 h 54"/>
                    </a:gdLst>
                    <a:ahLst/>
                    <a:cxnLst>
                      <a:cxn ang="0">
                        <a:pos x="T0" y="T1"/>
                      </a:cxn>
                      <a:cxn ang="0">
                        <a:pos x="T2" y="T3"/>
                      </a:cxn>
                      <a:cxn ang="0">
                        <a:pos x="T4" y="T5"/>
                      </a:cxn>
                      <a:cxn ang="0">
                        <a:pos x="T6" y="T7"/>
                      </a:cxn>
                      <a:cxn ang="0">
                        <a:pos x="T8" y="T9"/>
                      </a:cxn>
                    </a:cxnLst>
                    <a:rect l="0" t="0" r="r" b="b"/>
                    <a:pathLst>
                      <a:path w="47" h="54">
                        <a:moveTo>
                          <a:pt x="41" y="17"/>
                        </a:moveTo>
                        <a:cubicBezTo>
                          <a:pt x="47" y="29"/>
                          <a:pt x="46" y="43"/>
                          <a:pt x="36" y="49"/>
                        </a:cubicBezTo>
                        <a:cubicBezTo>
                          <a:pt x="27" y="54"/>
                          <a:pt x="14" y="49"/>
                          <a:pt x="7" y="37"/>
                        </a:cubicBezTo>
                        <a:cubicBezTo>
                          <a:pt x="0" y="25"/>
                          <a:pt x="2" y="11"/>
                          <a:pt x="11" y="6"/>
                        </a:cubicBezTo>
                        <a:cubicBezTo>
                          <a:pt x="20" y="0"/>
                          <a:pt x="34" y="6"/>
                          <a:pt x="41" y="17"/>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77" name="Freeform 92"/>
                  <p:cNvSpPr>
                    <a:spLocks/>
                  </p:cNvSpPr>
                  <p:nvPr/>
                </p:nvSpPr>
                <p:spPr bwMode="auto">
                  <a:xfrm>
                    <a:off x="7856810" y="3006810"/>
                    <a:ext cx="122863" cy="132893"/>
                  </a:xfrm>
                  <a:custGeom>
                    <a:avLst/>
                    <a:gdLst>
                      <a:gd name="T0" fmla="*/ 98 w 98"/>
                      <a:gd name="T1" fmla="*/ 81 h 106"/>
                      <a:gd name="T2" fmla="*/ 49 w 98"/>
                      <a:gd name="T3" fmla="*/ 106 h 106"/>
                      <a:gd name="T4" fmla="*/ 0 w 98"/>
                      <a:gd name="T5" fmla="*/ 81 h 106"/>
                      <a:gd name="T6" fmla="*/ 0 w 98"/>
                      <a:gd name="T7" fmla="*/ 0 h 106"/>
                      <a:gd name="T8" fmla="*/ 98 w 98"/>
                      <a:gd name="T9" fmla="*/ 0 h 106"/>
                      <a:gd name="T10" fmla="*/ 98 w 98"/>
                      <a:gd name="T11" fmla="*/ 81 h 106"/>
                    </a:gdLst>
                    <a:ahLst/>
                    <a:cxnLst>
                      <a:cxn ang="0">
                        <a:pos x="T0" y="T1"/>
                      </a:cxn>
                      <a:cxn ang="0">
                        <a:pos x="T2" y="T3"/>
                      </a:cxn>
                      <a:cxn ang="0">
                        <a:pos x="T4" y="T5"/>
                      </a:cxn>
                      <a:cxn ang="0">
                        <a:pos x="T6" y="T7"/>
                      </a:cxn>
                      <a:cxn ang="0">
                        <a:pos x="T8" y="T9"/>
                      </a:cxn>
                      <a:cxn ang="0">
                        <a:pos x="T10" y="T11"/>
                      </a:cxn>
                    </a:cxnLst>
                    <a:rect l="0" t="0" r="r" b="b"/>
                    <a:pathLst>
                      <a:path w="98" h="106">
                        <a:moveTo>
                          <a:pt x="98" y="81"/>
                        </a:moveTo>
                        <a:lnTo>
                          <a:pt x="49" y="106"/>
                        </a:lnTo>
                        <a:lnTo>
                          <a:pt x="0" y="81"/>
                        </a:lnTo>
                        <a:lnTo>
                          <a:pt x="0" y="0"/>
                        </a:lnTo>
                        <a:lnTo>
                          <a:pt x="98" y="0"/>
                        </a:lnTo>
                        <a:lnTo>
                          <a:pt x="98" y="8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79" name="Freeform 95"/>
                  <p:cNvSpPr>
                    <a:spLocks/>
                  </p:cNvSpPr>
                  <p:nvPr/>
                </p:nvSpPr>
                <p:spPr bwMode="auto">
                  <a:xfrm>
                    <a:off x="8016031" y="3144717"/>
                    <a:ext cx="267040" cy="693300"/>
                  </a:xfrm>
                  <a:custGeom>
                    <a:avLst/>
                    <a:gdLst>
                      <a:gd name="T0" fmla="*/ 0 w 52"/>
                      <a:gd name="T1" fmla="*/ 6 h 135"/>
                      <a:gd name="T2" fmla="*/ 21 w 52"/>
                      <a:gd name="T3" fmla="*/ 0 h 135"/>
                      <a:gd name="T4" fmla="*/ 52 w 52"/>
                      <a:gd name="T5" fmla="*/ 135 h 135"/>
                      <a:gd name="T6" fmla="*/ 31 w 52"/>
                      <a:gd name="T7" fmla="*/ 135 h 135"/>
                      <a:gd name="T8" fmla="*/ 0 w 52"/>
                      <a:gd name="T9" fmla="*/ 6 h 135"/>
                    </a:gdLst>
                    <a:ahLst/>
                    <a:cxnLst>
                      <a:cxn ang="0">
                        <a:pos x="T0" y="T1"/>
                      </a:cxn>
                      <a:cxn ang="0">
                        <a:pos x="T2" y="T3"/>
                      </a:cxn>
                      <a:cxn ang="0">
                        <a:pos x="T4" y="T5"/>
                      </a:cxn>
                      <a:cxn ang="0">
                        <a:pos x="T6" y="T7"/>
                      </a:cxn>
                      <a:cxn ang="0">
                        <a:pos x="T8" y="T9"/>
                      </a:cxn>
                    </a:cxnLst>
                    <a:rect l="0" t="0" r="r" b="b"/>
                    <a:pathLst>
                      <a:path w="52" h="135">
                        <a:moveTo>
                          <a:pt x="0" y="6"/>
                        </a:moveTo>
                        <a:cubicBezTo>
                          <a:pt x="7" y="4"/>
                          <a:pt x="14" y="2"/>
                          <a:pt x="21" y="0"/>
                        </a:cubicBezTo>
                        <a:cubicBezTo>
                          <a:pt x="41" y="44"/>
                          <a:pt x="48" y="87"/>
                          <a:pt x="52" y="135"/>
                        </a:cubicBezTo>
                        <a:cubicBezTo>
                          <a:pt x="31" y="135"/>
                          <a:pt x="31" y="135"/>
                          <a:pt x="31" y="135"/>
                        </a:cubicBezTo>
                        <a:cubicBezTo>
                          <a:pt x="26" y="89"/>
                          <a:pt x="19" y="47"/>
                          <a:pt x="0" y="6"/>
                        </a:cubicBezTo>
                        <a:close/>
                      </a:path>
                    </a:pathLst>
                  </a:custGeom>
                  <a:solidFill>
                    <a:srgbClr val="ADD4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80" name="Freeform 96"/>
                  <p:cNvSpPr>
                    <a:spLocks/>
                  </p:cNvSpPr>
                  <p:nvPr/>
                </p:nvSpPr>
                <p:spPr bwMode="auto">
                  <a:xfrm>
                    <a:off x="7754006" y="3899449"/>
                    <a:ext cx="159221" cy="729657"/>
                  </a:xfrm>
                  <a:custGeom>
                    <a:avLst/>
                    <a:gdLst>
                      <a:gd name="T0" fmla="*/ 107 w 127"/>
                      <a:gd name="T1" fmla="*/ 582 h 582"/>
                      <a:gd name="T2" fmla="*/ 17 w 127"/>
                      <a:gd name="T3" fmla="*/ 582 h 582"/>
                      <a:gd name="T4" fmla="*/ 0 w 127"/>
                      <a:gd name="T5" fmla="*/ 0 h 582"/>
                      <a:gd name="T6" fmla="*/ 127 w 127"/>
                      <a:gd name="T7" fmla="*/ 0 h 582"/>
                      <a:gd name="T8" fmla="*/ 107 w 127"/>
                      <a:gd name="T9" fmla="*/ 582 h 582"/>
                    </a:gdLst>
                    <a:ahLst/>
                    <a:cxnLst>
                      <a:cxn ang="0">
                        <a:pos x="T0" y="T1"/>
                      </a:cxn>
                      <a:cxn ang="0">
                        <a:pos x="T2" y="T3"/>
                      </a:cxn>
                      <a:cxn ang="0">
                        <a:pos x="T4" y="T5"/>
                      </a:cxn>
                      <a:cxn ang="0">
                        <a:pos x="T6" y="T7"/>
                      </a:cxn>
                      <a:cxn ang="0">
                        <a:pos x="T8" y="T9"/>
                      </a:cxn>
                    </a:cxnLst>
                    <a:rect l="0" t="0" r="r" b="b"/>
                    <a:pathLst>
                      <a:path w="127" h="582">
                        <a:moveTo>
                          <a:pt x="107" y="582"/>
                        </a:moveTo>
                        <a:lnTo>
                          <a:pt x="17" y="582"/>
                        </a:lnTo>
                        <a:lnTo>
                          <a:pt x="0" y="0"/>
                        </a:lnTo>
                        <a:lnTo>
                          <a:pt x="127" y="0"/>
                        </a:lnTo>
                        <a:lnTo>
                          <a:pt x="107" y="5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81" name="Freeform 97"/>
                  <p:cNvSpPr>
                    <a:spLocks/>
                  </p:cNvSpPr>
                  <p:nvPr/>
                </p:nvSpPr>
                <p:spPr bwMode="auto">
                  <a:xfrm>
                    <a:off x="7923256" y="3899449"/>
                    <a:ext cx="159221" cy="729657"/>
                  </a:xfrm>
                  <a:custGeom>
                    <a:avLst/>
                    <a:gdLst>
                      <a:gd name="T0" fmla="*/ 111 w 127"/>
                      <a:gd name="T1" fmla="*/ 582 h 582"/>
                      <a:gd name="T2" fmla="*/ 21 w 127"/>
                      <a:gd name="T3" fmla="*/ 582 h 582"/>
                      <a:gd name="T4" fmla="*/ 0 w 127"/>
                      <a:gd name="T5" fmla="*/ 0 h 582"/>
                      <a:gd name="T6" fmla="*/ 127 w 127"/>
                      <a:gd name="T7" fmla="*/ 0 h 582"/>
                      <a:gd name="T8" fmla="*/ 111 w 127"/>
                      <a:gd name="T9" fmla="*/ 582 h 582"/>
                    </a:gdLst>
                    <a:ahLst/>
                    <a:cxnLst>
                      <a:cxn ang="0">
                        <a:pos x="T0" y="T1"/>
                      </a:cxn>
                      <a:cxn ang="0">
                        <a:pos x="T2" y="T3"/>
                      </a:cxn>
                      <a:cxn ang="0">
                        <a:pos x="T4" y="T5"/>
                      </a:cxn>
                      <a:cxn ang="0">
                        <a:pos x="T6" y="T7"/>
                      </a:cxn>
                      <a:cxn ang="0">
                        <a:pos x="T8" y="T9"/>
                      </a:cxn>
                    </a:cxnLst>
                    <a:rect l="0" t="0" r="r" b="b"/>
                    <a:pathLst>
                      <a:path w="127" h="582">
                        <a:moveTo>
                          <a:pt x="111" y="582"/>
                        </a:moveTo>
                        <a:lnTo>
                          <a:pt x="21" y="582"/>
                        </a:lnTo>
                        <a:lnTo>
                          <a:pt x="0" y="0"/>
                        </a:lnTo>
                        <a:lnTo>
                          <a:pt x="127" y="0"/>
                        </a:lnTo>
                        <a:lnTo>
                          <a:pt x="111" y="5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82" name="Freeform 98"/>
                  <p:cNvSpPr>
                    <a:spLocks/>
                  </p:cNvSpPr>
                  <p:nvPr/>
                </p:nvSpPr>
                <p:spPr bwMode="auto">
                  <a:xfrm>
                    <a:off x="7574726" y="3838017"/>
                    <a:ext cx="82745" cy="87759"/>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3" y="17"/>
                          <a:pt x="8" y="17"/>
                        </a:cubicBezTo>
                        <a:cubicBezTo>
                          <a:pt x="12"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83" name="Freeform 99"/>
                  <p:cNvSpPr>
                    <a:spLocks/>
                  </p:cNvSpPr>
                  <p:nvPr/>
                </p:nvSpPr>
                <p:spPr bwMode="auto">
                  <a:xfrm>
                    <a:off x="8185281" y="3838017"/>
                    <a:ext cx="81491" cy="87759"/>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4" y="17"/>
                          <a:pt x="8" y="17"/>
                        </a:cubicBezTo>
                        <a:cubicBezTo>
                          <a:pt x="13"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84" name="Freeform 100"/>
                  <p:cNvSpPr>
                    <a:spLocks/>
                  </p:cNvSpPr>
                  <p:nvPr/>
                </p:nvSpPr>
                <p:spPr bwMode="auto">
                  <a:xfrm>
                    <a:off x="7718902" y="3108359"/>
                    <a:ext cx="399933" cy="791089"/>
                  </a:xfrm>
                  <a:custGeom>
                    <a:avLst/>
                    <a:gdLst>
                      <a:gd name="T0" fmla="*/ 208 w 319"/>
                      <a:gd name="T1" fmla="*/ 0 h 631"/>
                      <a:gd name="T2" fmla="*/ 159 w 319"/>
                      <a:gd name="T3" fmla="*/ 394 h 631"/>
                      <a:gd name="T4" fmla="*/ 110 w 319"/>
                      <a:gd name="T5" fmla="*/ 0 h 631"/>
                      <a:gd name="T6" fmla="*/ 0 w 319"/>
                      <a:gd name="T7" fmla="*/ 29 h 631"/>
                      <a:gd name="T8" fmla="*/ 4 w 319"/>
                      <a:gd name="T9" fmla="*/ 631 h 631"/>
                      <a:gd name="T10" fmla="*/ 315 w 319"/>
                      <a:gd name="T11" fmla="*/ 631 h 631"/>
                      <a:gd name="T12" fmla="*/ 319 w 319"/>
                      <a:gd name="T13" fmla="*/ 29 h 631"/>
                      <a:gd name="T14" fmla="*/ 208 w 319"/>
                      <a:gd name="T15" fmla="*/ 0 h 6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631">
                        <a:moveTo>
                          <a:pt x="208" y="0"/>
                        </a:moveTo>
                        <a:lnTo>
                          <a:pt x="159" y="394"/>
                        </a:lnTo>
                        <a:lnTo>
                          <a:pt x="110" y="0"/>
                        </a:lnTo>
                        <a:lnTo>
                          <a:pt x="0" y="29"/>
                        </a:lnTo>
                        <a:lnTo>
                          <a:pt x="4" y="631"/>
                        </a:lnTo>
                        <a:lnTo>
                          <a:pt x="315" y="631"/>
                        </a:lnTo>
                        <a:lnTo>
                          <a:pt x="319" y="29"/>
                        </a:lnTo>
                        <a:lnTo>
                          <a:pt x="208" y="0"/>
                        </a:lnTo>
                        <a:close/>
                      </a:path>
                    </a:pathLst>
                  </a:custGeom>
                  <a:solidFill>
                    <a:srgbClr val="ADD4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85" name="Freeform 101"/>
                  <p:cNvSpPr>
                    <a:spLocks/>
                  </p:cNvSpPr>
                  <p:nvPr/>
                </p:nvSpPr>
                <p:spPr bwMode="auto">
                  <a:xfrm>
                    <a:off x="8021046" y="2877677"/>
                    <a:ext cx="0" cy="501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86" name="Freeform 102"/>
                  <p:cNvSpPr>
                    <a:spLocks/>
                  </p:cNvSpPr>
                  <p:nvPr/>
                </p:nvSpPr>
                <p:spPr bwMode="auto">
                  <a:xfrm>
                    <a:off x="8021046" y="287767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87" name="Freeform 103"/>
                  <p:cNvSpPr>
                    <a:spLocks/>
                  </p:cNvSpPr>
                  <p:nvPr/>
                </p:nvSpPr>
                <p:spPr bwMode="auto">
                  <a:xfrm>
                    <a:off x="8016031" y="286764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88" name="Freeform 104"/>
                  <p:cNvSpPr>
                    <a:spLocks/>
                  </p:cNvSpPr>
                  <p:nvPr/>
                </p:nvSpPr>
                <p:spPr bwMode="auto">
                  <a:xfrm>
                    <a:off x="8016031" y="28726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89" name="Freeform 105"/>
                  <p:cNvSpPr>
                    <a:spLocks/>
                  </p:cNvSpPr>
                  <p:nvPr/>
                </p:nvSpPr>
                <p:spPr bwMode="auto">
                  <a:xfrm>
                    <a:off x="7820453" y="286764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90" name="Freeform 106"/>
                  <p:cNvSpPr>
                    <a:spLocks/>
                  </p:cNvSpPr>
                  <p:nvPr/>
                </p:nvSpPr>
                <p:spPr bwMode="auto">
                  <a:xfrm>
                    <a:off x="8021046" y="2882692"/>
                    <a:ext cx="0" cy="501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91" name="Freeform 107"/>
                  <p:cNvSpPr>
                    <a:spLocks/>
                  </p:cNvSpPr>
                  <p:nvPr/>
                </p:nvSpPr>
                <p:spPr bwMode="auto">
                  <a:xfrm>
                    <a:off x="8021046" y="2887707"/>
                    <a:ext cx="0" cy="501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92" name="Rectangle 108"/>
                  <p:cNvSpPr>
                    <a:spLocks noChangeArrowheads="1"/>
                  </p:cNvSpPr>
                  <p:nvPr/>
                </p:nvSpPr>
                <p:spPr bwMode="auto">
                  <a:xfrm>
                    <a:off x="8016031" y="2862633"/>
                    <a:ext cx="1254" cy="1254"/>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93" name="Freeform 109"/>
                  <p:cNvSpPr>
                    <a:spLocks/>
                  </p:cNvSpPr>
                  <p:nvPr/>
                </p:nvSpPr>
                <p:spPr bwMode="auto">
                  <a:xfrm>
                    <a:off x="7810423" y="288770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94" name="Freeform 110"/>
                  <p:cNvSpPr>
                    <a:spLocks/>
                  </p:cNvSpPr>
                  <p:nvPr/>
                </p:nvSpPr>
                <p:spPr bwMode="auto">
                  <a:xfrm>
                    <a:off x="7815438" y="287767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95" name="Freeform 111"/>
                  <p:cNvSpPr>
                    <a:spLocks/>
                  </p:cNvSpPr>
                  <p:nvPr/>
                </p:nvSpPr>
                <p:spPr bwMode="auto">
                  <a:xfrm>
                    <a:off x="7815438" y="28726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96" name="Freeform 112"/>
                  <p:cNvSpPr>
                    <a:spLocks/>
                  </p:cNvSpPr>
                  <p:nvPr/>
                </p:nvSpPr>
                <p:spPr bwMode="auto">
                  <a:xfrm>
                    <a:off x="7810423" y="2882692"/>
                    <a:ext cx="5015"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97" name="Freeform 113"/>
                  <p:cNvSpPr>
                    <a:spLocks/>
                  </p:cNvSpPr>
                  <p:nvPr/>
                </p:nvSpPr>
                <p:spPr bwMode="auto">
                  <a:xfrm>
                    <a:off x="7795378" y="2857618"/>
                    <a:ext cx="245726" cy="220652"/>
                  </a:xfrm>
                  <a:custGeom>
                    <a:avLst/>
                    <a:gdLst>
                      <a:gd name="T0" fmla="*/ 46 w 48"/>
                      <a:gd name="T1" fmla="*/ 10 h 43"/>
                      <a:gd name="T2" fmla="*/ 44 w 48"/>
                      <a:gd name="T3" fmla="*/ 10 h 43"/>
                      <a:gd name="T4" fmla="*/ 44 w 48"/>
                      <a:gd name="T5" fmla="*/ 7 h 43"/>
                      <a:gd name="T6" fmla="*/ 44 w 48"/>
                      <a:gd name="T7" fmla="*/ 6 h 43"/>
                      <a:gd name="T8" fmla="*/ 44 w 48"/>
                      <a:gd name="T9" fmla="*/ 6 h 43"/>
                      <a:gd name="T10" fmla="*/ 44 w 48"/>
                      <a:gd name="T11" fmla="*/ 5 h 43"/>
                      <a:gd name="T12" fmla="*/ 44 w 48"/>
                      <a:gd name="T13" fmla="*/ 5 h 43"/>
                      <a:gd name="T14" fmla="*/ 44 w 48"/>
                      <a:gd name="T15" fmla="*/ 4 h 43"/>
                      <a:gd name="T16" fmla="*/ 44 w 48"/>
                      <a:gd name="T17" fmla="*/ 4 h 43"/>
                      <a:gd name="T18" fmla="*/ 44 w 48"/>
                      <a:gd name="T19" fmla="*/ 4 h 43"/>
                      <a:gd name="T20" fmla="*/ 43 w 48"/>
                      <a:gd name="T21" fmla="*/ 3 h 43"/>
                      <a:gd name="T22" fmla="*/ 43 w 48"/>
                      <a:gd name="T23" fmla="*/ 3 h 43"/>
                      <a:gd name="T24" fmla="*/ 43 w 48"/>
                      <a:gd name="T25" fmla="*/ 2 h 43"/>
                      <a:gd name="T26" fmla="*/ 43 w 48"/>
                      <a:gd name="T27" fmla="*/ 2 h 43"/>
                      <a:gd name="T28" fmla="*/ 43 w 48"/>
                      <a:gd name="T29" fmla="*/ 1 h 43"/>
                      <a:gd name="T30" fmla="*/ 43 w 48"/>
                      <a:gd name="T31" fmla="*/ 1 h 43"/>
                      <a:gd name="T32" fmla="*/ 39 w 48"/>
                      <a:gd name="T33" fmla="*/ 2 h 43"/>
                      <a:gd name="T34" fmla="*/ 32 w 48"/>
                      <a:gd name="T35" fmla="*/ 0 h 43"/>
                      <a:gd name="T36" fmla="*/ 19 w 48"/>
                      <a:gd name="T37" fmla="*/ 2 h 43"/>
                      <a:gd name="T38" fmla="*/ 6 w 48"/>
                      <a:gd name="T39" fmla="*/ 0 h 43"/>
                      <a:gd name="T40" fmla="*/ 5 w 48"/>
                      <a:gd name="T41" fmla="*/ 2 h 43"/>
                      <a:gd name="T42" fmla="*/ 5 w 48"/>
                      <a:gd name="T43" fmla="*/ 2 h 43"/>
                      <a:gd name="T44" fmla="*/ 4 w 48"/>
                      <a:gd name="T45" fmla="*/ 3 h 43"/>
                      <a:gd name="T46" fmla="*/ 4 w 48"/>
                      <a:gd name="T47" fmla="*/ 3 h 43"/>
                      <a:gd name="T48" fmla="*/ 4 w 48"/>
                      <a:gd name="T49" fmla="*/ 4 h 43"/>
                      <a:gd name="T50" fmla="*/ 4 w 48"/>
                      <a:gd name="T51" fmla="*/ 4 h 43"/>
                      <a:gd name="T52" fmla="*/ 4 w 48"/>
                      <a:gd name="T53" fmla="*/ 5 h 43"/>
                      <a:gd name="T54" fmla="*/ 3 w 48"/>
                      <a:gd name="T55" fmla="*/ 5 h 43"/>
                      <a:gd name="T56" fmla="*/ 3 w 48"/>
                      <a:gd name="T57" fmla="*/ 6 h 43"/>
                      <a:gd name="T58" fmla="*/ 3 w 48"/>
                      <a:gd name="T59" fmla="*/ 6 h 43"/>
                      <a:gd name="T60" fmla="*/ 3 w 48"/>
                      <a:gd name="T61" fmla="*/ 7 h 43"/>
                      <a:gd name="T62" fmla="*/ 3 w 48"/>
                      <a:gd name="T63" fmla="*/ 10 h 43"/>
                      <a:gd name="T64" fmla="*/ 3 w 48"/>
                      <a:gd name="T65" fmla="*/ 10 h 43"/>
                      <a:gd name="T66" fmla="*/ 0 w 48"/>
                      <a:gd name="T67" fmla="*/ 14 h 43"/>
                      <a:gd name="T68" fmla="*/ 0 w 48"/>
                      <a:gd name="T69" fmla="*/ 21 h 43"/>
                      <a:gd name="T70" fmla="*/ 3 w 48"/>
                      <a:gd name="T71" fmla="*/ 25 h 43"/>
                      <a:gd name="T72" fmla="*/ 15 w 48"/>
                      <a:gd name="T73" fmla="*/ 43 h 43"/>
                      <a:gd name="T74" fmla="*/ 33 w 48"/>
                      <a:gd name="T75" fmla="*/ 43 h 43"/>
                      <a:gd name="T76" fmla="*/ 44 w 48"/>
                      <a:gd name="T77" fmla="*/ 25 h 43"/>
                      <a:gd name="T78" fmla="*/ 48 w 48"/>
                      <a:gd name="T79" fmla="*/ 21 h 43"/>
                      <a:gd name="T80" fmla="*/ 48 w 48"/>
                      <a:gd name="T81" fmla="*/ 14 h 43"/>
                      <a:gd name="T82" fmla="*/ 46 w 48"/>
                      <a:gd name="T83" fmla="*/ 1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 h="43">
                        <a:moveTo>
                          <a:pt x="46" y="10"/>
                        </a:moveTo>
                        <a:cubicBezTo>
                          <a:pt x="45" y="10"/>
                          <a:pt x="45" y="10"/>
                          <a:pt x="44" y="10"/>
                        </a:cubicBezTo>
                        <a:cubicBezTo>
                          <a:pt x="44" y="7"/>
                          <a:pt x="44" y="7"/>
                          <a:pt x="44" y="7"/>
                        </a:cubicBezTo>
                        <a:cubicBezTo>
                          <a:pt x="44" y="7"/>
                          <a:pt x="44" y="6"/>
                          <a:pt x="44" y="6"/>
                        </a:cubicBezTo>
                        <a:cubicBezTo>
                          <a:pt x="44" y="6"/>
                          <a:pt x="44" y="6"/>
                          <a:pt x="44" y="6"/>
                        </a:cubicBezTo>
                        <a:cubicBezTo>
                          <a:pt x="44" y="6"/>
                          <a:pt x="44" y="5"/>
                          <a:pt x="44" y="5"/>
                        </a:cubicBezTo>
                        <a:cubicBezTo>
                          <a:pt x="44" y="5"/>
                          <a:pt x="44" y="5"/>
                          <a:pt x="44" y="5"/>
                        </a:cubicBezTo>
                        <a:cubicBezTo>
                          <a:pt x="44" y="5"/>
                          <a:pt x="44" y="5"/>
                          <a:pt x="44" y="4"/>
                        </a:cubicBezTo>
                        <a:cubicBezTo>
                          <a:pt x="44" y="4"/>
                          <a:pt x="44" y="4"/>
                          <a:pt x="44" y="4"/>
                        </a:cubicBezTo>
                        <a:cubicBezTo>
                          <a:pt x="44" y="4"/>
                          <a:pt x="44" y="4"/>
                          <a:pt x="44" y="4"/>
                        </a:cubicBezTo>
                        <a:cubicBezTo>
                          <a:pt x="44" y="3"/>
                          <a:pt x="44" y="3"/>
                          <a:pt x="43" y="3"/>
                        </a:cubicBezTo>
                        <a:cubicBezTo>
                          <a:pt x="43" y="3"/>
                          <a:pt x="43" y="3"/>
                          <a:pt x="43" y="3"/>
                        </a:cubicBezTo>
                        <a:cubicBezTo>
                          <a:pt x="43" y="2"/>
                          <a:pt x="43" y="2"/>
                          <a:pt x="43" y="2"/>
                        </a:cubicBezTo>
                        <a:cubicBezTo>
                          <a:pt x="43" y="2"/>
                          <a:pt x="43" y="2"/>
                          <a:pt x="43" y="2"/>
                        </a:cubicBezTo>
                        <a:cubicBezTo>
                          <a:pt x="43" y="2"/>
                          <a:pt x="43" y="1"/>
                          <a:pt x="43" y="1"/>
                        </a:cubicBezTo>
                        <a:cubicBezTo>
                          <a:pt x="43" y="1"/>
                          <a:pt x="43" y="1"/>
                          <a:pt x="43" y="1"/>
                        </a:cubicBezTo>
                        <a:cubicBezTo>
                          <a:pt x="41" y="2"/>
                          <a:pt x="40" y="2"/>
                          <a:pt x="39" y="2"/>
                        </a:cubicBezTo>
                        <a:cubicBezTo>
                          <a:pt x="36" y="2"/>
                          <a:pt x="33" y="1"/>
                          <a:pt x="32" y="0"/>
                        </a:cubicBezTo>
                        <a:cubicBezTo>
                          <a:pt x="29" y="1"/>
                          <a:pt x="24" y="2"/>
                          <a:pt x="19" y="2"/>
                        </a:cubicBezTo>
                        <a:cubicBezTo>
                          <a:pt x="14" y="2"/>
                          <a:pt x="9" y="1"/>
                          <a:pt x="6" y="0"/>
                        </a:cubicBezTo>
                        <a:cubicBezTo>
                          <a:pt x="6" y="1"/>
                          <a:pt x="5" y="1"/>
                          <a:pt x="5" y="2"/>
                        </a:cubicBezTo>
                        <a:cubicBezTo>
                          <a:pt x="5" y="2"/>
                          <a:pt x="5" y="2"/>
                          <a:pt x="5" y="2"/>
                        </a:cubicBezTo>
                        <a:cubicBezTo>
                          <a:pt x="4" y="2"/>
                          <a:pt x="4" y="3"/>
                          <a:pt x="4" y="3"/>
                        </a:cubicBezTo>
                        <a:cubicBezTo>
                          <a:pt x="4" y="3"/>
                          <a:pt x="4" y="3"/>
                          <a:pt x="4" y="3"/>
                        </a:cubicBezTo>
                        <a:cubicBezTo>
                          <a:pt x="4" y="3"/>
                          <a:pt x="4" y="4"/>
                          <a:pt x="4" y="4"/>
                        </a:cubicBezTo>
                        <a:cubicBezTo>
                          <a:pt x="4" y="4"/>
                          <a:pt x="4" y="4"/>
                          <a:pt x="4" y="4"/>
                        </a:cubicBezTo>
                        <a:cubicBezTo>
                          <a:pt x="4" y="4"/>
                          <a:pt x="4" y="5"/>
                          <a:pt x="4" y="5"/>
                        </a:cubicBezTo>
                        <a:cubicBezTo>
                          <a:pt x="4" y="5"/>
                          <a:pt x="3" y="5"/>
                          <a:pt x="3" y="5"/>
                        </a:cubicBezTo>
                        <a:cubicBezTo>
                          <a:pt x="3" y="5"/>
                          <a:pt x="3" y="6"/>
                          <a:pt x="3" y="6"/>
                        </a:cubicBezTo>
                        <a:cubicBezTo>
                          <a:pt x="3" y="6"/>
                          <a:pt x="3" y="6"/>
                          <a:pt x="3" y="6"/>
                        </a:cubicBezTo>
                        <a:cubicBezTo>
                          <a:pt x="3" y="6"/>
                          <a:pt x="3" y="7"/>
                          <a:pt x="3" y="7"/>
                        </a:cubicBezTo>
                        <a:cubicBezTo>
                          <a:pt x="3" y="10"/>
                          <a:pt x="3" y="10"/>
                          <a:pt x="3" y="10"/>
                        </a:cubicBezTo>
                        <a:cubicBezTo>
                          <a:pt x="3" y="10"/>
                          <a:pt x="3" y="10"/>
                          <a:pt x="3" y="10"/>
                        </a:cubicBezTo>
                        <a:cubicBezTo>
                          <a:pt x="1" y="10"/>
                          <a:pt x="0" y="12"/>
                          <a:pt x="0" y="14"/>
                        </a:cubicBezTo>
                        <a:cubicBezTo>
                          <a:pt x="0" y="21"/>
                          <a:pt x="0" y="21"/>
                          <a:pt x="0" y="21"/>
                        </a:cubicBezTo>
                        <a:cubicBezTo>
                          <a:pt x="0" y="23"/>
                          <a:pt x="1" y="25"/>
                          <a:pt x="3" y="25"/>
                        </a:cubicBezTo>
                        <a:cubicBezTo>
                          <a:pt x="3" y="25"/>
                          <a:pt x="9" y="43"/>
                          <a:pt x="15" y="43"/>
                        </a:cubicBezTo>
                        <a:cubicBezTo>
                          <a:pt x="33" y="43"/>
                          <a:pt x="33" y="43"/>
                          <a:pt x="33" y="43"/>
                        </a:cubicBezTo>
                        <a:cubicBezTo>
                          <a:pt x="38" y="43"/>
                          <a:pt x="44" y="25"/>
                          <a:pt x="44" y="25"/>
                        </a:cubicBezTo>
                        <a:cubicBezTo>
                          <a:pt x="46" y="25"/>
                          <a:pt x="48" y="23"/>
                          <a:pt x="48" y="21"/>
                        </a:cubicBezTo>
                        <a:cubicBezTo>
                          <a:pt x="48" y="14"/>
                          <a:pt x="48" y="14"/>
                          <a:pt x="48" y="14"/>
                        </a:cubicBezTo>
                        <a:cubicBezTo>
                          <a:pt x="48" y="12"/>
                          <a:pt x="47" y="11"/>
                          <a:pt x="46" y="1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grpSp>
      </p:grpSp>
      <p:sp>
        <p:nvSpPr>
          <p:cNvPr id="5" name="Slide Number Placeholder 4"/>
          <p:cNvSpPr>
            <a:spLocks noGrp="1"/>
          </p:cNvSpPr>
          <p:nvPr>
            <p:ph type="sldNum" sz="quarter" idx="11"/>
          </p:nvPr>
        </p:nvSpPr>
        <p:spPr/>
        <p:txBody>
          <a:bodyPr/>
          <a:lstStyle/>
          <a:p>
            <a:fld id="{27258FFF-F925-446B-8502-81C933981705}" type="slidenum">
              <a:rPr lang="en-US" smtClean="0"/>
              <a:pPr/>
              <a:t>29</a:t>
            </a:fld>
            <a:endParaRPr lang="en-US" dirty="0"/>
          </a:p>
        </p:txBody>
      </p:sp>
    </p:spTree>
    <p:extLst>
      <p:ext uri="{BB962C8B-B14F-4D97-AF65-F5344CB8AC3E}">
        <p14:creationId xmlns:p14="http://schemas.microsoft.com/office/powerpoint/2010/main" val="249342857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750" fill="hold"/>
                                        <p:tgtEl>
                                          <p:spTgt spid="16"/>
                                        </p:tgtEl>
                                        <p:attrNameLst>
                                          <p:attrName>ppt_x</p:attrName>
                                        </p:attrNameLst>
                                      </p:cBhvr>
                                      <p:tavLst>
                                        <p:tav tm="0">
                                          <p:val>
                                            <p:strVal val="#ppt_x"/>
                                          </p:val>
                                        </p:tav>
                                        <p:tav tm="100000">
                                          <p:val>
                                            <p:strVal val="#ppt_x"/>
                                          </p:val>
                                        </p:tav>
                                      </p:tavLst>
                                    </p:anim>
                                    <p:anim calcmode="lin" valueType="num">
                                      <p:cBhvr additive="base">
                                        <p:cTn id="8" dur="750" fill="hold"/>
                                        <p:tgtEl>
                                          <p:spTgt spid="16"/>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750" fill="hold"/>
                                        <p:tgtEl>
                                          <p:spTgt spid="17"/>
                                        </p:tgtEl>
                                        <p:attrNameLst>
                                          <p:attrName>ppt_x</p:attrName>
                                        </p:attrNameLst>
                                      </p:cBhvr>
                                      <p:tavLst>
                                        <p:tav tm="0">
                                          <p:val>
                                            <p:strVal val="#ppt_x"/>
                                          </p:val>
                                        </p:tav>
                                        <p:tav tm="100000">
                                          <p:val>
                                            <p:strVal val="#ppt_x"/>
                                          </p:val>
                                        </p:tav>
                                      </p:tavLst>
                                    </p:anim>
                                    <p:anim calcmode="lin" valueType="num">
                                      <p:cBhvr additive="base">
                                        <p:cTn id="12" dur="750" fill="hold"/>
                                        <p:tgtEl>
                                          <p:spTgt spid="17"/>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750" fill="hold"/>
                                        <p:tgtEl>
                                          <p:spTgt spid="18"/>
                                        </p:tgtEl>
                                        <p:attrNameLst>
                                          <p:attrName>ppt_x</p:attrName>
                                        </p:attrNameLst>
                                      </p:cBhvr>
                                      <p:tavLst>
                                        <p:tav tm="0">
                                          <p:val>
                                            <p:strVal val="#ppt_x"/>
                                          </p:val>
                                        </p:tav>
                                        <p:tav tm="100000">
                                          <p:val>
                                            <p:strVal val="#ppt_x"/>
                                          </p:val>
                                        </p:tav>
                                      </p:tavLst>
                                    </p:anim>
                                    <p:anim calcmode="lin" valueType="num">
                                      <p:cBhvr additive="base">
                                        <p:cTn id="16" dur="750" fill="hold"/>
                                        <p:tgtEl>
                                          <p:spTgt spid="18"/>
                                        </p:tgtEl>
                                        <p:attrNameLst>
                                          <p:attrName>ppt_y</p:attrName>
                                        </p:attrNameLst>
                                      </p:cBhvr>
                                      <p:tavLst>
                                        <p:tav tm="0">
                                          <p:val>
                                            <p:strVal val="1+#ppt_h/2"/>
                                          </p:val>
                                        </p:tav>
                                        <p:tav tm="100000">
                                          <p:val>
                                            <p:strVal val="#ppt_y"/>
                                          </p:val>
                                        </p:tav>
                                      </p:tavLst>
                                    </p:anim>
                                  </p:childTnLst>
                                </p:cTn>
                              </p:par>
                            </p:childTnLst>
                          </p:cTn>
                        </p:par>
                        <p:par>
                          <p:cTn id="17" fill="hold">
                            <p:stCondLst>
                              <p:cond delay="1250"/>
                            </p:stCondLst>
                            <p:childTnLst>
                              <p:par>
                                <p:cTn id="18" presetID="2" presetClass="entr" presetSubtype="4" decel="100000"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 calcmode="lin" valueType="num">
                                      <p:cBhvr additive="base">
                                        <p:cTn id="20" dur="750" fill="hold"/>
                                        <p:tgtEl>
                                          <p:spTgt spid="3"/>
                                        </p:tgtEl>
                                        <p:attrNameLst>
                                          <p:attrName>ppt_x</p:attrName>
                                        </p:attrNameLst>
                                      </p:cBhvr>
                                      <p:tavLst>
                                        <p:tav tm="0">
                                          <p:val>
                                            <p:strVal val="#ppt_x"/>
                                          </p:val>
                                        </p:tav>
                                        <p:tav tm="100000">
                                          <p:val>
                                            <p:strVal val="#ppt_x"/>
                                          </p:val>
                                        </p:tav>
                                      </p:tavLst>
                                    </p:anim>
                                    <p:anim calcmode="lin" valueType="num">
                                      <p:cBhvr additive="base">
                                        <p:cTn id="21" dur="75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8633779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4646"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585216" y="264964"/>
            <a:ext cx="11226195" cy="1097302"/>
          </a:xfrm>
        </p:spPr>
        <p:txBody>
          <a:bodyPr/>
          <a:lstStyle/>
          <a:p>
            <a:r>
              <a:rPr lang="en-IN" dirty="0"/>
              <a:t>Cybersecurity concerns persist</a:t>
            </a:r>
          </a:p>
        </p:txBody>
      </p:sp>
      <p:sp>
        <p:nvSpPr>
          <p:cNvPr id="25" name="Text Placeholder 30"/>
          <p:cNvSpPr txBox="1">
            <a:spLocks/>
          </p:cNvSpPr>
          <p:nvPr/>
        </p:nvSpPr>
        <p:spPr>
          <a:xfrm>
            <a:off x="585216" y="1005734"/>
            <a:ext cx="11887878" cy="583860"/>
          </a:xfrm>
          <a:prstGeom prst="rect">
            <a:avLst/>
          </a:prstGeom>
        </p:spPr>
        <p:txBody>
          <a:bodyPr vert="horz" wrap="square" lIns="0" tIns="93260" rIns="0" bIns="9326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IN" sz="2800" dirty="0">
                <a:solidFill>
                  <a:schemeClr val="tx2"/>
                </a:solidFill>
              </a:rPr>
              <a:t>Global attacks are increasing and costs are rising</a:t>
            </a:r>
          </a:p>
        </p:txBody>
      </p:sp>
      <p:sp>
        <p:nvSpPr>
          <p:cNvPr id="149" name="Rectangle 148"/>
          <p:cNvSpPr/>
          <p:nvPr/>
        </p:nvSpPr>
        <p:spPr bwMode="auto">
          <a:xfrm>
            <a:off x="1" y="6450386"/>
            <a:ext cx="12436474" cy="544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06" name="Slide Number Placeholder 2"/>
          <p:cNvSpPr>
            <a:spLocks noGrp="1"/>
          </p:cNvSpPr>
          <p:nvPr>
            <p:ph type="sldNum" sz="quarter" idx="11"/>
          </p:nvPr>
        </p:nvSpPr>
        <p:spPr>
          <a:xfrm>
            <a:off x="11595101" y="6565392"/>
            <a:ext cx="566737" cy="137160"/>
          </a:xfrm>
        </p:spPr>
        <p:txBody>
          <a:bodyPr/>
          <a:lstStyle/>
          <a:p>
            <a:fld id="{27258FFF-F925-446B-8502-81C933981705}" type="slidenum">
              <a:rPr lang="en-US" smtClean="0"/>
              <a:pPr/>
              <a:t>3</a:t>
            </a:fld>
            <a:endParaRPr lang="en-US" dirty="0"/>
          </a:p>
        </p:txBody>
      </p:sp>
      <p:grpSp>
        <p:nvGrpSpPr>
          <p:cNvPr id="14" name="Group 13"/>
          <p:cNvGrpSpPr/>
          <p:nvPr/>
        </p:nvGrpSpPr>
        <p:grpSpPr>
          <a:xfrm>
            <a:off x="-1" y="1648460"/>
            <a:ext cx="12655922" cy="4860792"/>
            <a:chOff x="-1" y="1648460"/>
            <a:chExt cx="12655922" cy="4860792"/>
          </a:xfrm>
        </p:grpSpPr>
        <p:sp>
          <p:nvSpPr>
            <p:cNvPr id="26" name="Rectangle 25"/>
            <p:cNvSpPr/>
            <p:nvPr/>
          </p:nvSpPr>
          <p:spPr>
            <a:xfrm>
              <a:off x="-1" y="1648460"/>
              <a:ext cx="8269358" cy="1200171"/>
            </a:xfrm>
            <a:prstGeom prst="rect">
              <a:avLst/>
            </a:prstGeom>
            <a:solidFill>
              <a:schemeClr val="accent1"/>
            </a:solidFill>
          </p:spPr>
          <p:txBody>
            <a:bodyPr wrap="square" lIns="548640" tIns="45720" rIns="1645920" anchor="ctr">
              <a:noAutofit/>
            </a:bodyPr>
            <a:lstStyle/>
            <a:p>
              <a:pPr lvl="0"/>
              <a:r>
                <a:rPr lang="en-IN" sz="2000" dirty="0">
                  <a:solidFill>
                    <a:schemeClr val="bg1"/>
                  </a:solidFill>
                </a:rPr>
                <a:t>Cybercrime extracts between 15% and 20% of the value created by the </a:t>
              </a:r>
              <a:r>
                <a:rPr lang="en-IN" sz="2000" dirty="0" smtClean="0">
                  <a:solidFill>
                    <a:schemeClr val="bg1"/>
                  </a:solidFill>
                </a:rPr>
                <a:t>Internet.</a:t>
              </a:r>
              <a:r>
                <a:rPr lang="en-IN" sz="2000" baseline="30000" dirty="0" smtClean="0">
                  <a:solidFill>
                    <a:schemeClr val="bg1"/>
                  </a:solidFill>
                </a:rPr>
                <a:t>1</a:t>
              </a:r>
              <a:endParaRPr lang="en-IN" sz="2000" baseline="30000" dirty="0">
                <a:solidFill>
                  <a:schemeClr val="bg1"/>
                </a:solidFill>
              </a:endParaRPr>
            </a:p>
          </p:txBody>
        </p:sp>
        <p:sp>
          <p:nvSpPr>
            <p:cNvPr id="27" name="Rectangle 26"/>
            <p:cNvSpPr/>
            <p:nvPr/>
          </p:nvSpPr>
          <p:spPr>
            <a:xfrm>
              <a:off x="-1" y="4049629"/>
              <a:ext cx="8269358" cy="1200171"/>
            </a:xfrm>
            <a:prstGeom prst="rect">
              <a:avLst/>
            </a:prstGeom>
            <a:solidFill>
              <a:schemeClr val="accent3"/>
            </a:solidFill>
          </p:spPr>
          <p:txBody>
            <a:bodyPr wrap="square" lIns="548640" tIns="45720" rIns="1645920" anchor="ctr">
              <a:noAutofit/>
            </a:bodyPr>
            <a:lstStyle/>
            <a:p>
              <a:pPr marR="0">
                <a:spcBef>
                  <a:spcPts val="0"/>
                </a:spcBef>
              </a:pPr>
              <a:r>
                <a:rPr lang="en-IN" sz="2000" dirty="0">
                  <a:solidFill>
                    <a:schemeClr val="bg1"/>
                  </a:solidFill>
                </a:rPr>
                <a:t>Total financial losses attributed to security compromises increased 34% in </a:t>
              </a:r>
              <a:r>
                <a:rPr lang="en-IN" sz="2000" dirty="0" smtClean="0">
                  <a:solidFill>
                    <a:schemeClr val="bg1"/>
                  </a:solidFill>
                </a:rPr>
                <a:t>2014.</a:t>
              </a:r>
              <a:r>
                <a:rPr lang="en-IN" sz="2000" baseline="30000" dirty="0" smtClean="0">
                  <a:solidFill>
                    <a:schemeClr val="bg1"/>
                  </a:solidFill>
                </a:rPr>
                <a:t>3</a:t>
              </a:r>
              <a:endParaRPr lang="en-IN" sz="2000" baseline="30000" dirty="0">
                <a:solidFill>
                  <a:schemeClr val="bg1"/>
                </a:solidFill>
              </a:endParaRPr>
            </a:p>
          </p:txBody>
        </p:sp>
        <p:sp>
          <p:nvSpPr>
            <p:cNvPr id="29" name="Rectangle 28"/>
            <p:cNvSpPr/>
            <p:nvPr/>
          </p:nvSpPr>
          <p:spPr>
            <a:xfrm>
              <a:off x="-1" y="2849044"/>
              <a:ext cx="8269358" cy="1200171"/>
            </a:xfrm>
            <a:prstGeom prst="rect">
              <a:avLst/>
            </a:prstGeom>
            <a:solidFill>
              <a:schemeClr val="accent2"/>
            </a:solidFill>
          </p:spPr>
          <p:txBody>
            <a:bodyPr wrap="square" lIns="548640" tIns="45720" rIns="1645920" anchor="ctr">
              <a:noAutofit/>
            </a:bodyPr>
            <a:lstStyle/>
            <a:p>
              <a:pPr lvl="0"/>
              <a:r>
                <a:rPr lang="en-IN" sz="2000" dirty="0">
                  <a:solidFill>
                    <a:schemeClr val="bg1"/>
                  </a:solidFill>
                </a:rPr>
                <a:t>In the UK, 81% of large corporations and 60% of small businesses reported a cyberbreach in the past </a:t>
              </a:r>
              <a:r>
                <a:rPr lang="en-IN" sz="2000" dirty="0" smtClean="0">
                  <a:solidFill>
                    <a:schemeClr val="bg1"/>
                  </a:solidFill>
                </a:rPr>
                <a:t>year.</a:t>
              </a:r>
              <a:r>
                <a:rPr lang="en-IN" sz="2000" baseline="30000" dirty="0" smtClean="0">
                  <a:solidFill>
                    <a:schemeClr val="bg1"/>
                  </a:solidFill>
                </a:rPr>
                <a:t>2</a:t>
              </a:r>
              <a:endParaRPr lang="en-IN" sz="2000" baseline="30000" dirty="0">
                <a:solidFill>
                  <a:schemeClr val="bg1"/>
                </a:solidFill>
              </a:endParaRPr>
            </a:p>
          </p:txBody>
        </p:sp>
        <p:sp>
          <p:nvSpPr>
            <p:cNvPr id="30" name="Rectangle 29"/>
            <p:cNvSpPr/>
            <p:nvPr/>
          </p:nvSpPr>
          <p:spPr>
            <a:xfrm>
              <a:off x="-1" y="5255586"/>
              <a:ext cx="8269357" cy="1194800"/>
            </a:xfrm>
            <a:prstGeom prst="rect">
              <a:avLst/>
            </a:prstGeom>
            <a:solidFill>
              <a:schemeClr val="accent4"/>
            </a:solidFill>
          </p:spPr>
          <p:txBody>
            <a:bodyPr wrap="square" lIns="548640" tIns="45720" rIns="1645920" anchor="ctr">
              <a:noAutofit/>
            </a:bodyPr>
            <a:lstStyle/>
            <a:p>
              <a:pPr lvl="0"/>
              <a:r>
                <a:rPr lang="en-IN" sz="2000" dirty="0">
                  <a:solidFill>
                    <a:schemeClr val="bg1"/>
                  </a:solidFill>
                </a:rPr>
                <a:t>Impact of cyber attacks could </a:t>
              </a:r>
              <a:r>
                <a:rPr lang="en-IN" sz="2000" dirty="0" smtClean="0">
                  <a:solidFill>
                    <a:schemeClr val="bg1"/>
                  </a:solidFill>
                </a:rPr>
                <a:t>be as </a:t>
              </a:r>
              <a:r>
                <a:rPr lang="en-IN" sz="2000" dirty="0">
                  <a:solidFill>
                    <a:schemeClr val="bg1"/>
                  </a:solidFill>
                </a:rPr>
                <a:t>much as $3 trillion in lost productivity and </a:t>
              </a:r>
              <a:r>
                <a:rPr lang="en-IN" sz="2000" dirty="0" smtClean="0">
                  <a:solidFill>
                    <a:schemeClr val="bg1"/>
                  </a:solidFill>
                </a:rPr>
                <a:t>growth.</a:t>
              </a:r>
              <a:r>
                <a:rPr lang="en-IN" sz="2000" baseline="30000" dirty="0">
                  <a:solidFill>
                    <a:schemeClr val="bg1"/>
                  </a:solidFill>
                </a:rPr>
                <a:t>4</a:t>
              </a:r>
            </a:p>
          </p:txBody>
        </p:sp>
        <p:sp>
          <p:nvSpPr>
            <p:cNvPr id="153" name="Freeform 152"/>
            <p:cNvSpPr/>
            <p:nvPr/>
          </p:nvSpPr>
          <p:spPr>
            <a:xfrm>
              <a:off x="6611051" y="1648460"/>
              <a:ext cx="5825423" cy="4801926"/>
            </a:xfrm>
            <a:custGeom>
              <a:avLst/>
              <a:gdLst>
                <a:gd name="connsiteX0" fmla="*/ 0 w 5825423"/>
                <a:gd name="connsiteY0" fmla="*/ 0 h 4801926"/>
                <a:gd name="connsiteX1" fmla="*/ 1071897 w 5825423"/>
                <a:gd name="connsiteY1" fmla="*/ 0 h 4801926"/>
                <a:gd name="connsiteX2" fmla="*/ 3873201 w 5825423"/>
                <a:gd name="connsiteY2" fmla="*/ 0 h 4801926"/>
                <a:gd name="connsiteX3" fmla="*/ 5825423 w 5825423"/>
                <a:gd name="connsiteY3" fmla="*/ 0 h 4801926"/>
                <a:gd name="connsiteX4" fmla="*/ 5825423 w 5825423"/>
                <a:gd name="connsiteY4" fmla="*/ 4801926 h 4801926"/>
                <a:gd name="connsiteX5" fmla="*/ 3873201 w 5825423"/>
                <a:gd name="connsiteY5" fmla="*/ 4801926 h 4801926"/>
                <a:gd name="connsiteX6" fmla="*/ 1071897 w 5825423"/>
                <a:gd name="connsiteY6" fmla="*/ 4801926 h 4801926"/>
                <a:gd name="connsiteX7" fmla="*/ 0 w 5825423"/>
                <a:gd name="connsiteY7" fmla="*/ 4801926 h 4801926"/>
                <a:gd name="connsiteX8" fmla="*/ 468512 w 5825423"/>
                <a:gd name="connsiteY8" fmla="*/ 2400964 h 4801926"/>
                <a:gd name="connsiteX9" fmla="*/ 0 w 5825423"/>
                <a:gd name="connsiteY9" fmla="*/ 0 h 480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5423" h="4801926">
                  <a:moveTo>
                    <a:pt x="0" y="0"/>
                  </a:moveTo>
                  <a:lnTo>
                    <a:pt x="1071897" y="0"/>
                  </a:lnTo>
                  <a:lnTo>
                    <a:pt x="3873201" y="0"/>
                  </a:lnTo>
                  <a:lnTo>
                    <a:pt x="5825423" y="0"/>
                  </a:lnTo>
                  <a:lnTo>
                    <a:pt x="5825423" y="4801926"/>
                  </a:lnTo>
                  <a:lnTo>
                    <a:pt x="3873201" y="4801926"/>
                  </a:lnTo>
                  <a:lnTo>
                    <a:pt x="1071897" y="4801926"/>
                  </a:lnTo>
                  <a:lnTo>
                    <a:pt x="0" y="4801926"/>
                  </a:lnTo>
                  <a:cubicBezTo>
                    <a:pt x="290513" y="4180743"/>
                    <a:pt x="468512" y="3334012"/>
                    <a:pt x="468512" y="2400964"/>
                  </a:cubicBezTo>
                  <a:cubicBezTo>
                    <a:pt x="468512" y="1467915"/>
                    <a:pt x="290513" y="621184"/>
                    <a:pt x="0" y="0"/>
                  </a:cubicBezTo>
                  <a:close/>
                </a:path>
              </a:pathLst>
            </a:custGeom>
            <a:solidFill>
              <a:schemeClr val="bg1">
                <a:lumMod val="95000"/>
              </a:schemeClr>
            </a:solidFill>
          </p:spPr>
          <p:txBody>
            <a:bodyPr wrap="square" rtlCol="0" anchor="ctr">
              <a:noAutofit/>
            </a:bodyPr>
            <a:lstStyle/>
            <a:p>
              <a:pPr algn="l"/>
              <a:endParaRPr lang="en-US" sz="2000" dirty="0">
                <a:solidFill>
                  <a:srgbClr val="FFFFFF"/>
                </a:solidFill>
                <a:cs typeface="Segoe UI Light"/>
              </a:endParaRPr>
            </a:p>
          </p:txBody>
        </p:sp>
        <p:sp>
          <p:nvSpPr>
            <p:cNvPr id="154" name="Freeform 153"/>
            <p:cNvSpPr/>
            <p:nvPr/>
          </p:nvSpPr>
          <p:spPr>
            <a:xfrm>
              <a:off x="6489399" y="1648460"/>
              <a:ext cx="590164" cy="4801926"/>
            </a:xfrm>
            <a:custGeom>
              <a:avLst/>
              <a:gdLst>
                <a:gd name="connsiteX0" fmla="*/ 0 w 590164"/>
                <a:gd name="connsiteY0" fmla="*/ 0 h 4801926"/>
                <a:gd name="connsiteX1" fmla="*/ 121652 w 590164"/>
                <a:gd name="connsiteY1" fmla="*/ 0 h 4801926"/>
                <a:gd name="connsiteX2" fmla="*/ 590164 w 590164"/>
                <a:gd name="connsiteY2" fmla="*/ 2400964 h 4801926"/>
                <a:gd name="connsiteX3" fmla="*/ 121652 w 590164"/>
                <a:gd name="connsiteY3" fmla="*/ 4801926 h 4801926"/>
                <a:gd name="connsiteX4" fmla="*/ 0 w 590164"/>
                <a:gd name="connsiteY4" fmla="*/ 4801926 h 4801926"/>
                <a:gd name="connsiteX5" fmla="*/ 468512 w 590164"/>
                <a:gd name="connsiteY5" fmla="*/ 2400964 h 4801926"/>
                <a:gd name="connsiteX6" fmla="*/ 0 w 590164"/>
                <a:gd name="connsiteY6" fmla="*/ 0 h 480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0164" h="4801926">
                  <a:moveTo>
                    <a:pt x="0" y="0"/>
                  </a:moveTo>
                  <a:lnTo>
                    <a:pt x="121652" y="0"/>
                  </a:lnTo>
                  <a:cubicBezTo>
                    <a:pt x="412165" y="621184"/>
                    <a:pt x="590164" y="1467915"/>
                    <a:pt x="590164" y="2400964"/>
                  </a:cubicBezTo>
                  <a:cubicBezTo>
                    <a:pt x="590164" y="3334012"/>
                    <a:pt x="412165" y="4180743"/>
                    <a:pt x="121652" y="4801926"/>
                  </a:cubicBezTo>
                  <a:lnTo>
                    <a:pt x="0" y="4801926"/>
                  </a:lnTo>
                  <a:cubicBezTo>
                    <a:pt x="290513" y="4180743"/>
                    <a:pt x="468512" y="3334012"/>
                    <a:pt x="468512" y="2400964"/>
                  </a:cubicBezTo>
                  <a:cubicBezTo>
                    <a:pt x="468512" y="1467915"/>
                    <a:pt x="290513" y="621184"/>
                    <a:pt x="0" y="0"/>
                  </a:cubicBezTo>
                  <a:close/>
                </a:path>
              </a:pathLst>
            </a:custGeom>
            <a:solidFill>
              <a:schemeClr val="bg1">
                <a:alpha val="25000"/>
              </a:schemeClr>
            </a:solidFill>
          </p:spPr>
          <p:txBody>
            <a:bodyPr wrap="square" rtlCol="0" anchor="ctr">
              <a:noAutofit/>
            </a:bodyPr>
            <a:lstStyle/>
            <a:p>
              <a:pPr fontAlgn="base"/>
              <a:endParaRPr lang="en-US" sz="2000" dirty="0">
                <a:solidFill>
                  <a:srgbClr val="FFFFFF"/>
                </a:solidFill>
                <a:cs typeface="Segoe UI Light"/>
              </a:endParaRPr>
            </a:p>
          </p:txBody>
        </p:sp>
        <p:grpSp>
          <p:nvGrpSpPr>
            <p:cNvPr id="13" name="Group 12"/>
            <p:cNvGrpSpPr/>
            <p:nvPr/>
          </p:nvGrpSpPr>
          <p:grpSpPr>
            <a:xfrm>
              <a:off x="7323388" y="2058345"/>
              <a:ext cx="5332533" cy="4450907"/>
              <a:chOff x="7323388" y="2058345"/>
              <a:chExt cx="5332533" cy="4450907"/>
            </a:xfrm>
          </p:grpSpPr>
          <p:grpSp>
            <p:nvGrpSpPr>
              <p:cNvPr id="9" name="Group 8"/>
              <p:cNvGrpSpPr/>
              <p:nvPr/>
            </p:nvGrpSpPr>
            <p:grpSpPr>
              <a:xfrm>
                <a:off x="7323388" y="2058345"/>
                <a:ext cx="4838450" cy="2905268"/>
                <a:chOff x="7481163" y="2137198"/>
                <a:chExt cx="4288989" cy="2575343"/>
              </a:xfrm>
            </p:grpSpPr>
            <p:sp>
              <p:nvSpPr>
                <p:cNvPr id="156" name="Oval 155"/>
                <p:cNvSpPr>
                  <a:spLocks noChangeAspect="1"/>
                </p:cNvSpPr>
                <p:nvPr/>
              </p:nvSpPr>
              <p:spPr bwMode="auto">
                <a:xfrm>
                  <a:off x="7584071" y="3902178"/>
                  <a:ext cx="3714145" cy="734319"/>
                </a:xfrm>
                <a:prstGeom prst="ellipse">
                  <a:avLst/>
                </a:prstGeom>
                <a:solidFill>
                  <a:schemeClr val="bg1">
                    <a:lumMod val="85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57" name="Oval 156"/>
                <p:cNvSpPr/>
                <p:nvPr/>
              </p:nvSpPr>
              <p:spPr bwMode="auto">
                <a:xfrm>
                  <a:off x="7481163" y="3851704"/>
                  <a:ext cx="3887650" cy="860837"/>
                </a:xfrm>
                <a:prstGeom prst="ellipse">
                  <a:avLst/>
                </a:prstGeom>
                <a:noFill/>
                <a:ln w="28575">
                  <a:solidFill>
                    <a:schemeClr val="accent3">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63" name="Group 162"/>
                <p:cNvGrpSpPr/>
                <p:nvPr/>
              </p:nvGrpSpPr>
              <p:grpSpPr>
                <a:xfrm>
                  <a:off x="9198912" y="3215543"/>
                  <a:ext cx="1812082" cy="973679"/>
                  <a:chOff x="10675627" y="1778000"/>
                  <a:chExt cx="3521695" cy="1892300"/>
                </a:xfrm>
              </p:grpSpPr>
              <p:sp>
                <p:nvSpPr>
                  <p:cNvPr id="404" name="Rounded Rectangle 403"/>
                  <p:cNvSpPr/>
                  <p:nvPr/>
                </p:nvSpPr>
                <p:spPr bwMode="auto">
                  <a:xfrm>
                    <a:off x="11214918" y="1861685"/>
                    <a:ext cx="2440122" cy="1507724"/>
                  </a:xfrm>
                  <a:prstGeom prst="roundRect">
                    <a:avLst>
                      <a:gd name="adj" fmla="val 382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05" name="Freeform 7"/>
                  <p:cNvSpPr>
                    <a:spLocks noEditPoints="1"/>
                  </p:cNvSpPr>
                  <p:nvPr/>
                </p:nvSpPr>
                <p:spPr bwMode="auto">
                  <a:xfrm>
                    <a:off x="10675627" y="1778000"/>
                    <a:ext cx="3521695" cy="1892300"/>
                  </a:xfrm>
                  <a:custGeom>
                    <a:avLst/>
                    <a:gdLst>
                      <a:gd name="T0" fmla="*/ 412 w 485"/>
                      <a:gd name="T1" fmla="*/ 0 h 260"/>
                      <a:gd name="T2" fmla="*/ 74 w 485"/>
                      <a:gd name="T3" fmla="*/ 0 h 260"/>
                      <a:gd name="T4" fmla="*/ 62 w 485"/>
                      <a:gd name="T5" fmla="*/ 12 h 260"/>
                      <a:gd name="T6" fmla="*/ 62 w 485"/>
                      <a:gd name="T7" fmla="*/ 220 h 260"/>
                      <a:gd name="T8" fmla="*/ 74 w 485"/>
                      <a:gd name="T9" fmla="*/ 232 h 260"/>
                      <a:gd name="T10" fmla="*/ 412 w 485"/>
                      <a:gd name="T11" fmla="*/ 232 h 260"/>
                      <a:gd name="T12" fmla="*/ 424 w 485"/>
                      <a:gd name="T13" fmla="*/ 220 h 260"/>
                      <a:gd name="T14" fmla="*/ 424 w 485"/>
                      <a:gd name="T15" fmla="*/ 12 h 260"/>
                      <a:gd name="T16" fmla="*/ 412 w 485"/>
                      <a:gd name="T17" fmla="*/ 0 h 260"/>
                      <a:gd name="T18" fmla="*/ 408 w 485"/>
                      <a:gd name="T19" fmla="*/ 218 h 260"/>
                      <a:gd name="T20" fmla="*/ 77 w 485"/>
                      <a:gd name="T21" fmla="*/ 218 h 260"/>
                      <a:gd name="T22" fmla="*/ 77 w 485"/>
                      <a:gd name="T23" fmla="*/ 13 h 260"/>
                      <a:gd name="T24" fmla="*/ 408 w 485"/>
                      <a:gd name="T25" fmla="*/ 13 h 260"/>
                      <a:gd name="T26" fmla="*/ 408 w 485"/>
                      <a:gd name="T27" fmla="*/ 218 h 260"/>
                      <a:gd name="T28" fmla="*/ 276 w 485"/>
                      <a:gd name="T29" fmla="*/ 241 h 260"/>
                      <a:gd name="T30" fmla="*/ 276 w 485"/>
                      <a:gd name="T31" fmla="*/ 243 h 260"/>
                      <a:gd name="T32" fmla="*/ 271 w 485"/>
                      <a:gd name="T33" fmla="*/ 247 h 260"/>
                      <a:gd name="T34" fmla="*/ 214 w 485"/>
                      <a:gd name="T35" fmla="*/ 247 h 260"/>
                      <a:gd name="T36" fmla="*/ 210 w 485"/>
                      <a:gd name="T37" fmla="*/ 243 h 260"/>
                      <a:gd name="T38" fmla="*/ 210 w 485"/>
                      <a:gd name="T39" fmla="*/ 241 h 260"/>
                      <a:gd name="T40" fmla="*/ 0 w 485"/>
                      <a:gd name="T41" fmla="*/ 241 h 260"/>
                      <a:gd name="T42" fmla="*/ 0 w 485"/>
                      <a:gd name="T43" fmla="*/ 253 h 260"/>
                      <a:gd name="T44" fmla="*/ 16 w 485"/>
                      <a:gd name="T45" fmla="*/ 260 h 260"/>
                      <a:gd name="T46" fmla="*/ 16 w 485"/>
                      <a:gd name="T47" fmla="*/ 260 h 260"/>
                      <a:gd name="T48" fmla="*/ 469 w 485"/>
                      <a:gd name="T49" fmla="*/ 260 h 260"/>
                      <a:gd name="T50" fmla="*/ 469 w 485"/>
                      <a:gd name="T51" fmla="*/ 260 h 260"/>
                      <a:gd name="T52" fmla="*/ 485 w 485"/>
                      <a:gd name="T53" fmla="*/ 253 h 260"/>
                      <a:gd name="T54" fmla="*/ 485 w 485"/>
                      <a:gd name="T55" fmla="*/ 241 h 260"/>
                      <a:gd name="T56" fmla="*/ 276 w 485"/>
                      <a:gd name="T57" fmla="*/ 241 h 260"/>
                      <a:gd name="T58" fmla="*/ 276 w 485"/>
                      <a:gd name="T59" fmla="*/ 241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5" h="260">
                        <a:moveTo>
                          <a:pt x="412" y="0"/>
                        </a:moveTo>
                        <a:cubicBezTo>
                          <a:pt x="74" y="0"/>
                          <a:pt x="74" y="0"/>
                          <a:pt x="74" y="0"/>
                        </a:cubicBezTo>
                        <a:cubicBezTo>
                          <a:pt x="68" y="0"/>
                          <a:pt x="62" y="5"/>
                          <a:pt x="62" y="12"/>
                        </a:cubicBezTo>
                        <a:cubicBezTo>
                          <a:pt x="62" y="220"/>
                          <a:pt x="62" y="220"/>
                          <a:pt x="62" y="220"/>
                        </a:cubicBezTo>
                        <a:cubicBezTo>
                          <a:pt x="62" y="227"/>
                          <a:pt x="68" y="232"/>
                          <a:pt x="74" y="232"/>
                        </a:cubicBezTo>
                        <a:cubicBezTo>
                          <a:pt x="412" y="232"/>
                          <a:pt x="412" y="232"/>
                          <a:pt x="412" y="232"/>
                        </a:cubicBezTo>
                        <a:cubicBezTo>
                          <a:pt x="419" y="232"/>
                          <a:pt x="424" y="227"/>
                          <a:pt x="424" y="220"/>
                        </a:cubicBezTo>
                        <a:cubicBezTo>
                          <a:pt x="424" y="12"/>
                          <a:pt x="424" y="12"/>
                          <a:pt x="424" y="12"/>
                        </a:cubicBezTo>
                        <a:cubicBezTo>
                          <a:pt x="424" y="5"/>
                          <a:pt x="419" y="0"/>
                          <a:pt x="412" y="0"/>
                        </a:cubicBezTo>
                        <a:close/>
                        <a:moveTo>
                          <a:pt x="408" y="218"/>
                        </a:moveTo>
                        <a:cubicBezTo>
                          <a:pt x="77" y="218"/>
                          <a:pt x="77" y="218"/>
                          <a:pt x="77" y="218"/>
                        </a:cubicBezTo>
                        <a:cubicBezTo>
                          <a:pt x="77" y="13"/>
                          <a:pt x="77" y="13"/>
                          <a:pt x="77" y="13"/>
                        </a:cubicBezTo>
                        <a:cubicBezTo>
                          <a:pt x="408" y="13"/>
                          <a:pt x="408" y="13"/>
                          <a:pt x="408" y="13"/>
                        </a:cubicBezTo>
                        <a:cubicBezTo>
                          <a:pt x="408" y="218"/>
                          <a:pt x="408" y="218"/>
                          <a:pt x="408" y="218"/>
                        </a:cubicBezTo>
                        <a:close/>
                        <a:moveTo>
                          <a:pt x="276" y="241"/>
                        </a:moveTo>
                        <a:cubicBezTo>
                          <a:pt x="276" y="243"/>
                          <a:pt x="276" y="243"/>
                          <a:pt x="276" y="243"/>
                        </a:cubicBezTo>
                        <a:cubicBezTo>
                          <a:pt x="276" y="246"/>
                          <a:pt x="274" y="247"/>
                          <a:pt x="271" y="247"/>
                        </a:cubicBezTo>
                        <a:cubicBezTo>
                          <a:pt x="214" y="247"/>
                          <a:pt x="214" y="247"/>
                          <a:pt x="214" y="247"/>
                        </a:cubicBezTo>
                        <a:cubicBezTo>
                          <a:pt x="212" y="247"/>
                          <a:pt x="210" y="246"/>
                          <a:pt x="210" y="243"/>
                        </a:cubicBezTo>
                        <a:cubicBezTo>
                          <a:pt x="210" y="241"/>
                          <a:pt x="210" y="241"/>
                          <a:pt x="210" y="241"/>
                        </a:cubicBezTo>
                        <a:cubicBezTo>
                          <a:pt x="0" y="241"/>
                          <a:pt x="0" y="241"/>
                          <a:pt x="0" y="241"/>
                        </a:cubicBezTo>
                        <a:cubicBezTo>
                          <a:pt x="0" y="253"/>
                          <a:pt x="0" y="253"/>
                          <a:pt x="0" y="253"/>
                        </a:cubicBezTo>
                        <a:cubicBezTo>
                          <a:pt x="0" y="253"/>
                          <a:pt x="11" y="260"/>
                          <a:pt x="16" y="260"/>
                        </a:cubicBezTo>
                        <a:cubicBezTo>
                          <a:pt x="16" y="260"/>
                          <a:pt x="16" y="260"/>
                          <a:pt x="16" y="260"/>
                        </a:cubicBezTo>
                        <a:cubicBezTo>
                          <a:pt x="469" y="260"/>
                          <a:pt x="469" y="260"/>
                          <a:pt x="469" y="260"/>
                        </a:cubicBezTo>
                        <a:cubicBezTo>
                          <a:pt x="469" y="260"/>
                          <a:pt x="469" y="260"/>
                          <a:pt x="469" y="260"/>
                        </a:cubicBezTo>
                        <a:cubicBezTo>
                          <a:pt x="474" y="260"/>
                          <a:pt x="485" y="253"/>
                          <a:pt x="485" y="253"/>
                        </a:cubicBezTo>
                        <a:cubicBezTo>
                          <a:pt x="485" y="241"/>
                          <a:pt x="485" y="241"/>
                          <a:pt x="485" y="241"/>
                        </a:cubicBezTo>
                        <a:cubicBezTo>
                          <a:pt x="276" y="241"/>
                          <a:pt x="276" y="241"/>
                          <a:pt x="276" y="241"/>
                        </a:cubicBezTo>
                        <a:cubicBezTo>
                          <a:pt x="276" y="241"/>
                          <a:pt x="276" y="241"/>
                          <a:pt x="276" y="24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nvGrpSpPr>
                <p:cNvPr id="164" name="Group 163"/>
                <p:cNvGrpSpPr/>
                <p:nvPr/>
              </p:nvGrpSpPr>
              <p:grpSpPr>
                <a:xfrm>
                  <a:off x="9525202" y="3286339"/>
                  <a:ext cx="1153871" cy="711486"/>
                  <a:chOff x="10035928" y="3323940"/>
                  <a:chExt cx="1153871" cy="711486"/>
                </a:xfrm>
              </p:grpSpPr>
              <p:sp>
                <p:nvSpPr>
                  <p:cNvPr id="313" name="Freeform 312"/>
                  <p:cNvSpPr>
                    <a:spLocks noEditPoints="1"/>
                  </p:cNvSpPr>
                  <p:nvPr/>
                </p:nvSpPr>
                <p:spPr bwMode="auto">
                  <a:xfrm>
                    <a:off x="10035928" y="3323940"/>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14" name="Freeform 313"/>
                  <p:cNvSpPr>
                    <a:spLocks/>
                  </p:cNvSpPr>
                  <p:nvPr/>
                </p:nvSpPr>
                <p:spPr bwMode="auto">
                  <a:xfrm>
                    <a:off x="10133890" y="3323940"/>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15" name="Freeform 314"/>
                  <p:cNvSpPr>
                    <a:spLocks noEditPoints="1"/>
                  </p:cNvSpPr>
                  <p:nvPr/>
                </p:nvSpPr>
                <p:spPr bwMode="auto">
                  <a:xfrm>
                    <a:off x="10226762" y="3323940"/>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16" name="Freeform 315"/>
                  <p:cNvSpPr>
                    <a:spLocks/>
                  </p:cNvSpPr>
                  <p:nvPr/>
                </p:nvSpPr>
                <p:spPr bwMode="auto">
                  <a:xfrm>
                    <a:off x="10042346" y="3428051"/>
                    <a:ext cx="22901" cy="50888"/>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6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6"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17" name="Freeform 316"/>
                  <p:cNvSpPr>
                    <a:spLocks noEditPoints="1"/>
                  </p:cNvSpPr>
                  <p:nvPr/>
                </p:nvSpPr>
                <p:spPr bwMode="auto">
                  <a:xfrm>
                    <a:off x="10135219" y="3428051"/>
                    <a:ext cx="34350" cy="52160"/>
                  </a:xfrm>
                  <a:custGeom>
                    <a:avLst/>
                    <a:gdLst>
                      <a:gd name="T0" fmla="*/ 8 w 54"/>
                      <a:gd name="T1" fmla="*/ 8 h 82"/>
                      <a:gd name="T2" fmla="*/ 8 w 54"/>
                      <a:gd name="T3" fmla="*/ 8 h 82"/>
                      <a:gd name="T4" fmla="*/ 6 w 54"/>
                      <a:gd name="T5" fmla="*/ 14 h 82"/>
                      <a:gd name="T6" fmla="*/ 2 w 54"/>
                      <a:gd name="T7" fmla="*/ 20 h 82"/>
                      <a:gd name="T8" fmla="*/ 0 w 54"/>
                      <a:gd name="T9" fmla="*/ 40 h 82"/>
                      <a:gd name="T10" fmla="*/ 0 w 54"/>
                      <a:gd name="T11" fmla="*/ 40 h 82"/>
                      <a:gd name="T12" fmla="*/ 2 w 54"/>
                      <a:gd name="T13" fmla="*/ 60 h 82"/>
                      <a:gd name="T14" fmla="*/ 4 w 54"/>
                      <a:gd name="T15" fmla="*/ 68 h 82"/>
                      <a:gd name="T16" fmla="*/ 8 w 54"/>
                      <a:gd name="T17" fmla="*/ 72 h 82"/>
                      <a:gd name="T18" fmla="*/ 8 w 54"/>
                      <a:gd name="T19" fmla="*/ 72 h 82"/>
                      <a:gd name="T20" fmla="*/ 12 w 54"/>
                      <a:gd name="T21" fmla="*/ 76 h 82"/>
                      <a:gd name="T22" fmla="*/ 16 w 54"/>
                      <a:gd name="T23" fmla="*/ 80 h 82"/>
                      <a:gd name="T24" fmla="*/ 22 w 54"/>
                      <a:gd name="T25" fmla="*/ 80 h 82"/>
                      <a:gd name="T26" fmla="*/ 28 w 54"/>
                      <a:gd name="T27" fmla="*/ 82 h 82"/>
                      <a:gd name="T28" fmla="*/ 28 w 54"/>
                      <a:gd name="T29" fmla="*/ 82 h 82"/>
                      <a:gd name="T30" fmla="*/ 38 w 54"/>
                      <a:gd name="T31" fmla="*/ 80 h 82"/>
                      <a:gd name="T32" fmla="*/ 42 w 54"/>
                      <a:gd name="T33" fmla="*/ 76 h 82"/>
                      <a:gd name="T34" fmla="*/ 46 w 54"/>
                      <a:gd name="T35" fmla="*/ 74 h 82"/>
                      <a:gd name="T36" fmla="*/ 46 w 54"/>
                      <a:gd name="T37" fmla="*/ 74 h 82"/>
                      <a:gd name="T38" fmla="*/ 48 w 54"/>
                      <a:gd name="T39" fmla="*/ 68 h 82"/>
                      <a:gd name="T40" fmla="*/ 52 w 54"/>
                      <a:gd name="T41" fmla="*/ 60 h 82"/>
                      <a:gd name="T42" fmla="*/ 54 w 54"/>
                      <a:gd name="T43" fmla="*/ 40 h 82"/>
                      <a:gd name="T44" fmla="*/ 54 w 54"/>
                      <a:gd name="T45" fmla="*/ 40 h 82"/>
                      <a:gd name="T46" fmla="*/ 52 w 54"/>
                      <a:gd name="T47" fmla="*/ 20 h 82"/>
                      <a:gd name="T48" fmla="*/ 48 w 54"/>
                      <a:gd name="T49" fmla="*/ 14 h 82"/>
                      <a:gd name="T50" fmla="*/ 46 w 54"/>
                      <a:gd name="T51" fmla="*/ 8 h 82"/>
                      <a:gd name="T52" fmla="*/ 46 w 54"/>
                      <a:gd name="T53" fmla="*/ 8 h 82"/>
                      <a:gd name="T54" fmla="*/ 42 w 54"/>
                      <a:gd name="T55" fmla="*/ 4 h 82"/>
                      <a:gd name="T56" fmla="*/ 38 w 54"/>
                      <a:gd name="T57" fmla="*/ 2 h 82"/>
                      <a:gd name="T58" fmla="*/ 28 w 54"/>
                      <a:gd name="T59" fmla="*/ 0 h 82"/>
                      <a:gd name="T60" fmla="*/ 28 w 54"/>
                      <a:gd name="T61" fmla="*/ 0 h 82"/>
                      <a:gd name="T62" fmla="*/ 16 w 54"/>
                      <a:gd name="T63" fmla="*/ 2 h 82"/>
                      <a:gd name="T64" fmla="*/ 12 w 54"/>
                      <a:gd name="T65" fmla="*/ 4 h 82"/>
                      <a:gd name="T66" fmla="*/ 8 w 54"/>
                      <a:gd name="T67" fmla="*/ 8 h 82"/>
                      <a:gd name="T68" fmla="*/ 8 w 54"/>
                      <a:gd name="T69" fmla="*/ 8 h 82"/>
                      <a:gd name="T70" fmla="*/ 8 w 54"/>
                      <a:gd name="T71" fmla="*/ 8 h 82"/>
                      <a:gd name="T72" fmla="*/ 32 w 54"/>
                      <a:gd name="T73" fmla="*/ 14 h 82"/>
                      <a:gd name="T74" fmla="*/ 32 w 54"/>
                      <a:gd name="T75" fmla="*/ 14 h 82"/>
                      <a:gd name="T76" fmla="*/ 36 w 54"/>
                      <a:gd name="T77" fmla="*/ 22 h 82"/>
                      <a:gd name="T78" fmla="*/ 36 w 54"/>
                      <a:gd name="T79" fmla="*/ 22 h 82"/>
                      <a:gd name="T80" fmla="*/ 38 w 54"/>
                      <a:gd name="T81" fmla="*/ 40 h 82"/>
                      <a:gd name="T82" fmla="*/ 38 w 54"/>
                      <a:gd name="T83" fmla="*/ 40 h 82"/>
                      <a:gd name="T84" fmla="*/ 36 w 54"/>
                      <a:gd name="T85" fmla="*/ 60 h 82"/>
                      <a:gd name="T86" fmla="*/ 36 w 54"/>
                      <a:gd name="T87" fmla="*/ 60 h 82"/>
                      <a:gd name="T88" fmla="*/ 32 w 54"/>
                      <a:gd name="T89" fmla="*/ 66 h 82"/>
                      <a:gd name="T90" fmla="*/ 32 w 54"/>
                      <a:gd name="T91" fmla="*/ 66 h 82"/>
                      <a:gd name="T92" fmla="*/ 28 w 54"/>
                      <a:gd name="T93" fmla="*/ 68 h 82"/>
                      <a:gd name="T94" fmla="*/ 28 w 54"/>
                      <a:gd name="T95" fmla="*/ 68 h 82"/>
                      <a:gd name="T96" fmla="*/ 22 w 54"/>
                      <a:gd name="T97" fmla="*/ 66 h 82"/>
                      <a:gd name="T98" fmla="*/ 22 w 54"/>
                      <a:gd name="T99" fmla="*/ 66 h 82"/>
                      <a:gd name="T100" fmla="*/ 18 w 54"/>
                      <a:gd name="T101" fmla="*/ 60 h 82"/>
                      <a:gd name="T102" fmla="*/ 18 w 54"/>
                      <a:gd name="T103" fmla="*/ 60 h 82"/>
                      <a:gd name="T104" fmla="*/ 18 w 54"/>
                      <a:gd name="T105" fmla="*/ 40 h 82"/>
                      <a:gd name="T106" fmla="*/ 18 w 54"/>
                      <a:gd name="T107" fmla="*/ 40 h 82"/>
                      <a:gd name="T108" fmla="*/ 18 w 54"/>
                      <a:gd name="T109" fmla="*/ 20 h 82"/>
                      <a:gd name="T110" fmla="*/ 18 w 54"/>
                      <a:gd name="T111" fmla="*/ 20 h 82"/>
                      <a:gd name="T112" fmla="*/ 22 w 54"/>
                      <a:gd name="T113" fmla="*/ 14 h 82"/>
                      <a:gd name="T114" fmla="*/ 22 w 54"/>
                      <a:gd name="T115" fmla="*/ 14 h 82"/>
                      <a:gd name="T116" fmla="*/ 28 w 54"/>
                      <a:gd name="T117" fmla="*/ 12 h 82"/>
                      <a:gd name="T118" fmla="*/ 28 w 54"/>
                      <a:gd name="T119" fmla="*/ 12 h 82"/>
                      <a:gd name="T120" fmla="*/ 32 w 54"/>
                      <a:gd name="T121" fmla="*/ 14 h 82"/>
                      <a:gd name="T122" fmla="*/ 32 w 54"/>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8" y="82"/>
                        </a:lnTo>
                        <a:lnTo>
                          <a:pt x="28" y="82"/>
                        </a:lnTo>
                        <a:lnTo>
                          <a:pt x="38" y="80"/>
                        </a:lnTo>
                        <a:lnTo>
                          <a:pt x="42" y="76"/>
                        </a:lnTo>
                        <a:lnTo>
                          <a:pt x="46" y="74"/>
                        </a:lnTo>
                        <a:lnTo>
                          <a:pt x="46" y="74"/>
                        </a:lnTo>
                        <a:lnTo>
                          <a:pt x="48" y="68"/>
                        </a:lnTo>
                        <a:lnTo>
                          <a:pt x="52" y="60"/>
                        </a:lnTo>
                        <a:lnTo>
                          <a:pt x="54" y="40"/>
                        </a:lnTo>
                        <a:lnTo>
                          <a:pt x="54" y="40"/>
                        </a:lnTo>
                        <a:lnTo>
                          <a:pt x="52" y="20"/>
                        </a:lnTo>
                        <a:lnTo>
                          <a:pt x="48" y="14"/>
                        </a:lnTo>
                        <a:lnTo>
                          <a:pt x="46" y="8"/>
                        </a:lnTo>
                        <a:lnTo>
                          <a:pt x="46" y="8"/>
                        </a:lnTo>
                        <a:lnTo>
                          <a:pt x="42" y="4"/>
                        </a:lnTo>
                        <a:lnTo>
                          <a:pt x="38" y="2"/>
                        </a:lnTo>
                        <a:lnTo>
                          <a:pt x="28" y="0"/>
                        </a:lnTo>
                        <a:lnTo>
                          <a:pt x="28" y="0"/>
                        </a:lnTo>
                        <a:lnTo>
                          <a:pt x="16" y="2"/>
                        </a:lnTo>
                        <a:lnTo>
                          <a:pt x="12" y="4"/>
                        </a:lnTo>
                        <a:lnTo>
                          <a:pt x="8" y="8"/>
                        </a:lnTo>
                        <a:lnTo>
                          <a:pt x="8" y="8"/>
                        </a:lnTo>
                        <a:lnTo>
                          <a:pt x="8" y="8"/>
                        </a:lnTo>
                        <a:close/>
                        <a:moveTo>
                          <a:pt x="32" y="14"/>
                        </a:moveTo>
                        <a:lnTo>
                          <a:pt x="32" y="14"/>
                        </a:lnTo>
                        <a:lnTo>
                          <a:pt x="36" y="22"/>
                        </a:lnTo>
                        <a:lnTo>
                          <a:pt x="36" y="22"/>
                        </a:lnTo>
                        <a:lnTo>
                          <a:pt x="38" y="40"/>
                        </a:lnTo>
                        <a:lnTo>
                          <a:pt x="38" y="40"/>
                        </a:lnTo>
                        <a:lnTo>
                          <a:pt x="36" y="60"/>
                        </a:lnTo>
                        <a:lnTo>
                          <a:pt x="36" y="60"/>
                        </a:lnTo>
                        <a:lnTo>
                          <a:pt x="32" y="66"/>
                        </a:lnTo>
                        <a:lnTo>
                          <a:pt x="32" y="66"/>
                        </a:lnTo>
                        <a:lnTo>
                          <a:pt x="28" y="68"/>
                        </a:lnTo>
                        <a:lnTo>
                          <a:pt x="28" y="68"/>
                        </a:lnTo>
                        <a:lnTo>
                          <a:pt x="22" y="66"/>
                        </a:lnTo>
                        <a:lnTo>
                          <a:pt x="22" y="66"/>
                        </a:lnTo>
                        <a:lnTo>
                          <a:pt x="18" y="60"/>
                        </a:lnTo>
                        <a:lnTo>
                          <a:pt x="18" y="60"/>
                        </a:lnTo>
                        <a:lnTo>
                          <a:pt x="18" y="40"/>
                        </a:lnTo>
                        <a:lnTo>
                          <a:pt x="18" y="40"/>
                        </a:lnTo>
                        <a:lnTo>
                          <a:pt x="18" y="20"/>
                        </a:lnTo>
                        <a:lnTo>
                          <a:pt x="18" y="20"/>
                        </a:lnTo>
                        <a:lnTo>
                          <a:pt x="22" y="14"/>
                        </a:lnTo>
                        <a:lnTo>
                          <a:pt x="22" y="14"/>
                        </a:lnTo>
                        <a:lnTo>
                          <a:pt x="28" y="12"/>
                        </a:lnTo>
                        <a:lnTo>
                          <a:pt x="28" y="12"/>
                        </a:lnTo>
                        <a:lnTo>
                          <a:pt x="32" y="14"/>
                        </a:lnTo>
                        <a:lnTo>
                          <a:pt x="32"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18" name="Freeform 317"/>
                  <p:cNvSpPr>
                    <a:spLocks/>
                  </p:cNvSpPr>
                  <p:nvPr/>
                </p:nvSpPr>
                <p:spPr bwMode="auto">
                  <a:xfrm>
                    <a:off x="10233181" y="3428051"/>
                    <a:ext cx="22901" cy="50888"/>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19" name="Freeform 318"/>
                  <p:cNvSpPr>
                    <a:spLocks noEditPoints="1"/>
                  </p:cNvSpPr>
                  <p:nvPr/>
                </p:nvSpPr>
                <p:spPr bwMode="auto">
                  <a:xfrm>
                    <a:off x="10035928" y="3537991"/>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20" name="Freeform 319"/>
                  <p:cNvSpPr>
                    <a:spLocks/>
                  </p:cNvSpPr>
                  <p:nvPr/>
                </p:nvSpPr>
                <p:spPr bwMode="auto">
                  <a:xfrm>
                    <a:off x="10133890" y="3537991"/>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21" name="Freeform 320"/>
                  <p:cNvSpPr>
                    <a:spLocks noEditPoints="1"/>
                  </p:cNvSpPr>
                  <p:nvPr/>
                </p:nvSpPr>
                <p:spPr bwMode="auto">
                  <a:xfrm>
                    <a:off x="10226762" y="3537991"/>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22" name="Freeform 321"/>
                  <p:cNvSpPr>
                    <a:spLocks/>
                  </p:cNvSpPr>
                  <p:nvPr/>
                </p:nvSpPr>
                <p:spPr bwMode="auto">
                  <a:xfrm>
                    <a:off x="10042346" y="3646872"/>
                    <a:ext cx="22901" cy="50888"/>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6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6"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23" name="Freeform 322"/>
                  <p:cNvSpPr>
                    <a:spLocks noEditPoints="1"/>
                  </p:cNvSpPr>
                  <p:nvPr/>
                </p:nvSpPr>
                <p:spPr bwMode="auto">
                  <a:xfrm>
                    <a:off x="10135219" y="3646872"/>
                    <a:ext cx="34350" cy="52160"/>
                  </a:xfrm>
                  <a:custGeom>
                    <a:avLst/>
                    <a:gdLst>
                      <a:gd name="T0" fmla="*/ 8 w 54"/>
                      <a:gd name="T1" fmla="*/ 8 h 82"/>
                      <a:gd name="T2" fmla="*/ 8 w 54"/>
                      <a:gd name="T3" fmla="*/ 8 h 82"/>
                      <a:gd name="T4" fmla="*/ 6 w 54"/>
                      <a:gd name="T5" fmla="*/ 14 h 82"/>
                      <a:gd name="T6" fmla="*/ 2 w 54"/>
                      <a:gd name="T7" fmla="*/ 20 h 82"/>
                      <a:gd name="T8" fmla="*/ 0 w 54"/>
                      <a:gd name="T9" fmla="*/ 40 h 82"/>
                      <a:gd name="T10" fmla="*/ 0 w 54"/>
                      <a:gd name="T11" fmla="*/ 40 h 82"/>
                      <a:gd name="T12" fmla="*/ 2 w 54"/>
                      <a:gd name="T13" fmla="*/ 60 h 82"/>
                      <a:gd name="T14" fmla="*/ 4 w 54"/>
                      <a:gd name="T15" fmla="*/ 68 h 82"/>
                      <a:gd name="T16" fmla="*/ 8 w 54"/>
                      <a:gd name="T17" fmla="*/ 72 h 82"/>
                      <a:gd name="T18" fmla="*/ 8 w 54"/>
                      <a:gd name="T19" fmla="*/ 72 h 82"/>
                      <a:gd name="T20" fmla="*/ 12 w 54"/>
                      <a:gd name="T21" fmla="*/ 76 h 82"/>
                      <a:gd name="T22" fmla="*/ 16 w 54"/>
                      <a:gd name="T23" fmla="*/ 80 h 82"/>
                      <a:gd name="T24" fmla="*/ 22 w 54"/>
                      <a:gd name="T25" fmla="*/ 80 h 82"/>
                      <a:gd name="T26" fmla="*/ 28 w 54"/>
                      <a:gd name="T27" fmla="*/ 82 h 82"/>
                      <a:gd name="T28" fmla="*/ 28 w 54"/>
                      <a:gd name="T29" fmla="*/ 82 h 82"/>
                      <a:gd name="T30" fmla="*/ 38 w 54"/>
                      <a:gd name="T31" fmla="*/ 80 h 82"/>
                      <a:gd name="T32" fmla="*/ 42 w 54"/>
                      <a:gd name="T33" fmla="*/ 76 h 82"/>
                      <a:gd name="T34" fmla="*/ 46 w 54"/>
                      <a:gd name="T35" fmla="*/ 74 h 82"/>
                      <a:gd name="T36" fmla="*/ 46 w 54"/>
                      <a:gd name="T37" fmla="*/ 74 h 82"/>
                      <a:gd name="T38" fmla="*/ 48 w 54"/>
                      <a:gd name="T39" fmla="*/ 68 h 82"/>
                      <a:gd name="T40" fmla="*/ 52 w 54"/>
                      <a:gd name="T41" fmla="*/ 60 h 82"/>
                      <a:gd name="T42" fmla="*/ 54 w 54"/>
                      <a:gd name="T43" fmla="*/ 40 h 82"/>
                      <a:gd name="T44" fmla="*/ 54 w 54"/>
                      <a:gd name="T45" fmla="*/ 40 h 82"/>
                      <a:gd name="T46" fmla="*/ 52 w 54"/>
                      <a:gd name="T47" fmla="*/ 20 h 82"/>
                      <a:gd name="T48" fmla="*/ 48 w 54"/>
                      <a:gd name="T49" fmla="*/ 14 h 82"/>
                      <a:gd name="T50" fmla="*/ 46 w 54"/>
                      <a:gd name="T51" fmla="*/ 8 h 82"/>
                      <a:gd name="T52" fmla="*/ 46 w 54"/>
                      <a:gd name="T53" fmla="*/ 8 h 82"/>
                      <a:gd name="T54" fmla="*/ 42 w 54"/>
                      <a:gd name="T55" fmla="*/ 4 h 82"/>
                      <a:gd name="T56" fmla="*/ 38 w 54"/>
                      <a:gd name="T57" fmla="*/ 2 h 82"/>
                      <a:gd name="T58" fmla="*/ 28 w 54"/>
                      <a:gd name="T59" fmla="*/ 0 h 82"/>
                      <a:gd name="T60" fmla="*/ 28 w 54"/>
                      <a:gd name="T61" fmla="*/ 0 h 82"/>
                      <a:gd name="T62" fmla="*/ 16 w 54"/>
                      <a:gd name="T63" fmla="*/ 2 h 82"/>
                      <a:gd name="T64" fmla="*/ 12 w 54"/>
                      <a:gd name="T65" fmla="*/ 4 h 82"/>
                      <a:gd name="T66" fmla="*/ 8 w 54"/>
                      <a:gd name="T67" fmla="*/ 8 h 82"/>
                      <a:gd name="T68" fmla="*/ 8 w 54"/>
                      <a:gd name="T69" fmla="*/ 8 h 82"/>
                      <a:gd name="T70" fmla="*/ 8 w 54"/>
                      <a:gd name="T71" fmla="*/ 8 h 82"/>
                      <a:gd name="T72" fmla="*/ 32 w 54"/>
                      <a:gd name="T73" fmla="*/ 14 h 82"/>
                      <a:gd name="T74" fmla="*/ 32 w 54"/>
                      <a:gd name="T75" fmla="*/ 14 h 82"/>
                      <a:gd name="T76" fmla="*/ 36 w 54"/>
                      <a:gd name="T77" fmla="*/ 22 h 82"/>
                      <a:gd name="T78" fmla="*/ 36 w 54"/>
                      <a:gd name="T79" fmla="*/ 22 h 82"/>
                      <a:gd name="T80" fmla="*/ 38 w 54"/>
                      <a:gd name="T81" fmla="*/ 40 h 82"/>
                      <a:gd name="T82" fmla="*/ 38 w 54"/>
                      <a:gd name="T83" fmla="*/ 40 h 82"/>
                      <a:gd name="T84" fmla="*/ 36 w 54"/>
                      <a:gd name="T85" fmla="*/ 60 h 82"/>
                      <a:gd name="T86" fmla="*/ 36 w 54"/>
                      <a:gd name="T87" fmla="*/ 60 h 82"/>
                      <a:gd name="T88" fmla="*/ 32 w 54"/>
                      <a:gd name="T89" fmla="*/ 66 h 82"/>
                      <a:gd name="T90" fmla="*/ 32 w 54"/>
                      <a:gd name="T91" fmla="*/ 66 h 82"/>
                      <a:gd name="T92" fmla="*/ 28 w 54"/>
                      <a:gd name="T93" fmla="*/ 68 h 82"/>
                      <a:gd name="T94" fmla="*/ 28 w 54"/>
                      <a:gd name="T95" fmla="*/ 68 h 82"/>
                      <a:gd name="T96" fmla="*/ 22 w 54"/>
                      <a:gd name="T97" fmla="*/ 66 h 82"/>
                      <a:gd name="T98" fmla="*/ 22 w 54"/>
                      <a:gd name="T99" fmla="*/ 66 h 82"/>
                      <a:gd name="T100" fmla="*/ 18 w 54"/>
                      <a:gd name="T101" fmla="*/ 60 h 82"/>
                      <a:gd name="T102" fmla="*/ 18 w 54"/>
                      <a:gd name="T103" fmla="*/ 60 h 82"/>
                      <a:gd name="T104" fmla="*/ 18 w 54"/>
                      <a:gd name="T105" fmla="*/ 40 h 82"/>
                      <a:gd name="T106" fmla="*/ 18 w 54"/>
                      <a:gd name="T107" fmla="*/ 40 h 82"/>
                      <a:gd name="T108" fmla="*/ 18 w 54"/>
                      <a:gd name="T109" fmla="*/ 20 h 82"/>
                      <a:gd name="T110" fmla="*/ 18 w 54"/>
                      <a:gd name="T111" fmla="*/ 20 h 82"/>
                      <a:gd name="T112" fmla="*/ 22 w 54"/>
                      <a:gd name="T113" fmla="*/ 14 h 82"/>
                      <a:gd name="T114" fmla="*/ 22 w 54"/>
                      <a:gd name="T115" fmla="*/ 14 h 82"/>
                      <a:gd name="T116" fmla="*/ 28 w 54"/>
                      <a:gd name="T117" fmla="*/ 12 h 82"/>
                      <a:gd name="T118" fmla="*/ 28 w 54"/>
                      <a:gd name="T119" fmla="*/ 12 h 82"/>
                      <a:gd name="T120" fmla="*/ 32 w 54"/>
                      <a:gd name="T121" fmla="*/ 14 h 82"/>
                      <a:gd name="T122" fmla="*/ 32 w 54"/>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8" y="82"/>
                        </a:lnTo>
                        <a:lnTo>
                          <a:pt x="28" y="82"/>
                        </a:lnTo>
                        <a:lnTo>
                          <a:pt x="38" y="80"/>
                        </a:lnTo>
                        <a:lnTo>
                          <a:pt x="42" y="76"/>
                        </a:lnTo>
                        <a:lnTo>
                          <a:pt x="46" y="74"/>
                        </a:lnTo>
                        <a:lnTo>
                          <a:pt x="46" y="74"/>
                        </a:lnTo>
                        <a:lnTo>
                          <a:pt x="48" y="68"/>
                        </a:lnTo>
                        <a:lnTo>
                          <a:pt x="52" y="60"/>
                        </a:lnTo>
                        <a:lnTo>
                          <a:pt x="54" y="40"/>
                        </a:lnTo>
                        <a:lnTo>
                          <a:pt x="54" y="40"/>
                        </a:lnTo>
                        <a:lnTo>
                          <a:pt x="52" y="20"/>
                        </a:lnTo>
                        <a:lnTo>
                          <a:pt x="48" y="14"/>
                        </a:lnTo>
                        <a:lnTo>
                          <a:pt x="46" y="8"/>
                        </a:lnTo>
                        <a:lnTo>
                          <a:pt x="46" y="8"/>
                        </a:lnTo>
                        <a:lnTo>
                          <a:pt x="42" y="4"/>
                        </a:lnTo>
                        <a:lnTo>
                          <a:pt x="38" y="2"/>
                        </a:lnTo>
                        <a:lnTo>
                          <a:pt x="28" y="0"/>
                        </a:lnTo>
                        <a:lnTo>
                          <a:pt x="28" y="0"/>
                        </a:lnTo>
                        <a:lnTo>
                          <a:pt x="16" y="2"/>
                        </a:lnTo>
                        <a:lnTo>
                          <a:pt x="12" y="4"/>
                        </a:lnTo>
                        <a:lnTo>
                          <a:pt x="8" y="8"/>
                        </a:lnTo>
                        <a:lnTo>
                          <a:pt x="8" y="8"/>
                        </a:lnTo>
                        <a:lnTo>
                          <a:pt x="8" y="8"/>
                        </a:lnTo>
                        <a:close/>
                        <a:moveTo>
                          <a:pt x="32" y="14"/>
                        </a:moveTo>
                        <a:lnTo>
                          <a:pt x="32" y="14"/>
                        </a:lnTo>
                        <a:lnTo>
                          <a:pt x="36" y="22"/>
                        </a:lnTo>
                        <a:lnTo>
                          <a:pt x="36" y="22"/>
                        </a:lnTo>
                        <a:lnTo>
                          <a:pt x="38" y="40"/>
                        </a:lnTo>
                        <a:lnTo>
                          <a:pt x="38" y="40"/>
                        </a:lnTo>
                        <a:lnTo>
                          <a:pt x="36" y="60"/>
                        </a:lnTo>
                        <a:lnTo>
                          <a:pt x="36" y="60"/>
                        </a:lnTo>
                        <a:lnTo>
                          <a:pt x="32" y="66"/>
                        </a:lnTo>
                        <a:lnTo>
                          <a:pt x="32" y="66"/>
                        </a:lnTo>
                        <a:lnTo>
                          <a:pt x="28" y="68"/>
                        </a:lnTo>
                        <a:lnTo>
                          <a:pt x="28" y="68"/>
                        </a:lnTo>
                        <a:lnTo>
                          <a:pt x="22" y="66"/>
                        </a:lnTo>
                        <a:lnTo>
                          <a:pt x="22" y="66"/>
                        </a:lnTo>
                        <a:lnTo>
                          <a:pt x="18" y="60"/>
                        </a:lnTo>
                        <a:lnTo>
                          <a:pt x="18" y="60"/>
                        </a:lnTo>
                        <a:lnTo>
                          <a:pt x="18" y="40"/>
                        </a:lnTo>
                        <a:lnTo>
                          <a:pt x="18" y="40"/>
                        </a:lnTo>
                        <a:lnTo>
                          <a:pt x="18" y="20"/>
                        </a:lnTo>
                        <a:lnTo>
                          <a:pt x="18" y="20"/>
                        </a:lnTo>
                        <a:lnTo>
                          <a:pt x="22" y="14"/>
                        </a:lnTo>
                        <a:lnTo>
                          <a:pt x="22" y="14"/>
                        </a:lnTo>
                        <a:lnTo>
                          <a:pt x="28" y="12"/>
                        </a:lnTo>
                        <a:lnTo>
                          <a:pt x="28" y="12"/>
                        </a:lnTo>
                        <a:lnTo>
                          <a:pt x="32" y="14"/>
                        </a:lnTo>
                        <a:lnTo>
                          <a:pt x="32"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24" name="Freeform 323"/>
                  <p:cNvSpPr>
                    <a:spLocks/>
                  </p:cNvSpPr>
                  <p:nvPr/>
                </p:nvSpPr>
                <p:spPr bwMode="auto">
                  <a:xfrm>
                    <a:off x="10233181" y="3646872"/>
                    <a:ext cx="22901" cy="50888"/>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25" name="Freeform 324"/>
                  <p:cNvSpPr>
                    <a:spLocks noEditPoints="1"/>
                  </p:cNvSpPr>
                  <p:nvPr/>
                </p:nvSpPr>
                <p:spPr bwMode="auto">
                  <a:xfrm>
                    <a:off x="10035928" y="3761899"/>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26" name="Freeform 325"/>
                  <p:cNvSpPr>
                    <a:spLocks/>
                  </p:cNvSpPr>
                  <p:nvPr/>
                </p:nvSpPr>
                <p:spPr bwMode="auto">
                  <a:xfrm>
                    <a:off x="10133890" y="3761899"/>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27" name="Freeform 326"/>
                  <p:cNvSpPr>
                    <a:spLocks noEditPoints="1"/>
                  </p:cNvSpPr>
                  <p:nvPr/>
                </p:nvSpPr>
                <p:spPr bwMode="auto">
                  <a:xfrm>
                    <a:off x="10226762" y="3761899"/>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28" name="Freeform 327"/>
                  <p:cNvSpPr>
                    <a:spLocks/>
                  </p:cNvSpPr>
                  <p:nvPr/>
                </p:nvSpPr>
                <p:spPr bwMode="auto">
                  <a:xfrm>
                    <a:off x="10042346" y="3870782"/>
                    <a:ext cx="22901" cy="50888"/>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6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6"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29" name="Freeform 328"/>
                  <p:cNvSpPr>
                    <a:spLocks noEditPoints="1"/>
                  </p:cNvSpPr>
                  <p:nvPr/>
                </p:nvSpPr>
                <p:spPr bwMode="auto">
                  <a:xfrm>
                    <a:off x="10135219" y="3870782"/>
                    <a:ext cx="34350" cy="52160"/>
                  </a:xfrm>
                  <a:custGeom>
                    <a:avLst/>
                    <a:gdLst>
                      <a:gd name="T0" fmla="*/ 8 w 54"/>
                      <a:gd name="T1" fmla="*/ 8 h 82"/>
                      <a:gd name="T2" fmla="*/ 8 w 54"/>
                      <a:gd name="T3" fmla="*/ 8 h 82"/>
                      <a:gd name="T4" fmla="*/ 6 w 54"/>
                      <a:gd name="T5" fmla="*/ 14 h 82"/>
                      <a:gd name="T6" fmla="*/ 2 w 54"/>
                      <a:gd name="T7" fmla="*/ 20 h 82"/>
                      <a:gd name="T8" fmla="*/ 0 w 54"/>
                      <a:gd name="T9" fmla="*/ 40 h 82"/>
                      <a:gd name="T10" fmla="*/ 0 w 54"/>
                      <a:gd name="T11" fmla="*/ 40 h 82"/>
                      <a:gd name="T12" fmla="*/ 2 w 54"/>
                      <a:gd name="T13" fmla="*/ 60 h 82"/>
                      <a:gd name="T14" fmla="*/ 4 w 54"/>
                      <a:gd name="T15" fmla="*/ 68 h 82"/>
                      <a:gd name="T16" fmla="*/ 8 w 54"/>
                      <a:gd name="T17" fmla="*/ 72 h 82"/>
                      <a:gd name="T18" fmla="*/ 8 w 54"/>
                      <a:gd name="T19" fmla="*/ 72 h 82"/>
                      <a:gd name="T20" fmla="*/ 12 w 54"/>
                      <a:gd name="T21" fmla="*/ 76 h 82"/>
                      <a:gd name="T22" fmla="*/ 16 w 54"/>
                      <a:gd name="T23" fmla="*/ 80 h 82"/>
                      <a:gd name="T24" fmla="*/ 22 w 54"/>
                      <a:gd name="T25" fmla="*/ 80 h 82"/>
                      <a:gd name="T26" fmla="*/ 28 w 54"/>
                      <a:gd name="T27" fmla="*/ 82 h 82"/>
                      <a:gd name="T28" fmla="*/ 28 w 54"/>
                      <a:gd name="T29" fmla="*/ 82 h 82"/>
                      <a:gd name="T30" fmla="*/ 38 w 54"/>
                      <a:gd name="T31" fmla="*/ 80 h 82"/>
                      <a:gd name="T32" fmla="*/ 42 w 54"/>
                      <a:gd name="T33" fmla="*/ 76 h 82"/>
                      <a:gd name="T34" fmla="*/ 46 w 54"/>
                      <a:gd name="T35" fmla="*/ 74 h 82"/>
                      <a:gd name="T36" fmla="*/ 46 w 54"/>
                      <a:gd name="T37" fmla="*/ 74 h 82"/>
                      <a:gd name="T38" fmla="*/ 48 w 54"/>
                      <a:gd name="T39" fmla="*/ 68 h 82"/>
                      <a:gd name="T40" fmla="*/ 52 w 54"/>
                      <a:gd name="T41" fmla="*/ 60 h 82"/>
                      <a:gd name="T42" fmla="*/ 54 w 54"/>
                      <a:gd name="T43" fmla="*/ 40 h 82"/>
                      <a:gd name="T44" fmla="*/ 54 w 54"/>
                      <a:gd name="T45" fmla="*/ 40 h 82"/>
                      <a:gd name="T46" fmla="*/ 52 w 54"/>
                      <a:gd name="T47" fmla="*/ 20 h 82"/>
                      <a:gd name="T48" fmla="*/ 48 w 54"/>
                      <a:gd name="T49" fmla="*/ 14 h 82"/>
                      <a:gd name="T50" fmla="*/ 46 w 54"/>
                      <a:gd name="T51" fmla="*/ 8 h 82"/>
                      <a:gd name="T52" fmla="*/ 46 w 54"/>
                      <a:gd name="T53" fmla="*/ 8 h 82"/>
                      <a:gd name="T54" fmla="*/ 42 w 54"/>
                      <a:gd name="T55" fmla="*/ 4 h 82"/>
                      <a:gd name="T56" fmla="*/ 38 w 54"/>
                      <a:gd name="T57" fmla="*/ 2 h 82"/>
                      <a:gd name="T58" fmla="*/ 28 w 54"/>
                      <a:gd name="T59" fmla="*/ 0 h 82"/>
                      <a:gd name="T60" fmla="*/ 28 w 54"/>
                      <a:gd name="T61" fmla="*/ 0 h 82"/>
                      <a:gd name="T62" fmla="*/ 16 w 54"/>
                      <a:gd name="T63" fmla="*/ 2 h 82"/>
                      <a:gd name="T64" fmla="*/ 12 w 54"/>
                      <a:gd name="T65" fmla="*/ 4 h 82"/>
                      <a:gd name="T66" fmla="*/ 8 w 54"/>
                      <a:gd name="T67" fmla="*/ 8 h 82"/>
                      <a:gd name="T68" fmla="*/ 8 w 54"/>
                      <a:gd name="T69" fmla="*/ 8 h 82"/>
                      <a:gd name="T70" fmla="*/ 8 w 54"/>
                      <a:gd name="T71" fmla="*/ 8 h 82"/>
                      <a:gd name="T72" fmla="*/ 32 w 54"/>
                      <a:gd name="T73" fmla="*/ 14 h 82"/>
                      <a:gd name="T74" fmla="*/ 32 w 54"/>
                      <a:gd name="T75" fmla="*/ 14 h 82"/>
                      <a:gd name="T76" fmla="*/ 36 w 54"/>
                      <a:gd name="T77" fmla="*/ 22 h 82"/>
                      <a:gd name="T78" fmla="*/ 36 w 54"/>
                      <a:gd name="T79" fmla="*/ 22 h 82"/>
                      <a:gd name="T80" fmla="*/ 38 w 54"/>
                      <a:gd name="T81" fmla="*/ 40 h 82"/>
                      <a:gd name="T82" fmla="*/ 38 w 54"/>
                      <a:gd name="T83" fmla="*/ 40 h 82"/>
                      <a:gd name="T84" fmla="*/ 36 w 54"/>
                      <a:gd name="T85" fmla="*/ 60 h 82"/>
                      <a:gd name="T86" fmla="*/ 36 w 54"/>
                      <a:gd name="T87" fmla="*/ 60 h 82"/>
                      <a:gd name="T88" fmla="*/ 32 w 54"/>
                      <a:gd name="T89" fmla="*/ 66 h 82"/>
                      <a:gd name="T90" fmla="*/ 32 w 54"/>
                      <a:gd name="T91" fmla="*/ 66 h 82"/>
                      <a:gd name="T92" fmla="*/ 28 w 54"/>
                      <a:gd name="T93" fmla="*/ 68 h 82"/>
                      <a:gd name="T94" fmla="*/ 28 w 54"/>
                      <a:gd name="T95" fmla="*/ 68 h 82"/>
                      <a:gd name="T96" fmla="*/ 22 w 54"/>
                      <a:gd name="T97" fmla="*/ 66 h 82"/>
                      <a:gd name="T98" fmla="*/ 22 w 54"/>
                      <a:gd name="T99" fmla="*/ 66 h 82"/>
                      <a:gd name="T100" fmla="*/ 18 w 54"/>
                      <a:gd name="T101" fmla="*/ 60 h 82"/>
                      <a:gd name="T102" fmla="*/ 18 w 54"/>
                      <a:gd name="T103" fmla="*/ 60 h 82"/>
                      <a:gd name="T104" fmla="*/ 18 w 54"/>
                      <a:gd name="T105" fmla="*/ 40 h 82"/>
                      <a:gd name="T106" fmla="*/ 18 w 54"/>
                      <a:gd name="T107" fmla="*/ 40 h 82"/>
                      <a:gd name="T108" fmla="*/ 18 w 54"/>
                      <a:gd name="T109" fmla="*/ 20 h 82"/>
                      <a:gd name="T110" fmla="*/ 18 w 54"/>
                      <a:gd name="T111" fmla="*/ 20 h 82"/>
                      <a:gd name="T112" fmla="*/ 22 w 54"/>
                      <a:gd name="T113" fmla="*/ 14 h 82"/>
                      <a:gd name="T114" fmla="*/ 22 w 54"/>
                      <a:gd name="T115" fmla="*/ 14 h 82"/>
                      <a:gd name="T116" fmla="*/ 28 w 54"/>
                      <a:gd name="T117" fmla="*/ 12 h 82"/>
                      <a:gd name="T118" fmla="*/ 28 w 54"/>
                      <a:gd name="T119" fmla="*/ 12 h 82"/>
                      <a:gd name="T120" fmla="*/ 32 w 54"/>
                      <a:gd name="T121" fmla="*/ 14 h 82"/>
                      <a:gd name="T122" fmla="*/ 32 w 54"/>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8" y="82"/>
                        </a:lnTo>
                        <a:lnTo>
                          <a:pt x="28" y="82"/>
                        </a:lnTo>
                        <a:lnTo>
                          <a:pt x="38" y="80"/>
                        </a:lnTo>
                        <a:lnTo>
                          <a:pt x="42" y="76"/>
                        </a:lnTo>
                        <a:lnTo>
                          <a:pt x="46" y="74"/>
                        </a:lnTo>
                        <a:lnTo>
                          <a:pt x="46" y="74"/>
                        </a:lnTo>
                        <a:lnTo>
                          <a:pt x="48" y="68"/>
                        </a:lnTo>
                        <a:lnTo>
                          <a:pt x="52" y="60"/>
                        </a:lnTo>
                        <a:lnTo>
                          <a:pt x="54" y="40"/>
                        </a:lnTo>
                        <a:lnTo>
                          <a:pt x="54" y="40"/>
                        </a:lnTo>
                        <a:lnTo>
                          <a:pt x="52" y="20"/>
                        </a:lnTo>
                        <a:lnTo>
                          <a:pt x="48" y="14"/>
                        </a:lnTo>
                        <a:lnTo>
                          <a:pt x="46" y="8"/>
                        </a:lnTo>
                        <a:lnTo>
                          <a:pt x="46" y="8"/>
                        </a:lnTo>
                        <a:lnTo>
                          <a:pt x="42" y="4"/>
                        </a:lnTo>
                        <a:lnTo>
                          <a:pt x="38" y="2"/>
                        </a:lnTo>
                        <a:lnTo>
                          <a:pt x="28" y="0"/>
                        </a:lnTo>
                        <a:lnTo>
                          <a:pt x="28" y="0"/>
                        </a:lnTo>
                        <a:lnTo>
                          <a:pt x="16" y="2"/>
                        </a:lnTo>
                        <a:lnTo>
                          <a:pt x="12" y="4"/>
                        </a:lnTo>
                        <a:lnTo>
                          <a:pt x="8" y="8"/>
                        </a:lnTo>
                        <a:lnTo>
                          <a:pt x="8" y="8"/>
                        </a:lnTo>
                        <a:lnTo>
                          <a:pt x="8" y="8"/>
                        </a:lnTo>
                        <a:close/>
                        <a:moveTo>
                          <a:pt x="32" y="14"/>
                        </a:moveTo>
                        <a:lnTo>
                          <a:pt x="32" y="14"/>
                        </a:lnTo>
                        <a:lnTo>
                          <a:pt x="36" y="22"/>
                        </a:lnTo>
                        <a:lnTo>
                          <a:pt x="36" y="22"/>
                        </a:lnTo>
                        <a:lnTo>
                          <a:pt x="38" y="40"/>
                        </a:lnTo>
                        <a:lnTo>
                          <a:pt x="38" y="40"/>
                        </a:lnTo>
                        <a:lnTo>
                          <a:pt x="36" y="60"/>
                        </a:lnTo>
                        <a:lnTo>
                          <a:pt x="36" y="60"/>
                        </a:lnTo>
                        <a:lnTo>
                          <a:pt x="32" y="66"/>
                        </a:lnTo>
                        <a:lnTo>
                          <a:pt x="32" y="66"/>
                        </a:lnTo>
                        <a:lnTo>
                          <a:pt x="28" y="68"/>
                        </a:lnTo>
                        <a:lnTo>
                          <a:pt x="28" y="68"/>
                        </a:lnTo>
                        <a:lnTo>
                          <a:pt x="22" y="66"/>
                        </a:lnTo>
                        <a:lnTo>
                          <a:pt x="22" y="66"/>
                        </a:lnTo>
                        <a:lnTo>
                          <a:pt x="18" y="60"/>
                        </a:lnTo>
                        <a:lnTo>
                          <a:pt x="18" y="60"/>
                        </a:lnTo>
                        <a:lnTo>
                          <a:pt x="18" y="40"/>
                        </a:lnTo>
                        <a:lnTo>
                          <a:pt x="18" y="40"/>
                        </a:lnTo>
                        <a:lnTo>
                          <a:pt x="18" y="20"/>
                        </a:lnTo>
                        <a:lnTo>
                          <a:pt x="18" y="20"/>
                        </a:lnTo>
                        <a:lnTo>
                          <a:pt x="22" y="14"/>
                        </a:lnTo>
                        <a:lnTo>
                          <a:pt x="22" y="14"/>
                        </a:lnTo>
                        <a:lnTo>
                          <a:pt x="28" y="12"/>
                        </a:lnTo>
                        <a:lnTo>
                          <a:pt x="28" y="12"/>
                        </a:lnTo>
                        <a:lnTo>
                          <a:pt x="32" y="14"/>
                        </a:lnTo>
                        <a:lnTo>
                          <a:pt x="32"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30" name="Freeform 329"/>
                  <p:cNvSpPr>
                    <a:spLocks/>
                  </p:cNvSpPr>
                  <p:nvPr/>
                </p:nvSpPr>
                <p:spPr bwMode="auto">
                  <a:xfrm>
                    <a:off x="10233181" y="3870782"/>
                    <a:ext cx="22901" cy="50888"/>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31" name="Freeform 330"/>
                  <p:cNvSpPr>
                    <a:spLocks noEditPoints="1"/>
                  </p:cNvSpPr>
                  <p:nvPr/>
                </p:nvSpPr>
                <p:spPr bwMode="auto">
                  <a:xfrm>
                    <a:off x="10035928" y="3983266"/>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32" name="Freeform 331"/>
                  <p:cNvSpPr>
                    <a:spLocks/>
                  </p:cNvSpPr>
                  <p:nvPr/>
                </p:nvSpPr>
                <p:spPr bwMode="auto">
                  <a:xfrm>
                    <a:off x="10133890" y="3983266"/>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33" name="Freeform 332"/>
                  <p:cNvSpPr>
                    <a:spLocks noEditPoints="1"/>
                  </p:cNvSpPr>
                  <p:nvPr/>
                </p:nvSpPr>
                <p:spPr bwMode="auto">
                  <a:xfrm>
                    <a:off x="10226762" y="3983266"/>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34" name="Freeform 333"/>
                  <p:cNvSpPr>
                    <a:spLocks/>
                  </p:cNvSpPr>
                  <p:nvPr/>
                </p:nvSpPr>
                <p:spPr bwMode="auto">
                  <a:xfrm>
                    <a:off x="10308185" y="3323940"/>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35" name="Freeform 334"/>
                  <p:cNvSpPr>
                    <a:spLocks noEditPoints="1"/>
                  </p:cNvSpPr>
                  <p:nvPr/>
                </p:nvSpPr>
                <p:spPr bwMode="auto">
                  <a:xfrm>
                    <a:off x="10401058" y="3323940"/>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36" name="Freeform 335"/>
                  <p:cNvSpPr>
                    <a:spLocks noEditPoints="1"/>
                  </p:cNvSpPr>
                  <p:nvPr/>
                </p:nvSpPr>
                <p:spPr bwMode="auto">
                  <a:xfrm>
                    <a:off x="10309515" y="3428051"/>
                    <a:ext cx="34350" cy="52160"/>
                  </a:xfrm>
                  <a:custGeom>
                    <a:avLst/>
                    <a:gdLst>
                      <a:gd name="T0" fmla="*/ 8 w 54"/>
                      <a:gd name="T1" fmla="*/ 8 h 82"/>
                      <a:gd name="T2" fmla="*/ 8 w 54"/>
                      <a:gd name="T3" fmla="*/ 8 h 82"/>
                      <a:gd name="T4" fmla="*/ 6 w 54"/>
                      <a:gd name="T5" fmla="*/ 14 h 82"/>
                      <a:gd name="T6" fmla="*/ 2 w 54"/>
                      <a:gd name="T7" fmla="*/ 20 h 82"/>
                      <a:gd name="T8" fmla="*/ 0 w 54"/>
                      <a:gd name="T9" fmla="*/ 40 h 82"/>
                      <a:gd name="T10" fmla="*/ 0 w 54"/>
                      <a:gd name="T11" fmla="*/ 40 h 82"/>
                      <a:gd name="T12" fmla="*/ 2 w 54"/>
                      <a:gd name="T13" fmla="*/ 60 h 82"/>
                      <a:gd name="T14" fmla="*/ 4 w 54"/>
                      <a:gd name="T15" fmla="*/ 68 h 82"/>
                      <a:gd name="T16" fmla="*/ 8 w 54"/>
                      <a:gd name="T17" fmla="*/ 72 h 82"/>
                      <a:gd name="T18" fmla="*/ 8 w 54"/>
                      <a:gd name="T19" fmla="*/ 72 h 82"/>
                      <a:gd name="T20" fmla="*/ 12 w 54"/>
                      <a:gd name="T21" fmla="*/ 76 h 82"/>
                      <a:gd name="T22" fmla="*/ 16 w 54"/>
                      <a:gd name="T23" fmla="*/ 80 h 82"/>
                      <a:gd name="T24" fmla="*/ 22 w 54"/>
                      <a:gd name="T25" fmla="*/ 80 h 82"/>
                      <a:gd name="T26" fmla="*/ 28 w 54"/>
                      <a:gd name="T27" fmla="*/ 82 h 82"/>
                      <a:gd name="T28" fmla="*/ 28 w 54"/>
                      <a:gd name="T29" fmla="*/ 82 h 82"/>
                      <a:gd name="T30" fmla="*/ 38 w 54"/>
                      <a:gd name="T31" fmla="*/ 80 h 82"/>
                      <a:gd name="T32" fmla="*/ 42 w 54"/>
                      <a:gd name="T33" fmla="*/ 76 h 82"/>
                      <a:gd name="T34" fmla="*/ 46 w 54"/>
                      <a:gd name="T35" fmla="*/ 74 h 82"/>
                      <a:gd name="T36" fmla="*/ 46 w 54"/>
                      <a:gd name="T37" fmla="*/ 74 h 82"/>
                      <a:gd name="T38" fmla="*/ 48 w 54"/>
                      <a:gd name="T39" fmla="*/ 68 h 82"/>
                      <a:gd name="T40" fmla="*/ 52 w 54"/>
                      <a:gd name="T41" fmla="*/ 60 h 82"/>
                      <a:gd name="T42" fmla="*/ 54 w 54"/>
                      <a:gd name="T43" fmla="*/ 40 h 82"/>
                      <a:gd name="T44" fmla="*/ 54 w 54"/>
                      <a:gd name="T45" fmla="*/ 40 h 82"/>
                      <a:gd name="T46" fmla="*/ 52 w 54"/>
                      <a:gd name="T47" fmla="*/ 20 h 82"/>
                      <a:gd name="T48" fmla="*/ 48 w 54"/>
                      <a:gd name="T49" fmla="*/ 14 h 82"/>
                      <a:gd name="T50" fmla="*/ 46 w 54"/>
                      <a:gd name="T51" fmla="*/ 8 h 82"/>
                      <a:gd name="T52" fmla="*/ 46 w 54"/>
                      <a:gd name="T53" fmla="*/ 8 h 82"/>
                      <a:gd name="T54" fmla="*/ 42 w 54"/>
                      <a:gd name="T55" fmla="*/ 4 h 82"/>
                      <a:gd name="T56" fmla="*/ 38 w 54"/>
                      <a:gd name="T57" fmla="*/ 2 h 82"/>
                      <a:gd name="T58" fmla="*/ 28 w 54"/>
                      <a:gd name="T59" fmla="*/ 0 h 82"/>
                      <a:gd name="T60" fmla="*/ 28 w 54"/>
                      <a:gd name="T61" fmla="*/ 0 h 82"/>
                      <a:gd name="T62" fmla="*/ 16 w 54"/>
                      <a:gd name="T63" fmla="*/ 2 h 82"/>
                      <a:gd name="T64" fmla="*/ 12 w 54"/>
                      <a:gd name="T65" fmla="*/ 4 h 82"/>
                      <a:gd name="T66" fmla="*/ 8 w 54"/>
                      <a:gd name="T67" fmla="*/ 8 h 82"/>
                      <a:gd name="T68" fmla="*/ 8 w 54"/>
                      <a:gd name="T69" fmla="*/ 8 h 82"/>
                      <a:gd name="T70" fmla="*/ 8 w 54"/>
                      <a:gd name="T71" fmla="*/ 8 h 82"/>
                      <a:gd name="T72" fmla="*/ 32 w 54"/>
                      <a:gd name="T73" fmla="*/ 14 h 82"/>
                      <a:gd name="T74" fmla="*/ 32 w 54"/>
                      <a:gd name="T75" fmla="*/ 14 h 82"/>
                      <a:gd name="T76" fmla="*/ 36 w 54"/>
                      <a:gd name="T77" fmla="*/ 22 h 82"/>
                      <a:gd name="T78" fmla="*/ 36 w 54"/>
                      <a:gd name="T79" fmla="*/ 22 h 82"/>
                      <a:gd name="T80" fmla="*/ 38 w 54"/>
                      <a:gd name="T81" fmla="*/ 40 h 82"/>
                      <a:gd name="T82" fmla="*/ 38 w 54"/>
                      <a:gd name="T83" fmla="*/ 40 h 82"/>
                      <a:gd name="T84" fmla="*/ 36 w 54"/>
                      <a:gd name="T85" fmla="*/ 60 h 82"/>
                      <a:gd name="T86" fmla="*/ 36 w 54"/>
                      <a:gd name="T87" fmla="*/ 60 h 82"/>
                      <a:gd name="T88" fmla="*/ 32 w 54"/>
                      <a:gd name="T89" fmla="*/ 66 h 82"/>
                      <a:gd name="T90" fmla="*/ 32 w 54"/>
                      <a:gd name="T91" fmla="*/ 66 h 82"/>
                      <a:gd name="T92" fmla="*/ 28 w 54"/>
                      <a:gd name="T93" fmla="*/ 68 h 82"/>
                      <a:gd name="T94" fmla="*/ 28 w 54"/>
                      <a:gd name="T95" fmla="*/ 68 h 82"/>
                      <a:gd name="T96" fmla="*/ 22 w 54"/>
                      <a:gd name="T97" fmla="*/ 66 h 82"/>
                      <a:gd name="T98" fmla="*/ 22 w 54"/>
                      <a:gd name="T99" fmla="*/ 66 h 82"/>
                      <a:gd name="T100" fmla="*/ 18 w 54"/>
                      <a:gd name="T101" fmla="*/ 60 h 82"/>
                      <a:gd name="T102" fmla="*/ 18 w 54"/>
                      <a:gd name="T103" fmla="*/ 60 h 82"/>
                      <a:gd name="T104" fmla="*/ 18 w 54"/>
                      <a:gd name="T105" fmla="*/ 40 h 82"/>
                      <a:gd name="T106" fmla="*/ 18 w 54"/>
                      <a:gd name="T107" fmla="*/ 40 h 82"/>
                      <a:gd name="T108" fmla="*/ 18 w 54"/>
                      <a:gd name="T109" fmla="*/ 20 h 82"/>
                      <a:gd name="T110" fmla="*/ 18 w 54"/>
                      <a:gd name="T111" fmla="*/ 20 h 82"/>
                      <a:gd name="T112" fmla="*/ 22 w 54"/>
                      <a:gd name="T113" fmla="*/ 14 h 82"/>
                      <a:gd name="T114" fmla="*/ 22 w 54"/>
                      <a:gd name="T115" fmla="*/ 14 h 82"/>
                      <a:gd name="T116" fmla="*/ 28 w 54"/>
                      <a:gd name="T117" fmla="*/ 12 h 82"/>
                      <a:gd name="T118" fmla="*/ 28 w 54"/>
                      <a:gd name="T119" fmla="*/ 12 h 82"/>
                      <a:gd name="T120" fmla="*/ 32 w 54"/>
                      <a:gd name="T121" fmla="*/ 14 h 82"/>
                      <a:gd name="T122" fmla="*/ 32 w 54"/>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8" y="82"/>
                        </a:lnTo>
                        <a:lnTo>
                          <a:pt x="28" y="82"/>
                        </a:lnTo>
                        <a:lnTo>
                          <a:pt x="38" y="80"/>
                        </a:lnTo>
                        <a:lnTo>
                          <a:pt x="42" y="76"/>
                        </a:lnTo>
                        <a:lnTo>
                          <a:pt x="46" y="74"/>
                        </a:lnTo>
                        <a:lnTo>
                          <a:pt x="46" y="74"/>
                        </a:lnTo>
                        <a:lnTo>
                          <a:pt x="48" y="68"/>
                        </a:lnTo>
                        <a:lnTo>
                          <a:pt x="52" y="60"/>
                        </a:lnTo>
                        <a:lnTo>
                          <a:pt x="54" y="40"/>
                        </a:lnTo>
                        <a:lnTo>
                          <a:pt x="54" y="40"/>
                        </a:lnTo>
                        <a:lnTo>
                          <a:pt x="52" y="20"/>
                        </a:lnTo>
                        <a:lnTo>
                          <a:pt x="48" y="14"/>
                        </a:lnTo>
                        <a:lnTo>
                          <a:pt x="46" y="8"/>
                        </a:lnTo>
                        <a:lnTo>
                          <a:pt x="46" y="8"/>
                        </a:lnTo>
                        <a:lnTo>
                          <a:pt x="42" y="4"/>
                        </a:lnTo>
                        <a:lnTo>
                          <a:pt x="38" y="2"/>
                        </a:lnTo>
                        <a:lnTo>
                          <a:pt x="28" y="0"/>
                        </a:lnTo>
                        <a:lnTo>
                          <a:pt x="28" y="0"/>
                        </a:lnTo>
                        <a:lnTo>
                          <a:pt x="16" y="2"/>
                        </a:lnTo>
                        <a:lnTo>
                          <a:pt x="12" y="4"/>
                        </a:lnTo>
                        <a:lnTo>
                          <a:pt x="8" y="8"/>
                        </a:lnTo>
                        <a:lnTo>
                          <a:pt x="8" y="8"/>
                        </a:lnTo>
                        <a:lnTo>
                          <a:pt x="8" y="8"/>
                        </a:lnTo>
                        <a:close/>
                        <a:moveTo>
                          <a:pt x="32" y="14"/>
                        </a:moveTo>
                        <a:lnTo>
                          <a:pt x="32" y="14"/>
                        </a:lnTo>
                        <a:lnTo>
                          <a:pt x="36" y="22"/>
                        </a:lnTo>
                        <a:lnTo>
                          <a:pt x="36" y="22"/>
                        </a:lnTo>
                        <a:lnTo>
                          <a:pt x="38" y="40"/>
                        </a:lnTo>
                        <a:lnTo>
                          <a:pt x="38" y="40"/>
                        </a:lnTo>
                        <a:lnTo>
                          <a:pt x="36" y="60"/>
                        </a:lnTo>
                        <a:lnTo>
                          <a:pt x="36" y="60"/>
                        </a:lnTo>
                        <a:lnTo>
                          <a:pt x="32" y="66"/>
                        </a:lnTo>
                        <a:lnTo>
                          <a:pt x="32" y="66"/>
                        </a:lnTo>
                        <a:lnTo>
                          <a:pt x="28" y="68"/>
                        </a:lnTo>
                        <a:lnTo>
                          <a:pt x="28" y="68"/>
                        </a:lnTo>
                        <a:lnTo>
                          <a:pt x="22" y="66"/>
                        </a:lnTo>
                        <a:lnTo>
                          <a:pt x="22" y="66"/>
                        </a:lnTo>
                        <a:lnTo>
                          <a:pt x="18" y="60"/>
                        </a:lnTo>
                        <a:lnTo>
                          <a:pt x="18" y="60"/>
                        </a:lnTo>
                        <a:lnTo>
                          <a:pt x="18" y="40"/>
                        </a:lnTo>
                        <a:lnTo>
                          <a:pt x="18" y="40"/>
                        </a:lnTo>
                        <a:lnTo>
                          <a:pt x="18" y="20"/>
                        </a:lnTo>
                        <a:lnTo>
                          <a:pt x="18" y="20"/>
                        </a:lnTo>
                        <a:lnTo>
                          <a:pt x="22" y="14"/>
                        </a:lnTo>
                        <a:lnTo>
                          <a:pt x="22" y="14"/>
                        </a:lnTo>
                        <a:lnTo>
                          <a:pt x="28" y="12"/>
                        </a:lnTo>
                        <a:lnTo>
                          <a:pt x="28" y="12"/>
                        </a:lnTo>
                        <a:lnTo>
                          <a:pt x="32" y="14"/>
                        </a:lnTo>
                        <a:lnTo>
                          <a:pt x="32"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37" name="Freeform 336"/>
                  <p:cNvSpPr>
                    <a:spLocks/>
                  </p:cNvSpPr>
                  <p:nvPr/>
                </p:nvSpPr>
                <p:spPr bwMode="auto">
                  <a:xfrm>
                    <a:off x="10407476" y="3428051"/>
                    <a:ext cx="22901" cy="50888"/>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38" name="Freeform 337"/>
                  <p:cNvSpPr>
                    <a:spLocks/>
                  </p:cNvSpPr>
                  <p:nvPr/>
                </p:nvSpPr>
                <p:spPr bwMode="auto">
                  <a:xfrm>
                    <a:off x="10308185" y="3537991"/>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39" name="Freeform 338"/>
                  <p:cNvSpPr>
                    <a:spLocks noEditPoints="1"/>
                  </p:cNvSpPr>
                  <p:nvPr/>
                </p:nvSpPr>
                <p:spPr bwMode="auto">
                  <a:xfrm>
                    <a:off x="10401058" y="3537991"/>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40" name="Freeform 339"/>
                  <p:cNvSpPr>
                    <a:spLocks noEditPoints="1"/>
                  </p:cNvSpPr>
                  <p:nvPr/>
                </p:nvSpPr>
                <p:spPr bwMode="auto">
                  <a:xfrm>
                    <a:off x="10309515" y="3646872"/>
                    <a:ext cx="34350" cy="52160"/>
                  </a:xfrm>
                  <a:custGeom>
                    <a:avLst/>
                    <a:gdLst>
                      <a:gd name="T0" fmla="*/ 8 w 54"/>
                      <a:gd name="T1" fmla="*/ 8 h 82"/>
                      <a:gd name="T2" fmla="*/ 8 w 54"/>
                      <a:gd name="T3" fmla="*/ 8 h 82"/>
                      <a:gd name="T4" fmla="*/ 6 w 54"/>
                      <a:gd name="T5" fmla="*/ 14 h 82"/>
                      <a:gd name="T6" fmla="*/ 2 w 54"/>
                      <a:gd name="T7" fmla="*/ 20 h 82"/>
                      <a:gd name="T8" fmla="*/ 0 w 54"/>
                      <a:gd name="T9" fmla="*/ 40 h 82"/>
                      <a:gd name="T10" fmla="*/ 0 w 54"/>
                      <a:gd name="T11" fmla="*/ 40 h 82"/>
                      <a:gd name="T12" fmla="*/ 2 w 54"/>
                      <a:gd name="T13" fmla="*/ 60 h 82"/>
                      <a:gd name="T14" fmla="*/ 4 w 54"/>
                      <a:gd name="T15" fmla="*/ 68 h 82"/>
                      <a:gd name="T16" fmla="*/ 8 w 54"/>
                      <a:gd name="T17" fmla="*/ 72 h 82"/>
                      <a:gd name="T18" fmla="*/ 8 w 54"/>
                      <a:gd name="T19" fmla="*/ 72 h 82"/>
                      <a:gd name="T20" fmla="*/ 12 w 54"/>
                      <a:gd name="T21" fmla="*/ 76 h 82"/>
                      <a:gd name="T22" fmla="*/ 16 w 54"/>
                      <a:gd name="T23" fmla="*/ 80 h 82"/>
                      <a:gd name="T24" fmla="*/ 22 w 54"/>
                      <a:gd name="T25" fmla="*/ 80 h 82"/>
                      <a:gd name="T26" fmla="*/ 28 w 54"/>
                      <a:gd name="T27" fmla="*/ 82 h 82"/>
                      <a:gd name="T28" fmla="*/ 28 w 54"/>
                      <a:gd name="T29" fmla="*/ 82 h 82"/>
                      <a:gd name="T30" fmla="*/ 38 w 54"/>
                      <a:gd name="T31" fmla="*/ 80 h 82"/>
                      <a:gd name="T32" fmla="*/ 42 w 54"/>
                      <a:gd name="T33" fmla="*/ 76 h 82"/>
                      <a:gd name="T34" fmla="*/ 46 w 54"/>
                      <a:gd name="T35" fmla="*/ 74 h 82"/>
                      <a:gd name="T36" fmla="*/ 46 w 54"/>
                      <a:gd name="T37" fmla="*/ 74 h 82"/>
                      <a:gd name="T38" fmla="*/ 48 w 54"/>
                      <a:gd name="T39" fmla="*/ 68 h 82"/>
                      <a:gd name="T40" fmla="*/ 52 w 54"/>
                      <a:gd name="T41" fmla="*/ 60 h 82"/>
                      <a:gd name="T42" fmla="*/ 54 w 54"/>
                      <a:gd name="T43" fmla="*/ 40 h 82"/>
                      <a:gd name="T44" fmla="*/ 54 w 54"/>
                      <a:gd name="T45" fmla="*/ 40 h 82"/>
                      <a:gd name="T46" fmla="*/ 52 w 54"/>
                      <a:gd name="T47" fmla="*/ 20 h 82"/>
                      <a:gd name="T48" fmla="*/ 48 w 54"/>
                      <a:gd name="T49" fmla="*/ 14 h 82"/>
                      <a:gd name="T50" fmla="*/ 46 w 54"/>
                      <a:gd name="T51" fmla="*/ 8 h 82"/>
                      <a:gd name="T52" fmla="*/ 46 w 54"/>
                      <a:gd name="T53" fmla="*/ 8 h 82"/>
                      <a:gd name="T54" fmla="*/ 42 w 54"/>
                      <a:gd name="T55" fmla="*/ 4 h 82"/>
                      <a:gd name="T56" fmla="*/ 38 w 54"/>
                      <a:gd name="T57" fmla="*/ 2 h 82"/>
                      <a:gd name="T58" fmla="*/ 28 w 54"/>
                      <a:gd name="T59" fmla="*/ 0 h 82"/>
                      <a:gd name="T60" fmla="*/ 28 w 54"/>
                      <a:gd name="T61" fmla="*/ 0 h 82"/>
                      <a:gd name="T62" fmla="*/ 16 w 54"/>
                      <a:gd name="T63" fmla="*/ 2 h 82"/>
                      <a:gd name="T64" fmla="*/ 12 w 54"/>
                      <a:gd name="T65" fmla="*/ 4 h 82"/>
                      <a:gd name="T66" fmla="*/ 8 w 54"/>
                      <a:gd name="T67" fmla="*/ 8 h 82"/>
                      <a:gd name="T68" fmla="*/ 8 w 54"/>
                      <a:gd name="T69" fmla="*/ 8 h 82"/>
                      <a:gd name="T70" fmla="*/ 8 w 54"/>
                      <a:gd name="T71" fmla="*/ 8 h 82"/>
                      <a:gd name="T72" fmla="*/ 32 w 54"/>
                      <a:gd name="T73" fmla="*/ 14 h 82"/>
                      <a:gd name="T74" fmla="*/ 32 w 54"/>
                      <a:gd name="T75" fmla="*/ 14 h 82"/>
                      <a:gd name="T76" fmla="*/ 36 w 54"/>
                      <a:gd name="T77" fmla="*/ 22 h 82"/>
                      <a:gd name="T78" fmla="*/ 36 w 54"/>
                      <a:gd name="T79" fmla="*/ 22 h 82"/>
                      <a:gd name="T80" fmla="*/ 38 w 54"/>
                      <a:gd name="T81" fmla="*/ 40 h 82"/>
                      <a:gd name="T82" fmla="*/ 38 w 54"/>
                      <a:gd name="T83" fmla="*/ 40 h 82"/>
                      <a:gd name="T84" fmla="*/ 36 w 54"/>
                      <a:gd name="T85" fmla="*/ 60 h 82"/>
                      <a:gd name="T86" fmla="*/ 36 w 54"/>
                      <a:gd name="T87" fmla="*/ 60 h 82"/>
                      <a:gd name="T88" fmla="*/ 32 w 54"/>
                      <a:gd name="T89" fmla="*/ 66 h 82"/>
                      <a:gd name="T90" fmla="*/ 32 w 54"/>
                      <a:gd name="T91" fmla="*/ 66 h 82"/>
                      <a:gd name="T92" fmla="*/ 28 w 54"/>
                      <a:gd name="T93" fmla="*/ 68 h 82"/>
                      <a:gd name="T94" fmla="*/ 28 w 54"/>
                      <a:gd name="T95" fmla="*/ 68 h 82"/>
                      <a:gd name="T96" fmla="*/ 22 w 54"/>
                      <a:gd name="T97" fmla="*/ 66 h 82"/>
                      <a:gd name="T98" fmla="*/ 22 w 54"/>
                      <a:gd name="T99" fmla="*/ 66 h 82"/>
                      <a:gd name="T100" fmla="*/ 18 w 54"/>
                      <a:gd name="T101" fmla="*/ 60 h 82"/>
                      <a:gd name="T102" fmla="*/ 18 w 54"/>
                      <a:gd name="T103" fmla="*/ 60 h 82"/>
                      <a:gd name="T104" fmla="*/ 18 w 54"/>
                      <a:gd name="T105" fmla="*/ 40 h 82"/>
                      <a:gd name="T106" fmla="*/ 18 w 54"/>
                      <a:gd name="T107" fmla="*/ 40 h 82"/>
                      <a:gd name="T108" fmla="*/ 18 w 54"/>
                      <a:gd name="T109" fmla="*/ 20 h 82"/>
                      <a:gd name="T110" fmla="*/ 18 w 54"/>
                      <a:gd name="T111" fmla="*/ 20 h 82"/>
                      <a:gd name="T112" fmla="*/ 22 w 54"/>
                      <a:gd name="T113" fmla="*/ 14 h 82"/>
                      <a:gd name="T114" fmla="*/ 22 w 54"/>
                      <a:gd name="T115" fmla="*/ 14 h 82"/>
                      <a:gd name="T116" fmla="*/ 28 w 54"/>
                      <a:gd name="T117" fmla="*/ 12 h 82"/>
                      <a:gd name="T118" fmla="*/ 28 w 54"/>
                      <a:gd name="T119" fmla="*/ 12 h 82"/>
                      <a:gd name="T120" fmla="*/ 32 w 54"/>
                      <a:gd name="T121" fmla="*/ 14 h 82"/>
                      <a:gd name="T122" fmla="*/ 32 w 54"/>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8" y="82"/>
                        </a:lnTo>
                        <a:lnTo>
                          <a:pt x="28" y="82"/>
                        </a:lnTo>
                        <a:lnTo>
                          <a:pt x="38" y="80"/>
                        </a:lnTo>
                        <a:lnTo>
                          <a:pt x="42" y="76"/>
                        </a:lnTo>
                        <a:lnTo>
                          <a:pt x="46" y="74"/>
                        </a:lnTo>
                        <a:lnTo>
                          <a:pt x="46" y="74"/>
                        </a:lnTo>
                        <a:lnTo>
                          <a:pt x="48" y="68"/>
                        </a:lnTo>
                        <a:lnTo>
                          <a:pt x="52" y="60"/>
                        </a:lnTo>
                        <a:lnTo>
                          <a:pt x="54" y="40"/>
                        </a:lnTo>
                        <a:lnTo>
                          <a:pt x="54" y="40"/>
                        </a:lnTo>
                        <a:lnTo>
                          <a:pt x="52" y="20"/>
                        </a:lnTo>
                        <a:lnTo>
                          <a:pt x="48" y="14"/>
                        </a:lnTo>
                        <a:lnTo>
                          <a:pt x="46" y="8"/>
                        </a:lnTo>
                        <a:lnTo>
                          <a:pt x="46" y="8"/>
                        </a:lnTo>
                        <a:lnTo>
                          <a:pt x="42" y="4"/>
                        </a:lnTo>
                        <a:lnTo>
                          <a:pt x="38" y="2"/>
                        </a:lnTo>
                        <a:lnTo>
                          <a:pt x="28" y="0"/>
                        </a:lnTo>
                        <a:lnTo>
                          <a:pt x="28" y="0"/>
                        </a:lnTo>
                        <a:lnTo>
                          <a:pt x="16" y="2"/>
                        </a:lnTo>
                        <a:lnTo>
                          <a:pt x="12" y="4"/>
                        </a:lnTo>
                        <a:lnTo>
                          <a:pt x="8" y="8"/>
                        </a:lnTo>
                        <a:lnTo>
                          <a:pt x="8" y="8"/>
                        </a:lnTo>
                        <a:lnTo>
                          <a:pt x="8" y="8"/>
                        </a:lnTo>
                        <a:close/>
                        <a:moveTo>
                          <a:pt x="32" y="14"/>
                        </a:moveTo>
                        <a:lnTo>
                          <a:pt x="32" y="14"/>
                        </a:lnTo>
                        <a:lnTo>
                          <a:pt x="36" y="22"/>
                        </a:lnTo>
                        <a:lnTo>
                          <a:pt x="36" y="22"/>
                        </a:lnTo>
                        <a:lnTo>
                          <a:pt x="38" y="40"/>
                        </a:lnTo>
                        <a:lnTo>
                          <a:pt x="38" y="40"/>
                        </a:lnTo>
                        <a:lnTo>
                          <a:pt x="36" y="60"/>
                        </a:lnTo>
                        <a:lnTo>
                          <a:pt x="36" y="60"/>
                        </a:lnTo>
                        <a:lnTo>
                          <a:pt x="32" y="66"/>
                        </a:lnTo>
                        <a:lnTo>
                          <a:pt x="32" y="66"/>
                        </a:lnTo>
                        <a:lnTo>
                          <a:pt x="28" y="68"/>
                        </a:lnTo>
                        <a:lnTo>
                          <a:pt x="28" y="68"/>
                        </a:lnTo>
                        <a:lnTo>
                          <a:pt x="22" y="66"/>
                        </a:lnTo>
                        <a:lnTo>
                          <a:pt x="22" y="66"/>
                        </a:lnTo>
                        <a:lnTo>
                          <a:pt x="18" y="60"/>
                        </a:lnTo>
                        <a:lnTo>
                          <a:pt x="18" y="60"/>
                        </a:lnTo>
                        <a:lnTo>
                          <a:pt x="18" y="40"/>
                        </a:lnTo>
                        <a:lnTo>
                          <a:pt x="18" y="40"/>
                        </a:lnTo>
                        <a:lnTo>
                          <a:pt x="18" y="20"/>
                        </a:lnTo>
                        <a:lnTo>
                          <a:pt x="18" y="20"/>
                        </a:lnTo>
                        <a:lnTo>
                          <a:pt x="22" y="14"/>
                        </a:lnTo>
                        <a:lnTo>
                          <a:pt x="22" y="14"/>
                        </a:lnTo>
                        <a:lnTo>
                          <a:pt x="28" y="12"/>
                        </a:lnTo>
                        <a:lnTo>
                          <a:pt x="28" y="12"/>
                        </a:lnTo>
                        <a:lnTo>
                          <a:pt x="32" y="14"/>
                        </a:lnTo>
                        <a:lnTo>
                          <a:pt x="32"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41" name="Freeform 340"/>
                  <p:cNvSpPr>
                    <a:spLocks/>
                  </p:cNvSpPr>
                  <p:nvPr/>
                </p:nvSpPr>
                <p:spPr bwMode="auto">
                  <a:xfrm>
                    <a:off x="10407476" y="3646872"/>
                    <a:ext cx="22901" cy="50888"/>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42" name="Freeform 341"/>
                  <p:cNvSpPr>
                    <a:spLocks/>
                  </p:cNvSpPr>
                  <p:nvPr/>
                </p:nvSpPr>
                <p:spPr bwMode="auto">
                  <a:xfrm>
                    <a:off x="10308185" y="3761899"/>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43" name="Freeform 342"/>
                  <p:cNvSpPr>
                    <a:spLocks noEditPoints="1"/>
                  </p:cNvSpPr>
                  <p:nvPr/>
                </p:nvSpPr>
                <p:spPr bwMode="auto">
                  <a:xfrm>
                    <a:off x="10401058" y="3761899"/>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44" name="Freeform 343"/>
                  <p:cNvSpPr>
                    <a:spLocks noEditPoints="1"/>
                  </p:cNvSpPr>
                  <p:nvPr/>
                </p:nvSpPr>
                <p:spPr bwMode="auto">
                  <a:xfrm>
                    <a:off x="10309515" y="3870782"/>
                    <a:ext cx="34350" cy="52160"/>
                  </a:xfrm>
                  <a:custGeom>
                    <a:avLst/>
                    <a:gdLst>
                      <a:gd name="T0" fmla="*/ 8 w 54"/>
                      <a:gd name="T1" fmla="*/ 8 h 82"/>
                      <a:gd name="T2" fmla="*/ 8 w 54"/>
                      <a:gd name="T3" fmla="*/ 8 h 82"/>
                      <a:gd name="T4" fmla="*/ 6 w 54"/>
                      <a:gd name="T5" fmla="*/ 14 h 82"/>
                      <a:gd name="T6" fmla="*/ 2 w 54"/>
                      <a:gd name="T7" fmla="*/ 20 h 82"/>
                      <a:gd name="T8" fmla="*/ 0 w 54"/>
                      <a:gd name="T9" fmla="*/ 40 h 82"/>
                      <a:gd name="T10" fmla="*/ 0 w 54"/>
                      <a:gd name="T11" fmla="*/ 40 h 82"/>
                      <a:gd name="T12" fmla="*/ 2 w 54"/>
                      <a:gd name="T13" fmla="*/ 60 h 82"/>
                      <a:gd name="T14" fmla="*/ 4 w 54"/>
                      <a:gd name="T15" fmla="*/ 68 h 82"/>
                      <a:gd name="T16" fmla="*/ 8 w 54"/>
                      <a:gd name="T17" fmla="*/ 72 h 82"/>
                      <a:gd name="T18" fmla="*/ 8 w 54"/>
                      <a:gd name="T19" fmla="*/ 72 h 82"/>
                      <a:gd name="T20" fmla="*/ 12 w 54"/>
                      <a:gd name="T21" fmla="*/ 76 h 82"/>
                      <a:gd name="T22" fmla="*/ 16 w 54"/>
                      <a:gd name="T23" fmla="*/ 80 h 82"/>
                      <a:gd name="T24" fmla="*/ 22 w 54"/>
                      <a:gd name="T25" fmla="*/ 80 h 82"/>
                      <a:gd name="T26" fmla="*/ 28 w 54"/>
                      <a:gd name="T27" fmla="*/ 82 h 82"/>
                      <a:gd name="T28" fmla="*/ 28 w 54"/>
                      <a:gd name="T29" fmla="*/ 82 h 82"/>
                      <a:gd name="T30" fmla="*/ 38 w 54"/>
                      <a:gd name="T31" fmla="*/ 80 h 82"/>
                      <a:gd name="T32" fmla="*/ 42 w 54"/>
                      <a:gd name="T33" fmla="*/ 76 h 82"/>
                      <a:gd name="T34" fmla="*/ 46 w 54"/>
                      <a:gd name="T35" fmla="*/ 74 h 82"/>
                      <a:gd name="T36" fmla="*/ 46 w 54"/>
                      <a:gd name="T37" fmla="*/ 74 h 82"/>
                      <a:gd name="T38" fmla="*/ 48 w 54"/>
                      <a:gd name="T39" fmla="*/ 68 h 82"/>
                      <a:gd name="T40" fmla="*/ 52 w 54"/>
                      <a:gd name="T41" fmla="*/ 60 h 82"/>
                      <a:gd name="T42" fmla="*/ 54 w 54"/>
                      <a:gd name="T43" fmla="*/ 40 h 82"/>
                      <a:gd name="T44" fmla="*/ 54 w 54"/>
                      <a:gd name="T45" fmla="*/ 40 h 82"/>
                      <a:gd name="T46" fmla="*/ 52 w 54"/>
                      <a:gd name="T47" fmla="*/ 20 h 82"/>
                      <a:gd name="T48" fmla="*/ 48 w 54"/>
                      <a:gd name="T49" fmla="*/ 14 h 82"/>
                      <a:gd name="T50" fmla="*/ 46 w 54"/>
                      <a:gd name="T51" fmla="*/ 8 h 82"/>
                      <a:gd name="T52" fmla="*/ 46 w 54"/>
                      <a:gd name="T53" fmla="*/ 8 h 82"/>
                      <a:gd name="T54" fmla="*/ 42 w 54"/>
                      <a:gd name="T55" fmla="*/ 4 h 82"/>
                      <a:gd name="T56" fmla="*/ 38 w 54"/>
                      <a:gd name="T57" fmla="*/ 2 h 82"/>
                      <a:gd name="T58" fmla="*/ 28 w 54"/>
                      <a:gd name="T59" fmla="*/ 0 h 82"/>
                      <a:gd name="T60" fmla="*/ 28 w 54"/>
                      <a:gd name="T61" fmla="*/ 0 h 82"/>
                      <a:gd name="T62" fmla="*/ 16 w 54"/>
                      <a:gd name="T63" fmla="*/ 2 h 82"/>
                      <a:gd name="T64" fmla="*/ 12 w 54"/>
                      <a:gd name="T65" fmla="*/ 4 h 82"/>
                      <a:gd name="T66" fmla="*/ 8 w 54"/>
                      <a:gd name="T67" fmla="*/ 8 h 82"/>
                      <a:gd name="T68" fmla="*/ 8 w 54"/>
                      <a:gd name="T69" fmla="*/ 8 h 82"/>
                      <a:gd name="T70" fmla="*/ 8 w 54"/>
                      <a:gd name="T71" fmla="*/ 8 h 82"/>
                      <a:gd name="T72" fmla="*/ 32 w 54"/>
                      <a:gd name="T73" fmla="*/ 14 h 82"/>
                      <a:gd name="T74" fmla="*/ 32 w 54"/>
                      <a:gd name="T75" fmla="*/ 14 h 82"/>
                      <a:gd name="T76" fmla="*/ 36 w 54"/>
                      <a:gd name="T77" fmla="*/ 22 h 82"/>
                      <a:gd name="T78" fmla="*/ 36 w 54"/>
                      <a:gd name="T79" fmla="*/ 22 h 82"/>
                      <a:gd name="T80" fmla="*/ 38 w 54"/>
                      <a:gd name="T81" fmla="*/ 40 h 82"/>
                      <a:gd name="T82" fmla="*/ 38 w 54"/>
                      <a:gd name="T83" fmla="*/ 40 h 82"/>
                      <a:gd name="T84" fmla="*/ 36 w 54"/>
                      <a:gd name="T85" fmla="*/ 60 h 82"/>
                      <a:gd name="T86" fmla="*/ 36 w 54"/>
                      <a:gd name="T87" fmla="*/ 60 h 82"/>
                      <a:gd name="T88" fmla="*/ 32 w 54"/>
                      <a:gd name="T89" fmla="*/ 66 h 82"/>
                      <a:gd name="T90" fmla="*/ 32 w 54"/>
                      <a:gd name="T91" fmla="*/ 66 h 82"/>
                      <a:gd name="T92" fmla="*/ 28 w 54"/>
                      <a:gd name="T93" fmla="*/ 68 h 82"/>
                      <a:gd name="T94" fmla="*/ 28 w 54"/>
                      <a:gd name="T95" fmla="*/ 68 h 82"/>
                      <a:gd name="T96" fmla="*/ 22 w 54"/>
                      <a:gd name="T97" fmla="*/ 66 h 82"/>
                      <a:gd name="T98" fmla="*/ 22 w 54"/>
                      <a:gd name="T99" fmla="*/ 66 h 82"/>
                      <a:gd name="T100" fmla="*/ 18 w 54"/>
                      <a:gd name="T101" fmla="*/ 60 h 82"/>
                      <a:gd name="T102" fmla="*/ 18 w 54"/>
                      <a:gd name="T103" fmla="*/ 60 h 82"/>
                      <a:gd name="T104" fmla="*/ 18 w 54"/>
                      <a:gd name="T105" fmla="*/ 40 h 82"/>
                      <a:gd name="T106" fmla="*/ 18 w 54"/>
                      <a:gd name="T107" fmla="*/ 40 h 82"/>
                      <a:gd name="T108" fmla="*/ 18 w 54"/>
                      <a:gd name="T109" fmla="*/ 20 h 82"/>
                      <a:gd name="T110" fmla="*/ 18 w 54"/>
                      <a:gd name="T111" fmla="*/ 20 h 82"/>
                      <a:gd name="T112" fmla="*/ 22 w 54"/>
                      <a:gd name="T113" fmla="*/ 14 h 82"/>
                      <a:gd name="T114" fmla="*/ 22 w 54"/>
                      <a:gd name="T115" fmla="*/ 14 h 82"/>
                      <a:gd name="T116" fmla="*/ 28 w 54"/>
                      <a:gd name="T117" fmla="*/ 12 h 82"/>
                      <a:gd name="T118" fmla="*/ 28 w 54"/>
                      <a:gd name="T119" fmla="*/ 12 h 82"/>
                      <a:gd name="T120" fmla="*/ 32 w 54"/>
                      <a:gd name="T121" fmla="*/ 14 h 82"/>
                      <a:gd name="T122" fmla="*/ 32 w 54"/>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8" y="82"/>
                        </a:lnTo>
                        <a:lnTo>
                          <a:pt x="28" y="82"/>
                        </a:lnTo>
                        <a:lnTo>
                          <a:pt x="38" y="80"/>
                        </a:lnTo>
                        <a:lnTo>
                          <a:pt x="42" y="76"/>
                        </a:lnTo>
                        <a:lnTo>
                          <a:pt x="46" y="74"/>
                        </a:lnTo>
                        <a:lnTo>
                          <a:pt x="46" y="74"/>
                        </a:lnTo>
                        <a:lnTo>
                          <a:pt x="48" y="68"/>
                        </a:lnTo>
                        <a:lnTo>
                          <a:pt x="52" y="60"/>
                        </a:lnTo>
                        <a:lnTo>
                          <a:pt x="54" y="40"/>
                        </a:lnTo>
                        <a:lnTo>
                          <a:pt x="54" y="40"/>
                        </a:lnTo>
                        <a:lnTo>
                          <a:pt x="52" y="20"/>
                        </a:lnTo>
                        <a:lnTo>
                          <a:pt x="48" y="14"/>
                        </a:lnTo>
                        <a:lnTo>
                          <a:pt x="46" y="8"/>
                        </a:lnTo>
                        <a:lnTo>
                          <a:pt x="46" y="8"/>
                        </a:lnTo>
                        <a:lnTo>
                          <a:pt x="42" y="4"/>
                        </a:lnTo>
                        <a:lnTo>
                          <a:pt x="38" y="2"/>
                        </a:lnTo>
                        <a:lnTo>
                          <a:pt x="28" y="0"/>
                        </a:lnTo>
                        <a:lnTo>
                          <a:pt x="28" y="0"/>
                        </a:lnTo>
                        <a:lnTo>
                          <a:pt x="16" y="2"/>
                        </a:lnTo>
                        <a:lnTo>
                          <a:pt x="12" y="4"/>
                        </a:lnTo>
                        <a:lnTo>
                          <a:pt x="8" y="8"/>
                        </a:lnTo>
                        <a:lnTo>
                          <a:pt x="8" y="8"/>
                        </a:lnTo>
                        <a:lnTo>
                          <a:pt x="8" y="8"/>
                        </a:lnTo>
                        <a:close/>
                        <a:moveTo>
                          <a:pt x="32" y="14"/>
                        </a:moveTo>
                        <a:lnTo>
                          <a:pt x="32" y="14"/>
                        </a:lnTo>
                        <a:lnTo>
                          <a:pt x="36" y="22"/>
                        </a:lnTo>
                        <a:lnTo>
                          <a:pt x="36" y="22"/>
                        </a:lnTo>
                        <a:lnTo>
                          <a:pt x="38" y="40"/>
                        </a:lnTo>
                        <a:lnTo>
                          <a:pt x="38" y="40"/>
                        </a:lnTo>
                        <a:lnTo>
                          <a:pt x="36" y="60"/>
                        </a:lnTo>
                        <a:lnTo>
                          <a:pt x="36" y="60"/>
                        </a:lnTo>
                        <a:lnTo>
                          <a:pt x="32" y="66"/>
                        </a:lnTo>
                        <a:lnTo>
                          <a:pt x="32" y="66"/>
                        </a:lnTo>
                        <a:lnTo>
                          <a:pt x="28" y="68"/>
                        </a:lnTo>
                        <a:lnTo>
                          <a:pt x="28" y="68"/>
                        </a:lnTo>
                        <a:lnTo>
                          <a:pt x="22" y="66"/>
                        </a:lnTo>
                        <a:lnTo>
                          <a:pt x="22" y="66"/>
                        </a:lnTo>
                        <a:lnTo>
                          <a:pt x="18" y="60"/>
                        </a:lnTo>
                        <a:lnTo>
                          <a:pt x="18" y="60"/>
                        </a:lnTo>
                        <a:lnTo>
                          <a:pt x="18" y="40"/>
                        </a:lnTo>
                        <a:lnTo>
                          <a:pt x="18" y="40"/>
                        </a:lnTo>
                        <a:lnTo>
                          <a:pt x="18" y="20"/>
                        </a:lnTo>
                        <a:lnTo>
                          <a:pt x="18" y="20"/>
                        </a:lnTo>
                        <a:lnTo>
                          <a:pt x="22" y="14"/>
                        </a:lnTo>
                        <a:lnTo>
                          <a:pt x="22" y="14"/>
                        </a:lnTo>
                        <a:lnTo>
                          <a:pt x="28" y="12"/>
                        </a:lnTo>
                        <a:lnTo>
                          <a:pt x="28" y="12"/>
                        </a:lnTo>
                        <a:lnTo>
                          <a:pt x="32" y="14"/>
                        </a:lnTo>
                        <a:lnTo>
                          <a:pt x="32"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45" name="Freeform 344"/>
                  <p:cNvSpPr>
                    <a:spLocks/>
                  </p:cNvSpPr>
                  <p:nvPr/>
                </p:nvSpPr>
                <p:spPr bwMode="auto">
                  <a:xfrm>
                    <a:off x="10407476" y="3870782"/>
                    <a:ext cx="22901" cy="50888"/>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46" name="Freeform 345"/>
                  <p:cNvSpPr>
                    <a:spLocks/>
                  </p:cNvSpPr>
                  <p:nvPr/>
                </p:nvSpPr>
                <p:spPr bwMode="auto">
                  <a:xfrm>
                    <a:off x="10308185" y="3983266"/>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47" name="Freeform 346"/>
                  <p:cNvSpPr>
                    <a:spLocks noEditPoints="1"/>
                  </p:cNvSpPr>
                  <p:nvPr/>
                </p:nvSpPr>
                <p:spPr bwMode="auto">
                  <a:xfrm>
                    <a:off x="10401058" y="3983266"/>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48" name="Freeform 347"/>
                  <p:cNvSpPr>
                    <a:spLocks/>
                  </p:cNvSpPr>
                  <p:nvPr/>
                </p:nvSpPr>
                <p:spPr bwMode="auto">
                  <a:xfrm>
                    <a:off x="10506044" y="3323940"/>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49" name="Freeform 348"/>
                  <p:cNvSpPr>
                    <a:spLocks noEditPoints="1"/>
                  </p:cNvSpPr>
                  <p:nvPr/>
                </p:nvSpPr>
                <p:spPr bwMode="auto">
                  <a:xfrm>
                    <a:off x="10598917" y="3323940"/>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50" name="Freeform 349"/>
                  <p:cNvSpPr>
                    <a:spLocks noEditPoints="1"/>
                  </p:cNvSpPr>
                  <p:nvPr/>
                </p:nvSpPr>
                <p:spPr bwMode="auto">
                  <a:xfrm>
                    <a:off x="10507374" y="3428051"/>
                    <a:ext cx="34350" cy="52160"/>
                  </a:xfrm>
                  <a:custGeom>
                    <a:avLst/>
                    <a:gdLst>
                      <a:gd name="T0" fmla="*/ 8 w 54"/>
                      <a:gd name="T1" fmla="*/ 8 h 82"/>
                      <a:gd name="T2" fmla="*/ 8 w 54"/>
                      <a:gd name="T3" fmla="*/ 8 h 82"/>
                      <a:gd name="T4" fmla="*/ 6 w 54"/>
                      <a:gd name="T5" fmla="*/ 14 h 82"/>
                      <a:gd name="T6" fmla="*/ 2 w 54"/>
                      <a:gd name="T7" fmla="*/ 20 h 82"/>
                      <a:gd name="T8" fmla="*/ 0 w 54"/>
                      <a:gd name="T9" fmla="*/ 40 h 82"/>
                      <a:gd name="T10" fmla="*/ 0 w 54"/>
                      <a:gd name="T11" fmla="*/ 40 h 82"/>
                      <a:gd name="T12" fmla="*/ 2 w 54"/>
                      <a:gd name="T13" fmla="*/ 60 h 82"/>
                      <a:gd name="T14" fmla="*/ 4 w 54"/>
                      <a:gd name="T15" fmla="*/ 68 h 82"/>
                      <a:gd name="T16" fmla="*/ 8 w 54"/>
                      <a:gd name="T17" fmla="*/ 72 h 82"/>
                      <a:gd name="T18" fmla="*/ 8 w 54"/>
                      <a:gd name="T19" fmla="*/ 72 h 82"/>
                      <a:gd name="T20" fmla="*/ 12 w 54"/>
                      <a:gd name="T21" fmla="*/ 76 h 82"/>
                      <a:gd name="T22" fmla="*/ 16 w 54"/>
                      <a:gd name="T23" fmla="*/ 80 h 82"/>
                      <a:gd name="T24" fmla="*/ 22 w 54"/>
                      <a:gd name="T25" fmla="*/ 80 h 82"/>
                      <a:gd name="T26" fmla="*/ 28 w 54"/>
                      <a:gd name="T27" fmla="*/ 82 h 82"/>
                      <a:gd name="T28" fmla="*/ 28 w 54"/>
                      <a:gd name="T29" fmla="*/ 82 h 82"/>
                      <a:gd name="T30" fmla="*/ 38 w 54"/>
                      <a:gd name="T31" fmla="*/ 80 h 82"/>
                      <a:gd name="T32" fmla="*/ 42 w 54"/>
                      <a:gd name="T33" fmla="*/ 76 h 82"/>
                      <a:gd name="T34" fmla="*/ 46 w 54"/>
                      <a:gd name="T35" fmla="*/ 74 h 82"/>
                      <a:gd name="T36" fmla="*/ 46 w 54"/>
                      <a:gd name="T37" fmla="*/ 74 h 82"/>
                      <a:gd name="T38" fmla="*/ 48 w 54"/>
                      <a:gd name="T39" fmla="*/ 68 h 82"/>
                      <a:gd name="T40" fmla="*/ 52 w 54"/>
                      <a:gd name="T41" fmla="*/ 60 h 82"/>
                      <a:gd name="T42" fmla="*/ 54 w 54"/>
                      <a:gd name="T43" fmla="*/ 40 h 82"/>
                      <a:gd name="T44" fmla="*/ 54 w 54"/>
                      <a:gd name="T45" fmla="*/ 40 h 82"/>
                      <a:gd name="T46" fmla="*/ 52 w 54"/>
                      <a:gd name="T47" fmla="*/ 20 h 82"/>
                      <a:gd name="T48" fmla="*/ 48 w 54"/>
                      <a:gd name="T49" fmla="*/ 14 h 82"/>
                      <a:gd name="T50" fmla="*/ 46 w 54"/>
                      <a:gd name="T51" fmla="*/ 8 h 82"/>
                      <a:gd name="T52" fmla="*/ 46 w 54"/>
                      <a:gd name="T53" fmla="*/ 8 h 82"/>
                      <a:gd name="T54" fmla="*/ 42 w 54"/>
                      <a:gd name="T55" fmla="*/ 4 h 82"/>
                      <a:gd name="T56" fmla="*/ 38 w 54"/>
                      <a:gd name="T57" fmla="*/ 2 h 82"/>
                      <a:gd name="T58" fmla="*/ 28 w 54"/>
                      <a:gd name="T59" fmla="*/ 0 h 82"/>
                      <a:gd name="T60" fmla="*/ 28 w 54"/>
                      <a:gd name="T61" fmla="*/ 0 h 82"/>
                      <a:gd name="T62" fmla="*/ 16 w 54"/>
                      <a:gd name="T63" fmla="*/ 2 h 82"/>
                      <a:gd name="T64" fmla="*/ 12 w 54"/>
                      <a:gd name="T65" fmla="*/ 4 h 82"/>
                      <a:gd name="T66" fmla="*/ 8 w 54"/>
                      <a:gd name="T67" fmla="*/ 8 h 82"/>
                      <a:gd name="T68" fmla="*/ 8 w 54"/>
                      <a:gd name="T69" fmla="*/ 8 h 82"/>
                      <a:gd name="T70" fmla="*/ 8 w 54"/>
                      <a:gd name="T71" fmla="*/ 8 h 82"/>
                      <a:gd name="T72" fmla="*/ 32 w 54"/>
                      <a:gd name="T73" fmla="*/ 14 h 82"/>
                      <a:gd name="T74" fmla="*/ 32 w 54"/>
                      <a:gd name="T75" fmla="*/ 14 h 82"/>
                      <a:gd name="T76" fmla="*/ 36 w 54"/>
                      <a:gd name="T77" fmla="*/ 22 h 82"/>
                      <a:gd name="T78" fmla="*/ 36 w 54"/>
                      <a:gd name="T79" fmla="*/ 22 h 82"/>
                      <a:gd name="T80" fmla="*/ 38 w 54"/>
                      <a:gd name="T81" fmla="*/ 40 h 82"/>
                      <a:gd name="T82" fmla="*/ 38 w 54"/>
                      <a:gd name="T83" fmla="*/ 40 h 82"/>
                      <a:gd name="T84" fmla="*/ 36 w 54"/>
                      <a:gd name="T85" fmla="*/ 60 h 82"/>
                      <a:gd name="T86" fmla="*/ 36 w 54"/>
                      <a:gd name="T87" fmla="*/ 60 h 82"/>
                      <a:gd name="T88" fmla="*/ 32 w 54"/>
                      <a:gd name="T89" fmla="*/ 66 h 82"/>
                      <a:gd name="T90" fmla="*/ 32 w 54"/>
                      <a:gd name="T91" fmla="*/ 66 h 82"/>
                      <a:gd name="T92" fmla="*/ 28 w 54"/>
                      <a:gd name="T93" fmla="*/ 68 h 82"/>
                      <a:gd name="T94" fmla="*/ 28 w 54"/>
                      <a:gd name="T95" fmla="*/ 68 h 82"/>
                      <a:gd name="T96" fmla="*/ 22 w 54"/>
                      <a:gd name="T97" fmla="*/ 66 h 82"/>
                      <a:gd name="T98" fmla="*/ 22 w 54"/>
                      <a:gd name="T99" fmla="*/ 66 h 82"/>
                      <a:gd name="T100" fmla="*/ 18 w 54"/>
                      <a:gd name="T101" fmla="*/ 60 h 82"/>
                      <a:gd name="T102" fmla="*/ 18 w 54"/>
                      <a:gd name="T103" fmla="*/ 60 h 82"/>
                      <a:gd name="T104" fmla="*/ 18 w 54"/>
                      <a:gd name="T105" fmla="*/ 40 h 82"/>
                      <a:gd name="T106" fmla="*/ 18 w 54"/>
                      <a:gd name="T107" fmla="*/ 40 h 82"/>
                      <a:gd name="T108" fmla="*/ 18 w 54"/>
                      <a:gd name="T109" fmla="*/ 20 h 82"/>
                      <a:gd name="T110" fmla="*/ 18 w 54"/>
                      <a:gd name="T111" fmla="*/ 20 h 82"/>
                      <a:gd name="T112" fmla="*/ 22 w 54"/>
                      <a:gd name="T113" fmla="*/ 14 h 82"/>
                      <a:gd name="T114" fmla="*/ 22 w 54"/>
                      <a:gd name="T115" fmla="*/ 14 h 82"/>
                      <a:gd name="T116" fmla="*/ 28 w 54"/>
                      <a:gd name="T117" fmla="*/ 12 h 82"/>
                      <a:gd name="T118" fmla="*/ 28 w 54"/>
                      <a:gd name="T119" fmla="*/ 12 h 82"/>
                      <a:gd name="T120" fmla="*/ 32 w 54"/>
                      <a:gd name="T121" fmla="*/ 14 h 82"/>
                      <a:gd name="T122" fmla="*/ 32 w 54"/>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8" y="82"/>
                        </a:lnTo>
                        <a:lnTo>
                          <a:pt x="28" y="82"/>
                        </a:lnTo>
                        <a:lnTo>
                          <a:pt x="38" y="80"/>
                        </a:lnTo>
                        <a:lnTo>
                          <a:pt x="42" y="76"/>
                        </a:lnTo>
                        <a:lnTo>
                          <a:pt x="46" y="74"/>
                        </a:lnTo>
                        <a:lnTo>
                          <a:pt x="46" y="74"/>
                        </a:lnTo>
                        <a:lnTo>
                          <a:pt x="48" y="68"/>
                        </a:lnTo>
                        <a:lnTo>
                          <a:pt x="52" y="60"/>
                        </a:lnTo>
                        <a:lnTo>
                          <a:pt x="54" y="40"/>
                        </a:lnTo>
                        <a:lnTo>
                          <a:pt x="54" y="40"/>
                        </a:lnTo>
                        <a:lnTo>
                          <a:pt x="52" y="20"/>
                        </a:lnTo>
                        <a:lnTo>
                          <a:pt x="48" y="14"/>
                        </a:lnTo>
                        <a:lnTo>
                          <a:pt x="46" y="8"/>
                        </a:lnTo>
                        <a:lnTo>
                          <a:pt x="46" y="8"/>
                        </a:lnTo>
                        <a:lnTo>
                          <a:pt x="42" y="4"/>
                        </a:lnTo>
                        <a:lnTo>
                          <a:pt x="38" y="2"/>
                        </a:lnTo>
                        <a:lnTo>
                          <a:pt x="28" y="0"/>
                        </a:lnTo>
                        <a:lnTo>
                          <a:pt x="28" y="0"/>
                        </a:lnTo>
                        <a:lnTo>
                          <a:pt x="16" y="2"/>
                        </a:lnTo>
                        <a:lnTo>
                          <a:pt x="12" y="4"/>
                        </a:lnTo>
                        <a:lnTo>
                          <a:pt x="8" y="8"/>
                        </a:lnTo>
                        <a:lnTo>
                          <a:pt x="8" y="8"/>
                        </a:lnTo>
                        <a:lnTo>
                          <a:pt x="8" y="8"/>
                        </a:lnTo>
                        <a:close/>
                        <a:moveTo>
                          <a:pt x="32" y="14"/>
                        </a:moveTo>
                        <a:lnTo>
                          <a:pt x="32" y="14"/>
                        </a:lnTo>
                        <a:lnTo>
                          <a:pt x="36" y="22"/>
                        </a:lnTo>
                        <a:lnTo>
                          <a:pt x="36" y="22"/>
                        </a:lnTo>
                        <a:lnTo>
                          <a:pt x="38" y="40"/>
                        </a:lnTo>
                        <a:lnTo>
                          <a:pt x="38" y="40"/>
                        </a:lnTo>
                        <a:lnTo>
                          <a:pt x="36" y="60"/>
                        </a:lnTo>
                        <a:lnTo>
                          <a:pt x="36" y="60"/>
                        </a:lnTo>
                        <a:lnTo>
                          <a:pt x="32" y="66"/>
                        </a:lnTo>
                        <a:lnTo>
                          <a:pt x="32" y="66"/>
                        </a:lnTo>
                        <a:lnTo>
                          <a:pt x="28" y="68"/>
                        </a:lnTo>
                        <a:lnTo>
                          <a:pt x="28" y="68"/>
                        </a:lnTo>
                        <a:lnTo>
                          <a:pt x="22" y="66"/>
                        </a:lnTo>
                        <a:lnTo>
                          <a:pt x="22" y="66"/>
                        </a:lnTo>
                        <a:lnTo>
                          <a:pt x="18" y="60"/>
                        </a:lnTo>
                        <a:lnTo>
                          <a:pt x="18" y="60"/>
                        </a:lnTo>
                        <a:lnTo>
                          <a:pt x="18" y="40"/>
                        </a:lnTo>
                        <a:lnTo>
                          <a:pt x="18" y="40"/>
                        </a:lnTo>
                        <a:lnTo>
                          <a:pt x="18" y="20"/>
                        </a:lnTo>
                        <a:lnTo>
                          <a:pt x="18" y="20"/>
                        </a:lnTo>
                        <a:lnTo>
                          <a:pt x="22" y="14"/>
                        </a:lnTo>
                        <a:lnTo>
                          <a:pt x="22" y="14"/>
                        </a:lnTo>
                        <a:lnTo>
                          <a:pt x="28" y="12"/>
                        </a:lnTo>
                        <a:lnTo>
                          <a:pt x="28" y="12"/>
                        </a:lnTo>
                        <a:lnTo>
                          <a:pt x="32" y="14"/>
                        </a:lnTo>
                        <a:lnTo>
                          <a:pt x="32"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51" name="Freeform 350"/>
                  <p:cNvSpPr>
                    <a:spLocks/>
                  </p:cNvSpPr>
                  <p:nvPr/>
                </p:nvSpPr>
                <p:spPr bwMode="auto">
                  <a:xfrm>
                    <a:off x="10605336" y="3428051"/>
                    <a:ext cx="22901" cy="50888"/>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52" name="Freeform 351"/>
                  <p:cNvSpPr>
                    <a:spLocks/>
                  </p:cNvSpPr>
                  <p:nvPr/>
                </p:nvSpPr>
                <p:spPr bwMode="auto">
                  <a:xfrm>
                    <a:off x="10506044" y="3537991"/>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53" name="Freeform 352"/>
                  <p:cNvSpPr>
                    <a:spLocks noEditPoints="1"/>
                  </p:cNvSpPr>
                  <p:nvPr/>
                </p:nvSpPr>
                <p:spPr bwMode="auto">
                  <a:xfrm>
                    <a:off x="10598917" y="3537991"/>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54" name="Freeform 353"/>
                  <p:cNvSpPr>
                    <a:spLocks noEditPoints="1"/>
                  </p:cNvSpPr>
                  <p:nvPr/>
                </p:nvSpPr>
                <p:spPr bwMode="auto">
                  <a:xfrm>
                    <a:off x="10507374" y="3646872"/>
                    <a:ext cx="34350" cy="52160"/>
                  </a:xfrm>
                  <a:custGeom>
                    <a:avLst/>
                    <a:gdLst>
                      <a:gd name="T0" fmla="*/ 8 w 54"/>
                      <a:gd name="T1" fmla="*/ 8 h 82"/>
                      <a:gd name="T2" fmla="*/ 8 w 54"/>
                      <a:gd name="T3" fmla="*/ 8 h 82"/>
                      <a:gd name="T4" fmla="*/ 6 w 54"/>
                      <a:gd name="T5" fmla="*/ 14 h 82"/>
                      <a:gd name="T6" fmla="*/ 2 w 54"/>
                      <a:gd name="T7" fmla="*/ 20 h 82"/>
                      <a:gd name="T8" fmla="*/ 0 w 54"/>
                      <a:gd name="T9" fmla="*/ 40 h 82"/>
                      <a:gd name="T10" fmla="*/ 0 w 54"/>
                      <a:gd name="T11" fmla="*/ 40 h 82"/>
                      <a:gd name="T12" fmla="*/ 2 w 54"/>
                      <a:gd name="T13" fmla="*/ 60 h 82"/>
                      <a:gd name="T14" fmla="*/ 4 w 54"/>
                      <a:gd name="T15" fmla="*/ 68 h 82"/>
                      <a:gd name="T16" fmla="*/ 8 w 54"/>
                      <a:gd name="T17" fmla="*/ 72 h 82"/>
                      <a:gd name="T18" fmla="*/ 8 w 54"/>
                      <a:gd name="T19" fmla="*/ 72 h 82"/>
                      <a:gd name="T20" fmla="*/ 12 w 54"/>
                      <a:gd name="T21" fmla="*/ 76 h 82"/>
                      <a:gd name="T22" fmla="*/ 16 w 54"/>
                      <a:gd name="T23" fmla="*/ 80 h 82"/>
                      <a:gd name="T24" fmla="*/ 22 w 54"/>
                      <a:gd name="T25" fmla="*/ 80 h 82"/>
                      <a:gd name="T26" fmla="*/ 28 w 54"/>
                      <a:gd name="T27" fmla="*/ 82 h 82"/>
                      <a:gd name="T28" fmla="*/ 28 w 54"/>
                      <a:gd name="T29" fmla="*/ 82 h 82"/>
                      <a:gd name="T30" fmla="*/ 38 w 54"/>
                      <a:gd name="T31" fmla="*/ 80 h 82"/>
                      <a:gd name="T32" fmla="*/ 42 w 54"/>
                      <a:gd name="T33" fmla="*/ 76 h 82"/>
                      <a:gd name="T34" fmla="*/ 46 w 54"/>
                      <a:gd name="T35" fmla="*/ 74 h 82"/>
                      <a:gd name="T36" fmla="*/ 46 w 54"/>
                      <a:gd name="T37" fmla="*/ 74 h 82"/>
                      <a:gd name="T38" fmla="*/ 48 w 54"/>
                      <a:gd name="T39" fmla="*/ 68 h 82"/>
                      <a:gd name="T40" fmla="*/ 52 w 54"/>
                      <a:gd name="T41" fmla="*/ 60 h 82"/>
                      <a:gd name="T42" fmla="*/ 54 w 54"/>
                      <a:gd name="T43" fmla="*/ 40 h 82"/>
                      <a:gd name="T44" fmla="*/ 54 w 54"/>
                      <a:gd name="T45" fmla="*/ 40 h 82"/>
                      <a:gd name="T46" fmla="*/ 52 w 54"/>
                      <a:gd name="T47" fmla="*/ 20 h 82"/>
                      <a:gd name="T48" fmla="*/ 48 w 54"/>
                      <a:gd name="T49" fmla="*/ 14 h 82"/>
                      <a:gd name="T50" fmla="*/ 46 w 54"/>
                      <a:gd name="T51" fmla="*/ 8 h 82"/>
                      <a:gd name="T52" fmla="*/ 46 w 54"/>
                      <a:gd name="T53" fmla="*/ 8 h 82"/>
                      <a:gd name="T54" fmla="*/ 42 w 54"/>
                      <a:gd name="T55" fmla="*/ 4 h 82"/>
                      <a:gd name="T56" fmla="*/ 38 w 54"/>
                      <a:gd name="T57" fmla="*/ 2 h 82"/>
                      <a:gd name="T58" fmla="*/ 28 w 54"/>
                      <a:gd name="T59" fmla="*/ 0 h 82"/>
                      <a:gd name="T60" fmla="*/ 28 w 54"/>
                      <a:gd name="T61" fmla="*/ 0 h 82"/>
                      <a:gd name="T62" fmla="*/ 16 w 54"/>
                      <a:gd name="T63" fmla="*/ 2 h 82"/>
                      <a:gd name="T64" fmla="*/ 12 w 54"/>
                      <a:gd name="T65" fmla="*/ 4 h 82"/>
                      <a:gd name="T66" fmla="*/ 8 w 54"/>
                      <a:gd name="T67" fmla="*/ 8 h 82"/>
                      <a:gd name="T68" fmla="*/ 8 w 54"/>
                      <a:gd name="T69" fmla="*/ 8 h 82"/>
                      <a:gd name="T70" fmla="*/ 8 w 54"/>
                      <a:gd name="T71" fmla="*/ 8 h 82"/>
                      <a:gd name="T72" fmla="*/ 32 w 54"/>
                      <a:gd name="T73" fmla="*/ 14 h 82"/>
                      <a:gd name="T74" fmla="*/ 32 w 54"/>
                      <a:gd name="T75" fmla="*/ 14 h 82"/>
                      <a:gd name="T76" fmla="*/ 36 w 54"/>
                      <a:gd name="T77" fmla="*/ 22 h 82"/>
                      <a:gd name="T78" fmla="*/ 36 w 54"/>
                      <a:gd name="T79" fmla="*/ 22 h 82"/>
                      <a:gd name="T80" fmla="*/ 38 w 54"/>
                      <a:gd name="T81" fmla="*/ 40 h 82"/>
                      <a:gd name="T82" fmla="*/ 38 w 54"/>
                      <a:gd name="T83" fmla="*/ 40 h 82"/>
                      <a:gd name="T84" fmla="*/ 36 w 54"/>
                      <a:gd name="T85" fmla="*/ 60 h 82"/>
                      <a:gd name="T86" fmla="*/ 36 w 54"/>
                      <a:gd name="T87" fmla="*/ 60 h 82"/>
                      <a:gd name="T88" fmla="*/ 32 w 54"/>
                      <a:gd name="T89" fmla="*/ 66 h 82"/>
                      <a:gd name="T90" fmla="*/ 32 w 54"/>
                      <a:gd name="T91" fmla="*/ 66 h 82"/>
                      <a:gd name="T92" fmla="*/ 28 w 54"/>
                      <a:gd name="T93" fmla="*/ 68 h 82"/>
                      <a:gd name="T94" fmla="*/ 28 w 54"/>
                      <a:gd name="T95" fmla="*/ 68 h 82"/>
                      <a:gd name="T96" fmla="*/ 22 w 54"/>
                      <a:gd name="T97" fmla="*/ 66 h 82"/>
                      <a:gd name="T98" fmla="*/ 22 w 54"/>
                      <a:gd name="T99" fmla="*/ 66 h 82"/>
                      <a:gd name="T100" fmla="*/ 18 w 54"/>
                      <a:gd name="T101" fmla="*/ 60 h 82"/>
                      <a:gd name="T102" fmla="*/ 18 w 54"/>
                      <a:gd name="T103" fmla="*/ 60 h 82"/>
                      <a:gd name="T104" fmla="*/ 18 w 54"/>
                      <a:gd name="T105" fmla="*/ 40 h 82"/>
                      <a:gd name="T106" fmla="*/ 18 w 54"/>
                      <a:gd name="T107" fmla="*/ 40 h 82"/>
                      <a:gd name="T108" fmla="*/ 18 w 54"/>
                      <a:gd name="T109" fmla="*/ 20 h 82"/>
                      <a:gd name="T110" fmla="*/ 18 w 54"/>
                      <a:gd name="T111" fmla="*/ 20 h 82"/>
                      <a:gd name="T112" fmla="*/ 22 w 54"/>
                      <a:gd name="T113" fmla="*/ 14 h 82"/>
                      <a:gd name="T114" fmla="*/ 22 w 54"/>
                      <a:gd name="T115" fmla="*/ 14 h 82"/>
                      <a:gd name="T116" fmla="*/ 28 w 54"/>
                      <a:gd name="T117" fmla="*/ 12 h 82"/>
                      <a:gd name="T118" fmla="*/ 28 w 54"/>
                      <a:gd name="T119" fmla="*/ 12 h 82"/>
                      <a:gd name="T120" fmla="*/ 32 w 54"/>
                      <a:gd name="T121" fmla="*/ 14 h 82"/>
                      <a:gd name="T122" fmla="*/ 32 w 54"/>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8" y="82"/>
                        </a:lnTo>
                        <a:lnTo>
                          <a:pt x="28" y="82"/>
                        </a:lnTo>
                        <a:lnTo>
                          <a:pt x="38" y="80"/>
                        </a:lnTo>
                        <a:lnTo>
                          <a:pt x="42" y="76"/>
                        </a:lnTo>
                        <a:lnTo>
                          <a:pt x="46" y="74"/>
                        </a:lnTo>
                        <a:lnTo>
                          <a:pt x="46" y="74"/>
                        </a:lnTo>
                        <a:lnTo>
                          <a:pt x="48" y="68"/>
                        </a:lnTo>
                        <a:lnTo>
                          <a:pt x="52" y="60"/>
                        </a:lnTo>
                        <a:lnTo>
                          <a:pt x="54" y="40"/>
                        </a:lnTo>
                        <a:lnTo>
                          <a:pt x="54" y="40"/>
                        </a:lnTo>
                        <a:lnTo>
                          <a:pt x="52" y="20"/>
                        </a:lnTo>
                        <a:lnTo>
                          <a:pt x="48" y="14"/>
                        </a:lnTo>
                        <a:lnTo>
                          <a:pt x="46" y="8"/>
                        </a:lnTo>
                        <a:lnTo>
                          <a:pt x="46" y="8"/>
                        </a:lnTo>
                        <a:lnTo>
                          <a:pt x="42" y="4"/>
                        </a:lnTo>
                        <a:lnTo>
                          <a:pt x="38" y="2"/>
                        </a:lnTo>
                        <a:lnTo>
                          <a:pt x="28" y="0"/>
                        </a:lnTo>
                        <a:lnTo>
                          <a:pt x="28" y="0"/>
                        </a:lnTo>
                        <a:lnTo>
                          <a:pt x="16" y="2"/>
                        </a:lnTo>
                        <a:lnTo>
                          <a:pt x="12" y="4"/>
                        </a:lnTo>
                        <a:lnTo>
                          <a:pt x="8" y="8"/>
                        </a:lnTo>
                        <a:lnTo>
                          <a:pt x="8" y="8"/>
                        </a:lnTo>
                        <a:lnTo>
                          <a:pt x="8" y="8"/>
                        </a:lnTo>
                        <a:close/>
                        <a:moveTo>
                          <a:pt x="32" y="14"/>
                        </a:moveTo>
                        <a:lnTo>
                          <a:pt x="32" y="14"/>
                        </a:lnTo>
                        <a:lnTo>
                          <a:pt x="36" y="22"/>
                        </a:lnTo>
                        <a:lnTo>
                          <a:pt x="36" y="22"/>
                        </a:lnTo>
                        <a:lnTo>
                          <a:pt x="38" y="40"/>
                        </a:lnTo>
                        <a:lnTo>
                          <a:pt x="38" y="40"/>
                        </a:lnTo>
                        <a:lnTo>
                          <a:pt x="36" y="60"/>
                        </a:lnTo>
                        <a:lnTo>
                          <a:pt x="36" y="60"/>
                        </a:lnTo>
                        <a:lnTo>
                          <a:pt x="32" y="66"/>
                        </a:lnTo>
                        <a:lnTo>
                          <a:pt x="32" y="66"/>
                        </a:lnTo>
                        <a:lnTo>
                          <a:pt x="28" y="68"/>
                        </a:lnTo>
                        <a:lnTo>
                          <a:pt x="28" y="68"/>
                        </a:lnTo>
                        <a:lnTo>
                          <a:pt x="22" y="66"/>
                        </a:lnTo>
                        <a:lnTo>
                          <a:pt x="22" y="66"/>
                        </a:lnTo>
                        <a:lnTo>
                          <a:pt x="18" y="60"/>
                        </a:lnTo>
                        <a:lnTo>
                          <a:pt x="18" y="60"/>
                        </a:lnTo>
                        <a:lnTo>
                          <a:pt x="18" y="40"/>
                        </a:lnTo>
                        <a:lnTo>
                          <a:pt x="18" y="40"/>
                        </a:lnTo>
                        <a:lnTo>
                          <a:pt x="18" y="20"/>
                        </a:lnTo>
                        <a:lnTo>
                          <a:pt x="18" y="20"/>
                        </a:lnTo>
                        <a:lnTo>
                          <a:pt x="22" y="14"/>
                        </a:lnTo>
                        <a:lnTo>
                          <a:pt x="22" y="14"/>
                        </a:lnTo>
                        <a:lnTo>
                          <a:pt x="28" y="12"/>
                        </a:lnTo>
                        <a:lnTo>
                          <a:pt x="28" y="12"/>
                        </a:lnTo>
                        <a:lnTo>
                          <a:pt x="32" y="14"/>
                        </a:lnTo>
                        <a:lnTo>
                          <a:pt x="32"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55" name="Freeform 354"/>
                  <p:cNvSpPr>
                    <a:spLocks/>
                  </p:cNvSpPr>
                  <p:nvPr/>
                </p:nvSpPr>
                <p:spPr bwMode="auto">
                  <a:xfrm>
                    <a:off x="10605336" y="3646872"/>
                    <a:ext cx="22901" cy="50888"/>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56" name="Freeform 355"/>
                  <p:cNvSpPr>
                    <a:spLocks/>
                  </p:cNvSpPr>
                  <p:nvPr/>
                </p:nvSpPr>
                <p:spPr bwMode="auto">
                  <a:xfrm>
                    <a:off x="10506044" y="3761899"/>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57" name="Freeform 356"/>
                  <p:cNvSpPr>
                    <a:spLocks noEditPoints="1"/>
                  </p:cNvSpPr>
                  <p:nvPr/>
                </p:nvSpPr>
                <p:spPr bwMode="auto">
                  <a:xfrm>
                    <a:off x="10598917" y="3761899"/>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58" name="Freeform 357"/>
                  <p:cNvSpPr>
                    <a:spLocks noEditPoints="1"/>
                  </p:cNvSpPr>
                  <p:nvPr/>
                </p:nvSpPr>
                <p:spPr bwMode="auto">
                  <a:xfrm>
                    <a:off x="10507374" y="3870782"/>
                    <a:ext cx="34350" cy="52160"/>
                  </a:xfrm>
                  <a:custGeom>
                    <a:avLst/>
                    <a:gdLst>
                      <a:gd name="T0" fmla="*/ 8 w 54"/>
                      <a:gd name="T1" fmla="*/ 8 h 82"/>
                      <a:gd name="T2" fmla="*/ 8 w 54"/>
                      <a:gd name="T3" fmla="*/ 8 h 82"/>
                      <a:gd name="T4" fmla="*/ 6 w 54"/>
                      <a:gd name="T5" fmla="*/ 14 h 82"/>
                      <a:gd name="T6" fmla="*/ 2 w 54"/>
                      <a:gd name="T7" fmla="*/ 20 h 82"/>
                      <a:gd name="T8" fmla="*/ 0 w 54"/>
                      <a:gd name="T9" fmla="*/ 40 h 82"/>
                      <a:gd name="T10" fmla="*/ 0 w 54"/>
                      <a:gd name="T11" fmla="*/ 40 h 82"/>
                      <a:gd name="T12" fmla="*/ 2 w 54"/>
                      <a:gd name="T13" fmla="*/ 60 h 82"/>
                      <a:gd name="T14" fmla="*/ 4 w 54"/>
                      <a:gd name="T15" fmla="*/ 68 h 82"/>
                      <a:gd name="T16" fmla="*/ 8 w 54"/>
                      <a:gd name="T17" fmla="*/ 72 h 82"/>
                      <a:gd name="T18" fmla="*/ 8 w 54"/>
                      <a:gd name="T19" fmla="*/ 72 h 82"/>
                      <a:gd name="T20" fmla="*/ 12 w 54"/>
                      <a:gd name="T21" fmla="*/ 76 h 82"/>
                      <a:gd name="T22" fmla="*/ 16 w 54"/>
                      <a:gd name="T23" fmla="*/ 80 h 82"/>
                      <a:gd name="T24" fmla="*/ 22 w 54"/>
                      <a:gd name="T25" fmla="*/ 80 h 82"/>
                      <a:gd name="T26" fmla="*/ 28 w 54"/>
                      <a:gd name="T27" fmla="*/ 82 h 82"/>
                      <a:gd name="T28" fmla="*/ 28 w 54"/>
                      <a:gd name="T29" fmla="*/ 82 h 82"/>
                      <a:gd name="T30" fmla="*/ 38 w 54"/>
                      <a:gd name="T31" fmla="*/ 80 h 82"/>
                      <a:gd name="T32" fmla="*/ 42 w 54"/>
                      <a:gd name="T33" fmla="*/ 76 h 82"/>
                      <a:gd name="T34" fmla="*/ 46 w 54"/>
                      <a:gd name="T35" fmla="*/ 74 h 82"/>
                      <a:gd name="T36" fmla="*/ 46 w 54"/>
                      <a:gd name="T37" fmla="*/ 74 h 82"/>
                      <a:gd name="T38" fmla="*/ 48 w 54"/>
                      <a:gd name="T39" fmla="*/ 68 h 82"/>
                      <a:gd name="T40" fmla="*/ 52 w 54"/>
                      <a:gd name="T41" fmla="*/ 60 h 82"/>
                      <a:gd name="T42" fmla="*/ 54 w 54"/>
                      <a:gd name="T43" fmla="*/ 40 h 82"/>
                      <a:gd name="T44" fmla="*/ 54 w 54"/>
                      <a:gd name="T45" fmla="*/ 40 h 82"/>
                      <a:gd name="T46" fmla="*/ 52 w 54"/>
                      <a:gd name="T47" fmla="*/ 20 h 82"/>
                      <a:gd name="T48" fmla="*/ 48 w 54"/>
                      <a:gd name="T49" fmla="*/ 14 h 82"/>
                      <a:gd name="T50" fmla="*/ 46 w 54"/>
                      <a:gd name="T51" fmla="*/ 8 h 82"/>
                      <a:gd name="T52" fmla="*/ 46 w 54"/>
                      <a:gd name="T53" fmla="*/ 8 h 82"/>
                      <a:gd name="T54" fmla="*/ 42 w 54"/>
                      <a:gd name="T55" fmla="*/ 4 h 82"/>
                      <a:gd name="T56" fmla="*/ 38 w 54"/>
                      <a:gd name="T57" fmla="*/ 2 h 82"/>
                      <a:gd name="T58" fmla="*/ 28 w 54"/>
                      <a:gd name="T59" fmla="*/ 0 h 82"/>
                      <a:gd name="T60" fmla="*/ 28 w 54"/>
                      <a:gd name="T61" fmla="*/ 0 h 82"/>
                      <a:gd name="T62" fmla="*/ 16 w 54"/>
                      <a:gd name="T63" fmla="*/ 2 h 82"/>
                      <a:gd name="T64" fmla="*/ 12 w 54"/>
                      <a:gd name="T65" fmla="*/ 4 h 82"/>
                      <a:gd name="T66" fmla="*/ 8 w 54"/>
                      <a:gd name="T67" fmla="*/ 8 h 82"/>
                      <a:gd name="T68" fmla="*/ 8 w 54"/>
                      <a:gd name="T69" fmla="*/ 8 h 82"/>
                      <a:gd name="T70" fmla="*/ 8 w 54"/>
                      <a:gd name="T71" fmla="*/ 8 h 82"/>
                      <a:gd name="T72" fmla="*/ 32 w 54"/>
                      <a:gd name="T73" fmla="*/ 14 h 82"/>
                      <a:gd name="T74" fmla="*/ 32 w 54"/>
                      <a:gd name="T75" fmla="*/ 14 h 82"/>
                      <a:gd name="T76" fmla="*/ 36 w 54"/>
                      <a:gd name="T77" fmla="*/ 22 h 82"/>
                      <a:gd name="T78" fmla="*/ 36 w 54"/>
                      <a:gd name="T79" fmla="*/ 22 h 82"/>
                      <a:gd name="T80" fmla="*/ 38 w 54"/>
                      <a:gd name="T81" fmla="*/ 40 h 82"/>
                      <a:gd name="T82" fmla="*/ 38 w 54"/>
                      <a:gd name="T83" fmla="*/ 40 h 82"/>
                      <a:gd name="T84" fmla="*/ 36 w 54"/>
                      <a:gd name="T85" fmla="*/ 60 h 82"/>
                      <a:gd name="T86" fmla="*/ 36 w 54"/>
                      <a:gd name="T87" fmla="*/ 60 h 82"/>
                      <a:gd name="T88" fmla="*/ 32 w 54"/>
                      <a:gd name="T89" fmla="*/ 66 h 82"/>
                      <a:gd name="T90" fmla="*/ 32 w 54"/>
                      <a:gd name="T91" fmla="*/ 66 h 82"/>
                      <a:gd name="T92" fmla="*/ 28 w 54"/>
                      <a:gd name="T93" fmla="*/ 68 h 82"/>
                      <a:gd name="T94" fmla="*/ 28 w 54"/>
                      <a:gd name="T95" fmla="*/ 68 h 82"/>
                      <a:gd name="T96" fmla="*/ 22 w 54"/>
                      <a:gd name="T97" fmla="*/ 66 h 82"/>
                      <a:gd name="T98" fmla="*/ 22 w 54"/>
                      <a:gd name="T99" fmla="*/ 66 h 82"/>
                      <a:gd name="T100" fmla="*/ 18 w 54"/>
                      <a:gd name="T101" fmla="*/ 60 h 82"/>
                      <a:gd name="T102" fmla="*/ 18 w 54"/>
                      <a:gd name="T103" fmla="*/ 60 h 82"/>
                      <a:gd name="T104" fmla="*/ 18 w 54"/>
                      <a:gd name="T105" fmla="*/ 40 h 82"/>
                      <a:gd name="T106" fmla="*/ 18 w 54"/>
                      <a:gd name="T107" fmla="*/ 40 h 82"/>
                      <a:gd name="T108" fmla="*/ 18 w 54"/>
                      <a:gd name="T109" fmla="*/ 20 h 82"/>
                      <a:gd name="T110" fmla="*/ 18 w 54"/>
                      <a:gd name="T111" fmla="*/ 20 h 82"/>
                      <a:gd name="T112" fmla="*/ 22 w 54"/>
                      <a:gd name="T113" fmla="*/ 14 h 82"/>
                      <a:gd name="T114" fmla="*/ 22 w 54"/>
                      <a:gd name="T115" fmla="*/ 14 h 82"/>
                      <a:gd name="T116" fmla="*/ 28 w 54"/>
                      <a:gd name="T117" fmla="*/ 12 h 82"/>
                      <a:gd name="T118" fmla="*/ 28 w 54"/>
                      <a:gd name="T119" fmla="*/ 12 h 82"/>
                      <a:gd name="T120" fmla="*/ 32 w 54"/>
                      <a:gd name="T121" fmla="*/ 14 h 82"/>
                      <a:gd name="T122" fmla="*/ 32 w 54"/>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8" y="82"/>
                        </a:lnTo>
                        <a:lnTo>
                          <a:pt x="28" y="82"/>
                        </a:lnTo>
                        <a:lnTo>
                          <a:pt x="38" y="80"/>
                        </a:lnTo>
                        <a:lnTo>
                          <a:pt x="42" y="76"/>
                        </a:lnTo>
                        <a:lnTo>
                          <a:pt x="46" y="74"/>
                        </a:lnTo>
                        <a:lnTo>
                          <a:pt x="46" y="74"/>
                        </a:lnTo>
                        <a:lnTo>
                          <a:pt x="48" y="68"/>
                        </a:lnTo>
                        <a:lnTo>
                          <a:pt x="52" y="60"/>
                        </a:lnTo>
                        <a:lnTo>
                          <a:pt x="54" y="40"/>
                        </a:lnTo>
                        <a:lnTo>
                          <a:pt x="54" y="40"/>
                        </a:lnTo>
                        <a:lnTo>
                          <a:pt x="52" y="20"/>
                        </a:lnTo>
                        <a:lnTo>
                          <a:pt x="48" y="14"/>
                        </a:lnTo>
                        <a:lnTo>
                          <a:pt x="46" y="8"/>
                        </a:lnTo>
                        <a:lnTo>
                          <a:pt x="46" y="8"/>
                        </a:lnTo>
                        <a:lnTo>
                          <a:pt x="42" y="4"/>
                        </a:lnTo>
                        <a:lnTo>
                          <a:pt x="38" y="2"/>
                        </a:lnTo>
                        <a:lnTo>
                          <a:pt x="28" y="0"/>
                        </a:lnTo>
                        <a:lnTo>
                          <a:pt x="28" y="0"/>
                        </a:lnTo>
                        <a:lnTo>
                          <a:pt x="16" y="2"/>
                        </a:lnTo>
                        <a:lnTo>
                          <a:pt x="12" y="4"/>
                        </a:lnTo>
                        <a:lnTo>
                          <a:pt x="8" y="8"/>
                        </a:lnTo>
                        <a:lnTo>
                          <a:pt x="8" y="8"/>
                        </a:lnTo>
                        <a:lnTo>
                          <a:pt x="8" y="8"/>
                        </a:lnTo>
                        <a:close/>
                        <a:moveTo>
                          <a:pt x="32" y="14"/>
                        </a:moveTo>
                        <a:lnTo>
                          <a:pt x="32" y="14"/>
                        </a:lnTo>
                        <a:lnTo>
                          <a:pt x="36" y="22"/>
                        </a:lnTo>
                        <a:lnTo>
                          <a:pt x="36" y="22"/>
                        </a:lnTo>
                        <a:lnTo>
                          <a:pt x="38" y="40"/>
                        </a:lnTo>
                        <a:lnTo>
                          <a:pt x="38" y="40"/>
                        </a:lnTo>
                        <a:lnTo>
                          <a:pt x="36" y="60"/>
                        </a:lnTo>
                        <a:lnTo>
                          <a:pt x="36" y="60"/>
                        </a:lnTo>
                        <a:lnTo>
                          <a:pt x="32" y="66"/>
                        </a:lnTo>
                        <a:lnTo>
                          <a:pt x="32" y="66"/>
                        </a:lnTo>
                        <a:lnTo>
                          <a:pt x="28" y="68"/>
                        </a:lnTo>
                        <a:lnTo>
                          <a:pt x="28" y="68"/>
                        </a:lnTo>
                        <a:lnTo>
                          <a:pt x="22" y="66"/>
                        </a:lnTo>
                        <a:lnTo>
                          <a:pt x="22" y="66"/>
                        </a:lnTo>
                        <a:lnTo>
                          <a:pt x="18" y="60"/>
                        </a:lnTo>
                        <a:lnTo>
                          <a:pt x="18" y="60"/>
                        </a:lnTo>
                        <a:lnTo>
                          <a:pt x="18" y="40"/>
                        </a:lnTo>
                        <a:lnTo>
                          <a:pt x="18" y="40"/>
                        </a:lnTo>
                        <a:lnTo>
                          <a:pt x="18" y="20"/>
                        </a:lnTo>
                        <a:lnTo>
                          <a:pt x="18" y="20"/>
                        </a:lnTo>
                        <a:lnTo>
                          <a:pt x="22" y="14"/>
                        </a:lnTo>
                        <a:lnTo>
                          <a:pt x="22" y="14"/>
                        </a:lnTo>
                        <a:lnTo>
                          <a:pt x="28" y="12"/>
                        </a:lnTo>
                        <a:lnTo>
                          <a:pt x="28" y="12"/>
                        </a:lnTo>
                        <a:lnTo>
                          <a:pt x="32" y="14"/>
                        </a:lnTo>
                        <a:lnTo>
                          <a:pt x="32"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59" name="Freeform 358"/>
                  <p:cNvSpPr>
                    <a:spLocks/>
                  </p:cNvSpPr>
                  <p:nvPr/>
                </p:nvSpPr>
                <p:spPr bwMode="auto">
                  <a:xfrm>
                    <a:off x="10605336" y="3870782"/>
                    <a:ext cx="22901" cy="50888"/>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60" name="Freeform 359"/>
                  <p:cNvSpPr>
                    <a:spLocks/>
                  </p:cNvSpPr>
                  <p:nvPr/>
                </p:nvSpPr>
                <p:spPr bwMode="auto">
                  <a:xfrm>
                    <a:off x="10506044" y="3983266"/>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61" name="Freeform 360"/>
                  <p:cNvSpPr>
                    <a:spLocks noEditPoints="1"/>
                  </p:cNvSpPr>
                  <p:nvPr/>
                </p:nvSpPr>
                <p:spPr bwMode="auto">
                  <a:xfrm>
                    <a:off x="10598917" y="3983266"/>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62" name="Freeform 361"/>
                  <p:cNvSpPr>
                    <a:spLocks/>
                  </p:cNvSpPr>
                  <p:nvPr/>
                </p:nvSpPr>
                <p:spPr bwMode="auto">
                  <a:xfrm>
                    <a:off x="10705779" y="3323940"/>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63" name="Freeform 362"/>
                  <p:cNvSpPr>
                    <a:spLocks noEditPoints="1"/>
                  </p:cNvSpPr>
                  <p:nvPr/>
                </p:nvSpPr>
                <p:spPr bwMode="auto">
                  <a:xfrm>
                    <a:off x="10798651" y="3323940"/>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64" name="Freeform 363"/>
                  <p:cNvSpPr>
                    <a:spLocks noEditPoints="1"/>
                  </p:cNvSpPr>
                  <p:nvPr/>
                </p:nvSpPr>
                <p:spPr bwMode="auto">
                  <a:xfrm>
                    <a:off x="10707108" y="3428051"/>
                    <a:ext cx="34350" cy="52160"/>
                  </a:xfrm>
                  <a:custGeom>
                    <a:avLst/>
                    <a:gdLst>
                      <a:gd name="T0" fmla="*/ 8 w 54"/>
                      <a:gd name="T1" fmla="*/ 8 h 82"/>
                      <a:gd name="T2" fmla="*/ 8 w 54"/>
                      <a:gd name="T3" fmla="*/ 8 h 82"/>
                      <a:gd name="T4" fmla="*/ 6 w 54"/>
                      <a:gd name="T5" fmla="*/ 14 h 82"/>
                      <a:gd name="T6" fmla="*/ 2 w 54"/>
                      <a:gd name="T7" fmla="*/ 20 h 82"/>
                      <a:gd name="T8" fmla="*/ 0 w 54"/>
                      <a:gd name="T9" fmla="*/ 40 h 82"/>
                      <a:gd name="T10" fmla="*/ 0 w 54"/>
                      <a:gd name="T11" fmla="*/ 40 h 82"/>
                      <a:gd name="T12" fmla="*/ 2 w 54"/>
                      <a:gd name="T13" fmla="*/ 60 h 82"/>
                      <a:gd name="T14" fmla="*/ 4 w 54"/>
                      <a:gd name="T15" fmla="*/ 68 h 82"/>
                      <a:gd name="T16" fmla="*/ 8 w 54"/>
                      <a:gd name="T17" fmla="*/ 72 h 82"/>
                      <a:gd name="T18" fmla="*/ 8 w 54"/>
                      <a:gd name="T19" fmla="*/ 72 h 82"/>
                      <a:gd name="T20" fmla="*/ 12 w 54"/>
                      <a:gd name="T21" fmla="*/ 76 h 82"/>
                      <a:gd name="T22" fmla="*/ 16 w 54"/>
                      <a:gd name="T23" fmla="*/ 80 h 82"/>
                      <a:gd name="T24" fmla="*/ 22 w 54"/>
                      <a:gd name="T25" fmla="*/ 80 h 82"/>
                      <a:gd name="T26" fmla="*/ 28 w 54"/>
                      <a:gd name="T27" fmla="*/ 82 h 82"/>
                      <a:gd name="T28" fmla="*/ 28 w 54"/>
                      <a:gd name="T29" fmla="*/ 82 h 82"/>
                      <a:gd name="T30" fmla="*/ 38 w 54"/>
                      <a:gd name="T31" fmla="*/ 80 h 82"/>
                      <a:gd name="T32" fmla="*/ 42 w 54"/>
                      <a:gd name="T33" fmla="*/ 76 h 82"/>
                      <a:gd name="T34" fmla="*/ 46 w 54"/>
                      <a:gd name="T35" fmla="*/ 74 h 82"/>
                      <a:gd name="T36" fmla="*/ 46 w 54"/>
                      <a:gd name="T37" fmla="*/ 74 h 82"/>
                      <a:gd name="T38" fmla="*/ 48 w 54"/>
                      <a:gd name="T39" fmla="*/ 68 h 82"/>
                      <a:gd name="T40" fmla="*/ 52 w 54"/>
                      <a:gd name="T41" fmla="*/ 60 h 82"/>
                      <a:gd name="T42" fmla="*/ 54 w 54"/>
                      <a:gd name="T43" fmla="*/ 40 h 82"/>
                      <a:gd name="T44" fmla="*/ 54 w 54"/>
                      <a:gd name="T45" fmla="*/ 40 h 82"/>
                      <a:gd name="T46" fmla="*/ 52 w 54"/>
                      <a:gd name="T47" fmla="*/ 20 h 82"/>
                      <a:gd name="T48" fmla="*/ 48 w 54"/>
                      <a:gd name="T49" fmla="*/ 14 h 82"/>
                      <a:gd name="T50" fmla="*/ 46 w 54"/>
                      <a:gd name="T51" fmla="*/ 8 h 82"/>
                      <a:gd name="T52" fmla="*/ 46 w 54"/>
                      <a:gd name="T53" fmla="*/ 8 h 82"/>
                      <a:gd name="T54" fmla="*/ 42 w 54"/>
                      <a:gd name="T55" fmla="*/ 4 h 82"/>
                      <a:gd name="T56" fmla="*/ 38 w 54"/>
                      <a:gd name="T57" fmla="*/ 2 h 82"/>
                      <a:gd name="T58" fmla="*/ 28 w 54"/>
                      <a:gd name="T59" fmla="*/ 0 h 82"/>
                      <a:gd name="T60" fmla="*/ 28 w 54"/>
                      <a:gd name="T61" fmla="*/ 0 h 82"/>
                      <a:gd name="T62" fmla="*/ 16 w 54"/>
                      <a:gd name="T63" fmla="*/ 2 h 82"/>
                      <a:gd name="T64" fmla="*/ 12 w 54"/>
                      <a:gd name="T65" fmla="*/ 4 h 82"/>
                      <a:gd name="T66" fmla="*/ 8 w 54"/>
                      <a:gd name="T67" fmla="*/ 8 h 82"/>
                      <a:gd name="T68" fmla="*/ 8 w 54"/>
                      <a:gd name="T69" fmla="*/ 8 h 82"/>
                      <a:gd name="T70" fmla="*/ 8 w 54"/>
                      <a:gd name="T71" fmla="*/ 8 h 82"/>
                      <a:gd name="T72" fmla="*/ 32 w 54"/>
                      <a:gd name="T73" fmla="*/ 14 h 82"/>
                      <a:gd name="T74" fmla="*/ 32 w 54"/>
                      <a:gd name="T75" fmla="*/ 14 h 82"/>
                      <a:gd name="T76" fmla="*/ 36 w 54"/>
                      <a:gd name="T77" fmla="*/ 22 h 82"/>
                      <a:gd name="T78" fmla="*/ 36 w 54"/>
                      <a:gd name="T79" fmla="*/ 22 h 82"/>
                      <a:gd name="T80" fmla="*/ 38 w 54"/>
                      <a:gd name="T81" fmla="*/ 40 h 82"/>
                      <a:gd name="T82" fmla="*/ 38 w 54"/>
                      <a:gd name="T83" fmla="*/ 40 h 82"/>
                      <a:gd name="T84" fmla="*/ 36 w 54"/>
                      <a:gd name="T85" fmla="*/ 60 h 82"/>
                      <a:gd name="T86" fmla="*/ 36 w 54"/>
                      <a:gd name="T87" fmla="*/ 60 h 82"/>
                      <a:gd name="T88" fmla="*/ 32 w 54"/>
                      <a:gd name="T89" fmla="*/ 66 h 82"/>
                      <a:gd name="T90" fmla="*/ 32 w 54"/>
                      <a:gd name="T91" fmla="*/ 66 h 82"/>
                      <a:gd name="T92" fmla="*/ 28 w 54"/>
                      <a:gd name="T93" fmla="*/ 68 h 82"/>
                      <a:gd name="T94" fmla="*/ 28 w 54"/>
                      <a:gd name="T95" fmla="*/ 68 h 82"/>
                      <a:gd name="T96" fmla="*/ 22 w 54"/>
                      <a:gd name="T97" fmla="*/ 66 h 82"/>
                      <a:gd name="T98" fmla="*/ 22 w 54"/>
                      <a:gd name="T99" fmla="*/ 66 h 82"/>
                      <a:gd name="T100" fmla="*/ 18 w 54"/>
                      <a:gd name="T101" fmla="*/ 60 h 82"/>
                      <a:gd name="T102" fmla="*/ 18 w 54"/>
                      <a:gd name="T103" fmla="*/ 60 h 82"/>
                      <a:gd name="T104" fmla="*/ 18 w 54"/>
                      <a:gd name="T105" fmla="*/ 40 h 82"/>
                      <a:gd name="T106" fmla="*/ 18 w 54"/>
                      <a:gd name="T107" fmla="*/ 40 h 82"/>
                      <a:gd name="T108" fmla="*/ 18 w 54"/>
                      <a:gd name="T109" fmla="*/ 20 h 82"/>
                      <a:gd name="T110" fmla="*/ 18 w 54"/>
                      <a:gd name="T111" fmla="*/ 20 h 82"/>
                      <a:gd name="T112" fmla="*/ 22 w 54"/>
                      <a:gd name="T113" fmla="*/ 14 h 82"/>
                      <a:gd name="T114" fmla="*/ 22 w 54"/>
                      <a:gd name="T115" fmla="*/ 14 h 82"/>
                      <a:gd name="T116" fmla="*/ 28 w 54"/>
                      <a:gd name="T117" fmla="*/ 12 h 82"/>
                      <a:gd name="T118" fmla="*/ 28 w 54"/>
                      <a:gd name="T119" fmla="*/ 12 h 82"/>
                      <a:gd name="T120" fmla="*/ 32 w 54"/>
                      <a:gd name="T121" fmla="*/ 14 h 82"/>
                      <a:gd name="T122" fmla="*/ 32 w 54"/>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8" y="82"/>
                        </a:lnTo>
                        <a:lnTo>
                          <a:pt x="28" y="82"/>
                        </a:lnTo>
                        <a:lnTo>
                          <a:pt x="38" y="80"/>
                        </a:lnTo>
                        <a:lnTo>
                          <a:pt x="42" y="76"/>
                        </a:lnTo>
                        <a:lnTo>
                          <a:pt x="46" y="74"/>
                        </a:lnTo>
                        <a:lnTo>
                          <a:pt x="46" y="74"/>
                        </a:lnTo>
                        <a:lnTo>
                          <a:pt x="48" y="68"/>
                        </a:lnTo>
                        <a:lnTo>
                          <a:pt x="52" y="60"/>
                        </a:lnTo>
                        <a:lnTo>
                          <a:pt x="54" y="40"/>
                        </a:lnTo>
                        <a:lnTo>
                          <a:pt x="54" y="40"/>
                        </a:lnTo>
                        <a:lnTo>
                          <a:pt x="52" y="20"/>
                        </a:lnTo>
                        <a:lnTo>
                          <a:pt x="48" y="14"/>
                        </a:lnTo>
                        <a:lnTo>
                          <a:pt x="46" y="8"/>
                        </a:lnTo>
                        <a:lnTo>
                          <a:pt x="46" y="8"/>
                        </a:lnTo>
                        <a:lnTo>
                          <a:pt x="42" y="4"/>
                        </a:lnTo>
                        <a:lnTo>
                          <a:pt x="38" y="2"/>
                        </a:lnTo>
                        <a:lnTo>
                          <a:pt x="28" y="0"/>
                        </a:lnTo>
                        <a:lnTo>
                          <a:pt x="28" y="0"/>
                        </a:lnTo>
                        <a:lnTo>
                          <a:pt x="16" y="2"/>
                        </a:lnTo>
                        <a:lnTo>
                          <a:pt x="12" y="4"/>
                        </a:lnTo>
                        <a:lnTo>
                          <a:pt x="8" y="8"/>
                        </a:lnTo>
                        <a:lnTo>
                          <a:pt x="8" y="8"/>
                        </a:lnTo>
                        <a:lnTo>
                          <a:pt x="8" y="8"/>
                        </a:lnTo>
                        <a:close/>
                        <a:moveTo>
                          <a:pt x="32" y="14"/>
                        </a:moveTo>
                        <a:lnTo>
                          <a:pt x="32" y="14"/>
                        </a:lnTo>
                        <a:lnTo>
                          <a:pt x="36" y="22"/>
                        </a:lnTo>
                        <a:lnTo>
                          <a:pt x="36" y="22"/>
                        </a:lnTo>
                        <a:lnTo>
                          <a:pt x="38" y="40"/>
                        </a:lnTo>
                        <a:lnTo>
                          <a:pt x="38" y="40"/>
                        </a:lnTo>
                        <a:lnTo>
                          <a:pt x="36" y="60"/>
                        </a:lnTo>
                        <a:lnTo>
                          <a:pt x="36" y="60"/>
                        </a:lnTo>
                        <a:lnTo>
                          <a:pt x="32" y="66"/>
                        </a:lnTo>
                        <a:lnTo>
                          <a:pt x="32" y="66"/>
                        </a:lnTo>
                        <a:lnTo>
                          <a:pt x="28" y="68"/>
                        </a:lnTo>
                        <a:lnTo>
                          <a:pt x="28" y="68"/>
                        </a:lnTo>
                        <a:lnTo>
                          <a:pt x="22" y="66"/>
                        </a:lnTo>
                        <a:lnTo>
                          <a:pt x="22" y="66"/>
                        </a:lnTo>
                        <a:lnTo>
                          <a:pt x="18" y="60"/>
                        </a:lnTo>
                        <a:lnTo>
                          <a:pt x="18" y="60"/>
                        </a:lnTo>
                        <a:lnTo>
                          <a:pt x="18" y="40"/>
                        </a:lnTo>
                        <a:lnTo>
                          <a:pt x="18" y="40"/>
                        </a:lnTo>
                        <a:lnTo>
                          <a:pt x="18" y="20"/>
                        </a:lnTo>
                        <a:lnTo>
                          <a:pt x="18" y="20"/>
                        </a:lnTo>
                        <a:lnTo>
                          <a:pt x="22" y="14"/>
                        </a:lnTo>
                        <a:lnTo>
                          <a:pt x="22" y="14"/>
                        </a:lnTo>
                        <a:lnTo>
                          <a:pt x="28" y="12"/>
                        </a:lnTo>
                        <a:lnTo>
                          <a:pt x="28" y="12"/>
                        </a:lnTo>
                        <a:lnTo>
                          <a:pt x="32" y="14"/>
                        </a:lnTo>
                        <a:lnTo>
                          <a:pt x="32"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65" name="Freeform 364"/>
                  <p:cNvSpPr>
                    <a:spLocks/>
                  </p:cNvSpPr>
                  <p:nvPr/>
                </p:nvSpPr>
                <p:spPr bwMode="auto">
                  <a:xfrm>
                    <a:off x="10805070" y="3428051"/>
                    <a:ext cx="22901" cy="50888"/>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66" name="Freeform 365"/>
                  <p:cNvSpPr>
                    <a:spLocks/>
                  </p:cNvSpPr>
                  <p:nvPr/>
                </p:nvSpPr>
                <p:spPr bwMode="auto">
                  <a:xfrm>
                    <a:off x="10705779" y="3537991"/>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67" name="Freeform 366"/>
                  <p:cNvSpPr>
                    <a:spLocks noEditPoints="1"/>
                  </p:cNvSpPr>
                  <p:nvPr/>
                </p:nvSpPr>
                <p:spPr bwMode="auto">
                  <a:xfrm>
                    <a:off x="10798651" y="3537991"/>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68" name="Freeform 367"/>
                  <p:cNvSpPr>
                    <a:spLocks noEditPoints="1"/>
                  </p:cNvSpPr>
                  <p:nvPr/>
                </p:nvSpPr>
                <p:spPr bwMode="auto">
                  <a:xfrm>
                    <a:off x="10707108" y="3646872"/>
                    <a:ext cx="34350" cy="52160"/>
                  </a:xfrm>
                  <a:custGeom>
                    <a:avLst/>
                    <a:gdLst>
                      <a:gd name="T0" fmla="*/ 8 w 54"/>
                      <a:gd name="T1" fmla="*/ 8 h 82"/>
                      <a:gd name="T2" fmla="*/ 8 w 54"/>
                      <a:gd name="T3" fmla="*/ 8 h 82"/>
                      <a:gd name="T4" fmla="*/ 6 w 54"/>
                      <a:gd name="T5" fmla="*/ 14 h 82"/>
                      <a:gd name="T6" fmla="*/ 2 w 54"/>
                      <a:gd name="T7" fmla="*/ 20 h 82"/>
                      <a:gd name="T8" fmla="*/ 0 w 54"/>
                      <a:gd name="T9" fmla="*/ 40 h 82"/>
                      <a:gd name="T10" fmla="*/ 0 w 54"/>
                      <a:gd name="T11" fmla="*/ 40 h 82"/>
                      <a:gd name="T12" fmla="*/ 2 w 54"/>
                      <a:gd name="T13" fmla="*/ 60 h 82"/>
                      <a:gd name="T14" fmla="*/ 4 w 54"/>
                      <a:gd name="T15" fmla="*/ 68 h 82"/>
                      <a:gd name="T16" fmla="*/ 8 w 54"/>
                      <a:gd name="T17" fmla="*/ 72 h 82"/>
                      <a:gd name="T18" fmla="*/ 8 w 54"/>
                      <a:gd name="T19" fmla="*/ 72 h 82"/>
                      <a:gd name="T20" fmla="*/ 12 w 54"/>
                      <a:gd name="T21" fmla="*/ 76 h 82"/>
                      <a:gd name="T22" fmla="*/ 16 w 54"/>
                      <a:gd name="T23" fmla="*/ 80 h 82"/>
                      <a:gd name="T24" fmla="*/ 22 w 54"/>
                      <a:gd name="T25" fmla="*/ 80 h 82"/>
                      <a:gd name="T26" fmla="*/ 28 w 54"/>
                      <a:gd name="T27" fmla="*/ 82 h 82"/>
                      <a:gd name="T28" fmla="*/ 28 w 54"/>
                      <a:gd name="T29" fmla="*/ 82 h 82"/>
                      <a:gd name="T30" fmla="*/ 38 w 54"/>
                      <a:gd name="T31" fmla="*/ 80 h 82"/>
                      <a:gd name="T32" fmla="*/ 42 w 54"/>
                      <a:gd name="T33" fmla="*/ 76 h 82"/>
                      <a:gd name="T34" fmla="*/ 46 w 54"/>
                      <a:gd name="T35" fmla="*/ 74 h 82"/>
                      <a:gd name="T36" fmla="*/ 46 w 54"/>
                      <a:gd name="T37" fmla="*/ 74 h 82"/>
                      <a:gd name="T38" fmla="*/ 48 w 54"/>
                      <a:gd name="T39" fmla="*/ 68 h 82"/>
                      <a:gd name="T40" fmla="*/ 52 w 54"/>
                      <a:gd name="T41" fmla="*/ 60 h 82"/>
                      <a:gd name="T42" fmla="*/ 54 w 54"/>
                      <a:gd name="T43" fmla="*/ 40 h 82"/>
                      <a:gd name="T44" fmla="*/ 54 w 54"/>
                      <a:gd name="T45" fmla="*/ 40 h 82"/>
                      <a:gd name="T46" fmla="*/ 52 w 54"/>
                      <a:gd name="T47" fmla="*/ 20 h 82"/>
                      <a:gd name="T48" fmla="*/ 48 w 54"/>
                      <a:gd name="T49" fmla="*/ 14 h 82"/>
                      <a:gd name="T50" fmla="*/ 46 w 54"/>
                      <a:gd name="T51" fmla="*/ 8 h 82"/>
                      <a:gd name="T52" fmla="*/ 46 w 54"/>
                      <a:gd name="T53" fmla="*/ 8 h 82"/>
                      <a:gd name="T54" fmla="*/ 42 w 54"/>
                      <a:gd name="T55" fmla="*/ 4 h 82"/>
                      <a:gd name="T56" fmla="*/ 38 w 54"/>
                      <a:gd name="T57" fmla="*/ 2 h 82"/>
                      <a:gd name="T58" fmla="*/ 28 w 54"/>
                      <a:gd name="T59" fmla="*/ 0 h 82"/>
                      <a:gd name="T60" fmla="*/ 28 w 54"/>
                      <a:gd name="T61" fmla="*/ 0 h 82"/>
                      <a:gd name="T62" fmla="*/ 16 w 54"/>
                      <a:gd name="T63" fmla="*/ 2 h 82"/>
                      <a:gd name="T64" fmla="*/ 12 w 54"/>
                      <a:gd name="T65" fmla="*/ 4 h 82"/>
                      <a:gd name="T66" fmla="*/ 8 w 54"/>
                      <a:gd name="T67" fmla="*/ 8 h 82"/>
                      <a:gd name="T68" fmla="*/ 8 w 54"/>
                      <a:gd name="T69" fmla="*/ 8 h 82"/>
                      <a:gd name="T70" fmla="*/ 8 w 54"/>
                      <a:gd name="T71" fmla="*/ 8 h 82"/>
                      <a:gd name="T72" fmla="*/ 32 w 54"/>
                      <a:gd name="T73" fmla="*/ 14 h 82"/>
                      <a:gd name="T74" fmla="*/ 32 w 54"/>
                      <a:gd name="T75" fmla="*/ 14 h 82"/>
                      <a:gd name="T76" fmla="*/ 36 w 54"/>
                      <a:gd name="T77" fmla="*/ 22 h 82"/>
                      <a:gd name="T78" fmla="*/ 36 w 54"/>
                      <a:gd name="T79" fmla="*/ 22 h 82"/>
                      <a:gd name="T80" fmla="*/ 38 w 54"/>
                      <a:gd name="T81" fmla="*/ 40 h 82"/>
                      <a:gd name="T82" fmla="*/ 38 w 54"/>
                      <a:gd name="T83" fmla="*/ 40 h 82"/>
                      <a:gd name="T84" fmla="*/ 36 w 54"/>
                      <a:gd name="T85" fmla="*/ 60 h 82"/>
                      <a:gd name="T86" fmla="*/ 36 w 54"/>
                      <a:gd name="T87" fmla="*/ 60 h 82"/>
                      <a:gd name="T88" fmla="*/ 32 w 54"/>
                      <a:gd name="T89" fmla="*/ 66 h 82"/>
                      <a:gd name="T90" fmla="*/ 32 w 54"/>
                      <a:gd name="T91" fmla="*/ 66 h 82"/>
                      <a:gd name="T92" fmla="*/ 28 w 54"/>
                      <a:gd name="T93" fmla="*/ 68 h 82"/>
                      <a:gd name="T94" fmla="*/ 28 w 54"/>
                      <a:gd name="T95" fmla="*/ 68 h 82"/>
                      <a:gd name="T96" fmla="*/ 22 w 54"/>
                      <a:gd name="T97" fmla="*/ 66 h 82"/>
                      <a:gd name="T98" fmla="*/ 22 w 54"/>
                      <a:gd name="T99" fmla="*/ 66 h 82"/>
                      <a:gd name="T100" fmla="*/ 18 w 54"/>
                      <a:gd name="T101" fmla="*/ 60 h 82"/>
                      <a:gd name="T102" fmla="*/ 18 w 54"/>
                      <a:gd name="T103" fmla="*/ 60 h 82"/>
                      <a:gd name="T104" fmla="*/ 18 w 54"/>
                      <a:gd name="T105" fmla="*/ 40 h 82"/>
                      <a:gd name="T106" fmla="*/ 18 w 54"/>
                      <a:gd name="T107" fmla="*/ 40 h 82"/>
                      <a:gd name="T108" fmla="*/ 18 w 54"/>
                      <a:gd name="T109" fmla="*/ 20 h 82"/>
                      <a:gd name="T110" fmla="*/ 18 w 54"/>
                      <a:gd name="T111" fmla="*/ 20 h 82"/>
                      <a:gd name="T112" fmla="*/ 22 w 54"/>
                      <a:gd name="T113" fmla="*/ 14 h 82"/>
                      <a:gd name="T114" fmla="*/ 22 w 54"/>
                      <a:gd name="T115" fmla="*/ 14 h 82"/>
                      <a:gd name="T116" fmla="*/ 28 w 54"/>
                      <a:gd name="T117" fmla="*/ 12 h 82"/>
                      <a:gd name="T118" fmla="*/ 28 w 54"/>
                      <a:gd name="T119" fmla="*/ 12 h 82"/>
                      <a:gd name="T120" fmla="*/ 32 w 54"/>
                      <a:gd name="T121" fmla="*/ 14 h 82"/>
                      <a:gd name="T122" fmla="*/ 32 w 54"/>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8" y="82"/>
                        </a:lnTo>
                        <a:lnTo>
                          <a:pt x="28" y="82"/>
                        </a:lnTo>
                        <a:lnTo>
                          <a:pt x="38" y="80"/>
                        </a:lnTo>
                        <a:lnTo>
                          <a:pt x="42" y="76"/>
                        </a:lnTo>
                        <a:lnTo>
                          <a:pt x="46" y="74"/>
                        </a:lnTo>
                        <a:lnTo>
                          <a:pt x="46" y="74"/>
                        </a:lnTo>
                        <a:lnTo>
                          <a:pt x="48" y="68"/>
                        </a:lnTo>
                        <a:lnTo>
                          <a:pt x="52" y="60"/>
                        </a:lnTo>
                        <a:lnTo>
                          <a:pt x="54" y="40"/>
                        </a:lnTo>
                        <a:lnTo>
                          <a:pt x="54" y="40"/>
                        </a:lnTo>
                        <a:lnTo>
                          <a:pt x="52" y="20"/>
                        </a:lnTo>
                        <a:lnTo>
                          <a:pt x="48" y="14"/>
                        </a:lnTo>
                        <a:lnTo>
                          <a:pt x="46" y="8"/>
                        </a:lnTo>
                        <a:lnTo>
                          <a:pt x="46" y="8"/>
                        </a:lnTo>
                        <a:lnTo>
                          <a:pt x="42" y="4"/>
                        </a:lnTo>
                        <a:lnTo>
                          <a:pt x="38" y="2"/>
                        </a:lnTo>
                        <a:lnTo>
                          <a:pt x="28" y="0"/>
                        </a:lnTo>
                        <a:lnTo>
                          <a:pt x="28" y="0"/>
                        </a:lnTo>
                        <a:lnTo>
                          <a:pt x="16" y="2"/>
                        </a:lnTo>
                        <a:lnTo>
                          <a:pt x="12" y="4"/>
                        </a:lnTo>
                        <a:lnTo>
                          <a:pt x="8" y="8"/>
                        </a:lnTo>
                        <a:lnTo>
                          <a:pt x="8" y="8"/>
                        </a:lnTo>
                        <a:lnTo>
                          <a:pt x="8" y="8"/>
                        </a:lnTo>
                        <a:close/>
                        <a:moveTo>
                          <a:pt x="32" y="14"/>
                        </a:moveTo>
                        <a:lnTo>
                          <a:pt x="32" y="14"/>
                        </a:lnTo>
                        <a:lnTo>
                          <a:pt x="36" y="22"/>
                        </a:lnTo>
                        <a:lnTo>
                          <a:pt x="36" y="22"/>
                        </a:lnTo>
                        <a:lnTo>
                          <a:pt x="38" y="40"/>
                        </a:lnTo>
                        <a:lnTo>
                          <a:pt x="38" y="40"/>
                        </a:lnTo>
                        <a:lnTo>
                          <a:pt x="36" y="60"/>
                        </a:lnTo>
                        <a:lnTo>
                          <a:pt x="36" y="60"/>
                        </a:lnTo>
                        <a:lnTo>
                          <a:pt x="32" y="66"/>
                        </a:lnTo>
                        <a:lnTo>
                          <a:pt x="32" y="66"/>
                        </a:lnTo>
                        <a:lnTo>
                          <a:pt x="28" y="68"/>
                        </a:lnTo>
                        <a:lnTo>
                          <a:pt x="28" y="68"/>
                        </a:lnTo>
                        <a:lnTo>
                          <a:pt x="22" y="66"/>
                        </a:lnTo>
                        <a:lnTo>
                          <a:pt x="22" y="66"/>
                        </a:lnTo>
                        <a:lnTo>
                          <a:pt x="18" y="60"/>
                        </a:lnTo>
                        <a:lnTo>
                          <a:pt x="18" y="60"/>
                        </a:lnTo>
                        <a:lnTo>
                          <a:pt x="18" y="40"/>
                        </a:lnTo>
                        <a:lnTo>
                          <a:pt x="18" y="40"/>
                        </a:lnTo>
                        <a:lnTo>
                          <a:pt x="18" y="20"/>
                        </a:lnTo>
                        <a:lnTo>
                          <a:pt x="18" y="20"/>
                        </a:lnTo>
                        <a:lnTo>
                          <a:pt x="22" y="14"/>
                        </a:lnTo>
                        <a:lnTo>
                          <a:pt x="22" y="14"/>
                        </a:lnTo>
                        <a:lnTo>
                          <a:pt x="28" y="12"/>
                        </a:lnTo>
                        <a:lnTo>
                          <a:pt x="28" y="12"/>
                        </a:lnTo>
                        <a:lnTo>
                          <a:pt x="32" y="14"/>
                        </a:lnTo>
                        <a:lnTo>
                          <a:pt x="32"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69" name="Freeform 368"/>
                  <p:cNvSpPr>
                    <a:spLocks/>
                  </p:cNvSpPr>
                  <p:nvPr/>
                </p:nvSpPr>
                <p:spPr bwMode="auto">
                  <a:xfrm>
                    <a:off x="10805070" y="3646872"/>
                    <a:ext cx="22901" cy="50888"/>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70" name="Freeform 369"/>
                  <p:cNvSpPr>
                    <a:spLocks/>
                  </p:cNvSpPr>
                  <p:nvPr/>
                </p:nvSpPr>
                <p:spPr bwMode="auto">
                  <a:xfrm>
                    <a:off x="10705779" y="3761899"/>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71" name="Freeform 370"/>
                  <p:cNvSpPr>
                    <a:spLocks noEditPoints="1"/>
                  </p:cNvSpPr>
                  <p:nvPr/>
                </p:nvSpPr>
                <p:spPr bwMode="auto">
                  <a:xfrm>
                    <a:off x="10798651" y="3761899"/>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72" name="Freeform 371"/>
                  <p:cNvSpPr>
                    <a:spLocks noEditPoints="1"/>
                  </p:cNvSpPr>
                  <p:nvPr/>
                </p:nvSpPr>
                <p:spPr bwMode="auto">
                  <a:xfrm>
                    <a:off x="10707108" y="3870782"/>
                    <a:ext cx="34350" cy="52160"/>
                  </a:xfrm>
                  <a:custGeom>
                    <a:avLst/>
                    <a:gdLst>
                      <a:gd name="T0" fmla="*/ 8 w 54"/>
                      <a:gd name="T1" fmla="*/ 8 h 82"/>
                      <a:gd name="T2" fmla="*/ 8 w 54"/>
                      <a:gd name="T3" fmla="*/ 8 h 82"/>
                      <a:gd name="T4" fmla="*/ 6 w 54"/>
                      <a:gd name="T5" fmla="*/ 14 h 82"/>
                      <a:gd name="T6" fmla="*/ 2 w 54"/>
                      <a:gd name="T7" fmla="*/ 20 h 82"/>
                      <a:gd name="T8" fmla="*/ 0 w 54"/>
                      <a:gd name="T9" fmla="*/ 40 h 82"/>
                      <a:gd name="T10" fmla="*/ 0 w 54"/>
                      <a:gd name="T11" fmla="*/ 40 h 82"/>
                      <a:gd name="T12" fmla="*/ 2 w 54"/>
                      <a:gd name="T13" fmla="*/ 60 h 82"/>
                      <a:gd name="T14" fmla="*/ 4 w 54"/>
                      <a:gd name="T15" fmla="*/ 68 h 82"/>
                      <a:gd name="T16" fmla="*/ 8 w 54"/>
                      <a:gd name="T17" fmla="*/ 72 h 82"/>
                      <a:gd name="T18" fmla="*/ 8 w 54"/>
                      <a:gd name="T19" fmla="*/ 72 h 82"/>
                      <a:gd name="T20" fmla="*/ 12 w 54"/>
                      <a:gd name="T21" fmla="*/ 76 h 82"/>
                      <a:gd name="T22" fmla="*/ 16 w 54"/>
                      <a:gd name="T23" fmla="*/ 80 h 82"/>
                      <a:gd name="T24" fmla="*/ 22 w 54"/>
                      <a:gd name="T25" fmla="*/ 80 h 82"/>
                      <a:gd name="T26" fmla="*/ 28 w 54"/>
                      <a:gd name="T27" fmla="*/ 82 h 82"/>
                      <a:gd name="T28" fmla="*/ 28 w 54"/>
                      <a:gd name="T29" fmla="*/ 82 h 82"/>
                      <a:gd name="T30" fmla="*/ 38 w 54"/>
                      <a:gd name="T31" fmla="*/ 80 h 82"/>
                      <a:gd name="T32" fmla="*/ 42 w 54"/>
                      <a:gd name="T33" fmla="*/ 76 h 82"/>
                      <a:gd name="T34" fmla="*/ 46 w 54"/>
                      <a:gd name="T35" fmla="*/ 74 h 82"/>
                      <a:gd name="T36" fmla="*/ 46 w 54"/>
                      <a:gd name="T37" fmla="*/ 74 h 82"/>
                      <a:gd name="T38" fmla="*/ 48 w 54"/>
                      <a:gd name="T39" fmla="*/ 68 h 82"/>
                      <a:gd name="T40" fmla="*/ 52 w 54"/>
                      <a:gd name="T41" fmla="*/ 60 h 82"/>
                      <a:gd name="T42" fmla="*/ 54 w 54"/>
                      <a:gd name="T43" fmla="*/ 40 h 82"/>
                      <a:gd name="T44" fmla="*/ 54 w 54"/>
                      <a:gd name="T45" fmla="*/ 40 h 82"/>
                      <a:gd name="T46" fmla="*/ 52 w 54"/>
                      <a:gd name="T47" fmla="*/ 20 h 82"/>
                      <a:gd name="T48" fmla="*/ 48 w 54"/>
                      <a:gd name="T49" fmla="*/ 14 h 82"/>
                      <a:gd name="T50" fmla="*/ 46 w 54"/>
                      <a:gd name="T51" fmla="*/ 8 h 82"/>
                      <a:gd name="T52" fmla="*/ 46 w 54"/>
                      <a:gd name="T53" fmla="*/ 8 h 82"/>
                      <a:gd name="T54" fmla="*/ 42 w 54"/>
                      <a:gd name="T55" fmla="*/ 4 h 82"/>
                      <a:gd name="T56" fmla="*/ 38 w 54"/>
                      <a:gd name="T57" fmla="*/ 2 h 82"/>
                      <a:gd name="T58" fmla="*/ 28 w 54"/>
                      <a:gd name="T59" fmla="*/ 0 h 82"/>
                      <a:gd name="T60" fmla="*/ 28 w 54"/>
                      <a:gd name="T61" fmla="*/ 0 h 82"/>
                      <a:gd name="T62" fmla="*/ 16 w 54"/>
                      <a:gd name="T63" fmla="*/ 2 h 82"/>
                      <a:gd name="T64" fmla="*/ 12 w 54"/>
                      <a:gd name="T65" fmla="*/ 4 h 82"/>
                      <a:gd name="T66" fmla="*/ 8 w 54"/>
                      <a:gd name="T67" fmla="*/ 8 h 82"/>
                      <a:gd name="T68" fmla="*/ 8 w 54"/>
                      <a:gd name="T69" fmla="*/ 8 h 82"/>
                      <a:gd name="T70" fmla="*/ 8 w 54"/>
                      <a:gd name="T71" fmla="*/ 8 h 82"/>
                      <a:gd name="T72" fmla="*/ 32 w 54"/>
                      <a:gd name="T73" fmla="*/ 14 h 82"/>
                      <a:gd name="T74" fmla="*/ 32 w 54"/>
                      <a:gd name="T75" fmla="*/ 14 h 82"/>
                      <a:gd name="T76" fmla="*/ 36 w 54"/>
                      <a:gd name="T77" fmla="*/ 22 h 82"/>
                      <a:gd name="T78" fmla="*/ 36 w 54"/>
                      <a:gd name="T79" fmla="*/ 22 h 82"/>
                      <a:gd name="T80" fmla="*/ 38 w 54"/>
                      <a:gd name="T81" fmla="*/ 40 h 82"/>
                      <a:gd name="T82" fmla="*/ 38 w 54"/>
                      <a:gd name="T83" fmla="*/ 40 h 82"/>
                      <a:gd name="T84" fmla="*/ 36 w 54"/>
                      <a:gd name="T85" fmla="*/ 60 h 82"/>
                      <a:gd name="T86" fmla="*/ 36 w 54"/>
                      <a:gd name="T87" fmla="*/ 60 h 82"/>
                      <a:gd name="T88" fmla="*/ 32 w 54"/>
                      <a:gd name="T89" fmla="*/ 66 h 82"/>
                      <a:gd name="T90" fmla="*/ 32 w 54"/>
                      <a:gd name="T91" fmla="*/ 66 h 82"/>
                      <a:gd name="T92" fmla="*/ 28 w 54"/>
                      <a:gd name="T93" fmla="*/ 68 h 82"/>
                      <a:gd name="T94" fmla="*/ 28 w 54"/>
                      <a:gd name="T95" fmla="*/ 68 h 82"/>
                      <a:gd name="T96" fmla="*/ 22 w 54"/>
                      <a:gd name="T97" fmla="*/ 66 h 82"/>
                      <a:gd name="T98" fmla="*/ 22 w 54"/>
                      <a:gd name="T99" fmla="*/ 66 h 82"/>
                      <a:gd name="T100" fmla="*/ 18 w 54"/>
                      <a:gd name="T101" fmla="*/ 60 h 82"/>
                      <a:gd name="T102" fmla="*/ 18 w 54"/>
                      <a:gd name="T103" fmla="*/ 60 h 82"/>
                      <a:gd name="T104" fmla="*/ 18 w 54"/>
                      <a:gd name="T105" fmla="*/ 40 h 82"/>
                      <a:gd name="T106" fmla="*/ 18 w 54"/>
                      <a:gd name="T107" fmla="*/ 40 h 82"/>
                      <a:gd name="T108" fmla="*/ 18 w 54"/>
                      <a:gd name="T109" fmla="*/ 20 h 82"/>
                      <a:gd name="T110" fmla="*/ 18 w 54"/>
                      <a:gd name="T111" fmla="*/ 20 h 82"/>
                      <a:gd name="T112" fmla="*/ 22 w 54"/>
                      <a:gd name="T113" fmla="*/ 14 h 82"/>
                      <a:gd name="T114" fmla="*/ 22 w 54"/>
                      <a:gd name="T115" fmla="*/ 14 h 82"/>
                      <a:gd name="T116" fmla="*/ 28 w 54"/>
                      <a:gd name="T117" fmla="*/ 12 h 82"/>
                      <a:gd name="T118" fmla="*/ 28 w 54"/>
                      <a:gd name="T119" fmla="*/ 12 h 82"/>
                      <a:gd name="T120" fmla="*/ 32 w 54"/>
                      <a:gd name="T121" fmla="*/ 14 h 82"/>
                      <a:gd name="T122" fmla="*/ 32 w 54"/>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8" y="82"/>
                        </a:lnTo>
                        <a:lnTo>
                          <a:pt x="28" y="82"/>
                        </a:lnTo>
                        <a:lnTo>
                          <a:pt x="38" y="80"/>
                        </a:lnTo>
                        <a:lnTo>
                          <a:pt x="42" y="76"/>
                        </a:lnTo>
                        <a:lnTo>
                          <a:pt x="46" y="74"/>
                        </a:lnTo>
                        <a:lnTo>
                          <a:pt x="46" y="74"/>
                        </a:lnTo>
                        <a:lnTo>
                          <a:pt x="48" y="68"/>
                        </a:lnTo>
                        <a:lnTo>
                          <a:pt x="52" y="60"/>
                        </a:lnTo>
                        <a:lnTo>
                          <a:pt x="54" y="40"/>
                        </a:lnTo>
                        <a:lnTo>
                          <a:pt x="54" y="40"/>
                        </a:lnTo>
                        <a:lnTo>
                          <a:pt x="52" y="20"/>
                        </a:lnTo>
                        <a:lnTo>
                          <a:pt x="48" y="14"/>
                        </a:lnTo>
                        <a:lnTo>
                          <a:pt x="46" y="8"/>
                        </a:lnTo>
                        <a:lnTo>
                          <a:pt x="46" y="8"/>
                        </a:lnTo>
                        <a:lnTo>
                          <a:pt x="42" y="4"/>
                        </a:lnTo>
                        <a:lnTo>
                          <a:pt x="38" y="2"/>
                        </a:lnTo>
                        <a:lnTo>
                          <a:pt x="28" y="0"/>
                        </a:lnTo>
                        <a:lnTo>
                          <a:pt x="28" y="0"/>
                        </a:lnTo>
                        <a:lnTo>
                          <a:pt x="16" y="2"/>
                        </a:lnTo>
                        <a:lnTo>
                          <a:pt x="12" y="4"/>
                        </a:lnTo>
                        <a:lnTo>
                          <a:pt x="8" y="8"/>
                        </a:lnTo>
                        <a:lnTo>
                          <a:pt x="8" y="8"/>
                        </a:lnTo>
                        <a:lnTo>
                          <a:pt x="8" y="8"/>
                        </a:lnTo>
                        <a:close/>
                        <a:moveTo>
                          <a:pt x="32" y="14"/>
                        </a:moveTo>
                        <a:lnTo>
                          <a:pt x="32" y="14"/>
                        </a:lnTo>
                        <a:lnTo>
                          <a:pt x="36" y="22"/>
                        </a:lnTo>
                        <a:lnTo>
                          <a:pt x="36" y="22"/>
                        </a:lnTo>
                        <a:lnTo>
                          <a:pt x="38" y="40"/>
                        </a:lnTo>
                        <a:lnTo>
                          <a:pt x="38" y="40"/>
                        </a:lnTo>
                        <a:lnTo>
                          <a:pt x="36" y="60"/>
                        </a:lnTo>
                        <a:lnTo>
                          <a:pt x="36" y="60"/>
                        </a:lnTo>
                        <a:lnTo>
                          <a:pt x="32" y="66"/>
                        </a:lnTo>
                        <a:lnTo>
                          <a:pt x="32" y="66"/>
                        </a:lnTo>
                        <a:lnTo>
                          <a:pt x="28" y="68"/>
                        </a:lnTo>
                        <a:lnTo>
                          <a:pt x="28" y="68"/>
                        </a:lnTo>
                        <a:lnTo>
                          <a:pt x="22" y="66"/>
                        </a:lnTo>
                        <a:lnTo>
                          <a:pt x="22" y="66"/>
                        </a:lnTo>
                        <a:lnTo>
                          <a:pt x="18" y="60"/>
                        </a:lnTo>
                        <a:lnTo>
                          <a:pt x="18" y="60"/>
                        </a:lnTo>
                        <a:lnTo>
                          <a:pt x="18" y="40"/>
                        </a:lnTo>
                        <a:lnTo>
                          <a:pt x="18" y="40"/>
                        </a:lnTo>
                        <a:lnTo>
                          <a:pt x="18" y="20"/>
                        </a:lnTo>
                        <a:lnTo>
                          <a:pt x="18" y="20"/>
                        </a:lnTo>
                        <a:lnTo>
                          <a:pt x="22" y="14"/>
                        </a:lnTo>
                        <a:lnTo>
                          <a:pt x="22" y="14"/>
                        </a:lnTo>
                        <a:lnTo>
                          <a:pt x="28" y="12"/>
                        </a:lnTo>
                        <a:lnTo>
                          <a:pt x="28" y="12"/>
                        </a:lnTo>
                        <a:lnTo>
                          <a:pt x="32" y="14"/>
                        </a:lnTo>
                        <a:lnTo>
                          <a:pt x="32"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73" name="Freeform 372"/>
                  <p:cNvSpPr>
                    <a:spLocks/>
                  </p:cNvSpPr>
                  <p:nvPr/>
                </p:nvSpPr>
                <p:spPr bwMode="auto">
                  <a:xfrm>
                    <a:off x="10805070" y="3870782"/>
                    <a:ext cx="22901" cy="50888"/>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74" name="Freeform 373"/>
                  <p:cNvSpPr>
                    <a:spLocks/>
                  </p:cNvSpPr>
                  <p:nvPr/>
                </p:nvSpPr>
                <p:spPr bwMode="auto">
                  <a:xfrm>
                    <a:off x="10705779" y="3983266"/>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75" name="Freeform 374"/>
                  <p:cNvSpPr>
                    <a:spLocks noEditPoints="1"/>
                  </p:cNvSpPr>
                  <p:nvPr/>
                </p:nvSpPr>
                <p:spPr bwMode="auto">
                  <a:xfrm>
                    <a:off x="10798651" y="3983266"/>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76" name="Freeform 375"/>
                  <p:cNvSpPr>
                    <a:spLocks/>
                  </p:cNvSpPr>
                  <p:nvPr/>
                </p:nvSpPr>
                <p:spPr bwMode="auto">
                  <a:xfrm>
                    <a:off x="10891345" y="3323940"/>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77" name="Freeform 376"/>
                  <p:cNvSpPr>
                    <a:spLocks noEditPoints="1"/>
                  </p:cNvSpPr>
                  <p:nvPr/>
                </p:nvSpPr>
                <p:spPr bwMode="auto">
                  <a:xfrm>
                    <a:off x="10984217" y="3323940"/>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78" name="Freeform 377"/>
                  <p:cNvSpPr>
                    <a:spLocks noEditPoints="1"/>
                  </p:cNvSpPr>
                  <p:nvPr/>
                </p:nvSpPr>
                <p:spPr bwMode="auto">
                  <a:xfrm>
                    <a:off x="10892674" y="3428051"/>
                    <a:ext cx="34350" cy="52160"/>
                  </a:xfrm>
                  <a:custGeom>
                    <a:avLst/>
                    <a:gdLst>
                      <a:gd name="T0" fmla="*/ 8 w 54"/>
                      <a:gd name="T1" fmla="*/ 8 h 82"/>
                      <a:gd name="T2" fmla="*/ 8 w 54"/>
                      <a:gd name="T3" fmla="*/ 8 h 82"/>
                      <a:gd name="T4" fmla="*/ 6 w 54"/>
                      <a:gd name="T5" fmla="*/ 14 h 82"/>
                      <a:gd name="T6" fmla="*/ 2 w 54"/>
                      <a:gd name="T7" fmla="*/ 20 h 82"/>
                      <a:gd name="T8" fmla="*/ 0 w 54"/>
                      <a:gd name="T9" fmla="*/ 40 h 82"/>
                      <a:gd name="T10" fmla="*/ 0 w 54"/>
                      <a:gd name="T11" fmla="*/ 40 h 82"/>
                      <a:gd name="T12" fmla="*/ 2 w 54"/>
                      <a:gd name="T13" fmla="*/ 60 h 82"/>
                      <a:gd name="T14" fmla="*/ 4 w 54"/>
                      <a:gd name="T15" fmla="*/ 68 h 82"/>
                      <a:gd name="T16" fmla="*/ 8 w 54"/>
                      <a:gd name="T17" fmla="*/ 72 h 82"/>
                      <a:gd name="T18" fmla="*/ 8 w 54"/>
                      <a:gd name="T19" fmla="*/ 72 h 82"/>
                      <a:gd name="T20" fmla="*/ 12 w 54"/>
                      <a:gd name="T21" fmla="*/ 76 h 82"/>
                      <a:gd name="T22" fmla="*/ 16 w 54"/>
                      <a:gd name="T23" fmla="*/ 80 h 82"/>
                      <a:gd name="T24" fmla="*/ 22 w 54"/>
                      <a:gd name="T25" fmla="*/ 80 h 82"/>
                      <a:gd name="T26" fmla="*/ 28 w 54"/>
                      <a:gd name="T27" fmla="*/ 82 h 82"/>
                      <a:gd name="T28" fmla="*/ 28 w 54"/>
                      <a:gd name="T29" fmla="*/ 82 h 82"/>
                      <a:gd name="T30" fmla="*/ 38 w 54"/>
                      <a:gd name="T31" fmla="*/ 80 h 82"/>
                      <a:gd name="T32" fmla="*/ 42 w 54"/>
                      <a:gd name="T33" fmla="*/ 76 h 82"/>
                      <a:gd name="T34" fmla="*/ 46 w 54"/>
                      <a:gd name="T35" fmla="*/ 74 h 82"/>
                      <a:gd name="T36" fmla="*/ 46 w 54"/>
                      <a:gd name="T37" fmla="*/ 74 h 82"/>
                      <a:gd name="T38" fmla="*/ 48 w 54"/>
                      <a:gd name="T39" fmla="*/ 68 h 82"/>
                      <a:gd name="T40" fmla="*/ 52 w 54"/>
                      <a:gd name="T41" fmla="*/ 60 h 82"/>
                      <a:gd name="T42" fmla="*/ 54 w 54"/>
                      <a:gd name="T43" fmla="*/ 40 h 82"/>
                      <a:gd name="T44" fmla="*/ 54 w 54"/>
                      <a:gd name="T45" fmla="*/ 40 h 82"/>
                      <a:gd name="T46" fmla="*/ 52 w 54"/>
                      <a:gd name="T47" fmla="*/ 20 h 82"/>
                      <a:gd name="T48" fmla="*/ 48 w 54"/>
                      <a:gd name="T49" fmla="*/ 14 h 82"/>
                      <a:gd name="T50" fmla="*/ 46 w 54"/>
                      <a:gd name="T51" fmla="*/ 8 h 82"/>
                      <a:gd name="T52" fmla="*/ 46 w 54"/>
                      <a:gd name="T53" fmla="*/ 8 h 82"/>
                      <a:gd name="T54" fmla="*/ 42 w 54"/>
                      <a:gd name="T55" fmla="*/ 4 h 82"/>
                      <a:gd name="T56" fmla="*/ 38 w 54"/>
                      <a:gd name="T57" fmla="*/ 2 h 82"/>
                      <a:gd name="T58" fmla="*/ 28 w 54"/>
                      <a:gd name="T59" fmla="*/ 0 h 82"/>
                      <a:gd name="T60" fmla="*/ 28 w 54"/>
                      <a:gd name="T61" fmla="*/ 0 h 82"/>
                      <a:gd name="T62" fmla="*/ 16 w 54"/>
                      <a:gd name="T63" fmla="*/ 2 h 82"/>
                      <a:gd name="T64" fmla="*/ 12 w 54"/>
                      <a:gd name="T65" fmla="*/ 4 h 82"/>
                      <a:gd name="T66" fmla="*/ 8 w 54"/>
                      <a:gd name="T67" fmla="*/ 8 h 82"/>
                      <a:gd name="T68" fmla="*/ 8 w 54"/>
                      <a:gd name="T69" fmla="*/ 8 h 82"/>
                      <a:gd name="T70" fmla="*/ 8 w 54"/>
                      <a:gd name="T71" fmla="*/ 8 h 82"/>
                      <a:gd name="T72" fmla="*/ 32 w 54"/>
                      <a:gd name="T73" fmla="*/ 14 h 82"/>
                      <a:gd name="T74" fmla="*/ 32 w 54"/>
                      <a:gd name="T75" fmla="*/ 14 h 82"/>
                      <a:gd name="T76" fmla="*/ 36 w 54"/>
                      <a:gd name="T77" fmla="*/ 22 h 82"/>
                      <a:gd name="T78" fmla="*/ 36 w 54"/>
                      <a:gd name="T79" fmla="*/ 22 h 82"/>
                      <a:gd name="T80" fmla="*/ 38 w 54"/>
                      <a:gd name="T81" fmla="*/ 40 h 82"/>
                      <a:gd name="T82" fmla="*/ 38 w 54"/>
                      <a:gd name="T83" fmla="*/ 40 h 82"/>
                      <a:gd name="T84" fmla="*/ 36 w 54"/>
                      <a:gd name="T85" fmla="*/ 60 h 82"/>
                      <a:gd name="T86" fmla="*/ 36 w 54"/>
                      <a:gd name="T87" fmla="*/ 60 h 82"/>
                      <a:gd name="T88" fmla="*/ 32 w 54"/>
                      <a:gd name="T89" fmla="*/ 66 h 82"/>
                      <a:gd name="T90" fmla="*/ 32 w 54"/>
                      <a:gd name="T91" fmla="*/ 66 h 82"/>
                      <a:gd name="T92" fmla="*/ 28 w 54"/>
                      <a:gd name="T93" fmla="*/ 68 h 82"/>
                      <a:gd name="T94" fmla="*/ 28 w 54"/>
                      <a:gd name="T95" fmla="*/ 68 h 82"/>
                      <a:gd name="T96" fmla="*/ 22 w 54"/>
                      <a:gd name="T97" fmla="*/ 66 h 82"/>
                      <a:gd name="T98" fmla="*/ 22 w 54"/>
                      <a:gd name="T99" fmla="*/ 66 h 82"/>
                      <a:gd name="T100" fmla="*/ 18 w 54"/>
                      <a:gd name="T101" fmla="*/ 60 h 82"/>
                      <a:gd name="T102" fmla="*/ 18 w 54"/>
                      <a:gd name="T103" fmla="*/ 60 h 82"/>
                      <a:gd name="T104" fmla="*/ 18 w 54"/>
                      <a:gd name="T105" fmla="*/ 40 h 82"/>
                      <a:gd name="T106" fmla="*/ 18 w 54"/>
                      <a:gd name="T107" fmla="*/ 40 h 82"/>
                      <a:gd name="T108" fmla="*/ 18 w 54"/>
                      <a:gd name="T109" fmla="*/ 20 h 82"/>
                      <a:gd name="T110" fmla="*/ 18 w 54"/>
                      <a:gd name="T111" fmla="*/ 20 h 82"/>
                      <a:gd name="T112" fmla="*/ 22 w 54"/>
                      <a:gd name="T113" fmla="*/ 14 h 82"/>
                      <a:gd name="T114" fmla="*/ 22 w 54"/>
                      <a:gd name="T115" fmla="*/ 14 h 82"/>
                      <a:gd name="T116" fmla="*/ 28 w 54"/>
                      <a:gd name="T117" fmla="*/ 12 h 82"/>
                      <a:gd name="T118" fmla="*/ 28 w 54"/>
                      <a:gd name="T119" fmla="*/ 12 h 82"/>
                      <a:gd name="T120" fmla="*/ 32 w 54"/>
                      <a:gd name="T121" fmla="*/ 14 h 82"/>
                      <a:gd name="T122" fmla="*/ 32 w 54"/>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8" y="82"/>
                        </a:lnTo>
                        <a:lnTo>
                          <a:pt x="28" y="82"/>
                        </a:lnTo>
                        <a:lnTo>
                          <a:pt x="38" y="80"/>
                        </a:lnTo>
                        <a:lnTo>
                          <a:pt x="42" y="76"/>
                        </a:lnTo>
                        <a:lnTo>
                          <a:pt x="46" y="74"/>
                        </a:lnTo>
                        <a:lnTo>
                          <a:pt x="46" y="74"/>
                        </a:lnTo>
                        <a:lnTo>
                          <a:pt x="48" y="68"/>
                        </a:lnTo>
                        <a:lnTo>
                          <a:pt x="52" y="60"/>
                        </a:lnTo>
                        <a:lnTo>
                          <a:pt x="54" y="40"/>
                        </a:lnTo>
                        <a:lnTo>
                          <a:pt x="54" y="40"/>
                        </a:lnTo>
                        <a:lnTo>
                          <a:pt x="52" y="20"/>
                        </a:lnTo>
                        <a:lnTo>
                          <a:pt x="48" y="14"/>
                        </a:lnTo>
                        <a:lnTo>
                          <a:pt x="46" y="8"/>
                        </a:lnTo>
                        <a:lnTo>
                          <a:pt x="46" y="8"/>
                        </a:lnTo>
                        <a:lnTo>
                          <a:pt x="42" y="4"/>
                        </a:lnTo>
                        <a:lnTo>
                          <a:pt x="38" y="2"/>
                        </a:lnTo>
                        <a:lnTo>
                          <a:pt x="28" y="0"/>
                        </a:lnTo>
                        <a:lnTo>
                          <a:pt x="28" y="0"/>
                        </a:lnTo>
                        <a:lnTo>
                          <a:pt x="16" y="2"/>
                        </a:lnTo>
                        <a:lnTo>
                          <a:pt x="12" y="4"/>
                        </a:lnTo>
                        <a:lnTo>
                          <a:pt x="8" y="8"/>
                        </a:lnTo>
                        <a:lnTo>
                          <a:pt x="8" y="8"/>
                        </a:lnTo>
                        <a:lnTo>
                          <a:pt x="8" y="8"/>
                        </a:lnTo>
                        <a:close/>
                        <a:moveTo>
                          <a:pt x="32" y="14"/>
                        </a:moveTo>
                        <a:lnTo>
                          <a:pt x="32" y="14"/>
                        </a:lnTo>
                        <a:lnTo>
                          <a:pt x="36" y="22"/>
                        </a:lnTo>
                        <a:lnTo>
                          <a:pt x="36" y="22"/>
                        </a:lnTo>
                        <a:lnTo>
                          <a:pt x="38" y="40"/>
                        </a:lnTo>
                        <a:lnTo>
                          <a:pt x="38" y="40"/>
                        </a:lnTo>
                        <a:lnTo>
                          <a:pt x="36" y="60"/>
                        </a:lnTo>
                        <a:lnTo>
                          <a:pt x="36" y="60"/>
                        </a:lnTo>
                        <a:lnTo>
                          <a:pt x="32" y="66"/>
                        </a:lnTo>
                        <a:lnTo>
                          <a:pt x="32" y="66"/>
                        </a:lnTo>
                        <a:lnTo>
                          <a:pt x="28" y="68"/>
                        </a:lnTo>
                        <a:lnTo>
                          <a:pt x="28" y="68"/>
                        </a:lnTo>
                        <a:lnTo>
                          <a:pt x="22" y="66"/>
                        </a:lnTo>
                        <a:lnTo>
                          <a:pt x="22" y="66"/>
                        </a:lnTo>
                        <a:lnTo>
                          <a:pt x="18" y="60"/>
                        </a:lnTo>
                        <a:lnTo>
                          <a:pt x="18" y="60"/>
                        </a:lnTo>
                        <a:lnTo>
                          <a:pt x="18" y="40"/>
                        </a:lnTo>
                        <a:lnTo>
                          <a:pt x="18" y="40"/>
                        </a:lnTo>
                        <a:lnTo>
                          <a:pt x="18" y="20"/>
                        </a:lnTo>
                        <a:lnTo>
                          <a:pt x="18" y="20"/>
                        </a:lnTo>
                        <a:lnTo>
                          <a:pt x="22" y="14"/>
                        </a:lnTo>
                        <a:lnTo>
                          <a:pt x="22" y="14"/>
                        </a:lnTo>
                        <a:lnTo>
                          <a:pt x="28" y="12"/>
                        </a:lnTo>
                        <a:lnTo>
                          <a:pt x="28" y="12"/>
                        </a:lnTo>
                        <a:lnTo>
                          <a:pt x="32" y="14"/>
                        </a:lnTo>
                        <a:lnTo>
                          <a:pt x="32"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79" name="Freeform 378"/>
                  <p:cNvSpPr>
                    <a:spLocks/>
                  </p:cNvSpPr>
                  <p:nvPr/>
                </p:nvSpPr>
                <p:spPr bwMode="auto">
                  <a:xfrm>
                    <a:off x="10990636" y="3428051"/>
                    <a:ext cx="22901" cy="50888"/>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80" name="Freeform 379"/>
                  <p:cNvSpPr>
                    <a:spLocks/>
                  </p:cNvSpPr>
                  <p:nvPr/>
                </p:nvSpPr>
                <p:spPr bwMode="auto">
                  <a:xfrm>
                    <a:off x="10891345" y="3537991"/>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81" name="Freeform 380"/>
                  <p:cNvSpPr>
                    <a:spLocks noEditPoints="1"/>
                  </p:cNvSpPr>
                  <p:nvPr/>
                </p:nvSpPr>
                <p:spPr bwMode="auto">
                  <a:xfrm>
                    <a:off x="10984217" y="3537991"/>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82" name="Freeform 381"/>
                  <p:cNvSpPr>
                    <a:spLocks noEditPoints="1"/>
                  </p:cNvSpPr>
                  <p:nvPr/>
                </p:nvSpPr>
                <p:spPr bwMode="auto">
                  <a:xfrm>
                    <a:off x="10892674" y="3646872"/>
                    <a:ext cx="34350" cy="52160"/>
                  </a:xfrm>
                  <a:custGeom>
                    <a:avLst/>
                    <a:gdLst>
                      <a:gd name="T0" fmla="*/ 8 w 54"/>
                      <a:gd name="T1" fmla="*/ 8 h 82"/>
                      <a:gd name="T2" fmla="*/ 8 w 54"/>
                      <a:gd name="T3" fmla="*/ 8 h 82"/>
                      <a:gd name="T4" fmla="*/ 6 w 54"/>
                      <a:gd name="T5" fmla="*/ 14 h 82"/>
                      <a:gd name="T6" fmla="*/ 2 w 54"/>
                      <a:gd name="T7" fmla="*/ 20 h 82"/>
                      <a:gd name="T8" fmla="*/ 0 w 54"/>
                      <a:gd name="T9" fmla="*/ 40 h 82"/>
                      <a:gd name="T10" fmla="*/ 0 w 54"/>
                      <a:gd name="T11" fmla="*/ 40 h 82"/>
                      <a:gd name="T12" fmla="*/ 2 w 54"/>
                      <a:gd name="T13" fmla="*/ 60 h 82"/>
                      <a:gd name="T14" fmla="*/ 4 w 54"/>
                      <a:gd name="T15" fmla="*/ 68 h 82"/>
                      <a:gd name="T16" fmla="*/ 8 w 54"/>
                      <a:gd name="T17" fmla="*/ 72 h 82"/>
                      <a:gd name="T18" fmla="*/ 8 w 54"/>
                      <a:gd name="T19" fmla="*/ 72 h 82"/>
                      <a:gd name="T20" fmla="*/ 12 w 54"/>
                      <a:gd name="T21" fmla="*/ 76 h 82"/>
                      <a:gd name="T22" fmla="*/ 16 w 54"/>
                      <a:gd name="T23" fmla="*/ 80 h 82"/>
                      <a:gd name="T24" fmla="*/ 22 w 54"/>
                      <a:gd name="T25" fmla="*/ 80 h 82"/>
                      <a:gd name="T26" fmla="*/ 28 w 54"/>
                      <a:gd name="T27" fmla="*/ 82 h 82"/>
                      <a:gd name="T28" fmla="*/ 28 w 54"/>
                      <a:gd name="T29" fmla="*/ 82 h 82"/>
                      <a:gd name="T30" fmla="*/ 38 w 54"/>
                      <a:gd name="T31" fmla="*/ 80 h 82"/>
                      <a:gd name="T32" fmla="*/ 42 w 54"/>
                      <a:gd name="T33" fmla="*/ 76 h 82"/>
                      <a:gd name="T34" fmla="*/ 46 w 54"/>
                      <a:gd name="T35" fmla="*/ 74 h 82"/>
                      <a:gd name="T36" fmla="*/ 46 w 54"/>
                      <a:gd name="T37" fmla="*/ 74 h 82"/>
                      <a:gd name="T38" fmla="*/ 48 w 54"/>
                      <a:gd name="T39" fmla="*/ 68 h 82"/>
                      <a:gd name="T40" fmla="*/ 52 w 54"/>
                      <a:gd name="T41" fmla="*/ 60 h 82"/>
                      <a:gd name="T42" fmla="*/ 54 w 54"/>
                      <a:gd name="T43" fmla="*/ 40 h 82"/>
                      <a:gd name="T44" fmla="*/ 54 w 54"/>
                      <a:gd name="T45" fmla="*/ 40 h 82"/>
                      <a:gd name="T46" fmla="*/ 52 w 54"/>
                      <a:gd name="T47" fmla="*/ 20 h 82"/>
                      <a:gd name="T48" fmla="*/ 48 w 54"/>
                      <a:gd name="T49" fmla="*/ 14 h 82"/>
                      <a:gd name="T50" fmla="*/ 46 w 54"/>
                      <a:gd name="T51" fmla="*/ 8 h 82"/>
                      <a:gd name="T52" fmla="*/ 46 w 54"/>
                      <a:gd name="T53" fmla="*/ 8 h 82"/>
                      <a:gd name="T54" fmla="*/ 42 w 54"/>
                      <a:gd name="T55" fmla="*/ 4 h 82"/>
                      <a:gd name="T56" fmla="*/ 38 w 54"/>
                      <a:gd name="T57" fmla="*/ 2 h 82"/>
                      <a:gd name="T58" fmla="*/ 28 w 54"/>
                      <a:gd name="T59" fmla="*/ 0 h 82"/>
                      <a:gd name="T60" fmla="*/ 28 w 54"/>
                      <a:gd name="T61" fmla="*/ 0 h 82"/>
                      <a:gd name="T62" fmla="*/ 16 w 54"/>
                      <a:gd name="T63" fmla="*/ 2 h 82"/>
                      <a:gd name="T64" fmla="*/ 12 w 54"/>
                      <a:gd name="T65" fmla="*/ 4 h 82"/>
                      <a:gd name="T66" fmla="*/ 8 w 54"/>
                      <a:gd name="T67" fmla="*/ 8 h 82"/>
                      <a:gd name="T68" fmla="*/ 8 w 54"/>
                      <a:gd name="T69" fmla="*/ 8 h 82"/>
                      <a:gd name="T70" fmla="*/ 8 w 54"/>
                      <a:gd name="T71" fmla="*/ 8 h 82"/>
                      <a:gd name="T72" fmla="*/ 32 w 54"/>
                      <a:gd name="T73" fmla="*/ 14 h 82"/>
                      <a:gd name="T74" fmla="*/ 32 w 54"/>
                      <a:gd name="T75" fmla="*/ 14 h 82"/>
                      <a:gd name="T76" fmla="*/ 36 w 54"/>
                      <a:gd name="T77" fmla="*/ 22 h 82"/>
                      <a:gd name="T78" fmla="*/ 36 w 54"/>
                      <a:gd name="T79" fmla="*/ 22 h 82"/>
                      <a:gd name="T80" fmla="*/ 38 w 54"/>
                      <a:gd name="T81" fmla="*/ 40 h 82"/>
                      <a:gd name="T82" fmla="*/ 38 w 54"/>
                      <a:gd name="T83" fmla="*/ 40 h 82"/>
                      <a:gd name="T84" fmla="*/ 36 w 54"/>
                      <a:gd name="T85" fmla="*/ 60 h 82"/>
                      <a:gd name="T86" fmla="*/ 36 w 54"/>
                      <a:gd name="T87" fmla="*/ 60 h 82"/>
                      <a:gd name="T88" fmla="*/ 32 w 54"/>
                      <a:gd name="T89" fmla="*/ 66 h 82"/>
                      <a:gd name="T90" fmla="*/ 32 w 54"/>
                      <a:gd name="T91" fmla="*/ 66 h 82"/>
                      <a:gd name="T92" fmla="*/ 28 w 54"/>
                      <a:gd name="T93" fmla="*/ 68 h 82"/>
                      <a:gd name="T94" fmla="*/ 28 w 54"/>
                      <a:gd name="T95" fmla="*/ 68 h 82"/>
                      <a:gd name="T96" fmla="*/ 22 w 54"/>
                      <a:gd name="T97" fmla="*/ 66 h 82"/>
                      <a:gd name="T98" fmla="*/ 22 w 54"/>
                      <a:gd name="T99" fmla="*/ 66 h 82"/>
                      <a:gd name="T100" fmla="*/ 18 w 54"/>
                      <a:gd name="T101" fmla="*/ 60 h 82"/>
                      <a:gd name="T102" fmla="*/ 18 w 54"/>
                      <a:gd name="T103" fmla="*/ 60 h 82"/>
                      <a:gd name="T104" fmla="*/ 18 w 54"/>
                      <a:gd name="T105" fmla="*/ 40 h 82"/>
                      <a:gd name="T106" fmla="*/ 18 w 54"/>
                      <a:gd name="T107" fmla="*/ 40 h 82"/>
                      <a:gd name="T108" fmla="*/ 18 w 54"/>
                      <a:gd name="T109" fmla="*/ 20 h 82"/>
                      <a:gd name="T110" fmla="*/ 18 w 54"/>
                      <a:gd name="T111" fmla="*/ 20 h 82"/>
                      <a:gd name="T112" fmla="*/ 22 w 54"/>
                      <a:gd name="T113" fmla="*/ 14 h 82"/>
                      <a:gd name="T114" fmla="*/ 22 w 54"/>
                      <a:gd name="T115" fmla="*/ 14 h 82"/>
                      <a:gd name="T116" fmla="*/ 28 w 54"/>
                      <a:gd name="T117" fmla="*/ 12 h 82"/>
                      <a:gd name="T118" fmla="*/ 28 w 54"/>
                      <a:gd name="T119" fmla="*/ 12 h 82"/>
                      <a:gd name="T120" fmla="*/ 32 w 54"/>
                      <a:gd name="T121" fmla="*/ 14 h 82"/>
                      <a:gd name="T122" fmla="*/ 32 w 54"/>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8" y="82"/>
                        </a:lnTo>
                        <a:lnTo>
                          <a:pt x="28" y="82"/>
                        </a:lnTo>
                        <a:lnTo>
                          <a:pt x="38" y="80"/>
                        </a:lnTo>
                        <a:lnTo>
                          <a:pt x="42" y="76"/>
                        </a:lnTo>
                        <a:lnTo>
                          <a:pt x="46" y="74"/>
                        </a:lnTo>
                        <a:lnTo>
                          <a:pt x="46" y="74"/>
                        </a:lnTo>
                        <a:lnTo>
                          <a:pt x="48" y="68"/>
                        </a:lnTo>
                        <a:lnTo>
                          <a:pt x="52" y="60"/>
                        </a:lnTo>
                        <a:lnTo>
                          <a:pt x="54" y="40"/>
                        </a:lnTo>
                        <a:lnTo>
                          <a:pt x="54" y="40"/>
                        </a:lnTo>
                        <a:lnTo>
                          <a:pt x="52" y="20"/>
                        </a:lnTo>
                        <a:lnTo>
                          <a:pt x="48" y="14"/>
                        </a:lnTo>
                        <a:lnTo>
                          <a:pt x="46" y="8"/>
                        </a:lnTo>
                        <a:lnTo>
                          <a:pt x="46" y="8"/>
                        </a:lnTo>
                        <a:lnTo>
                          <a:pt x="42" y="4"/>
                        </a:lnTo>
                        <a:lnTo>
                          <a:pt x="38" y="2"/>
                        </a:lnTo>
                        <a:lnTo>
                          <a:pt x="28" y="0"/>
                        </a:lnTo>
                        <a:lnTo>
                          <a:pt x="28" y="0"/>
                        </a:lnTo>
                        <a:lnTo>
                          <a:pt x="16" y="2"/>
                        </a:lnTo>
                        <a:lnTo>
                          <a:pt x="12" y="4"/>
                        </a:lnTo>
                        <a:lnTo>
                          <a:pt x="8" y="8"/>
                        </a:lnTo>
                        <a:lnTo>
                          <a:pt x="8" y="8"/>
                        </a:lnTo>
                        <a:lnTo>
                          <a:pt x="8" y="8"/>
                        </a:lnTo>
                        <a:close/>
                        <a:moveTo>
                          <a:pt x="32" y="14"/>
                        </a:moveTo>
                        <a:lnTo>
                          <a:pt x="32" y="14"/>
                        </a:lnTo>
                        <a:lnTo>
                          <a:pt x="36" y="22"/>
                        </a:lnTo>
                        <a:lnTo>
                          <a:pt x="36" y="22"/>
                        </a:lnTo>
                        <a:lnTo>
                          <a:pt x="38" y="40"/>
                        </a:lnTo>
                        <a:lnTo>
                          <a:pt x="38" y="40"/>
                        </a:lnTo>
                        <a:lnTo>
                          <a:pt x="36" y="60"/>
                        </a:lnTo>
                        <a:lnTo>
                          <a:pt x="36" y="60"/>
                        </a:lnTo>
                        <a:lnTo>
                          <a:pt x="32" y="66"/>
                        </a:lnTo>
                        <a:lnTo>
                          <a:pt x="32" y="66"/>
                        </a:lnTo>
                        <a:lnTo>
                          <a:pt x="28" y="68"/>
                        </a:lnTo>
                        <a:lnTo>
                          <a:pt x="28" y="68"/>
                        </a:lnTo>
                        <a:lnTo>
                          <a:pt x="22" y="66"/>
                        </a:lnTo>
                        <a:lnTo>
                          <a:pt x="22" y="66"/>
                        </a:lnTo>
                        <a:lnTo>
                          <a:pt x="18" y="60"/>
                        </a:lnTo>
                        <a:lnTo>
                          <a:pt x="18" y="60"/>
                        </a:lnTo>
                        <a:lnTo>
                          <a:pt x="18" y="40"/>
                        </a:lnTo>
                        <a:lnTo>
                          <a:pt x="18" y="40"/>
                        </a:lnTo>
                        <a:lnTo>
                          <a:pt x="18" y="20"/>
                        </a:lnTo>
                        <a:lnTo>
                          <a:pt x="18" y="20"/>
                        </a:lnTo>
                        <a:lnTo>
                          <a:pt x="22" y="14"/>
                        </a:lnTo>
                        <a:lnTo>
                          <a:pt x="22" y="14"/>
                        </a:lnTo>
                        <a:lnTo>
                          <a:pt x="28" y="12"/>
                        </a:lnTo>
                        <a:lnTo>
                          <a:pt x="28" y="12"/>
                        </a:lnTo>
                        <a:lnTo>
                          <a:pt x="32" y="14"/>
                        </a:lnTo>
                        <a:lnTo>
                          <a:pt x="32"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83" name="Freeform 382"/>
                  <p:cNvSpPr>
                    <a:spLocks/>
                  </p:cNvSpPr>
                  <p:nvPr/>
                </p:nvSpPr>
                <p:spPr bwMode="auto">
                  <a:xfrm>
                    <a:off x="10990636" y="3646872"/>
                    <a:ext cx="22901" cy="50888"/>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84" name="Freeform 383"/>
                  <p:cNvSpPr>
                    <a:spLocks/>
                  </p:cNvSpPr>
                  <p:nvPr/>
                </p:nvSpPr>
                <p:spPr bwMode="auto">
                  <a:xfrm>
                    <a:off x="10891345" y="3761899"/>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85" name="Freeform 384"/>
                  <p:cNvSpPr>
                    <a:spLocks noEditPoints="1"/>
                  </p:cNvSpPr>
                  <p:nvPr/>
                </p:nvSpPr>
                <p:spPr bwMode="auto">
                  <a:xfrm>
                    <a:off x="10984217" y="3761899"/>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86" name="Freeform 385"/>
                  <p:cNvSpPr>
                    <a:spLocks noEditPoints="1"/>
                  </p:cNvSpPr>
                  <p:nvPr/>
                </p:nvSpPr>
                <p:spPr bwMode="auto">
                  <a:xfrm>
                    <a:off x="10892674" y="3870782"/>
                    <a:ext cx="34350" cy="52160"/>
                  </a:xfrm>
                  <a:custGeom>
                    <a:avLst/>
                    <a:gdLst>
                      <a:gd name="T0" fmla="*/ 8 w 54"/>
                      <a:gd name="T1" fmla="*/ 8 h 82"/>
                      <a:gd name="T2" fmla="*/ 8 w 54"/>
                      <a:gd name="T3" fmla="*/ 8 h 82"/>
                      <a:gd name="T4" fmla="*/ 6 w 54"/>
                      <a:gd name="T5" fmla="*/ 14 h 82"/>
                      <a:gd name="T6" fmla="*/ 2 w 54"/>
                      <a:gd name="T7" fmla="*/ 20 h 82"/>
                      <a:gd name="T8" fmla="*/ 0 w 54"/>
                      <a:gd name="T9" fmla="*/ 40 h 82"/>
                      <a:gd name="T10" fmla="*/ 0 w 54"/>
                      <a:gd name="T11" fmla="*/ 40 h 82"/>
                      <a:gd name="T12" fmla="*/ 2 w 54"/>
                      <a:gd name="T13" fmla="*/ 60 h 82"/>
                      <a:gd name="T14" fmla="*/ 4 w 54"/>
                      <a:gd name="T15" fmla="*/ 68 h 82"/>
                      <a:gd name="T16" fmla="*/ 8 w 54"/>
                      <a:gd name="T17" fmla="*/ 72 h 82"/>
                      <a:gd name="T18" fmla="*/ 8 w 54"/>
                      <a:gd name="T19" fmla="*/ 72 h 82"/>
                      <a:gd name="T20" fmla="*/ 12 w 54"/>
                      <a:gd name="T21" fmla="*/ 76 h 82"/>
                      <a:gd name="T22" fmla="*/ 16 w 54"/>
                      <a:gd name="T23" fmla="*/ 80 h 82"/>
                      <a:gd name="T24" fmla="*/ 22 w 54"/>
                      <a:gd name="T25" fmla="*/ 80 h 82"/>
                      <a:gd name="T26" fmla="*/ 28 w 54"/>
                      <a:gd name="T27" fmla="*/ 82 h 82"/>
                      <a:gd name="T28" fmla="*/ 28 w 54"/>
                      <a:gd name="T29" fmla="*/ 82 h 82"/>
                      <a:gd name="T30" fmla="*/ 38 w 54"/>
                      <a:gd name="T31" fmla="*/ 80 h 82"/>
                      <a:gd name="T32" fmla="*/ 42 w 54"/>
                      <a:gd name="T33" fmla="*/ 76 h 82"/>
                      <a:gd name="T34" fmla="*/ 46 w 54"/>
                      <a:gd name="T35" fmla="*/ 74 h 82"/>
                      <a:gd name="T36" fmla="*/ 46 w 54"/>
                      <a:gd name="T37" fmla="*/ 74 h 82"/>
                      <a:gd name="T38" fmla="*/ 48 w 54"/>
                      <a:gd name="T39" fmla="*/ 68 h 82"/>
                      <a:gd name="T40" fmla="*/ 52 w 54"/>
                      <a:gd name="T41" fmla="*/ 60 h 82"/>
                      <a:gd name="T42" fmla="*/ 54 w 54"/>
                      <a:gd name="T43" fmla="*/ 40 h 82"/>
                      <a:gd name="T44" fmla="*/ 54 w 54"/>
                      <a:gd name="T45" fmla="*/ 40 h 82"/>
                      <a:gd name="T46" fmla="*/ 52 w 54"/>
                      <a:gd name="T47" fmla="*/ 20 h 82"/>
                      <a:gd name="T48" fmla="*/ 48 w 54"/>
                      <a:gd name="T49" fmla="*/ 14 h 82"/>
                      <a:gd name="T50" fmla="*/ 46 w 54"/>
                      <a:gd name="T51" fmla="*/ 8 h 82"/>
                      <a:gd name="T52" fmla="*/ 46 w 54"/>
                      <a:gd name="T53" fmla="*/ 8 h 82"/>
                      <a:gd name="T54" fmla="*/ 42 w 54"/>
                      <a:gd name="T55" fmla="*/ 4 h 82"/>
                      <a:gd name="T56" fmla="*/ 38 w 54"/>
                      <a:gd name="T57" fmla="*/ 2 h 82"/>
                      <a:gd name="T58" fmla="*/ 28 w 54"/>
                      <a:gd name="T59" fmla="*/ 0 h 82"/>
                      <a:gd name="T60" fmla="*/ 28 w 54"/>
                      <a:gd name="T61" fmla="*/ 0 h 82"/>
                      <a:gd name="T62" fmla="*/ 16 w 54"/>
                      <a:gd name="T63" fmla="*/ 2 h 82"/>
                      <a:gd name="T64" fmla="*/ 12 w 54"/>
                      <a:gd name="T65" fmla="*/ 4 h 82"/>
                      <a:gd name="T66" fmla="*/ 8 w 54"/>
                      <a:gd name="T67" fmla="*/ 8 h 82"/>
                      <a:gd name="T68" fmla="*/ 8 w 54"/>
                      <a:gd name="T69" fmla="*/ 8 h 82"/>
                      <a:gd name="T70" fmla="*/ 8 w 54"/>
                      <a:gd name="T71" fmla="*/ 8 h 82"/>
                      <a:gd name="T72" fmla="*/ 32 w 54"/>
                      <a:gd name="T73" fmla="*/ 14 h 82"/>
                      <a:gd name="T74" fmla="*/ 32 w 54"/>
                      <a:gd name="T75" fmla="*/ 14 h 82"/>
                      <a:gd name="T76" fmla="*/ 36 w 54"/>
                      <a:gd name="T77" fmla="*/ 22 h 82"/>
                      <a:gd name="T78" fmla="*/ 36 w 54"/>
                      <a:gd name="T79" fmla="*/ 22 h 82"/>
                      <a:gd name="T80" fmla="*/ 38 w 54"/>
                      <a:gd name="T81" fmla="*/ 40 h 82"/>
                      <a:gd name="T82" fmla="*/ 38 w 54"/>
                      <a:gd name="T83" fmla="*/ 40 h 82"/>
                      <a:gd name="T84" fmla="*/ 36 w 54"/>
                      <a:gd name="T85" fmla="*/ 60 h 82"/>
                      <a:gd name="T86" fmla="*/ 36 w 54"/>
                      <a:gd name="T87" fmla="*/ 60 h 82"/>
                      <a:gd name="T88" fmla="*/ 32 w 54"/>
                      <a:gd name="T89" fmla="*/ 66 h 82"/>
                      <a:gd name="T90" fmla="*/ 32 w 54"/>
                      <a:gd name="T91" fmla="*/ 66 h 82"/>
                      <a:gd name="T92" fmla="*/ 28 w 54"/>
                      <a:gd name="T93" fmla="*/ 68 h 82"/>
                      <a:gd name="T94" fmla="*/ 28 w 54"/>
                      <a:gd name="T95" fmla="*/ 68 h 82"/>
                      <a:gd name="T96" fmla="*/ 22 w 54"/>
                      <a:gd name="T97" fmla="*/ 66 h 82"/>
                      <a:gd name="T98" fmla="*/ 22 w 54"/>
                      <a:gd name="T99" fmla="*/ 66 h 82"/>
                      <a:gd name="T100" fmla="*/ 18 w 54"/>
                      <a:gd name="T101" fmla="*/ 60 h 82"/>
                      <a:gd name="T102" fmla="*/ 18 w 54"/>
                      <a:gd name="T103" fmla="*/ 60 h 82"/>
                      <a:gd name="T104" fmla="*/ 18 w 54"/>
                      <a:gd name="T105" fmla="*/ 40 h 82"/>
                      <a:gd name="T106" fmla="*/ 18 w 54"/>
                      <a:gd name="T107" fmla="*/ 40 h 82"/>
                      <a:gd name="T108" fmla="*/ 18 w 54"/>
                      <a:gd name="T109" fmla="*/ 20 h 82"/>
                      <a:gd name="T110" fmla="*/ 18 w 54"/>
                      <a:gd name="T111" fmla="*/ 20 h 82"/>
                      <a:gd name="T112" fmla="*/ 22 w 54"/>
                      <a:gd name="T113" fmla="*/ 14 h 82"/>
                      <a:gd name="T114" fmla="*/ 22 w 54"/>
                      <a:gd name="T115" fmla="*/ 14 h 82"/>
                      <a:gd name="T116" fmla="*/ 28 w 54"/>
                      <a:gd name="T117" fmla="*/ 12 h 82"/>
                      <a:gd name="T118" fmla="*/ 28 w 54"/>
                      <a:gd name="T119" fmla="*/ 12 h 82"/>
                      <a:gd name="T120" fmla="*/ 32 w 54"/>
                      <a:gd name="T121" fmla="*/ 14 h 82"/>
                      <a:gd name="T122" fmla="*/ 32 w 54"/>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8" y="82"/>
                        </a:lnTo>
                        <a:lnTo>
                          <a:pt x="28" y="82"/>
                        </a:lnTo>
                        <a:lnTo>
                          <a:pt x="38" y="80"/>
                        </a:lnTo>
                        <a:lnTo>
                          <a:pt x="42" y="76"/>
                        </a:lnTo>
                        <a:lnTo>
                          <a:pt x="46" y="74"/>
                        </a:lnTo>
                        <a:lnTo>
                          <a:pt x="46" y="74"/>
                        </a:lnTo>
                        <a:lnTo>
                          <a:pt x="48" y="68"/>
                        </a:lnTo>
                        <a:lnTo>
                          <a:pt x="52" y="60"/>
                        </a:lnTo>
                        <a:lnTo>
                          <a:pt x="54" y="40"/>
                        </a:lnTo>
                        <a:lnTo>
                          <a:pt x="54" y="40"/>
                        </a:lnTo>
                        <a:lnTo>
                          <a:pt x="52" y="20"/>
                        </a:lnTo>
                        <a:lnTo>
                          <a:pt x="48" y="14"/>
                        </a:lnTo>
                        <a:lnTo>
                          <a:pt x="46" y="8"/>
                        </a:lnTo>
                        <a:lnTo>
                          <a:pt x="46" y="8"/>
                        </a:lnTo>
                        <a:lnTo>
                          <a:pt x="42" y="4"/>
                        </a:lnTo>
                        <a:lnTo>
                          <a:pt x="38" y="2"/>
                        </a:lnTo>
                        <a:lnTo>
                          <a:pt x="28" y="0"/>
                        </a:lnTo>
                        <a:lnTo>
                          <a:pt x="28" y="0"/>
                        </a:lnTo>
                        <a:lnTo>
                          <a:pt x="16" y="2"/>
                        </a:lnTo>
                        <a:lnTo>
                          <a:pt x="12" y="4"/>
                        </a:lnTo>
                        <a:lnTo>
                          <a:pt x="8" y="8"/>
                        </a:lnTo>
                        <a:lnTo>
                          <a:pt x="8" y="8"/>
                        </a:lnTo>
                        <a:lnTo>
                          <a:pt x="8" y="8"/>
                        </a:lnTo>
                        <a:close/>
                        <a:moveTo>
                          <a:pt x="32" y="14"/>
                        </a:moveTo>
                        <a:lnTo>
                          <a:pt x="32" y="14"/>
                        </a:lnTo>
                        <a:lnTo>
                          <a:pt x="36" y="22"/>
                        </a:lnTo>
                        <a:lnTo>
                          <a:pt x="36" y="22"/>
                        </a:lnTo>
                        <a:lnTo>
                          <a:pt x="38" y="40"/>
                        </a:lnTo>
                        <a:lnTo>
                          <a:pt x="38" y="40"/>
                        </a:lnTo>
                        <a:lnTo>
                          <a:pt x="36" y="60"/>
                        </a:lnTo>
                        <a:lnTo>
                          <a:pt x="36" y="60"/>
                        </a:lnTo>
                        <a:lnTo>
                          <a:pt x="32" y="66"/>
                        </a:lnTo>
                        <a:lnTo>
                          <a:pt x="32" y="66"/>
                        </a:lnTo>
                        <a:lnTo>
                          <a:pt x="28" y="68"/>
                        </a:lnTo>
                        <a:lnTo>
                          <a:pt x="28" y="68"/>
                        </a:lnTo>
                        <a:lnTo>
                          <a:pt x="22" y="66"/>
                        </a:lnTo>
                        <a:lnTo>
                          <a:pt x="22" y="66"/>
                        </a:lnTo>
                        <a:lnTo>
                          <a:pt x="18" y="60"/>
                        </a:lnTo>
                        <a:lnTo>
                          <a:pt x="18" y="60"/>
                        </a:lnTo>
                        <a:lnTo>
                          <a:pt x="18" y="40"/>
                        </a:lnTo>
                        <a:lnTo>
                          <a:pt x="18" y="40"/>
                        </a:lnTo>
                        <a:lnTo>
                          <a:pt x="18" y="20"/>
                        </a:lnTo>
                        <a:lnTo>
                          <a:pt x="18" y="20"/>
                        </a:lnTo>
                        <a:lnTo>
                          <a:pt x="22" y="14"/>
                        </a:lnTo>
                        <a:lnTo>
                          <a:pt x="22" y="14"/>
                        </a:lnTo>
                        <a:lnTo>
                          <a:pt x="28" y="12"/>
                        </a:lnTo>
                        <a:lnTo>
                          <a:pt x="28" y="12"/>
                        </a:lnTo>
                        <a:lnTo>
                          <a:pt x="32" y="14"/>
                        </a:lnTo>
                        <a:lnTo>
                          <a:pt x="32"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87" name="Freeform 386"/>
                  <p:cNvSpPr>
                    <a:spLocks/>
                  </p:cNvSpPr>
                  <p:nvPr/>
                </p:nvSpPr>
                <p:spPr bwMode="auto">
                  <a:xfrm>
                    <a:off x="10990636" y="3870782"/>
                    <a:ext cx="22901" cy="50888"/>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88" name="Freeform 387"/>
                  <p:cNvSpPr>
                    <a:spLocks/>
                  </p:cNvSpPr>
                  <p:nvPr/>
                </p:nvSpPr>
                <p:spPr bwMode="auto">
                  <a:xfrm>
                    <a:off x="10891345" y="3983266"/>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89" name="Freeform 388"/>
                  <p:cNvSpPr>
                    <a:spLocks noEditPoints="1"/>
                  </p:cNvSpPr>
                  <p:nvPr/>
                </p:nvSpPr>
                <p:spPr bwMode="auto">
                  <a:xfrm>
                    <a:off x="10984217" y="3983266"/>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90" name="Freeform 389"/>
                  <p:cNvSpPr>
                    <a:spLocks/>
                  </p:cNvSpPr>
                  <p:nvPr/>
                </p:nvSpPr>
                <p:spPr bwMode="auto">
                  <a:xfrm>
                    <a:off x="11063849" y="3323940"/>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91" name="Freeform 390"/>
                  <p:cNvSpPr>
                    <a:spLocks noEditPoints="1"/>
                  </p:cNvSpPr>
                  <p:nvPr/>
                </p:nvSpPr>
                <p:spPr bwMode="auto">
                  <a:xfrm>
                    <a:off x="11156721" y="3323940"/>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92" name="Freeform 391"/>
                  <p:cNvSpPr>
                    <a:spLocks noEditPoints="1"/>
                  </p:cNvSpPr>
                  <p:nvPr/>
                </p:nvSpPr>
                <p:spPr bwMode="auto">
                  <a:xfrm>
                    <a:off x="11065178" y="3428051"/>
                    <a:ext cx="34350" cy="52160"/>
                  </a:xfrm>
                  <a:custGeom>
                    <a:avLst/>
                    <a:gdLst>
                      <a:gd name="T0" fmla="*/ 8 w 54"/>
                      <a:gd name="T1" fmla="*/ 8 h 82"/>
                      <a:gd name="T2" fmla="*/ 8 w 54"/>
                      <a:gd name="T3" fmla="*/ 8 h 82"/>
                      <a:gd name="T4" fmla="*/ 6 w 54"/>
                      <a:gd name="T5" fmla="*/ 14 h 82"/>
                      <a:gd name="T6" fmla="*/ 2 w 54"/>
                      <a:gd name="T7" fmla="*/ 20 h 82"/>
                      <a:gd name="T8" fmla="*/ 0 w 54"/>
                      <a:gd name="T9" fmla="*/ 40 h 82"/>
                      <a:gd name="T10" fmla="*/ 0 w 54"/>
                      <a:gd name="T11" fmla="*/ 40 h 82"/>
                      <a:gd name="T12" fmla="*/ 2 w 54"/>
                      <a:gd name="T13" fmla="*/ 60 h 82"/>
                      <a:gd name="T14" fmla="*/ 4 w 54"/>
                      <a:gd name="T15" fmla="*/ 68 h 82"/>
                      <a:gd name="T16" fmla="*/ 8 w 54"/>
                      <a:gd name="T17" fmla="*/ 72 h 82"/>
                      <a:gd name="T18" fmla="*/ 8 w 54"/>
                      <a:gd name="T19" fmla="*/ 72 h 82"/>
                      <a:gd name="T20" fmla="*/ 12 w 54"/>
                      <a:gd name="T21" fmla="*/ 76 h 82"/>
                      <a:gd name="T22" fmla="*/ 16 w 54"/>
                      <a:gd name="T23" fmla="*/ 80 h 82"/>
                      <a:gd name="T24" fmla="*/ 22 w 54"/>
                      <a:gd name="T25" fmla="*/ 80 h 82"/>
                      <a:gd name="T26" fmla="*/ 28 w 54"/>
                      <a:gd name="T27" fmla="*/ 82 h 82"/>
                      <a:gd name="T28" fmla="*/ 28 w 54"/>
                      <a:gd name="T29" fmla="*/ 82 h 82"/>
                      <a:gd name="T30" fmla="*/ 38 w 54"/>
                      <a:gd name="T31" fmla="*/ 80 h 82"/>
                      <a:gd name="T32" fmla="*/ 42 w 54"/>
                      <a:gd name="T33" fmla="*/ 76 h 82"/>
                      <a:gd name="T34" fmla="*/ 46 w 54"/>
                      <a:gd name="T35" fmla="*/ 74 h 82"/>
                      <a:gd name="T36" fmla="*/ 46 w 54"/>
                      <a:gd name="T37" fmla="*/ 74 h 82"/>
                      <a:gd name="T38" fmla="*/ 48 w 54"/>
                      <a:gd name="T39" fmla="*/ 68 h 82"/>
                      <a:gd name="T40" fmla="*/ 52 w 54"/>
                      <a:gd name="T41" fmla="*/ 60 h 82"/>
                      <a:gd name="T42" fmla="*/ 54 w 54"/>
                      <a:gd name="T43" fmla="*/ 40 h 82"/>
                      <a:gd name="T44" fmla="*/ 54 w 54"/>
                      <a:gd name="T45" fmla="*/ 40 h 82"/>
                      <a:gd name="T46" fmla="*/ 52 w 54"/>
                      <a:gd name="T47" fmla="*/ 20 h 82"/>
                      <a:gd name="T48" fmla="*/ 48 w 54"/>
                      <a:gd name="T49" fmla="*/ 14 h 82"/>
                      <a:gd name="T50" fmla="*/ 46 w 54"/>
                      <a:gd name="T51" fmla="*/ 8 h 82"/>
                      <a:gd name="T52" fmla="*/ 46 w 54"/>
                      <a:gd name="T53" fmla="*/ 8 h 82"/>
                      <a:gd name="T54" fmla="*/ 42 w 54"/>
                      <a:gd name="T55" fmla="*/ 4 h 82"/>
                      <a:gd name="T56" fmla="*/ 38 w 54"/>
                      <a:gd name="T57" fmla="*/ 2 h 82"/>
                      <a:gd name="T58" fmla="*/ 28 w 54"/>
                      <a:gd name="T59" fmla="*/ 0 h 82"/>
                      <a:gd name="T60" fmla="*/ 28 w 54"/>
                      <a:gd name="T61" fmla="*/ 0 h 82"/>
                      <a:gd name="T62" fmla="*/ 16 w 54"/>
                      <a:gd name="T63" fmla="*/ 2 h 82"/>
                      <a:gd name="T64" fmla="*/ 12 w 54"/>
                      <a:gd name="T65" fmla="*/ 4 h 82"/>
                      <a:gd name="T66" fmla="*/ 8 w 54"/>
                      <a:gd name="T67" fmla="*/ 8 h 82"/>
                      <a:gd name="T68" fmla="*/ 8 w 54"/>
                      <a:gd name="T69" fmla="*/ 8 h 82"/>
                      <a:gd name="T70" fmla="*/ 8 w 54"/>
                      <a:gd name="T71" fmla="*/ 8 h 82"/>
                      <a:gd name="T72" fmla="*/ 32 w 54"/>
                      <a:gd name="T73" fmla="*/ 14 h 82"/>
                      <a:gd name="T74" fmla="*/ 32 w 54"/>
                      <a:gd name="T75" fmla="*/ 14 h 82"/>
                      <a:gd name="T76" fmla="*/ 36 w 54"/>
                      <a:gd name="T77" fmla="*/ 22 h 82"/>
                      <a:gd name="T78" fmla="*/ 36 w 54"/>
                      <a:gd name="T79" fmla="*/ 22 h 82"/>
                      <a:gd name="T80" fmla="*/ 38 w 54"/>
                      <a:gd name="T81" fmla="*/ 40 h 82"/>
                      <a:gd name="T82" fmla="*/ 38 w 54"/>
                      <a:gd name="T83" fmla="*/ 40 h 82"/>
                      <a:gd name="T84" fmla="*/ 36 w 54"/>
                      <a:gd name="T85" fmla="*/ 60 h 82"/>
                      <a:gd name="T86" fmla="*/ 36 w 54"/>
                      <a:gd name="T87" fmla="*/ 60 h 82"/>
                      <a:gd name="T88" fmla="*/ 32 w 54"/>
                      <a:gd name="T89" fmla="*/ 66 h 82"/>
                      <a:gd name="T90" fmla="*/ 32 w 54"/>
                      <a:gd name="T91" fmla="*/ 66 h 82"/>
                      <a:gd name="T92" fmla="*/ 28 w 54"/>
                      <a:gd name="T93" fmla="*/ 68 h 82"/>
                      <a:gd name="T94" fmla="*/ 28 w 54"/>
                      <a:gd name="T95" fmla="*/ 68 h 82"/>
                      <a:gd name="T96" fmla="*/ 22 w 54"/>
                      <a:gd name="T97" fmla="*/ 66 h 82"/>
                      <a:gd name="T98" fmla="*/ 22 w 54"/>
                      <a:gd name="T99" fmla="*/ 66 h 82"/>
                      <a:gd name="T100" fmla="*/ 18 w 54"/>
                      <a:gd name="T101" fmla="*/ 60 h 82"/>
                      <a:gd name="T102" fmla="*/ 18 w 54"/>
                      <a:gd name="T103" fmla="*/ 60 h 82"/>
                      <a:gd name="T104" fmla="*/ 18 w 54"/>
                      <a:gd name="T105" fmla="*/ 40 h 82"/>
                      <a:gd name="T106" fmla="*/ 18 w 54"/>
                      <a:gd name="T107" fmla="*/ 40 h 82"/>
                      <a:gd name="T108" fmla="*/ 18 w 54"/>
                      <a:gd name="T109" fmla="*/ 20 h 82"/>
                      <a:gd name="T110" fmla="*/ 18 w 54"/>
                      <a:gd name="T111" fmla="*/ 20 h 82"/>
                      <a:gd name="T112" fmla="*/ 22 w 54"/>
                      <a:gd name="T113" fmla="*/ 14 h 82"/>
                      <a:gd name="T114" fmla="*/ 22 w 54"/>
                      <a:gd name="T115" fmla="*/ 14 h 82"/>
                      <a:gd name="T116" fmla="*/ 28 w 54"/>
                      <a:gd name="T117" fmla="*/ 12 h 82"/>
                      <a:gd name="T118" fmla="*/ 28 w 54"/>
                      <a:gd name="T119" fmla="*/ 12 h 82"/>
                      <a:gd name="T120" fmla="*/ 32 w 54"/>
                      <a:gd name="T121" fmla="*/ 14 h 82"/>
                      <a:gd name="T122" fmla="*/ 32 w 54"/>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8" y="82"/>
                        </a:lnTo>
                        <a:lnTo>
                          <a:pt x="28" y="82"/>
                        </a:lnTo>
                        <a:lnTo>
                          <a:pt x="38" y="80"/>
                        </a:lnTo>
                        <a:lnTo>
                          <a:pt x="42" y="76"/>
                        </a:lnTo>
                        <a:lnTo>
                          <a:pt x="46" y="74"/>
                        </a:lnTo>
                        <a:lnTo>
                          <a:pt x="46" y="74"/>
                        </a:lnTo>
                        <a:lnTo>
                          <a:pt x="48" y="68"/>
                        </a:lnTo>
                        <a:lnTo>
                          <a:pt x="52" y="60"/>
                        </a:lnTo>
                        <a:lnTo>
                          <a:pt x="54" y="40"/>
                        </a:lnTo>
                        <a:lnTo>
                          <a:pt x="54" y="40"/>
                        </a:lnTo>
                        <a:lnTo>
                          <a:pt x="52" y="20"/>
                        </a:lnTo>
                        <a:lnTo>
                          <a:pt x="48" y="14"/>
                        </a:lnTo>
                        <a:lnTo>
                          <a:pt x="46" y="8"/>
                        </a:lnTo>
                        <a:lnTo>
                          <a:pt x="46" y="8"/>
                        </a:lnTo>
                        <a:lnTo>
                          <a:pt x="42" y="4"/>
                        </a:lnTo>
                        <a:lnTo>
                          <a:pt x="38" y="2"/>
                        </a:lnTo>
                        <a:lnTo>
                          <a:pt x="28" y="0"/>
                        </a:lnTo>
                        <a:lnTo>
                          <a:pt x="28" y="0"/>
                        </a:lnTo>
                        <a:lnTo>
                          <a:pt x="16" y="2"/>
                        </a:lnTo>
                        <a:lnTo>
                          <a:pt x="12" y="4"/>
                        </a:lnTo>
                        <a:lnTo>
                          <a:pt x="8" y="8"/>
                        </a:lnTo>
                        <a:lnTo>
                          <a:pt x="8" y="8"/>
                        </a:lnTo>
                        <a:lnTo>
                          <a:pt x="8" y="8"/>
                        </a:lnTo>
                        <a:close/>
                        <a:moveTo>
                          <a:pt x="32" y="14"/>
                        </a:moveTo>
                        <a:lnTo>
                          <a:pt x="32" y="14"/>
                        </a:lnTo>
                        <a:lnTo>
                          <a:pt x="36" y="22"/>
                        </a:lnTo>
                        <a:lnTo>
                          <a:pt x="36" y="22"/>
                        </a:lnTo>
                        <a:lnTo>
                          <a:pt x="38" y="40"/>
                        </a:lnTo>
                        <a:lnTo>
                          <a:pt x="38" y="40"/>
                        </a:lnTo>
                        <a:lnTo>
                          <a:pt x="36" y="60"/>
                        </a:lnTo>
                        <a:lnTo>
                          <a:pt x="36" y="60"/>
                        </a:lnTo>
                        <a:lnTo>
                          <a:pt x="32" y="66"/>
                        </a:lnTo>
                        <a:lnTo>
                          <a:pt x="32" y="66"/>
                        </a:lnTo>
                        <a:lnTo>
                          <a:pt x="28" y="68"/>
                        </a:lnTo>
                        <a:lnTo>
                          <a:pt x="28" y="68"/>
                        </a:lnTo>
                        <a:lnTo>
                          <a:pt x="22" y="66"/>
                        </a:lnTo>
                        <a:lnTo>
                          <a:pt x="22" y="66"/>
                        </a:lnTo>
                        <a:lnTo>
                          <a:pt x="18" y="60"/>
                        </a:lnTo>
                        <a:lnTo>
                          <a:pt x="18" y="60"/>
                        </a:lnTo>
                        <a:lnTo>
                          <a:pt x="18" y="40"/>
                        </a:lnTo>
                        <a:lnTo>
                          <a:pt x="18" y="40"/>
                        </a:lnTo>
                        <a:lnTo>
                          <a:pt x="18" y="20"/>
                        </a:lnTo>
                        <a:lnTo>
                          <a:pt x="18" y="20"/>
                        </a:lnTo>
                        <a:lnTo>
                          <a:pt x="22" y="14"/>
                        </a:lnTo>
                        <a:lnTo>
                          <a:pt x="22" y="14"/>
                        </a:lnTo>
                        <a:lnTo>
                          <a:pt x="28" y="12"/>
                        </a:lnTo>
                        <a:lnTo>
                          <a:pt x="28" y="12"/>
                        </a:lnTo>
                        <a:lnTo>
                          <a:pt x="32" y="14"/>
                        </a:lnTo>
                        <a:lnTo>
                          <a:pt x="32"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93" name="Freeform 392"/>
                  <p:cNvSpPr>
                    <a:spLocks/>
                  </p:cNvSpPr>
                  <p:nvPr/>
                </p:nvSpPr>
                <p:spPr bwMode="auto">
                  <a:xfrm>
                    <a:off x="11163140" y="3428051"/>
                    <a:ext cx="22901" cy="50888"/>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94" name="Freeform 393"/>
                  <p:cNvSpPr>
                    <a:spLocks/>
                  </p:cNvSpPr>
                  <p:nvPr/>
                </p:nvSpPr>
                <p:spPr bwMode="auto">
                  <a:xfrm>
                    <a:off x="11063849" y="3537991"/>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95" name="Freeform 394"/>
                  <p:cNvSpPr>
                    <a:spLocks noEditPoints="1"/>
                  </p:cNvSpPr>
                  <p:nvPr/>
                </p:nvSpPr>
                <p:spPr bwMode="auto">
                  <a:xfrm>
                    <a:off x="11156721" y="3537991"/>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96" name="Freeform 395"/>
                  <p:cNvSpPr>
                    <a:spLocks noEditPoints="1"/>
                  </p:cNvSpPr>
                  <p:nvPr/>
                </p:nvSpPr>
                <p:spPr bwMode="auto">
                  <a:xfrm>
                    <a:off x="11065178" y="3646872"/>
                    <a:ext cx="34350" cy="52160"/>
                  </a:xfrm>
                  <a:custGeom>
                    <a:avLst/>
                    <a:gdLst>
                      <a:gd name="T0" fmla="*/ 8 w 54"/>
                      <a:gd name="T1" fmla="*/ 8 h 82"/>
                      <a:gd name="T2" fmla="*/ 8 w 54"/>
                      <a:gd name="T3" fmla="*/ 8 h 82"/>
                      <a:gd name="T4" fmla="*/ 6 w 54"/>
                      <a:gd name="T5" fmla="*/ 14 h 82"/>
                      <a:gd name="T6" fmla="*/ 2 w 54"/>
                      <a:gd name="T7" fmla="*/ 20 h 82"/>
                      <a:gd name="T8" fmla="*/ 0 w 54"/>
                      <a:gd name="T9" fmla="*/ 40 h 82"/>
                      <a:gd name="T10" fmla="*/ 0 w 54"/>
                      <a:gd name="T11" fmla="*/ 40 h 82"/>
                      <a:gd name="T12" fmla="*/ 2 w 54"/>
                      <a:gd name="T13" fmla="*/ 60 h 82"/>
                      <a:gd name="T14" fmla="*/ 4 w 54"/>
                      <a:gd name="T15" fmla="*/ 68 h 82"/>
                      <a:gd name="T16" fmla="*/ 8 w 54"/>
                      <a:gd name="T17" fmla="*/ 72 h 82"/>
                      <a:gd name="T18" fmla="*/ 8 w 54"/>
                      <a:gd name="T19" fmla="*/ 72 h 82"/>
                      <a:gd name="T20" fmla="*/ 12 w 54"/>
                      <a:gd name="T21" fmla="*/ 76 h 82"/>
                      <a:gd name="T22" fmla="*/ 16 w 54"/>
                      <a:gd name="T23" fmla="*/ 80 h 82"/>
                      <a:gd name="T24" fmla="*/ 22 w 54"/>
                      <a:gd name="T25" fmla="*/ 80 h 82"/>
                      <a:gd name="T26" fmla="*/ 28 w 54"/>
                      <a:gd name="T27" fmla="*/ 82 h 82"/>
                      <a:gd name="T28" fmla="*/ 28 w 54"/>
                      <a:gd name="T29" fmla="*/ 82 h 82"/>
                      <a:gd name="T30" fmla="*/ 38 w 54"/>
                      <a:gd name="T31" fmla="*/ 80 h 82"/>
                      <a:gd name="T32" fmla="*/ 42 w 54"/>
                      <a:gd name="T33" fmla="*/ 76 h 82"/>
                      <a:gd name="T34" fmla="*/ 46 w 54"/>
                      <a:gd name="T35" fmla="*/ 74 h 82"/>
                      <a:gd name="T36" fmla="*/ 46 w 54"/>
                      <a:gd name="T37" fmla="*/ 74 h 82"/>
                      <a:gd name="T38" fmla="*/ 48 w 54"/>
                      <a:gd name="T39" fmla="*/ 68 h 82"/>
                      <a:gd name="T40" fmla="*/ 52 w 54"/>
                      <a:gd name="T41" fmla="*/ 60 h 82"/>
                      <a:gd name="T42" fmla="*/ 54 w 54"/>
                      <a:gd name="T43" fmla="*/ 40 h 82"/>
                      <a:gd name="T44" fmla="*/ 54 w 54"/>
                      <a:gd name="T45" fmla="*/ 40 h 82"/>
                      <a:gd name="T46" fmla="*/ 52 w 54"/>
                      <a:gd name="T47" fmla="*/ 20 h 82"/>
                      <a:gd name="T48" fmla="*/ 48 w 54"/>
                      <a:gd name="T49" fmla="*/ 14 h 82"/>
                      <a:gd name="T50" fmla="*/ 46 w 54"/>
                      <a:gd name="T51" fmla="*/ 8 h 82"/>
                      <a:gd name="T52" fmla="*/ 46 w 54"/>
                      <a:gd name="T53" fmla="*/ 8 h 82"/>
                      <a:gd name="T54" fmla="*/ 42 w 54"/>
                      <a:gd name="T55" fmla="*/ 4 h 82"/>
                      <a:gd name="T56" fmla="*/ 38 w 54"/>
                      <a:gd name="T57" fmla="*/ 2 h 82"/>
                      <a:gd name="T58" fmla="*/ 28 w 54"/>
                      <a:gd name="T59" fmla="*/ 0 h 82"/>
                      <a:gd name="T60" fmla="*/ 28 w 54"/>
                      <a:gd name="T61" fmla="*/ 0 h 82"/>
                      <a:gd name="T62" fmla="*/ 16 w 54"/>
                      <a:gd name="T63" fmla="*/ 2 h 82"/>
                      <a:gd name="T64" fmla="*/ 12 w 54"/>
                      <a:gd name="T65" fmla="*/ 4 h 82"/>
                      <a:gd name="T66" fmla="*/ 8 w 54"/>
                      <a:gd name="T67" fmla="*/ 8 h 82"/>
                      <a:gd name="T68" fmla="*/ 8 w 54"/>
                      <a:gd name="T69" fmla="*/ 8 h 82"/>
                      <a:gd name="T70" fmla="*/ 8 w 54"/>
                      <a:gd name="T71" fmla="*/ 8 h 82"/>
                      <a:gd name="T72" fmla="*/ 32 w 54"/>
                      <a:gd name="T73" fmla="*/ 14 h 82"/>
                      <a:gd name="T74" fmla="*/ 32 w 54"/>
                      <a:gd name="T75" fmla="*/ 14 h 82"/>
                      <a:gd name="T76" fmla="*/ 36 w 54"/>
                      <a:gd name="T77" fmla="*/ 22 h 82"/>
                      <a:gd name="T78" fmla="*/ 36 w 54"/>
                      <a:gd name="T79" fmla="*/ 22 h 82"/>
                      <a:gd name="T80" fmla="*/ 38 w 54"/>
                      <a:gd name="T81" fmla="*/ 40 h 82"/>
                      <a:gd name="T82" fmla="*/ 38 w 54"/>
                      <a:gd name="T83" fmla="*/ 40 h 82"/>
                      <a:gd name="T84" fmla="*/ 36 w 54"/>
                      <a:gd name="T85" fmla="*/ 60 h 82"/>
                      <a:gd name="T86" fmla="*/ 36 w 54"/>
                      <a:gd name="T87" fmla="*/ 60 h 82"/>
                      <a:gd name="T88" fmla="*/ 32 w 54"/>
                      <a:gd name="T89" fmla="*/ 66 h 82"/>
                      <a:gd name="T90" fmla="*/ 32 w 54"/>
                      <a:gd name="T91" fmla="*/ 66 h 82"/>
                      <a:gd name="T92" fmla="*/ 28 w 54"/>
                      <a:gd name="T93" fmla="*/ 68 h 82"/>
                      <a:gd name="T94" fmla="*/ 28 w 54"/>
                      <a:gd name="T95" fmla="*/ 68 h 82"/>
                      <a:gd name="T96" fmla="*/ 22 w 54"/>
                      <a:gd name="T97" fmla="*/ 66 h 82"/>
                      <a:gd name="T98" fmla="*/ 22 w 54"/>
                      <a:gd name="T99" fmla="*/ 66 h 82"/>
                      <a:gd name="T100" fmla="*/ 18 w 54"/>
                      <a:gd name="T101" fmla="*/ 60 h 82"/>
                      <a:gd name="T102" fmla="*/ 18 w 54"/>
                      <a:gd name="T103" fmla="*/ 60 h 82"/>
                      <a:gd name="T104" fmla="*/ 18 w 54"/>
                      <a:gd name="T105" fmla="*/ 40 h 82"/>
                      <a:gd name="T106" fmla="*/ 18 w 54"/>
                      <a:gd name="T107" fmla="*/ 40 h 82"/>
                      <a:gd name="T108" fmla="*/ 18 w 54"/>
                      <a:gd name="T109" fmla="*/ 20 h 82"/>
                      <a:gd name="T110" fmla="*/ 18 w 54"/>
                      <a:gd name="T111" fmla="*/ 20 h 82"/>
                      <a:gd name="T112" fmla="*/ 22 w 54"/>
                      <a:gd name="T113" fmla="*/ 14 h 82"/>
                      <a:gd name="T114" fmla="*/ 22 w 54"/>
                      <a:gd name="T115" fmla="*/ 14 h 82"/>
                      <a:gd name="T116" fmla="*/ 28 w 54"/>
                      <a:gd name="T117" fmla="*/ 12 h 82"/>
                      <a:gd name="T118" fmla="*/ 28 w 54"/>
                      <a:gd name="T119" fmla="*/ 12 h 82"/>
                      <a:gd name="T120" fmla="*/ 32 w 54"/>
                      <a:gd name="T121" fmla="*/ 14 h 82"/>
                      <a:gd name="T122" fmla="*/ 32 w 54"/>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8" y="82"/>
                        </a:lnTo>
                        <a:lnTo>
                          <a:pt x="28" y="82"/>
                        </a:lnTo>
                        <a:lnTo>
                          <a:pt x="38" y="80"/>
                        </a:lnTo>
                        <a:lnTo>
                          <a:pt x="42" y="76"/>
                        </a:lnTo>
                        <a:lnTo>
                          <a:pt x="46" y="74"/>
                        </a:lnTo>
                        <a:lnTo>
                          <a:pt x="46" y="74"/>
                        </a:lnTo>
                        <a:lnTo>
                          <a:pt x="48" y="68"/>
                        </a:lnTo>
                        <a:lnTo>
                          <a:pt x="52" y="60"/>
                        </a:lnTo>
                        <a:lnTo>
                          <a:pt x="54" y="40"/>
                        </a:lnTo>
                        <a:lnTo>
                          <a:pt x="54" y="40"/>
                        </a:lnTo>
                        <a:lnTo>
                          <a:pt x="52" y="20"/>
                        </a:lnTo>
                        <a:lnTo>
                          <a:pt x="48" y="14"/>
                        </a:lnTo>
                        <a:lnTo>
                          <a:pt x="46" y="8"/>
                        </a:lnTo>
                        <a:lnTo>
                          <a:pt x="46" y="8"/>
                        </a:lnTo>
                        <a:lnTo>
                          <a:pt x="42" y="4"/>
                        </a:lnTo>
                        <a:lnTo>
                          <a:pt x="38" y="2"/>
                        </a:lnTo>
                        <a:lnTo>
                          <a:pt x="28" y="0"/>
                        </a:lnTo>
                        <a:lnTo>
                          <a:pt x="28" y="0"/>
                        </a:lnTo>
                        <a:lnTo>
                          <a:pt x="16" y="2"/>
                        </a:lnTo>
                        <a:lnTo>
                          <a:pt x="12" y="4"/>
                        </a:lnTo>
                        <a:lnTo>
                          <a:pt x="8" y="8"/>
                        </a:lnTo>
                        <a:lnTo>
                          <a:pt x="8" y="8"/>
                        </a:lnTo>
                        <a:lnTo>
                          <a:pt x="8" y="8"/>
                        </a:lnTo>
                        <a:close/>
                        <a:moveTo>
                          <a:pt x="32" y="14"/>
                        </a:moveTo>
                        <a:lnTo>
                          <a:pt x="32" y="14"/>
                        </a:lnTo>
                        <a:lnTo>
                          <a:pt x="36" y="22"/>
                        </a:lnTo>
                        <a:lnTo>
                          <a:pt x="36" y="22"/>
                        </a:lnTo>
                        <a:lnTo>
                          <a:pt x="38" y="40"/>
                        </a:lnTo>
                        <a:lnTo>
                          <a:pt x="38" y="40"/>
                        </a:lnTo>
                        <a:lnTo>
                          <a:pt x="36" y="60"/>
                        </a:lnTo>
                        <a:lnTo>
                          <a:pt x="36" y="60"/>
                        </a:lnTo>
                        <a:lnTo>
                          <a:pt x="32" y="66"/>
                        </a:lnTo>
                        <a:lnTo>
                          <a:pt x="32" y="66"/>
                        </a:lnTo>
                        <a:lnTo>
                          <a:pt x="28" y="68"/>
                        </a:lnTo>
                        <a:lnTo>
                          <a:pt x="28" y="68"/>
                        </a:lnTo>
                        <a:lnTo>
                          <a:pt x="22" y="66"/>
                        </a:lnTo>
                        <a:lnTo>
                          <a:pt x="22" y="66"/>
                        </a:lnTo>
                        <a:lnTo>
                          <a:pt x="18" y="60"/>
                        </a:lnTo>
                        <a:lnTo>
                          <a:pt x="18" y="60"/>
                        </a:lnTo>
                        <a:lnTo>
                          <a:pt x="18" y="40"/>
                        </a:lnTo>
                        <a:lnTo>
                          <a:pt x="18" y="40"/>
                        </a:lnTo>
                        <a:lnTo>
                          <a:pt x="18" y="20"/>
                        </a:lnTo>
                        <a:lnTo>
                          <a:pt x="18" y="20"/>
                        </a:lnTo>
                        <a:lnTo>
                          <a:pt x="22" y="14"/>
                        </a:lnTo>
                        <a:lnTo>
                          <a:pt x="22" y="14"/>
                        </a:lnTo>
                        <a:lnTo>
                          <a:pt x="28" y="12"/>
                        </a:lnTo>
                        <a:lnTo>
                          <a:pt x="28" y="12"/>
                        </a:lnTo>
                        <a:lnTo>
                          <a:pt x="32" y="14"/>
                        </a:lnTo>
                        <a:lnTo>
                          <a:pt x="32"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97" name="Freeform 396"/>
                  <p:cNvSpPr>
                    <a:spLocks/>
                  </p:cNvSpPr>
                  <p:nvPr/>
                </p:nvSpPr>
                <p:spPr bwMode="auto">
                  <a:xfrm>
                    <a:off x="11163140" y="3646872"/>
                    <a:ext cx="22901" cy="50888"/>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98" name="Freeform 397"/>
                  <p:cNvSpPr>
                    <a:spLocks/>
                  </p:cNvSpPr>
                  <p:nvPr/>
                </p:nvSpPr>
                <p:spPr bwMode="auto">
                  <a:xfrm>
                    <a:off x="11063849" y="3761899"/>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99" name="Freeform 398"/>
                  <p:cNvSpPr>
                    <a:spLocks noEditPoints="1"/>
                  </p:cNvSpPr>
                  <p:nvPr/>
                </p:nvSpPr>
                <p:spPr bwMode="auto">
                  <a:xfrm>
                    <a:off x="11156721" y="3761899"/>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400" name="Freeform 399"/>
                  <p:cNvSpPr>
                    <a:spLocks noEditPoints="1"/>
                  </p:cNvSpPr>
                  <p:nvPr/>
                </p:nvSpPr>
                <p:spPr bwMode="auto">
                  <a:xfrm>
                    <a:off x="11065178" y="3870782"/>
                    <a:ext cx="34350" cy="52160"/>
                  </a:xfrm>
                  <a:custGeom>
                    <a:avLst/>
                    <a:gdLst>
                      <a:gd name="T0" fmla="*/ 8 w 54"/>
                      <a:gd name="T1" fmla="*/ 8 h 82"/>
                      <a:gd name="T2" fmla="*/ 8 w 54"/>
                      <a:gd name="T3" fmla="*/ 8 h 82"/>
                      <a:gd name="T4" fmla="*/ 6 w 54"/>
                      <a:gd name="T5" fmla="*/ 14 h 82"/>
                      <a:gd name="T6" fmla="*/ 2 w 54"/>
                      <a:gd name="T7" fmla="*/ 20 h 82"/>
                      <a:gd name="T8" fmla="*/ 0 w 54"/>
                      <a:gd name="T9" fmla="*/ 40 h 82"/>
                      <a:gd name="T10" fmla="*/ 0 w 54"/>
                      <a:gd name="T11" fmla="*/ 40 h 82"/>
                      <a:gd name="T12" fmla="*/ 2 w 54"/>
                      <a:gd name="T13" fmla="*/ 60 h 82"/>
                      <a:gd name="T14" fmla="*/ 4 w 54"/>
                      <a:gd name="T15" fmla="*/ 68 h 82"/>
                      <a:gd name="T16" fmla="*/ 8 w 54"/>
                      <a:gd name="T17" fmla="*/ 72 h 82"/>
                      <a:gd name="T18" fmla="*/ 8 w 54"/>
                      <a:gd name="T19" fmla="*/ 72 h 82"/>
                      <a:gd name="T20" fmla="*/ 12 w 54"/>
                      <a:gd name="T21" fmla="*/ 76 h 82"/>
                      <a:gd name="T22" fmla="*/ 16 w 54"/>
                      <a:gd name="T23" fmla="*/ 80 h 82"/>
                      <a:gd name="T24" fmla="*/ 22 w 54"/>
                      <a:gd name="T25" fmla="*/ 80 h 82"/>
                      <a:gd name="T26" fmla="*/ 28 w 54"/>
                      <a:gd name="T27" fmla="*/ 82 h 82"/>
                      <a:gd name="T28" fmla="*/ 28 w 54"/>
                      <a:gd name="T29" fmla="*/ 82 h 82"/>
                      <a:gd name="T30" fmla="*/ 38 w 54"/>
                      <a:gd name="T31" fmla="*/ 80 h 82"/>
                      <a:gd name="T32" fmla="*/ 42 w 54"/>
                      <a:gd name="T33" fmla="*/ 76 h 82"/>
                      <a:gd name="T34" fmla="*/ 46 w 54"/>
                      <a:gd name="T35" fmla="*/ 74 h 82"/>
                      <a:gd name="T36" fmla="*/ 46 w 54"/>
                      <a:gd name="T37" fmla="*/ 74 h 82"/>
                      <a:gd name="T38" fmla="*/ 48 w 54"/>
                      <a:gd name="T39" fmla="*/ 68 h 82"/>
                      <a:gd name="T40" fmla="*/ 52 w 54"/>
                      <a:gd name="T41" fmla="*/ 60 h 82"/>
                      <a:gd name="T42" fmla="*/ 54 w 54"/>
                      <a:gd name="T43" fmla="*/ 40 h 82"/>
                      <a:gd name="T44" fmla="*/ 54 w 54"/>
                      <a:gd name="T45" fmla="*/ 40 h 82"/>
                      <a:gd name="T46" fmla="*/ 52 w 54"/>
                      <a:gd name="T47" fmla="*/ 20 h 82"/>
                      <a:gd name="T48" fmla="*/ 48 w 54"/>
                      <a:gd name="T49" fmla="*/ 14 h 82"/>
                      <a:gd name="T50" fmla="*/ 46 w 54"/>
                      <a:gd name="T51" fmla="*/ 8 h 82"/>
                      <a:gd name="T52" fmla="*/ 46 w 54"/>
                      <a:gd name="T53" fmla="*/ 8 h 82"/>
                      <a:gd name="T54" fmla="*/ 42 w 54"/>
                      <a:gd name="T55" fmla="*/ 4 h 82"/>
                      <a:gd name="T56" fmla="*/ 38 w 54"/>
                      <a:gd name="T57" fmla="*/ 2 h 82"/>
                      <a:gd name="T58" fmla="*/ 28 w 54"/>
                      <a:gd name="T59" fmla="*/ 0 h 82"/>
                      <a:gd name="T60" fmla="*/ 28 w 54"/>
                      <a:gd name="T61" fmla="*/ 0 h 82"/>
                      <a:gd name="T62" fmla="*/ 16 w 54"/>
                      <a:gd name="T63" fmla="*/ 2 h 82"/>
                      <a:gd name="T64" fmla="*/ 12 w 54"/>
                      <a:gd name="T65" fmla="*/ 4 h 82"/>
                      <a:gd name="T66" fmla="*/ 8 w 54"/>
                      <a:gd name="T67" fmla="*/ 8 h 82"/>
                      <a:gd name="T68" fmla="*/ 8 w 54"/>
                      <a:gd name="T69" fmla="*/ 8 h 82"/>
                      <a:gd name="T70" fmla="*/ 8 w 54"/>
                      <a:gd name="T71" fmla="*/ 8 h 82"/>
                      <a:gd name="T72" fmla="*/ 32 w 54"/>
                      <a:gd name="T73" fmla="*/ 14 h 82"/>
                      <a:gd name="T74" fmla="*/ 32 w 54"/>
                      <a:gd name="T75" fmla="*/ 14 h 82"/>
                      <a:gd name="T76" fmla="*/ 36 w 54"/>
                      <a:gd name="T77" fmla="*/ 22 h 82"/>
                      <a:gd name="T78" fmla="*/ 36 w 54"/>
                      <a:gd name="T79" fmla="*/ 22 h 82"/>
                      <a:gd name="T80" fmla="*/ 38 w 54"/>
                      <a:gd name="T81" fmla="*/ 40 h 82"/>
                      <a:gd name="T82" fmla="*/ 38 w 54"/>
                      <a:gd name="T83" fmla="*/ 40 h 82"/>
                      <a:gd name="T84" fmla="*/ 36 w 54"/>
                      <a:gd name="T85" fmla="*/ 60 h 82"/>
                      <a:gd name="T86" fmla="*/ 36 w 54"/>
                      <a:gd name="T87" fmla="*/ 60 h 82"/>
                      <a:gd name="T88" fmla="*/ 32 w 54"/>
                      <a:gd name="T89" fmla="*/ 66 h 82"/>
                      <a:gd name="T90" fmla="*/ 32 w 54"/>
                      <a:gd name="T91" fmla="*/ 66 h 82"/>
                      <a:gd name="T92" fmla="*/ 28 w 54"/>
                      <a:gd name="T93" fmla="*/ 68 h 82"/>
                      <a:gd name="T94" fmla="*/ 28 w 54"/>
                      <a:gd name="T95" fmla="*/ 68 h 82"/>
                      <a:gd name="T96" fmla="*/ 22 w 54"/>
                      <a:gd name="T97" fmla="*/ 66 h 82"/>
                      <a:gd name="T98" fmla="*/ 22 w 54"/>
                      <a:gd name="T99" fmla="*/ 66 h 82"/>
                      <a:gd name="T100" fmla="*/ 18 w 54"/>
                      <a:gd name="T101" fmla="*/ 60 h 82"/>
                      <a:gd name="T102" fmla="*/ 18 w 54"/>
                      <a:gd name="T103" fmla="*/ 60 h 82"/>
                      <a:gd name="T104" fmla="*/ 18 w 54"/>
                      <a:gd name="T105" fmla="*/ 40 h 82"/>
                      <a:gd name="T106" fmla="*/ 18 w 54"/>
                      <a:gd name="T107" fmla="*/ 40 h 82"/>
                      <a:gd name="T108" fmla="*/ 18 w 54"/>
                      <a:gd name="T109" fmla="*/ 20 h 82"/>
                      <a:gd name="T110" fmla="*/ 18 w 54"/>
                      <a:gd name="T111" fmla="*/ 20 h 82"/>
                      <a:gd name="T112" fmla="*/ 22 w 54"/>
                      <a:gd name="T113" fmla="*/ 14 h 82"/>
                      <a:gd name="T114" fmla="*/ 22 w 54"/>
                      <a:gd name="T115" fmla="*/ 14 h 82"/>
                      <a:gd name="T116" fmla="*/ 28 w 54"/>
                      <a:gd name="T117" fmla="*/ 12 h 82"/>
                      <a:gd name="T118" fmla="*/ 28 w 54"/>
                      <a:gd name="T119" fmla="*/ 12 h 82"/>
                      <a:gd name="T120" fmla="*/ 32 w 54"/>
                      <a:gd name="T121" fmla="*/ 14 h 82"/>
                      <a:gd name="T122" fmla="*/ 32 w 54"/>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82">
                        <a:moveTo>
                          <a:pt x="8" y="8"/>
                        </a:moveTo>
                        <a:lnTo>
                          <a:pt x="8" y="8"/>
                        </a:lnTo>
                        <a:lnTo>
                          <a:pt x="6" y="14"/>
                        </a:lnTo>
                        <a:lnTo>
                          <a:pt x="2" y="20"/>
                        </a:lnTo>
                        <a:lnTo>
                          <a:pt x="0" y="40"/>
                        </a:lnTo>
                        <a:lnTo>
                          <a:pt x="0" y="40"/>
                        </a:lnTo>
                        <a:lnTo>
                          <a:pt x="2" y="60"/>
                        </a:lnTo>
                        <a:lnTo>
                          <a:pt x="4" y="68"/>
                        </a:lnTo>
                        <a:lnTo>
                          <a:pt x="8" y="72"/>
                        </a:lnTo>
                        <a:lnTo>
                          <a:pt x="8" y="72"/>
                        </a:lnTo>
                        <a:lnTo>
                          <a:pt x="12" y="76"/>
                        </a:lnTo>
                        <a:lnTo>
                          <a:pt x="16" y="80"/>
                        </a:lnTo>
                        <a:lnTo>
                          <a:pt x="22" y="80"/>
                        </a:lnTo>
                        <a:lnTo>
                          <a:pt x="28" y="82"/>
                        </a:lnTo>
                        <a:lnTo>
                          <a:pt x="28" y="82"/>
                        </a:lnTo>
                        <a:lnTo>
                          <a:pt x="38" y="80"/>
                        </a:lnTo>
                        <a:lnTo>
                          <a:pt x="42" y="76"/>
                        </a:lnTo>
                        <a:lnTo>
                          <a:pt x="46" y="74"/>
                        </a:lnTo>
                        <a:lnTo>
                          <a:pt x="46" y="74"/>
                        </a:lnTo>
                        <a:lnTo>
                          <a:pt x="48" y="68"/>
                        </a:lnTo>
                        <a:lnTo>
                          <a:pt x="52" y="60"/>
                        </a:lnTo>
                        <a:lnTo>
                          <a:pt x="54" y="40"/>
                        </a:lnTo>
                        <a:lnTo>
                          <a:pt x="54" y="40"/>
                        </a:lnTo>
                        <a:lnTo>
                          <a:pt x="52" y="20"/>
                        </a:lnTo>
                        <a:lnTo>
                          <a:pt x="48" y="14"/>
                        </a:lnTo>
                        <a:lnTo>
                          <a:pt x="46" y="8"/>
                        </a:lnTo>
                        <a:lnTo>
                          <a:pt x="46" y="8"/>
                        </a:lnTo>
                        <a:lnTo>
                          <a:pt x="42" y="4"/>
                        </a:lnTo>
                        <a:lnTo>
                          <a:pt x="38" y="2"/>
                        </a:lnTo>
                        <a:lnTo>
                          <a:pt x="28" y="0"/>
                        </a:lnTo>
                        <a:lnTo>
                          <a:pt x="28" y="0"/>
                        </a:lnTo>
                        <a:lnTo>
                          <a:pt x="16" y="2"/>
                        </a:lnTo>
                        <a:lnTo>
                          <a:pt x="12" y="4"/>
                        </a:lnTo>
                        <a:lnTo>
                          <a:pt x="8" y="8"/>
                        </a:lnTo>
                        <a:lnTo>
                          <a:pt x="8" y="8"/>
                        </a:lnTo>
                        <a:lnTo>
                          <a:pt x="8" y="8"/>
                        </a:lnTo>
                        <a:close/>
                        <a:moveTo>
                          <a:pt x="32" y="14"/>
                        </a:moveTo>
                        <a:lnTo>
                          <a:pt x="32" y="14"/>
                        </a:lnTo>
                        <a:lnTo>
                          <a:pt x="36" y="22"/>
                        </a:lnTo>
                        <a:lnTo>
                          <a:pt x="36" y="22"/>
                        </a:lnTo>
                        <a:lnTo>
                          <a:pt x="38" y="40"/>
                        </a:lnTo>
                        <a:lnTo>
                          <a:pt x="38" y="40"/>
                        </a:lnTo>
                        <a:lnTo>
                          <a:pt x="36" y="60"/>
                        </a:lnTo>
                        <a:lnTo>
                          <a:pt x="36" y="60"/>
                        </a:lnTo>
                        <a:lnTo>
                          <a:pt x="32" y="66"/>
                        </a:lnTo>
                        <a:lnTo>
                          <a:pt x="32" y="66"/>
                        </a:lnTo>
                        <a:lnTo>
                          <a:pt x="28" y="68"/>
                        </a:lnTo>
                        <a:lnTo>
                          <a:pt x="28" y="68"/>
                        </a:lnTo>
                        <a:lnTo>
                          <a:pt x="22" y="66"/>
                        </a:lnTo>
                        <a:lnTo>
                          <a:pt x="22" y="66"/>
                        </a:lnTo>
                        <a:lnTo>
                          <a:pt x="18" y="60"/>
                        </a:lnTo>
                        <a:lnTo>
                          <a:pt x="18" y="60"/>
                        </a:lnTo>
                        <a:lnTo>
                          <a:pt x="18" y="40"/>
                        </a:lnTo>
                        <a:lnTo>
                          <a:pt x="18" y="40"/>
                        </a:lnTo>
                        <a:lnTo>
                          <a:pt x="18" y="20"/>
                        </a:lnTo>
                        <a:lnTo>
                          <a:pt x="18" y="20"/>
                        </a:lnTo>
                        <a:lnTo>
                          <a:pt x="22" y="14"/>
                        </a:lnTo>
                        <a:lnTo>
                          <a:pt x="22" y="14"/>
                        </a:lnTo>
                        <a:lnTo>
                          <a:pt x="28" y="12"/>
                        </a:lnTo>
                        <a:lnTo>
                          <a:pt x="28" y="12"/>
                        </a:lnTo>
                        <a:lnTo>
                          <a:pt x="32" y="14"/>
                        </a:lnTo>
                        <a:lnTo>
                          <a:pt x="32"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401" name="Freeform 400"/>
                  <p:cNvSpPr>
                    <a:spLocks/>
                  </p:cNvSpPr>
                  <p:nvPr/>
                </p:nvSpPr>
                <p:spPr bwMode="auto">
                  <a:xfrm>
                    <a:off x="11163140" y="3870782"/>
                    <a:ext cx="22901" cy="50888"/>
                  </a:xfrm>
                  <a:custGeom>
                    <a:avLst/>
                    <a:gdLst>
                      <a:gd name="T0" fmla="*/ 36 w 36"/>
                      <a:gd name="T1" fmla="*/ 0 h 80"/>
                      <a:gd name="T2" fmla="*/ 24 w 36"/>
                      <a:gd name="T3" fmla="*/ 0 h 80"/>
                      <a:gd name="T4" fmla="*/ 24 w 36"/>
                      <a:gd name="T5" fmla="*/ 0 h 80"/>
                      <a:gd name="T6" fmla="*/ 20 w 36"/>
                      <a:gd name="T7" fmla="*/ 6 h 80"/>
                      <a:gd name="T8" fmla="*/ 14 w 36"/>
                      <a:gd name="T9" fmla="*/ 12 h 80"/>
                      <a:gd name="T10" fmla="*/ 14 w 36"/>
                      <a:gd name="T11" fmla="*/ 12 h 80"/>
                      <a:gd name="T12" fmla="*/ 8 w 36"/>
                      <a:gd name="T13" fmla="*/ 18 h 80"/>
                      <a:gd name="T14" fmla="*/ 0 w 36"/>
                      <a:gd name="T15" fmla="*/ 20 h 80"/>
                      <a:gd name="T16" fmla="*/ 0 w 36"/>
                      <a:gd name="T17" fmla="*/ 34 h 80"/>
                      <a:gd name="T18" fmla="*/ 0 w 36"/>
                      <a:gd name="T19" fmla="*/ 34 h 80"/>
                      <a:gd name="T20" fmla="*/ 12 w 36"/>
                      <a:gd name="T21" fmla="*/ 30 h 80"/>
                      <a:gd name="T22" fmla="*/ 20 w 36"/>
                      <a:gd name="T23" fmla="*/ 22 h 80"/>
                      <a:gd name="T24" fmla="*/ 20 w 36"/>
                      <a:gd name="T25" fmla="*/ 80 h 80"/>
                      <a:gd name="T26" fmla="*/ 36 w 36"/>
                      <a:gd name="T27" fmla="*/ 80 h 80"/>
                      <a:gd name="T28" fmla="*/ 36 w 36"/>
                      <a:gd name="T29" fmla="*/ 0 h 80"/>
                      <a:gd name="T30" fmla="*/ 36 w 36"/>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80">
                        <a:moveTo>
                          <a:pt x="36" y="0"/>
                        </a:moveTo>
                        <a:lnTo>
                          <a:pt x="24" y="0"/>
                        </a:lnTo>
                        <a:lnTo>
                          <a:pt x="24" y="0"/>
                        </a:lnTo>
                        <a:lnTo>
                          <a:pt x="20" y="6"/>
                        </a:lnTo>
                        <a:lnTo>
                          <a:pt x="14" y="12"/>
                        </a:lnTo>
                        <a:lnTo>
                          <a:pt x="14" y="12"/>
                        </a:lnTo>
                        <a:lnTo>
                          <a:pt x="8" y="18"/>
                        </a:lnTo>
                        <a:lnTo>
                          <a:pt x="0" y="20"/>
                        </a:lnTo>
                        <a:lnTo>
                          <a:pt x="0" y="34"/>
                        </a:lnTo>
                        <a:lnTo>
                          <a:pt x="0" y="34"/>
                        </a:lnTo>
                        <a:lnTo>
                          <a:pt x="12" y="30"/>
                        </a:lnTo>
                        <a:lnTo>
                          <a:pt x="20" y="22"/>
                        </a:lnTo>
                        <a:lnTo>
                          <a:pt x="20" y="80"/>
                        </a:lnTo>
                        <a:lnTo>
                          <a:pt x="36" y="80"/>
                        </a:lnTo>
                        <a:lnTo>
                          <a:pt x="36" y="0"/>
                        </a:lnTo>
                        <a:lnTo>
                          <a:pt x="36"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402" name="Freeform 401"/>
                  <p:cNvSpPr>
                    <a:spLocks/>
                  </p:cNvSpPr>
                  <p:nvPr/>
                </p:nvSpPr>
                <p:spPr bwMode="auto">
                  <a:xfrm>
                    <a:off x="11063849" y="3983266"/>
                    <a:ext cx="21628" cy="50888"/>
                  </a:xfrm>
                  <a:custGeom>
                    <a:avLst/>
                    <a:gdLst>
                      <a:gd name="T0" fmla="*/ 34 w 34"/>
                      <a:gd name="T1" fmla="*/ 0 h 80"/>
                      <a:gd name="T2" fmla="*/ 22 w 34"/>
                      <a:gd name="T3" fmla="*/ 0 h 80"/>
                      <a:gd name="T4" fmla="*/ 22 w 34"/>
                      <a:gd name="T5" fmla="*/ 0 h 80"/>
                      <a:gd name="T6" fmla="*/ 18 w 34"/>
                      <a:gd name="T7" fmla="*/ 6 h 80"/>
                      <a:gd name="T8" fmla="*/ 12 w 34"/>
                      <a:gd name="T9" fmla="*/ 12 h 80"/>
                      <a:gd name="T10" fmla="*/ 12 w 34"/>
                      <a:gd name="T11" fmla="*/ 12 h 80"/>
                      <a:gd name="T12" fmla="*/ 6 w 34"/>
                      <a:gd name="T13" fmla="*/ 16 h 80"/>
                      <a:gd name="T14" fmla="*/ 0 w 34"/>
                      <a:gd name="T15" fmla="*/ 20 h 80"/>
                      <a:gd name="T16" fmla="*/ 0 w 34"/>
                      <a:gd name="T17" fmla="*/ 34 h 80"/>
                      <a:gd name="T18" fmla="*/ 0 w 34"/>
                      <a:gd name="T19" fmla="*/ 34 h 80"/>
                      <a:gd name="T20" fmla="*/ 10 w 34"/>
                      <a:gd name="T21" fmla="*/ 28 h 80"/>
                      <a:gd name="T22" fmla="*/ 20 w 34"/>
                      <a:gd name="T23" fmla="*/ 22 h 80"/>
                      <a:gd name="T24" fmla="*/ 20 w 34"/>
                      <a:gd name="T25" fmla="*/ 80 h 80"/>
                      <a:gd name="T26" fmla="*/ 34 w 34"/>
                      <a:gd name="T27" fmla="*/ 80 h 80"/>
                      <a:gd name="T28" fmla="*/ 34 w 34"/>
                      <a:gd name="T29" fmla="*/ 0 h 80"/>
                      <a:gd name="T30" fmla="*/ 34 w 34"/>
                      <a:gd name="T3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80">
                        <a:moveTo>
                          <a:pt x="34" y="0"/>
                        </a:moveTo>
                        <a:lnTo>
                          <a:pt x="22" y="0"/>
                        </a:lnTo>
                        <a:lnTo>
                          <a:pt x="22" y="0"/>
                        </a:lnTo>
                        <a:lnTo>
                          <a:pt x="18" y="6"/>
                        </a:lnTo>
                        <a:lnTo>
                          <a:pt x="12" y="12"/>
                        </a:lnTo>
                        <a:lnTo>
                          <a:pt x="12" y="12"/>
                        </a:lnTo>
                        <a:lnTo>
                          <a:pt x="6" y="16"/>
                        </a:lnTo>
                        <a:lnTo>
                          <a:pt x="0" y="20"/>
                        </a:lnTo>
                        <a:lnTo>
                          <a:pt x="0" y="34"/>
                        </a:lnTo>
                        <a:lnTo>
                          <a:pt x="0" y="34"/>
                        </a:lnTo>
                        <a:lnTo>
                          <a:pt x="10" y="28"/>
                        </a:lnTo>
                        <a:lnTo>
                          <a:pt x="20" y="22"/>
                        </a:lnTo>
                        <a:lnTo>
                          <a:pt x="20" y="80"/>
                        </a:lnTo>
                        <a:lnTo>
                          <a:pt x="34" y="80"/>
                        </a:lnTo>
                        <a:lnTo>
                          <a:pt x="34" y="0"/>
                        </a:lnTo>
                        <a:lnTo>
                          <a:pt x="34"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403" name="Freeform 402"/>
                  <p:cNvSpPr>
                    <a:spLocks noEditPoints="1"/>
                  </p:cNvSpPr>
                  <p:nvPr/>
                </p:nvSpPr>
                <p:spPr bwMode="auto">
                  <a:xfrm>
                    <a:off x="11156721" y="3983266"/>
                    <a:ext cx="33078" cy="521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0 w 52"/>
                      <a:gd name="T13" fmla="*/ 60 h 82"/>
                      <a:gd name="T14" fmla="*/ 4 w 52"/>
                      <a:gd name="T15" fmla="*/ 66 h 82"/>
                      <a:gd name="T16" fmla="*/ 6 w 52"/>
                      <a:gd name="T17" fmla="*/ 72 h 82"/>
                      <a:gd name="T18" fmla="*/ 6 w 52"/>
                      <a:gd name="T19" fmla="*/ 72 h 82"/>
                      <a:gd name="T20" fmla="*/ 10 w 52"/>
                      <a:gd name="T21" fmla="*/ 76 h 82"/>
                      <a:gd name="T22" fmla="*/ 14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4 w 52"/>
                      <a:gd name="T63" fmla="*/ 2 h 82"/>
                      <a:gd name="T64" fmla="*/ 10 w 52"/>
                      <a:gd name="T65" fmla="*/ 4 h 82"/>
                      <a:gd name="T66" fmla="*/ 8 w 52"/>
                      <a:gd name="T67" fmla="*/ 8 h 82"/>
                      <a:gd name="T68" fmla="*/ 8 w 52"/>
                      <a:gd name="T69" fmla="*/ 8 h 82"/>
                      <a:gd name="T70" fmla="*/ 8 w 52"/>
                      <a:gd name="T71" fmla="*/ 8 h 82"/>
                      <a:gd name="T72" fmla="*/ 30 w 52"/>
                      <a:gd name="T73" fmla="*/ 14 h 82"/>
                      <a:gd name="T74" fmla="*/ 30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0 w 52"/>
                      <a:gd name="T89" fmla="*/ 66 h 82"/>
                      <a:gd name="T90" fmla="*/ 30 w 52"/>
                      <a:gd name="T91" fmla="*/ 66 h 82"/>
                      <a:gd name="T92" fmla="*/ 26 w 52"/>
                      <a:gd name="T93" fmla="*/ 68 h 82"/>
                      <a:gd name="T94" fmla="*/ 26 w 52"/>
                      <a:gd name="T95" fmla="*/ 68 h 82"/>
                      <a:gd name="T96" fmla="*/ 20 w 52"/>
                      <a:gd name="T97" fmla="*/ 66 h 82"/>
                      <a:gd name="T98" fmla="*/ 20 w 52"/>
                      <a:gd name="T99" fmla="*/ 66 h 82"/>
                      <a:gd name="T100" fmla="*/ 16 w 52"/>
                      <a:gd name="T101" fmla="*/ 60 h 82"/>
                      <a:gd name="T102" fmla="*/ 16 w 52"/>
                      <a:gd name="T103" fmla="*/ 60 h 82"/>
                      <a:gd name="T104" fmla="*/ 16 w 52"/>
                      <a:gd name="T105" fmla="*/ 40 h 82"/>
                      <a:gd name="T106" fmla="*/ 16 w 52"/>
                      <a:gd name="T107" fmla="*/ 40 h 82"/>
                      <a:gd name="T108" fmla="*/ 16 w 52"/>
                      <a:gd name="T109" fmla="*/ 20 h 82"/>
                      <a:gd name="T110" fmla="*/ 16 w 52"/>
                      <a:gd name="T111" fmla="*/ 20 h 82"/>
                      <a:gd name="T112" fmla="*/ 20 w 52"/>
                      <a:gd name="T113" fmla="*/ 14 h 82"/>
                      <a:gd name="T114" fmla="*/ 20 w 52"/>
                      <a:gd name="T115" fmla="*/ 14 h 82"/>
                      <a:gd name="T116" fmla="*/ 26 w 52"/>
                      <a:gd name="T117" fmla="*/ 12 h 82"/>
                      <a:gd name="T118" fmla="*/ 26 w 52"/>
                      <a:gd name="T119" fmla="*/ 12 h 82"/>
                      <a:gd name="T120" fmla="*/ 30 w 52"/>
                      <a:gd name="T121" fmla="*/ 14 h 82"/>
                      <a:gd name="T122" fmla="*/ 30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0" y="60"/>
                        </a:lnTo>
                        <a:lnTo>
                          <a:pt x="4" y="66"/>
                        </a:lnTo>
                        <a:lnTo>
                          <a:pt x="6" y="72"/>
                        </a:lnTo>
                        <a:lnTo>
                          <a:pt x="6" y="72"/>
                        </a:lnTo>
                        <a:lnTo>
                          <a:pt x="10" y="76"/>
                        </a:lnTo>
                        <a:lnTo>
                          <a:pt x="14"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4" y="2"/>
                        </a:lnTo>
                        <a:lnTo>
                          <a:pt x="10" y="4"/>
                        </a:lnTo>
                        <a:lnTo>
                          <a:pt x="8" y="8"/>
                        </a:lnTo>
                        <a:lnTo>
                          <a:pt x="8" y="8"/>
                        </a:lnTo>
                        <a:lnTo>
                          <a:pt x="8" y="8"/>
                        </a:lnTo>
                        <a:close/>
                        <a:moveTo>
                          <a:pt x="30" y="14"/>
                        </a:moveTo>
                        <a:lnTo>
                          <a:pt x="30" y="14"/>
                        </a:lnTo>
                        <a:lnTo>
                          <a:pt x="34" y="20"/>
                        </a:lnTo>
                        <a:lnTo>
                          <a:pt x="34" y="20"/>
                        </a:lnTo>
                        <a:lnTo>
                          <a:pt x="36" y="40"/>
                        </a:lnTo>
                        <a:lnTo>
                          <a:pt x="36" y="40"/>
                        </a:lnTo>
                        <a:lnTo>
                          <a:pt x="34" y="60"/>
                        </a:lnTo>
                        <a:lnTo>
                          <a:pt x="34" y="60"/>
                        </a:lnTo>
                        <a:lnTo>
                          <a:pt x="30" y="66"/>
                        </a:lnTo>
                        <a:lnTo>
                          <a:pt x="30" y="66"/>
                        </a:lnTo>
                        <a:lnTo>
                          <a:pt x="26" y="68"/>
                        </a:lnTo>
                        <a:lnTo>
                          <a:pt x="26" y="68"/>
                        </a:lnTo>
                        <a:lnTo>
                          <a:pt x="20" y="66"/>
                        </a:lnTo>
                        <a:lnTo>
                          <a:pt x="20" y="66"/>
                        </a:lnTo>
                        <a:lnTo>
                          <a:pt x="16" y="60"/>
                        </a:lnTo>
                        <a:lnTo>
                          <a:pt x="16" y="60"/>
                        </a:lnTo>
                        <a:lnTo>
                          <a:pt x="16" y="40"/>
                        </a:lnTo>
                        <a:lnTo>
                          <a:pt x="16" y="40"/>
                        </a:lnTo>
                        <a:lnTo>
                          <a:pt x="16" y="20"/>
                        </a:lnTo>
                        <a:lnTo>
                          <a:pt x="16" y="20"/>
                        </a:lnTo>
                        <a:lnTo>
                          <a:pt x="20" y="14"/>
                        </a:lnTo>
                        <a:lnTo>
                          <a:pt x="20" y="14"/>
                        </a:lnTo>
                        <a:lnTo>
                          <a:pt x="26" y="12"/>
                        </a:lnTo>
                        <a:lnTo>
                          <a:pt x="26" y="12"/>
                        </a:lnTo>
                        <a:lnTo>
                          <a:pt x="30" y="14"/>
                        </a:lnTo>
                        <a:lnTo>
                          <a:pt x="30" y="14"/>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grpSp>
            <p:grpSp>
              <p:nvGrpSpPr>
                <p:cNvPr id="165" name="Group 164"/>
                <p:cNvGrpSpPr/>
                <p:nvPr/>
              </p:nvGrpSpPr>
              <p:grpSpPr>
                <a:xfrm>
                  <a:off x="9922839" y="3409746"/>
                  <a:ext cx="401132" cy="466142"/>
                  <a:chOff x="0" y="290443"/>
                  <a:chExt cx="5342785" cy="6208664"/>
                </a:xfrm>
                <a:solidFill>
                  <a:schemeClr val="accent4"/>
                </a:solidFill>
              </p:grpSpPr>
              <p:sp>
                <p:nvSpPr>
                  <p:cNvPr id="310" name="Freeform 309"/>
                  <p:cNvSpPr/>
                  <p:nvPr/>
                </p:nvSpPr>
                <p:spPr>
                  <a:xfrm>
                    <a:off x="55503" y="2713245"/>
                    <a:ext cx="3902796" cy="983072"/>
                  </a:xfrm>
                  <a:custGeom>
                    <a:avLst/>
                    <a:gdLst>
                      <a:gd name="connsiteX0" fmla="*/ 815950 w 3902796"/>
                      <a:gd name="connsiteY0" fmla="*/ 0 h 983072"/>
                      <a:gd name="connsiteX1" fmla="*/ 2506833 w 3902796"/>
                      <a:gd name="connsiteY1" fmla="*/ 206444 h 983072"/>
                      <a:gd name="connsiteX2" fmla="*/ 2593933 w 3902796"/>
                      <a:gd name="connsiteY2" fmla="*/ 230366 h 983072"/>
                      <a:gd name="connsiteX3" fmla="*/ 2593933 w 3902796"/>
                      <a:gd name="connsiteY3" fmla="*/ 598281 h 983072"/>
                      <a:gd name="connsiteX4" fmla="*/ 3276558 w 3902796"/>
                      <a:gd name="connsiteY4" fmla="*/ 569706 h 983072"/>
                      <a:gd name="connsiteX5" fmla="*/ 3276558 w 3902796"/>
                      <a:gd name="connsiteY5" fmla="*/ 417848 h 983072"/>
                      <a:gd name="connsiteX6" fmla="*/ 3902796 w 3902796"/>
                      <a:gd name="connsiteY6" fmla="*/ 589843 h 983072"/>
                      <a:gd name="connsiteX7" fmla="*/ 3185151 w 3902796"/>
                      <a:gd name="connsiteY7" fmla="*/ 983072 h 983072"/>
                      <a:gd name="connsiteX8" fmla="*/ 1356640 w 3902796"/>
                      <a:gd name="connsiteY8" fmla="*/ 786458 h 983072"/>
                      <a:gd name="connsiteX9" fmla="*/ 0 w 3902796"/>
                      <a:gd name="connsiteY9" fmla="*/ 324413 h 983072"/>
                      <a:gd name="connsiteX10" fmla="*/ 815950 w 3902796"/>
                      <a:gd name="connsiteY10" fmla="*/ 0 h 98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02796" h="983072">
                        <a:moveTo>
                          <a:pt x="815950" y="0"/>
                        </a:moveTo>
                        <a:lnTo>
                          <a:pt x="2506833" y="206444"/>
                        </a:lnTo>
                        <a:lnTo>
                          <a:pt x="2593933" y="230366"/>
                        </a:lnTo>
                        <a:lnTo>
                          <a:pt x="2593933" y="598281"/>
                        </a:lnTo>
                        <a:cubicBezTo>
                          <a:pt x="2824650" y="852281"/>
                          <a:pt x="3261741" y="668131"/>
                          <a:pt x="3276558" y="569706"/>
                        </a:cubicBezTo>
                        <a:lnTo>
                          <a:pt x="3276558" y="417848"/>
                        </a:lnTo>
                        <a:lnTo>
                          <a:pt x="3902796" y="589843"/>
                        </a:lnTo>
                        <a:lnTo>
                          <a:pt x="3185151" y="983072"/>
                        </a:lnTo>
                        <a:lnTo>
                          <a:pt x="1356640" y="786458"/>
                        </a:lnTo>
                        <a:lnTo>
                          <a:pt x="0" y="324413"/>
                        </a:lnTo>
                        <a:lnTo>
                          <a:pt x="815950" y="0"/>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11" name="Freeform 310"/>
                  <p:cNvSpPr/>
                  <p:nvPr/>
                </p:nvSpPr>
                <p:spPr>
                  <a:xfrm>
                    <a:off x="0" y="3057317"/>
                    <a:ext cx="3975088" cy="3441790"/>
                  </a:xfrm>
                  <a:custGeom>
                    <a:avLst/>
                    <a:gdLst>
                      <a:gd name="connsiteX0" fmla="*/ 1376261 w 3968738"/>
                      <a:gd name="connsiteY0" fmla="*/ 2892742 h 3371940"/>
                      <a:gd name="connsiteX1" fmla="*/ 1376261 w 3968738"/>
                      <a:gd name="connsiteY1" fmla="*/ 3030855 h 3371940"/>
                      <a:gd name="connsiteX2" fmla="*/ 3209824 w 3968738"/>
                      <a:gd name="connsiteY2" fmla="*/ 3235642 h 3371940"/>
                      <a:gd name="connsiteX3" fmla="*/ 3209824 w 3968738"/>
                      <a:gd name="connsiteY3" fmla="*/ 3078480 h 3371940"/>
                      <a:gd name="connsiteX4" fmla="*/ 1376261 w 3968738"/>
                      <a:gd name="connsiteY4" fmla="*/ 2892742 h 3371940"/>
                      <a:gd name="connsiteX5" fmla="*/ 1376261 w 3968738"/>
                      <a:gd name="connsiteY5" fmla="*/ 2592463 h 3371940"/>
                      <a:gd name="connsiteX6" fmla="*/ 1376261 w 3968738"/>
                      <a:gd name="connsiteY6" fmla="*/ 2730576 h 3371940"/>
                      <a:gd name="connsiteX7" fmla="*/ 3209824 w 3968738"/>
                      <a:gd name="connsiteY7" fmla="*/ 2935363 h 3371940"/>
                      <a:gd name="connsiteX8" fmla="*/ 3209824 w 3968738"/>
                      <a:gd name="connsiteY8" fmla="*/ 2778201 h 3371940"/>
                      <a:gd name="connsiteX9" fmla="*/ 1376261 w 3968738"/>
                      <a:gd name="connsiteY9" fmla="*/ 2592463 h 3371940"/>
                      <a:gd name="connsiteX10" fmla="*/ 1376261 w 3968738"/>
                      <a:gd name="connsiteY10" fmla="*/ 2292183 h 3371940"/>
                      <a:gd name="connsiteX11" fmla="*/ 1376261 w 3968738"/>
                      <a:gd name="connsiteY11" fmla="*/ 2430296 h 3371940"/>
                      <a:gd name="connsiteX12" fmla="*/ 3209824 w 3968738"/>
                      <a:gd name="connsiteY12" fmla="*/ 2635083 h 3371940"/>
                      <a:gd name="connsiteX13" fmla="*/ 3209824 w 3968738"/>
                      <a:gd name="connsiteY13" fmla="*/ 2477921 h 3371940"/>
                      <a:gd name="connsiteX14" fmla="*/ 1376261 w 3968738"/>
                      <a:gd name="connsiteY14" fmla="*/ 2292183 h 3371940"/>
                      <a:gd name="connsiteX15" fmla="*/ 1376261 w 3968738"/>
                      <a:gd name="connsiteY15" fmla="*/ 1991903 h 3371940"/>
                      <a:gd name="connsiteX16" fmla="*/ 1376261 w 3968738"/>
                      <a:gd name="connsiteY16" fmla="*/ 2130016 h 3371940"/>
                      <a:gd name="connsiteX17" fmla="*/ 3209824 w 3968738"/>
                      <a:gd name="connsiteY17" fmla="*/ 2334803 h 3371940"/>
                      <a:gd name="connsiteX18" fmla="*/ 3209824 w 3968738"/>
                      <a:gd name="connsiteY18" fmla="*/ 2177641 h 3371940"/>
                      <a:gd name="connsiteX19" fmla="*/ 1376261 w 3968738"/>
                      <a:gd name="connsiteY19" fmla="*/ 1991903 h 3371940"/>
                      <a:gd name="connsiteX20" fmla="*/ 1376261 w 3968738"/>
                      <a:gd name="connsiteY20" fmla="*/ 1691623 h 3371940"/>
                      <a:gd name="connsiteX21" fmla="*/ 1376261 w 3968738"/>
                      <a:gd name="connsiteY21" fmla="*/ 1829736 h 3371940"/>
                      <a:gd name="connsiteX22" fmla="*/ 3209824 w 3968738"/>
                      <a:gd name="connsiteY22" fmla="*/ 2034523 h 3371940"/>
                      <a:gd name="connsiteX23" fmla="*/ 3209824 w 3968738"/>
                      <a:gd name="connsiteY23" fmla="*/ 1877361 h 3371940"/>
                      <a:gd name="connsiteX24" fmla="*/ 1376261 w 3968738"/>
                      <a:gd name="connsiteY24" fmla="*/ 1691623 h 3371940"/>
                      <a:gd name="connsiteX25" fmla="*/ 1376261 w 3968738"/>
                      <a:gd name="connsiteY25" fmla="*/ 1391343 h 3371940"/>
                      <a:gd name="connsiteX26" fmla="*/ 1376261 w 3968738"/>
                      <a:gd name="connsiteY26" fmla="*/ 1529456 h 3371940"/>
                      <a:gd name="connsiteX27" fmla="*/ 3209824 w 3968738"/>
                      <a:gd name="connsiteY27" fmla="*/ 1734243 h 3371940"/>
                      <a:gd name="connsiteX28" fmla="*/ 3209824 w 3968738"/>
                      <a:gd name="connsiteY28" fmla="*/ 1577081 h 3371940"/>
                      <a:gd name="connsiteX29" fmla="*/ 1376261 w 3968738"/>
                      <a:gd name="connsiteY29" fmla="*/ 1391343 h 3371940"/>
                      <a:gd name="connsiteX30" fmla="*/ 1366736 w 3968738"/>
                      <a:gd name="connsiteY30" fmla="*/ 1095826 h 3371940"/>
                      <a:gd name="connsiteX31" fmla="*/ 1366736 w 3968738"/>
                      <a:gd name="connsiteY31" fmla="*/ 1248226 h 3371940"/>
                      <a:gd name="connsiteX32" fmla="*/ 3200299 w 3968738"/>
                      <a:gd name="connsiteY32" fmla="*/ 1433963 h 3371940"/>
                      <a:gd name="connsiteX33" fmla="*/ 3200299 w 3968738"/>
                      <a:gd name="connsiteY33" fmla="*/ 1281563 h 3371940"/>
                      <a:gd name="connsiteX34" fmla="*/ 1366736 w 3968738"/>
                      <a:gd name="connsiteY34" fmla="*/ 1095826 h 3371940"/>
                      <a:gd name="connsiteX35" fmla="*/ 1376261 w 3968738"/>
                      <a:gd name="connsiteY35" fmla="*/ 781258 h 3371940"/>
                      <a:gd name="connsiteX36" fmla="*/ 1376261 w 3968738"/>
                      <a:gd name="connsiteY36" fmla="*/ 947946 h 3371940"/>
                      <a:gd name="connsiteX37" fmla="*/ 3200299 w 3968738"/>
                      <a:gd name="connsiteY37" fmla="*/ 1138446 h 3371940"/>
                      <a:gd name="connsiteX38" fmla="*/ 3200299 w 3968738"/>
                      <a:gd name="connsiteY38" fmla="*/ 981283 h 3371940"/>
                      <a:gd name="connsiteX39" fmla="*/ 1376261 w 3968738"/>
                      <a:gd name="connsiteY39" fmla="*/ 781258 h 3371940"/>
                      <a:gd name="connsiteX40" fmla="*/ 0 w 3968738"/>
                      <a:gd name="connsiteY40" fmla="*/ 0 h 3371940"/>
                      <a:gd name="connsiteX41" fmla="*/ 1405793 w 3968738"/>
                      <a:gd name="connsiteY41" fmla="*/ 481708 h 3371940"/>
                      <a:gd name="connsiteX42" fmla="*/ 3244138 w 3968738"/>
                      <a:gd name="connsiteY42" fmla="*/ 678322 h 3371940"/>
                      <a:gd name="connsiteX43" fmla="*/ 3961779 w 3968738"/>
                      <a:gd name="connsiteY43" fmla="*/ 285094 h 3371940"/>
                      <a:gd name="connsiteX44" fmla="*/ 3968738 w 3968738"/>
                      <a:gd name="connsiteY44" fmla="*/ 2924852 h 3371940"/>
                      <a:gd name="connsiteX45" fmla="*/ 3234304 w 3968738"/>
                      <a:gd name="connsiteY45" fmla="*/ 3371940 h 3371940"/>
                      <a:gd name="connsiteX46" fmla="*/ 1327148 w 3968738"/>
                      <a:gd name="connsiteY46" fmla="*/ 3175326 h 3371940"/>
                      <a:gd name="connsiteX47" fmla="*/ 0 w 3968738"/>
                      <a:gd name="connsiteY47" fmla="*/ 2614972 h 3371940"/>
                      <a:gd name="connsiteX48" fmla="*/ 0 w 3968738"/>
                      <a:gd name="connsiteY48" fmla="*/ 0 h 3371940"/>
                      <a:gd name="connsiteX0" fmla="*/ 1376261 w 3968738"/>
                      <a:gd name="connsiteY0" fmla="*/ 2892742 h 3441790"/>
                      <a:gd name="connsiteX1" fmla="*/ 1376261 w 3968738"/>
                      <a:gd name="connsiteY1" fmla="*/ 3030855 h 3441790"/>
                      <a:gd name="connsiteX2" fmla="*/ 3209824 w 3968738"/>
                      <a:gd name="connsiteY2" fmla="*/ 3235642 h 3441790"/>
                      <a:gd name="connsiteX3" fmla="*/ 3209824 w 3968738"/>
                      <a:gd name="connsiteY3" fmla="*/ 3078480 h 3441790"/>
                      <a:gd name="connsiteX4" fmla="*/ 1376261 w 3968738"/>
                      <a:gd name="connsiteY4" fmla="*/ 2892742 h 3441790"/>
                      <a:gd name="connsiteX5" fmla="*/ 1376261 w 3968738"/>
                      <a:gd name="connsiteY5" fmla="*/ 2592463 h 3441790"/>
                      <a:gd name="connsiteX6" fmla="*/ 1376261 w 3968738"/>
                      <a:gd name="connsiteY6" fmla="*/ 2730576 h 3441790"/>
                      <a:gd name="connsiteX7" fmla="*/ 3209824 w 3968738"/>
                      <a:gd name="connsiteY7" fmla="*/ 2935363 h 3441790"/>
                      <a:gd name="connsiteX8" fmla="*/ 3209824 w 3968738"/>
                      <a:gd name="connsiteY8" fmla="*/ 2778201 h 3441790"/>
                      <a:gd name="connsiteX9" fmla="*/ 1376261 w 3968738"/>
                      <a:gd name="connsiteY9" fmla="*/ 2592463 h 3441790"/>
                      <a:gd name="connsiteX10" fmla="*/ 1376261 w 3968738"/>
                      <a:gd name="connsiteY10" fmla="*/ 2292183 h 3441790"/>
                      <a:gd name="connsiteX11" fmla="*/ 1376261 w 3968738"/>
                      <a:gd name="connsiteY11" fmla="*/ 2430296 h 3441790"/>
                      <a:gd name="connsiteX12" fmla="*/ 3209824 w 3968738"/>
                      <a:gd name="connsiteY12" fmla="*/ 2635083 h 3441790"/>
                      <a:gd name="connsiteX13" fmla="*/ 3209824 w 3968738"/>
                      <a:gd name="connsiteY13" fmla="*/ 2477921 h 3441790"/>
                      <a:gd name="connsiteX14" fmla="*/ 1376261 w 3968738"/>
                      <a:gd name="connsiteY14" fmla="*/ 2292183 h 3441790"/>
                      <a:gd name="connsiteX15" fmla="*/ 1376261 w 3968738"/>
                      <a:gd name="connsiteY15" fmla="*/ 1991903 h 3441790"/>
                      <a:gd name="connsiteX16" fmla="*/ 1376261 w 3968738"/>
                      <a:gd name="connsiteY16" fmla="*/ 2130016 h 3441790"/>
                      <a:gd name="connsiteX17" fmla="*/ 3209824 w 3968738"/>
                      <a:gd name="connsiteY17" fmla="*/ 2334803 h 3441790"/>
                      <a:gd name="connsiteX18" fmla="*/ 3209824 w 3968738"/>
                      <a:gd name="connsiteY18" fmla="*/ 2177641 h 3441790"/>
                      <a:gd name="connsiteX19" fmla="*/ 1376261 w 3968738"/>
                      <a:gd name="connsiteY19" fmla="*/ 1991903 h 3441790"/>
                      <a:gd name="connsiteX20" fmla="*/ 1376261 w 3968738"/>
                      <a:gd name="connsiteY20" fmla="*/ 1691623 h 3441790"/>
                      <a:gd name="connsiteX21" fmla="*/ 1376261 w 3968738"/>
                      <a:gd name="connsiteY21" fmla="*/ 1829736 h 3441790"/>
                      <a:gd name="connsiteX22" fmla="*/ 3209824 w 3968738"/>
                      <a:gd name="connsiteY22" fmla="*/ 2034523 h 3441790"/>
                      <a:gd name="connsiteX23" fmla="*/ 3209824 w 3968738"/>
                      <a:gd name="connsiteY23" fmla="*/ 1877361 h 3441790"/>
                      <a:gd name="connsiteX24" fmla="*/ 1376261 w 3968738"/>
                      <a:gd name="connsiteY24" fmla="*/ 1691623 h 3441790"/>
                      <a:gd name="connsiteX25" fmla="*/ 1376261 w 3968738"/>
                      <a:gd name="connsiteY25" fmla="*/ 1391343 h 3441790"/>
                      <a:gd name="connsiteX26" fmla="*/ 1376261 w 3968738"/>
                      <a:gd name="connsiteY26" fmla="*/ 1529456 h 3441790"/>
                      <a:gd name="connsiteX27" fmla="*/ 3209824 w 3968738"/>
                      <a:gd name="connsiteY27" fmla="*/ 1734243 h 3441790"/>
                      <a:gd name="connsiteX28" fmla="*/ 3209824 w 3968738"/>
                      <a:gd name="connsiteY28" fmla="*/ 1577081 h 3441790"/>
                      <a:gd name="connsiteX29" fmla="*/ 1376261 w 3968738"/>
                      <a:gd name="connsiteY29" fmla="*/ 1391343 h 3441790"/>
                      <a:gd name="connsiteX30" fmla="*/ 1366736 w 3968738"/>
                      <a:gd name="connsiteY30" fmla="*/ 1095826 h 3441790"/>
                      <a:gd name="connsiteX31" fmla="*/ 1366736 w 3968738"/>
                      <a:gd name="connsiteY31" fmla="*/ 1248226 h 3441790"/>
                      <a:gd name="connsiteX32" fmla="*/ 3200299 w 3968738"/>
                      <a:gd name="connsiteY32" fmla="*/ 1433963 h 3441790"/>
                      <a:gd name="connsiteX33" fmla="*/ 3200299 w 3968738"/>
                      <a:gd name="connsiteY33" fmla="*/ 1281563 h 3441790"/>
                      <a:gd name="connsiteX34" fmla="*/ 1366736 w 3968738"/>
                      <a:gd name="connsiteY34" fmla="*/ 1095826 h 3441790"/>
                      <a:gd name="connsiteX35" fmla="*/ 1376261 w 3968738"/>
                      <a:gd name="connsiteY35" fmla="*/ 781258 h 3441790"/>
                      <a:gd name="connsiteX36" fmla="*/ 1376261 w 3968738"/>
                      <a:gd name="connsiteY36" fmla="*/ 947946 h 3441790"/>
                      <a:gd name="connsiteX37" fmla="*/ 3200299 w 3968738"/>
                      <a:gd name="connsiteY37" fmla="*/ 1138446 h 3441790"/>
                      <a:gd name="connsiteX38" fmla="*/ 3200299 w 3968738"/>
                      <a:gd name="connsiteY38" fmla="*/ 981283 h 3441790"/>
                      <a:gd name="connsiteX39" fmla="*/ 1376261 w 3968738"/>
                      <a:gd name="connsiteY39" fmla="*/ 781258 h 3441790"/>
                      <a:gd name="connsiteX40" fmla="*/ 0 w 3968738"/>
                      <a:gd name="connsiteY40" fmla="*/ 0 h 3441790"/>
                      <a:gd name="connsiteX41" fmla="*/ 1405793 w 3968738"/>
                      <a:gd name="connsiteY41" fmla="*/ 481708 h 3441790"/>
                      <a:gd name="connsiteX42" fmla="*/ 3244138 w 3968738"/>
                      <a:gd name="connsiteY42" fmla="*/ 678322 h 3441790"/>
                      <a:gd name="connsiteX43" fmla="*/ 3961779 w 3968738"/>
                      <a:gd name="connsiteY43" fmla="*/ 285094 h 3441790"/>
                      <a:gd name="connsiteX44" fmla="*/ 3968738 w 3968738"/>
                      <a:gd name="connsiteY44" fmla="*/ 2924852 h 3441790"/>
                      <a:gd name="connsiteX45" fmla="*/ 3240654 w 3968738"/>
                      <a:gd name="connsiteY45" fmla="*/ 3441790 h 3441790"/>
                      <a:gd name="connsiteX46" fmla="*/ 1327148 w 3968738"/>
                      <a:gd name="connsiteY46" fmla="*/ 3175326 h 3441790"/>
                      <a:gd name="connsiteX47" fmla="*/ 0 w 3968738"/>
                      <a:gd name="connsiteY47" fmla="*/ 2614972 h 3441790"/>
                      <a:gd name="connsiteX48" fmla="*/ 0 w 3968738"/>
                      <a:gd name="connsiteY48" fmla="*/ 0 h 3441790"/>
                      <a:gd name="connsiteX0" fmla="*/ 1376261 w 3968738"/>
                      <a:gd name="connsiteY0" fmla="*/ 2892742 h 3441790"/>
                      <a:gd name="connsiteX1" fmla="*/ 1376261 w 3968738"/>
                      <a:gd name="connsiteY1" fmla="*/ 3030855 h 3441790"/>
                      <a:gd name="connsiteX2" fmla="*/ 3209824 w 3968738"/>
                      <a:gd name="connsiteY2" fmla="*/ 3235642 h 3441790"/>
                      <a:gd name="connsiteX3" fmla="*/ 3209824 w 3968738"/>
                      <a:gd name="connsiteY3" fmla="*/ 3078480 h 3441790"/>
                      <a:gd name="connsiteX4" fmla="*/ 1376261 w 3968738"/>
                      <a:gd name="connsiteY4" fmla="*/ 2892742 h 3441790"/>
                      <a:gd name="connsiteX5" fmla="*/ 1376261 w 3968738"/>
                      <a:gd name="connsiteY5" fmla="*/ 2592463 h 3441790"/>
                      <a:gd name="connsiteX6" fmla="*/ 1376261 w 3968738"/>
                      <a:gd name="connsiteY6" fmla="*/ 2730576 h 3441790"/>
                      <a:gd name="connsiteX7" fmla="*/ 3209824 w 3968738"/>
                      <a:gd name="connsiteY7" fmla="*/ 2935363 h 3441790"/>
                      <a:gd name="connsiteX8" fmla="*/ 3209824 w 3968738"/>
                      <a:gd name="connsiteY8" fmla="*/ 2778201 h 3441790"/>
                      <a:gd name="connsiteX9" fmla="*/ 1376261 w 3968738"/>
                      <a:gd name="connsiteY9" fmla="*/ 2592463 h 3441790"/>
                      <a:gd name="connsiteX10" fmla="*/ 1376261 w 3968738"/>
                      <a:gd name="connsiteY10" fmla="*/ 2292183 h 3441790"/>
                      <a:gd name="connsiteX11" fmla="*/ 1376261 w 3968738"/>
                      <a:gd name="connsiteY11" fmla="*/ 2430296 h 3441790"/>
                      <a:gd name="connsiteX12" fmla="*/ 3209824 w 3968738"/>
                      <a:gd name="connsiteY12" fmla="*/ 2635083 h 3441790"/>
                      <a:gd name="connsiteX13" fmla="*/ 3209824 w 3968738"/>
                      <a:gd name="connsiteY13" fmla="*/ 2477921 h 3441790"/>
                      <a:gd name="connsiteX14" fmla="*/ 1376261 w 3968738"/>
                      <a:gd name="connsiteY14" fmla="*/ 2292183 h 3441790"/>
                      <a:gd name="connsiteX15" fmla="*/ 1376261 w 3968738"/>
                      <a:gd name="connsiteY15" fmla="*/ 1991903 h 3441790"/>
                      <a:gd name="connsiteX16" fmla="*/ 1376261 w 3968738"/>
                      <a:gd name="connsiteY16" fmla="*/ 2130016 h 3441790"/>
                      <a:gd name="connsiteX17" fmla="*/ 3209824 w 3968738"/>
                      <a:gd name="connsiteY17" fmla="*/ 2334803 h 3441790"/>
                      <a:gd name="connsiteX18" fmla="*/ 3209824 w 3968738"/>
                      <a:gd name="connsiteY18" fmla="*/ 2177641 h 3441790"/>
                      <a:gd name="connsiteX19" fmla="*/ 1376261 w 3968738"/>
                      <a:gd name="connsiteY19" fmla="*/ 1991903 h 3441790"/>
                      <a:gd name="connsiteX20" fmla="*/ 1376261 w 3968738"/>
                      <a:gd name="connsiteY20" fmla="*/ 1691623 h 3441790"/>
                      <a:gd name="connsiteX21" fmla="*/ 1376261 w 3968738"/>
                      <a:gd name="connsiteY21" fmla="*/ 1829736 h 3441790"/>
                      <a:gd name="connsiteX22" fmla="*/ 3209824 w 3968738"/>
                      <a:gd name="connsiteY22" fmla="*/ 2034523 h 3441790"/>
                      <a:gd name="connsiteX23" fmla="*/ 3209824 w 3968738"/>
                      <a:gd name="connsiteY23" fmla="*/ 1877361 h 3441790"/>
                      <a:gd name="connsiteX24" fmla="*/ 1376261 w 3968738"/>
                      <a:gd name="connsiteY24" fmla="*/ 1691623 h 3441790"/>
                      <a:gd name="connsiteX25" fmla="*/ 1376261 w 3968738"/>
                      <a:gd name="connsiteY25" fmla="*/ 1391343 h 3441790"/>
                      <a:gd name="connsiteX26" fmla="*/ 1376261 w 3968738"/>
                      <a:gd name="connsiteY26" fmla="*/ 1529456 h 3441790"/>
                      <a:gd name="connsiteX27" fmla="*/ 3209824 w 3968738"/>
                      <a:gd name="connsiteY27" fmla="*/ 1734243 h 3441790"/>
                      <a:gd name="connsiteX28" fmla="*/ 3209824 w 3968738"/>
                      <a:gd name="connsiteY28" fmla="*/ 1577081 h 3441790"/>
                      <a:gd name="connsiteX29" fmla="*/ 1376261 w 3968738"/>
                      <a:gd name="connsiteY29" fmla="*/ 1391343 h 3441790"/>
                      <a:gd name="connsiteX30" fmla="*/ 1366736 w 3968738"/>
                      <a:gd name="connsiteY30" fmla="*/ 1095826 h 3441790"/>
                      <a:gd name="connsiteX31" fmla="*/ 1366736 w 3968738"/>
                      <a:gd name="connsiteY31" fmla="*/ 1248226 h 3441790"/>
                      <a:gd name="connsiteX32" fmla="*/ 3200299 w 3968738"/>
                      <a:gd name="connsiteY32" fmla="*/ 1433963 h 3441790"/>
                      <a:gd name="connsiteX33" fmla="*/ 3200299 w 3968738"/>
                      <a:gd name="connsiteY33" fmla="*/ 1281563 h 3441790"/>
                      <a:gd name="connsiteX34" fmla="*/ 1366736 w 3968738"/>
                      <a:gd name="connsiteY34" fmla="*/ 1095826 h 3441790"/>
                      <a:gd name="connsiteX35" fmla="*/ 1376261 w 3968738"/>
                      <a:gd name="connsiteY35" fmla="*/ 781258 h 3441790"/>
                      <a:gd name="connsiteX36" fmla="*/ 1376261 w 3968738"/>
                      <a:gd name="connsiteY36" fmla="*/ 947946 h 3441790"/>
                      <a:gd name="connsiteX37" fmla="*/ 3200299 w 3968738"/>
                      <a:gd name="connsiteY37" fmla="*/ 1138446 h 3441790"/>
                      <a:gd name="connsiteX38" fmla="*/ 3200299 w 3968738"/>
                      <a:gd name="connsiteY38" fmla="*/ 981283 h 3441790"/>
                      <a:gd name="connsiteX39" fmla="*/ 1376261 w 3968738"/>
                      <a:gd name="connsiteY39" fmla="*/ 781258 h 3441790"/>
                      <a:gd name="connsiteX40" fmla="*/ 0 w 3968738"/>
                      <a:gd name="connsiteY40" fmla="*/ 0 h 3441790"/>
                      <a:gd name="connsiteX41" fmla="*/ 1405793 w 3968738"/>
                      <a:gd name="connsiteY41" fmla="*/ 481708 h 3441790"/>
                      <a:gd name="connsiteX42" fmla="*/ 3244138 w 3968738"/>
                      <a:gd name="connsiteY42" fmla="*/ 678322 h 3441790"/>
                      <a:gd name="connsiteX43" fmla="*/ 3961779 w 3968738"/>
                      <a:gd name="connsiteY43" fmla="*/ 285094 h 3441790"/>
                      <a:gd name="connsiteX44" fmla="*/ 3968738 w 3968738"/>
                      <a:gd name="connsiteY44" fmla="*/ 2924852 h 3441790"/>
                      <a:gd name="connsiteX45" fmla="*/ 3266054 w 3968738"/>
                      <a:gd name="connsiteY45" fmla="*/ 3441790 h 3441790"/>
                      <a:gd name="connsiteX46" fmla="*/ 1327148 w 3968738"/>
                      <a:gd name="connsiteY46" fmla="*/ 3175326 h 3441790"/>
                      <a:gd name="connsiteX47" fmla="*/ 0 w 3968738"/>
                      <a:gd name="connsiteY47" fmla="*/ 2614972 h 3441790"/>
                      <a:gd name="connsiteX48" fmla="*/ 0 w 3968738"/>
                      <a:gd name="connsiteY48" fmla="*/ 0 h 3441790"/>
                      <a:gd name="connsiteX0" fmla="*/ 1376261 w 3968738"/>
                      <a:gd name="connsiteY0" fmla="*/ 2892742 h 3441790"/>
                      <a:gd name="connsiteX1" fmla="*/ 1376261 w 3968738"/>
                      <a:gd name="connsiteY1" fmla="*/ 3030855 h 3441790"/>
                      <a:gd name="connsiteX2" fmla="*/ 3209824 w 3968738"/>
                      <a:gd name="connsiteY2" fmla="*/ 3235642 h 3441790"/>
                      <a:gd name="connsiteX3" fmla="*/ 3209824 w 3968738"/>
                      <a:gd name="connsiteY3" fmla="*/ 3078480 h 3441790"/>
                      <a:gd name="connsiteX4" fmla="*/ 1376261 w 3968738"/>
                      <a:gd name="connsiteY4" fmla="*/ 2892742 h 3441790"/>
                      <a:gd name="connsiteX5" fmla="*/ 1376261 w 3968738"/>
                      <a:gd name="connsiteY5" fmla="*/ 2592463 h 3441790"/>
                      <a:gd name="connsiteX6" fmla="*/ 1376261 w 3968738"/>
                      <a:gd name="connsiteY6" fmla="*/ 2730576 h 3441790"/>
                      <a:gd name="connsiteX7" fmla="*/ 3209824 w 3968738"/>
                      <a:gd name="connsiteY7" fmla="*/ 2935363 h 3441790"/>
                      <a:gd name="connsiteX8" fmla="*/ 3209824 w 3968738"/>
                      <a:gd name="connsiteY8" fmla="*/ 2778201 h 3441790"/>
                      <a:gd name="connsiteX9" fmla="*/ 1376261 w 3968738"/>
                      <a:gd name="connsiteY9" fmla="*/ 2592463 h 3441790"/>
                      <a:gd name="connsiteX10" fmla="*/ 1376261 w 3968738"/>
                      <a:gd name="connsiteY10" fmla="*/ 2292183 h 3441790"/>
                      <a:gd name="connsiteX11" fmla="*/ 1376261 w 3968738"/>
                      <a:gd name="connsiteY11" fmla="*/ 2430296 h 3441790"/>
                      <a:gd name="connsiteX12" fmla="*/ 3209824 w 3968738"/>
                      <a:gd name="connsiteY12" fmla="*/ 2635083 h 3441790"/>
                      <a:gd name="connsiteX13" fmla="*/ 3209824 w 3968738"/>
                      <a:gd name="connsiteY13" fmla="*/ 2477921 h 3441790"/>
                      <a:gd name="connsiteX14" fmla="*/ 1376261 w 3968738"/>
                      <a:gd name="connsiteY14" fmla="*/ 2292183 h 3441790"/>
                      <a:gd name="connsiteX15" fmla="*/ 1376261 w 3968738"/>
                      <a:gd name="connsiteY15" fmla="*/ 1991903 h 3441790"/>
                      <a:gd name="connsiteX16" fmla="*/ 1376261 w 3968738"/>
                      <a:gd name="connsiteY16" fmla="*/ 2130016 h 3441790"/>
                      <a:gd name="connsiteX17" fmla="*/ 3209824 w 3968738"/>
                      <a:gd name="connsiteY17" fmla="*/ 2334803 h 3441790"/>
                      <a:gd name="connsiteX18" fmla="*/ 3209824 w 3968738"/>
                      <a:gd name="connsiteY18" fmla="*/ 2177641 h 3441790"/>
                      <a:gd name="connsiteX19" fmla="*/ 1376261 w 3968738"/>
                      <a:gd name="connsiteY19" fmla="*/ 1991903 h 3441790"/>
                      <a:gd name="connsiteX20" fmla="*/ 1376261 w 3968738"/>
                      <a:gd name="connsiteY20" fmla="*/ 1691623 h 3441790"/>
                      <a:gd name="connsiteX21" fmla="*/ 1376261 w 3968738"/>
                      <a:gd name="connsiteY21" fmla="*/ 1829736 h 3441790"/>
                      <a:gd name="connsiteX22" fmla="*/ 3209824 w 3968738"/>
                      <a:gd name="connsiteY22" fmla="*/ 2034523 h 3441790"/>
                      <a:gd name="connsiteX23" fmla="*/ 3209824 w 3968738"/>
                      <a:gd name="connsiteY23" fmla="*/ 1877361 h 3441790"/>
                      <a:gd name="connsiteX24" fmla="*/ 1376261 w 3968738"/>
                      <a:gd name="connsiteY24" fmla="*/ 1691623 h 3441790"/>
                      <a:gd name="connsiteX25" fmla="*/ 1376261 w 3968738"/>
                      <a:gd name="connsiteY25" fmla="*/ 1391343 h 3441790"/>
                      <a:gd name="connsiteX26" fmla="*/ 1376261 w 3968738"/>
                      <a:gd name="connsiteY26" fmla="*/ 1529456 h 3441790"/>
                      <a:gd name="connsiteX27" fmla="*/ 3209824 w 3968738"/>
                      <a:gd name="connsiteY27" fmla="*/ 1734243 h 3441790"/>
                      <a:gd name="connsiteX28" fmla="*/ 3209824 w 3968738"/>
                      <a:gd name="connsiteY28" fmla="*/ 1577081 h 3441790"/>
                      <a:gd name="connsiteX29" fmla="*/ 1376261 w 3968738"/>
                      <a:gd name="connsiteY29" fmla="*/ 1391343 h 3441790"/>
                      <a:gd name="connsiteX30" fmla="*/ 1366736 w 3968738"/>
                      <a:gd name="connsiteY30" fmla="*/ 1095826 h 3441790"/>
                      <a:gd name="connsiteX31" fmla="*/ 1366736 w 3968738"/>
                      <a:gd name="connsiteY31" fmla="*/ 1248226 h 3441790"/>
                      <a:gd name="connsiteX32" fmla="*/ 3200299 w 3968738"/>
                      <a:gd name="connsiteY32" fmla="*/ 1433963 h 3441790"/>
                      <a:gd name="connsiteX33" fmla="*/ 3200299 w 3968738"/>
                      <a:gd name="connsiteY33" fmla="*/ 1281563 h 3441790"/>
                      <a:gd name="connsiteX34" fmla="*/ 1366736 w 3968738"/>
                      <a:gd name="connsiteY34" fmla="*/ 1095826 h 3441790"/>
                      <a:gd name="connsiteX35" fmla="*/ 1376261 w 3968738"/>
                      <a:gd name="connsiteY35" fmla="*/ 781258 h 3441790"/>
                      <a:gd name="connsiteX36" fmla="*/ 1376261 w 3968738"/>
                      <a:gd name="connsiteY36" fmla="*/ 947946 h 3441790"/>
                      <a:gd name="connsiteX37" fmla="*/ 3200299 w 3968738"/>
                      <a:gd name="connsiteY37" fmla="*/ 1138446 h 3441790"/>
                      <a:gd name="connsiteX38" fmla="*/ 3200299 w 3968738"/>
                      <a:gd name="connsiteY38" fmla="*/ 981283 h 3441790"/>
                      <a:gd name="connsiteX39" fmla="*/ 1376261 w 3968738"/>
                      <a:gd name="connsiteY39" fmla="*/ 781258 h 3441790"/>
                      <a:gd name="connsiteX40" fmla="*/ 0 w 3968738"/>
                      <a:gd name="connsiteY40" fmla="*/ 0 h 3441790"/>
                      <a:gd name="connsiteX41" fmla="*/ 1405793 w 3968738"/>
                      <a:gd name="connsiteY41" fmla="*/ 481708 h 3441790"/>
                      <a:gd name="connsiteX42" fmla="*/ 3244138 w 3968738"/>
                      <a:gd name="connsiteY42" fmla="*/ 678322 h 3441790"/>
                      <a:gd name="connsiteX43" fmla="*/ 3961779 w 3968738"/>
                      <a:gd name="connsiteY43" fmla="*/ 285094 h 3441790"/>
                      <a:gd name="connsiteX44" fmla="*/ 3968738 w 3968738"/>
                      <a:gd name="connsiteY44" fmla="*/ 2924852 h 3441790"/>
                      <a:gd name="connsiteX45" fmla="*/ 3266054 w 3968738"/>
                      <a:gd name="connsiteY45" fmla="*/ 3441790 h 3441790"/>
                      <a:gd name="connsiteX46" fmla="*/ 1320798 w 3968738"/>
                      <a:gd name="connsiteY46" fmla="*/ 3257876 h 3441790"/>
                      <a:gd name="connsiteX47" fmla="*/ 0 w 3968738"/>
                      <a:gd name="connsiteY47" fmla="*/ 2614972 h 3441790"/>
                      <a:gd name="connsiteX48" fmla="*/ 0 w 3968738"/>
                      <a:gd name="connsiteY48" fmla="*/ 0 h 3441790"/>
                      <a:gd name="connsiteX0" fmla="*/ 1376261 w 3968738"/>
                      <a:gd name="connsiteY0" fmla="*/ 2892742 h 3441790"/>
                      <a:gd name="connsiteX1" fmla="*/ 1376261 w 3968738"/>
                      <a:gd name="connsiteY1" fmla="*/ 3030855 h 3441790"/>
                      <a:gd name="connsiteX2" fmla="*/ 3209824 w 3968738"/>
                      <a:gd name="connsiteY2" fmla="*/ 3235642 h 3441790"/>
                      <a:gd name="connsiteX3" fmla="*/ 3209824 w 3968738"/>
                      <a:gd name="connsiteY3" fmla="*/ 3078480 h 3441790"/>
                      <a:gd name="connsiteX4" fmla="*/ 1376261 w 3968738"/>
                      <a:gd name="connsiteY4" fmla="*/ 2892742 h 3441790"/>
                      <a:gd name="connsiteX5" fmla="*/ 1376261 w 3968738"/>
                      <a:gd name="connsiteY5" fmla="*/ 2592463 h 3441790"/>
                      <a:gd name="connsiteX6" fmla="*/ 1376261 w 3968738"/>
                      <a:gd name="connsiteY6" fmla="*/ 2730576 h 3441790"/>
                      <a:gd name="connsiteX7" fmla="*/ 3209824 w 3968738"/>
                      <a:gd name="connsiteY7" fmla="*/ 2935363 h 3441790"/>
                      <a:gd name="connsiteX8" fmla="*/ 3209824 w 3968738"/>
                      <a:gd name="connsiteY8" fmla="*/ 2778201 h 3441790"/>
                      <a:gd name="connsiteX9" fmla="*/ 1376261 w 3968738"/>
                      <a:gd name="connsiteY9" fmla="*/ 2592463 h 3441790"/>
                      <a:gd name="connsiteX10" fmla="*/ 1376261 w 3968738"/>
                      <a:gd name="connsiteY10" fmla="*/ 2292183 h 3441790"/>
                      <a:gd name="connsiteX11" fmla="*/ 1376261 w 3968738"/>
                      <a:gd name="connsiteY11" fmla="*/ 2430296 h 3441790"/>
                      <a:gd name="connsiteX12" fmla="*/ 3209824 w 3968738"/>
                      <a:gd name="connsiteY12" fmla="*/ 2635083 h 3441790"/>
                      <a:gd name="connsiteX13" fmla="*/ 3209824 w 3968738"/>
                      <a:gd name="connsiteY13" fmla="*/ 2477921 h 3441790"/>
                      <a:gd name="connsiteX14" fmla="*/ 1376261 w 3968738"/>
                      <a:gd name="connsiteY14" fmla="*/ 2292183 h 3441790"/>
                      <a:gd name="connsiteX15" fmla="*/ 1376261 w 3968738"/>
                      <a:gd name="connsiteY15" fmla="*/ 1991903 h 3441790"/>
                      <a:gd name="connsiteX16" fmla="*/ 1376261 w 3968738"/>
                      <a:gd name="connsiteY16" fmla="*/ 2130016 h 3441790"/>
                      <a:gd name="connsiteX17" fmla="*/ 3209824 w 3968738"/>
                      <a:gd name="connsiteY17" fmla="*/ 2334803 h 3441790"/>
                      <a:gd name="connsiteX18" fmla="*/ 3209824 w 3968738"/>
                      <a:gd name="connsiteY18" fmla="*/ 2177641 h 3441790"/>
                      <a:gd name="connsiteX19" fmla="*/ 1376261 w 3968738"/>
                      <a:gd name="connsiteY19" fmla="*/ 1991903 h 3441790"/>
                      <a:gd name="connsiteX20" fmla="*/ 1376261 w 3968738"/>
                      <a:gd name="connsiteY20" fmla="*/ 1691623 h 3441790"/>
                      <a:gd name="connsiteX21" fmla="*/ 1376261 w 3968738"/>
                      <a:gd name="connsiteY21" fmla="*/ 1829736 h 3441790"/>
                      <a:gd name="connsiteX22" fmla="*/ 3209824 w 3968738"/>
                      <a:gd name="connsiteY22" fmla="*/ 2034523 h 3441790"/>
                      <a:gd name="connsiteX23" fmla="*/ 3209824 w 3968738"/>
                      <a:gd name="connsiteY23" fmla="*/ 1877361 h 3441790"/>
                      <a:gd name="connsiteX24" fmla="*/ 1376261 w 3968738"/>
                      <a:gd name="connsiteY24" fmla="*/ 1691623 h 3441790"/>
                      <a:gd name="connsiteX25" fmla="*/ 1376261 w 3968738"/>
                      <a:gd name="connsiteY25" fmla="*/ 1391343 h 3441790"/>
                      <a:gd name="connsiteX26" fmla="*/ 1376261 w 3968738"/>
                      <a:gd name="connsiteY26" fmla="*/ 1529456 h 3441790"/>
                      <a:gd name="connsiteX27" fmla="*/ 3209824 w 3968738"/>
                      <a:gd name="connsiteY27" fmla="*/ 1734243 h 3441790"/>
                      <a:gd name="connsiteX28" fmla="*/ 3209824 w 3968738"/>
                      <a:gd name="connsiteY28" fmla="*/ 1577081 h 3441790"/>
                      <a:gd name="connsiteX29" fmla="*/ 1376261 w 3968738"/>
                      <a:gd name="connsiteY29" fmla="*/ 1391343 h 3441790"/>
                      <a:gd name="connsiteX30" fmla="*/ 1366736 w 3968738"/>
                      <a:gd name="connsiteY30" fmla="*/ 1095826 h 3441790"/>
                      <a:gd name="connsiteX31" fmla="*/ 1366736 w 3968738"/>
                      <a:gd name="connsiteY31" fmla="*/ 1248226 h 3441790"/>
                      <a:gd name="connsiteX32" fmla="*/ 3200299 w 3968738"/>
                      <a:gd name="connsiteY32" fmla="*/ 1433963 h 3441790"/>
                      <a:gd name="connsiteX33" fmla="*/ 3200299 w 3968738"/>
                      <a:gd name="connsiteY33" fmla="*/ 1281563 h 3441790"/>
                      <a:gd name="connsiteX34" fmla="*/ 1366736 w 3968738"/>
                      <a:gd name="connsiteY34" fmla="*/ 1095826 h 3441790"/>
                      <a:gd name="connsiteX35" fmla="*/ 1376261 w 3968738"/>
                      <a:gd name="connsiteY35" fmla="*/ 781258 h 3441790"/>
                      <a:gd name="connsiteX36" fmla="*/ 1376261 w 3968738"/>
                      <a:gd name="connsiteY36" fmla="*/ 947946 h 3441790"/>
                      <a:gd name="connsiteX37" fmla="*/ 3200299 w 3968738"/>
                      <a:gd name="connsiteY37" fmla="*/ 1138446 h 3441790"/>
                      <a:gd name="connsiteX38" fmla="*/ 3200299 w 3968738"/>
                      <a:gd name="connsiteY38" fmla="*/ 981283 h 3441790"/>
                      <a:gd name="connsiteX39" fmla="*/ 1376261 w 3968738"/>
                      <a:gd name="connsiteY39" fmla="*/ 781258 h 3441790"/>
                      <a:gd name="connsiteX40" fmla="*/ 0 w 3968738"/>
                      <a:gd name="connsiteY40" fmla="*/ 0 h 3441790"/>
                      <a:gd name="connsiteX41" fmla="*/ 1405793 w 3968738"/>
                      <a:gd name="connsiteY41" fmla="*/ 481708 h 3441790"/>
                      <a:gd name="connsiteX42" fmla="*/ 3244138 w 3968738"/>
                      <a:gd name="connsiteY42" fmla="*/ 678322 h 3441790"/>
                      <a:gd name="connsiteX43" fmla="*/ 3961779 w 3968738"/>
                      <a:gd name="connsiteY43" fmla="*/ 285094 h 3441790"/>
                      <a:gd name="connsiteX44" fmla="*/ 3968738 w 3968738"/>
                      <a:gd name="connsiteY44" fmla="*/ 2924852 h 3441790"/>
                      <a:gd name="connsiteX45" fmla="*/ 3266054 w 3968738"/>
                      <a:gd name="connsiteY45" fmla="*/ 3441790 h 3441790"/>
                      <a:gd name="connsiteX46" fmla="*/ 1314448 w 3968738"/>
                      <a:gd name="connsiteY46" fmla="*/ 3232476 h 3441790"/>
                      <a:gd name="connsiteX47" fmla="*/ 0 w 3968738"/>
                      <a:gd name="connsiteY47" fmla="*/ 2614972 h 3441790"/>
                      <a:gd name="connsiteX48" fmla="*/ 0 w 3968738"/>
                      <a:gd name="connsiteY48" fmla="*/ 0 h 3441790"/>
                      <a:gd name="connsiteX0" fmla="*/ 1382611 w 3975088"/>
                      <a:gd name="connsiteY0" fmla="*/ 2892742 h 3441790"/>
                      <a:gd name="connsiteX1" fmla="*/ 1382611 w 3975088"/>
                      <a:gd name="connsiteY1" fmla="*/ 3030855 h 3441790"/>
                      <a:gd name="connsiteX2" fmla="*/ 3216174 w 3975088"/>
                      <a:gd name="connsiteY2" fmla="*/ 3235642 h 3441790"/>
                      <a:gd name="connsiteX3" fmla="*/ 3216174 w 3975088"/>
                      <a:gd name="connsiteY3" fmla="*/ 3078480 h 3441790"/>
                      <a:gd name="connsiteX4" fmla="*/ 1382611 w 3975088"/>
                      <a:gd name="connsiteY4" fmla="*/ 2892742 h 3441790"/>
                      <a:gd name="connsiteX5" fmla="*/ 1382611 w 3975088"/>
                      <a:gd name="connsiteY5" fmla="*/ 2592463 h 3441790"/>
                      <a:gd name="connsiteX6" fmla="*/ 1382611 w 3975088"/>
                      <a:gd name="connsiteY6" fmla="*/ 2730576 h 3441790"/>
                      <a:gd name="connsiteX7" fmla="*/ 3216174 w 3975088"/>
                      <a:gd name="connsiteY7" fmla="*/ 2935363 h 3441790"/>
                      <a:gd name="connsiteX8" fmla="*/ 3216174 w 3975088"/>
                      <a:gd name="connsiteY8" fmla="*/ 2778201 h 3441790"/>
                      <a:gd name="connsiteX9" fmla="*/ 1382611 w 3975088"/>
                      <a:gd name="connsiteY9" fmla="*/ 2592463 h 3441790"/>
                      <a:gd name="connsiteX10" fmla="*/ 1382611 w 3975088"/>
                      <a:gd name="connsiteY10" fmla="*/ 2292183 h 3441790"/>
                      <a:gd name="connsiteX11" fmla="*/ 1382611 w 3975088"/>
                      <a:gd name="connsiteY11" fmla="*/ 2430296 h 3441790"/>
                      <a:gd name="connsiteX12" fmla="*/ 3216174 w 3975088"/>
                      <a:gd name="connsiteY12" fmla="*/ 2635083 h 3441790"/>
                      <a:gd name="connsiteX13" fmla="*/ 3216174 w 3975088"/>
                      <a:gd name="connsiteY13" fmla="*/ 2477921 h 3441790"/>
                      <a:gd name="connsiteX14" fmla="*/ 1382611 w 3975088"/>
                      <a:gd name="connsiteY14" fmla="*/ 2292183 h 3441790"/>
                      <a:gd name="connsiteX15" fmla="*/ 1382611 w 3975088"/>
                      <a:gd name="connsiteY15" fmla="*/ 1991903 h 3441790"/>
                      <a:gd name="connsiteX16" fmla="*/ 1382611 w 3975088"/>
                      <a:gd name="connsiteY16" fmla="*/ 2130016 h 3441790"/>
                      <a:gd name="connsiteX17" fmla="*/ 3216174 w 3975088"/>
                      <a:gd name="connsiteY17" fmla="*/ 2334803 h 3441790"/>
                      <a:gd name="connsiteX18" fmla="*/ 3216174 w 3975088"/>
                      <a:gd name="connsiteY18" fmla="*/ 2177641 h 3441790"/>
                      <a:gd name="connsiteX19" fmla="*/ 1382611 w 3975088"/>
                      <a:gd name="connsiteY19" fmla="*/ 1991903 h 3441790"/>
                      <a:gd name="connsiteX20" fmla="*/ 1382611 w 3975088"/>
                      <a:gd name="connsiteY20" fmla="*/ 1691623 h 3441790"/>
                      <a:gd name="connsiteX21" fmla="*/ 1382611 w 3975088"/>
                      <a:gd name="connsiteY21" fmla="*/ 1829736 h 3441790"/>
                      <a:gd name="connsiteX22" fmla="*/ 3216174 w 3975088"/>
                      <a:gd name="connsiteY22" fmla="*/ 2034523 h 3441790"/>
                      <a:gd name="connsiteX23" fmla="*/ 3216174 w 3975088"/>
                      <a:gd name="connsiteY23" fmla="*/ 1877361 h 3441790"/>
                      <a:gd name="connsiteX24" fmla="*/ 1382611 w 3975088"/>
                      <a:gd name="connsiteY24" fmla="*/ 1691623 h 3441790"/>
                      <a:gd name="connsiteX25" fmla="*/ 1382611 w 3975088"/>
                      <a:gd name="connsiteY25" fmla="*/ 1391343 h 3441790"/>
                      <a:gd name="connsiteX26" fmla="*/ 1382611 w 3975088"/>
                      <a:gd name="connsiteY26" fmla="*/ 1529456 h 3441790"/>
                      <a:gd name="connsiteX27" fmla="*/ 3216174 w 3975088"/>
                      <a:gd name="connsiteY27" fmla="*/ 1734243 h 3441790"/>
                      <a:gd name="connsiteX28" fmla="*/ 3216174 w 3975088"/>
                      <a:gd name="connsiteY28" fmla="*/ 1577081 h 3441790"/>
                      <a:gd name="connsiteX29" fmla="*/ 1382611 w 3975088"/>
                      <a:gd name="connsiteY29" fmla="*/ 1391343 h 3441790"/>
                      <a:gd name="connsiteX30" fmla="*/ 1373086 w 3975088"/>
                      <a:gd name="connsiteY30" fmla="*/ 1095826 h 3441790"/>
                      <a:gd name="connsiteX31" fmla="*/ 1373086 w 3975088"/>
                      <a:gd name="connsiteY31" fmla="*/ 1248226 h 3441790"/>
                      <a:gd name="connsiteX32" fmla="*/ 3206649 w 3975088"/>
                      <a:gd name="connsiteY32" fmla="*/ 1433963 h 3441790"/>
                      <a:gd name="connsiteX33" fmla="*/ 3206649 w 3975088"/>
                      <a:gd name="connsiteY33" fmla="*/ 1281563 h 3441790"/>
                      <a:gd name="connsiteX34" fmla="*/ 1373086 w 3975088"/>
                      <a:gd name="connsiteY34" fmla="*/ 1095826 h 3441790"/>
                      <a:gd name="connsiteX35" fmla="*/ 1382611 w 3975088"/>
                      <a:gd name="connsiteY35" fmla="*/ 781258 h 3441790"/>
                      <a:gd name="connsiteX36" fmla="*/ 1382611 w 3975088"/>
                      <a:gd name="connsiteY36" fmla="*/ 947946 h 3441790"/>
                      <a:gd name="connsiteX37" fmla="*/ 3206649 w 3975088"/>
                      <a:gd name="connsiteY37" fmla="*/ 1138446 h 3441790"/>
                      <a:gd name="connsiteX38" fmla="*/ 3206649 w 3975088"/>
                      <a:gd name="connsiteY38" fmla="*/ 981283 h 3441790"/>
                      <a:gd name="connsiteX39" fmla="*/ 1382611 w 3975088"/>
                      <a:gd name="connsiteY39" fmla="*/ 781258 h 3441790"/>
                      <a:gd name="connsiteX40" fmla="*/ 6350 w 3975088"/>
                      <a:gd name="connsiteY40" fmla="*/ 0 h 3441790"/>
                      <a:gd name="connsiteX41" fmla="*/ 1412143 w 3975088"/>
                      <a:gd name="connsiteY41" fmla="*/ 481708 h 3441790"/>
                      <a:gd name="connsiteX42" fmla="*/ 3250488 w 3975088"/>
                      <a:gd name="connsiteY42" fmla="*/ 678322 h 3441790"/>
                      <a:gd name="connsiteX43" fmla="*/ 3968129 w 3975088"/>
                      <a:gd name="connsiteY43" fmla="*/ 285094 h 3441790"/>
                      <a:gd name="connsiteX44" fmla="*/ 3975088 w 3975088"/>
                      <a:gd name="connsiteY44" fmla="*/ 2924852 h 3441790"/>
                      <a:gd name="connsiteX45" fmla="*/ 3272404 w 3975088"/>
                      <a:gd name="connsiteY45" fmla="*/ 3441790 h 3441790"/>
                      <a:gd name="connsiteX46" fmla="*/ 1320798 w 3975088"/>
                      <a:gd name="connsiteY46" fmla="*/ 3232476 h 3441790"/>
                      <a:gd name="connsiteX47" fmla="*/ 0 w 3975088"/>
                      <a:gd name="connsiteY47" fmla="*/ 2672122 h 3441790"/>
                      <a:gd name="connsiteX48" fmla="*/ 6350 w 3975088"/>
                      <a:gd name="connsiteY48" fmla="*/ 0 h 3441790"/>
                      <a:gd name="connsiteX0" fmla="*/ 1376398 w 3968875"/>
                      <a:gd name="connsiteY0" fmla="*/ 2892742 h 3441790"/>
                      <a:gd name="connsiteX1" fmla="*/ 1376398 w 3968875"/>
                      <a:gd name="connsiteY1" fmla="*/ 3030855 h 3441790"/>
                      <a:gd name="connsiteX2" fmla="*/ 3209961 w 3968875"/>
                      <a:gd name="connsiteY2" fmla="*/ 3235642 h 3441790"/>
                      <a:gd name="connsiteX3" fmla="*/ 3209961 w 3968875"/>
                      <a:gd name="connsiteY3" fmla="*/ 3078480 h 3441790"/>
                      <a:gd name="connsiteX4" fmla="*/ 1376398 w 3968875"/>
                      <a:gd name="connsiteY4" fmla="*/ 2892742 h 3441790"/>
                      <a:gd name="connsiteX5" fmla="*/ 1376398 w 3968875"/>
                      <a:gd name="connsiteY5" fmla="*/ 2592463 h 3441790"/>
                      <a:gd name="connsiteX6" fmla="*/ 1376398 w 3968875"/>
                      <a:gd name="connsiteY6" fmla="*/ 2730576 h 3441790"/>
                      <a:gd name="connsiteX7" fmla="*/ 3209961 w 3968875"/>
                      <a:gd name="connsiteY7" fmla="*/ 2935363 h 3441790"/>
                      <a:gd name="connsiteX8" fmla="*/ 3209961 w 3968875"/>
                      <a:gd name="connsiteY8" fmla="*/ 2778201 h 3441790"/>
                      <a:gd name="connsiteX9" fmla="*/ 1376398 w 3968875"/>
                      <a:gd name="connsiteY9" fmla="*/ 2592463 h 3441790"/>
                      <a:gd name="connsiteX10" fmla="*/ 1376398 w 3968875"/>
                      <a:gd name="connsiteY10" fmla="*/ 2292183 h 3441790"/>
                      <a:gd name="connsiteX11" fmla="*/ 1376398 w 3968875"/>
                      <a:gd name="connsiteY11" fmla="*/ 2430296 h 3441790"/>
                      <a:gd name="connsiteX12" fmla="*/ 3209961 w 3968875"/>
                      <a:gd name="connsiteY12" fmla="*/ 2635083 h 3441790"/>
                      <a:gd name="connsiteX13" fmla="*/ 3209961 w 3968875"/>
                      <a:gd name="connsiteY13" fmla="*/ 2477921 h 3441790"/>
                      <a:gd name="connsiteX14" fmla="*/ 1376398 w 3968875"/>
                      <a:gd name="connsiteY14" fmla="*/ 2292183 h 3441790"/>
                      <a:gd name="connsiteX15" fmla="*/ 1376398 w 3968875"/>
                      <a:gd name="connsiteY15" fmla="*/ 1991903 h 3441790"/>
                      <a:gd name="connsiteX16" fmla="*/ 1376398 w 3968875"/>
                      <a:gd name="connsiteY16" fmla="*/ 2130016 h 3441790"/>
                      <a:gd name="connsiteX17" fmla="*/ 3209961 w 3968875"/>
                      <a:gd name="connsiteY17" fmla="*/ 2334803 h 3441790"/>
                      <a:gd name="connsiteX18" fmla="*/ 3209961 w 3968875"/>
                      <a:gd name="connsiteY18" fmla="*/ 2177641 h 3441790"/>
                      <a:gd name="connsiteX19" fmla="*/ 1376398 w 3968875"/>
                      <a:gd name="connsiteY19" fmla="*/ 1991903 h 3441790"/>
                      <a:gd name="connsiteX20" fmla="*/ 1376398 w 3968875"/>
                      <a:gd name="connsiteY20" fmla="*/ 1691623 h 3441790"/>
                      <a:gd name="connsiteX21" fmla="*/ 1376398 w 3968875"/>
                      <a:gd name="connsiteY21" fmla="*/ 1829736 h 3441790"/>
                      <a:gd name="connsiteX22" fmla="*/ 3209961 w 3968875"/>
                      <a:gd name="connsiteY22" fmla="*/ 2034523 h 3441790"/>
                      <a:gd name="connsiteX23" fmla="*/ 3209961 w 3968875"/>
                      <a:gd name="connsiteY23" fmla="*/ 1877361 h 3441790"/>
                      <a:gd name="connsiteX24" fmla="*/ 1376398 w 3968875"/>
                      <a:gd name="connsiteY24" fmla="*/ 1691623 h 3441790"/>
                      <a:gd name="connsiteX25" fmla="*/ 1376398 w 3968875"/>
                      <a:gd name="connsiteY25" fmla="*/ 1391343 h 3441790"/>
                      <a:gd name="connsiteX26" fmla="*/ 1376398 w 3968875"/>
                      <a:gd name="connsiteY26" fmla="*/ 1529456 h 3441790"/>
                      <a:gd name="connsiteX27" fmla="*/ 3209961 w 3968875"/>
                      <a:gd name="connsiteY27" fmla="*/ 1734243 h 3441790"/>
                      <a:gd name="connsiteX28" fmla="*/ 3209961 w 3968875"/>
                      <a:gd name="connsiteY28" fmla="*/ 1577081 h 3441790"/>
                      <a:gd name="connsiteX29" fmla="*/ 1376398 w 3968875"/>
                      <a:gd name="connsiteY29" fmla="*/ 1391343 h 3441790"/>
                      <a:gd name="connsiteX30" fmla="*/ 1366873 w 3968875"/>
                      <a:gd name="connsiteY30" fmla="*/ 1095826 h 3441790"/>
                      <a:gd name="connsiteX31" fmla="*/ 1366873 w 3968875"/>
                      <a:gd name="connsiteY31" fmla="*/ 1248226 h 3441790"/>
                      <a:gd name="connsiteX32" fmla="*/ 3200436 w 3968875"/>
                      <a:gd name="connsiteY32" fmla="*/ 1433963 h 3441790"/>
                      <a:gd name="connsiteX33" fmla="*/ 3200436 w 3968875"/>
                      <a:gd name="connsiteY33" fmla="*/ 1281563 h 3441790"/>
                      <a:gd name="connsiteX34" fmla="*/ 1366873 w 3968875"/>
                      <a:gd name="connsiteY34" fmla="*/ 1095826 h 3441790"/>
                      <a:gd name="connsiteX35" fmla="*/ 1376398 w 3968875"/>
                      <a:gd name="connsiteY35" fmla="*/ 781258 h 3441790"/>
                      <a:gd name="connsiteX36" fmla="*/ 1376398 w 3968875"/>
                      <a:gd name="connsiteY36" fmla="*/ 947946 h 3441790"/>
                      <a:gd name="connsiteX37" fmla="*/ 3200436 w 3968875"/>
                      <a:gd name="connsiteY37" fmla="*/ 1138446 h 3441790"/>
                      <a:gd name="connsiteX38" fmla="*/ 3200436 w 3968875"/>
                      <a:gd name="connsiteY38" fmla="*/ 981283 h 3441790"/>
                      <a:gd name="connsiteX39" fmla="*/ 1376398 w 3968875"/>
                      <a:gd name="connsiteY39" fmla="*/ 781258 h 3441790"/>
                      <a:gd name="connsiteX40" fmla="*/ 137 w 3968875"/>
                      <a:gd name="connsiteY40" fmla="*/ 0 h 3441790"/>
                      <a:gd name="connsiteX41" fmla="*/ 1405930 w 3968875"/>
                      <a:gd name="connsiteY41" fmla="*/ 481708 h 3441790"/>
                      <a:gd name="connsiteX42" fmla="*/ 3244275 w 3968875"/>
                      <a:gd name="connsiteY42" fmla="*/ 678322 h 3441790"/>
                      <a:gd name="connsiteX43" fmla="*/ 3961916 w 3968875"/>
                      <a:gd name="connsiteY43" fmla="*/ 285094 h 3441790"/>
                      <a:gd name="connsiteX44" fmla="*/ 3968875 w 3968875"/>
                      <a:gd name="connsiteY44" fmla="*/ 2924852 h 3441790"/>
                      <a:gd name="connsiteX45" fmla="*/ 3266191 w 3968875"/>
                      <a:gd name="connsiteY45" fmla="*/ 3441790 h 3441790"/>
                      <a:gd name="connsiteX46" fmla="*/ 1314585 w 3968875"/>
                      <a:gd name="connsiteY46" fmla="*/ 3232476 h 3441790"/>
                      <a:gd name="connsiteX47" fmla="*/ 19187 w 3968875"/>
                      <a:gd name="connsiteY47" fmla="*/ 2678472 h 3441790"/>
                      <a:gd name="connsiteX48" fmla="*/ 137 w 3968875"/>
                      <a:gd name="connsiteY48" fmla="*/ 0 h 3441790"/>
                      <a:gd name="connsiteX0" fmla="*/ 1376542 w 3969019"/>
                      <a:gd name="connsiteY0" fmla="*/ 2892742 h 3441790"/>
                      <a:gd name="connsiteX1" fmla="*/ 1376542 w 3969019"/>
                      <a:gd name="connsiteY1" fmla="*/ 3030855 h 3441790"/>
                      <a:gd name="connsiteX2" fmla="*/ 3210105 w 3969019"/>
                      <a:gd name="connsiteY2" fmla="*/ 3235642 h 3441790"/>
                      <a:gd name="connsiteX3" fmla="*/ 3210105 w 3969019"/>
                      <a:gd name="connsiteY3" fmla="*/ 3078480 h 3441790"/>
                      <a:gd name="connsiteX4" fmla="*/ 1376542 w 3969019"/>
                      <a:gd name="connsiteY4" fmla="*/ 2892742 h 3441790"/>
                      <a:gd name="connsiteX5" fmla="*/ 1376542 w 3969019"/>
                      <a:gd name="connsiteY5" fmla="*/ 2592463 h 3441790"/>
                      <a:gd name="connsiteX6" fmla="*/ 1376542 w 3969019"/>
                      <a:gd name="connsiteY6" fmla="*/ 2730576 h 3441790"/>
                      <a:gd name="connsiteX7" fmla="*/ 3210105 w 3969019"/>
                      <a:gd name="connsiteY7" fmla="*/ 2935363 h 3441790"/>
                      <a:gd name="connsiteX8" fmla="*/ 3210105 w 3969019"/>
                      <a:gd name="connsiteY8" fmla="*/ 2778201 h 3441790"/>
                      <a:gd name="connsiteX9" fmla="*/ 1376542 w 3969019"/>
                      <a:gd name="connsiteY9" fmla="*/ 2592463 h 3441790"/>
                      <a:gd name="connsiteX10" fmla="*/ 1376542 w 3969019"/>
                      <a:gd name="connsiteY10" fmla="*/ 2292183 h 3441790"/>
                      <a:gd name="connsiteX11" fmla="*/ 1376542 w 3969019"/>
                      <a:gd name="connsiteY11" fmla="*/ 2430296 h 3441790"/>
                      <a:gd name="connsiteX12" fmla="*/ 3210105 w 3969019"/>
                      <a:gd name="connsiteY12" fmla="*/ 2635083 h 3441790"/>
                      <a:gd name="connsiteX13" fmla="*/ 3210105 w 3969019"/>
                      <a:gd name="connsiteY13" fmla="*/ 2477921 h 3441790"/>
                      <a:gd name="connsiteX14" fmla="*/ 1376542 w 3969019"/>
                      <a:gd name="connsiteY14" fmla="*/ 2292183 h 3441790"/>
                      <a:gd name="connsiteX15" fmla="*/ 1376542 w 3969019"/>
                      <a:gd name="connsiteY15" fmla="*/ 1991903 h 3441790"/>
                      <a:gd name="connsiteX16" fmla="*/ 1376542 w 3969019"/>
                      <a:gd name="connsiteY16" fmla="*/ 2130016 h 3441790"/>
                      <a:gd name="connsiteX17" fmla="*/ 3210105 w 3969019"/>
                      <a:gd name="connsiteY17" fmla="*/ 2334803 h 3441790"/>
                      <a:gd name="connsiteX18" fmla="*/ 3210105 w 3969019"/>
                      <a:gd name="connsiteY18" fmla="*/ 2177641 h 3441790"/>
                      <a:gd name="connsiteX19" fmla="*/ 1376542 w 3969019"/>
                      <a:gd name="connsiteY19" fmla="*/ 1991903 h 3441790"/>
                      <a:gd name="connsiteX20" fmla="*/ 1376542 w 3969019"/>
                      <a:gd name="connsiteY20" fmla="*/ 1691623 h 3441790"/>
                      <a:gd name="connsiteX21" fmla="*/ 1376542 w 3969019"/>
                      <a:gd name="connsiteY21" fmla="*/ 1829736 h 3441790"/>
                      <a:gd name="connsiteX22" fmla="*/ 3210105 w 3969019"/>
                      <a:gd name="connsiteY22" fmla="*/ 2034523 h 3441790"/>
                      <a:gd name="connsiteX23" fmla="*/ 3210105 w 3969019"/>
                      <a:gd name="connsiteY23" fmla="*/ 1877361 h 3441790"/>
                      <a:gd name="connsiteX24" fmla="*/ 1376542 w 3969019"/>
                      <a:gd name="connsiteY24" fmla="*/ 1691623 h 3441790"/>
                      <a:gd name="connsiteX25" fmla="*/ 1376542 w 3969019"/>
                      <a:gd name="connsiteY25" fmla="*/ 1391343 h 3441790"/>
                      <a:gd name="connsiteX26" fmla="*/ 1376542 w 3969019"/>
                      <a:gd name="connsiteY26" fmla="*/ 1529456 h 3441790"/>
                      <a:gd name="connsiteX27" fmla="*/ 3210105 w 3969019"/>
                      <a:gd name="connsiteY27" fmla="*/ 1734243 h 3441790"/>
                      <a:gd name="connsiteX28" fmla="*/ 3210105 w 3969019"/>
                      <a:gd name="connsiteY28" fmla="*/ 1577081 h 3441790"/>
                      <a:gd name="connsiteX29" fmla="*/ 1376542 w 3969019"/>
                      <a:gd name="connsiteY29" fmla="*/ 1391343 h 3441790"/>
                      <a:gd name="connsiteX30" fmla="*/ 1367017 w 3969019"/>
                      <a:gd name="connsiteY30" fmla="*/ 1095826 h 3441790"/>
                      <a:gd name="connsiteX31" fmla="*/ 1367017 w 3969019"/>
                      <a:gd name="connsiteY31" fmla="*/ 1248226 h 3441790"/>
                      <a:gd name="connsiteX32" fmla="*/ 3200580 w 3969019"/>
                      <a:gd name="connsiteY32" fmla="*/ 1433963 h 3441790"/>
                      <a:gd name="connsiteX33" fmla="*/ 3200580 w 3969019"/>
                      <a:gd name="connsiteY33" fmla="*/ 1281563 h 3441790"/>
                      <a:gd name="connsiteX34" fmla="*/ 1367017 w 3969019"/>
                      <a:gd name="connsiteY34" fmla="*/ 1095826 h 3441790"/>
                      <a:gd name="connsiteX35" fmla="*/ 1376542 w 3969019"/>
                      <a:gd name="connsiteY35" fmla="*/ 781258 h 3441790"/>
                      <a:gd name="connsiteX36" fmla="*/ 1376542 w 3969019"/>
                      <a:gd name="connsiteY36" fmla="*/ 947946 h 3441790"/>
                      <a:gd name="connsiteX37" fmla="*/ 3200580 w 3969019"/>
                      <a:gd name="connsiteY37" fmla="*/ 1138446 h 3441790"/>
                      <a:gd name="connsiteX38" fmla="*/ 3200580 w 3969019"/>
                      <a:gd name="connsiteY38" fmla="*/ 981283 h 3441790"/>
                      <a:gd name="connsiteX39" fmla="*/ 1376542 w 3969019"/>
                      <a:gd name="connsiteY39" fmla="*/ 781258 h 3441790"/>
                      <a:gd name="connsiteX40" fmla="*/ 281 w 3969019"/>
                      <a:gd name="connsiteY40" fmla="*/ 0 h 3441790"/>
                      <a:gd name="connsiteX41" fmla="*/ 1406074 w 3969019"/>
                      <a:gd name="connsiteY41" fmla="*/ 481708 h 3441790"/>
                      <a:gd name="connsiteX42" fmla="*/ 3244419 w 3969019"/>
                      <a:gd name="connsiteY42" fmla="*/ 678322 h 3441790"/>
                      <a:gd name="connsiteX43" fmla="*/ 3962060 w 3969019"/>
                      <a:gd name="connsiteY43" fmla="*/ 285094 h 3441790"/>
                      <a:gd name="connsiteX44" fmla="*/ 3969019 w 3969019"/>
                      <a:gd name="connsiteY44" fmla="*/ 2924852 h 3441790"/>
                      <a:gd name="connsiteX45" fmla="*/ 3266335 w 3969019"/>
                      <a:gd name="connsiteY45" fmla="*/ 3441790 h 3441790"/>
                      <a:gd name="connsiteX46" fmla="*/ 1314729 w 3969019"/>
                      <a:gd name="connsiteY46" fmla="*/ 3232476 h 3441790"/>
                      <a:gd name="connsiteX47" fmla="*/ 6631 w 3969019"/>
                      <a:gd name="connsiteY47" fmla="*/ 2684822 h 3441790"/>
                      <a:gd name="connsiteX48" fmla="*/ 281 w 3969019"/>
                      <a:gd name="connsiteY48" fmla="*/ 0 h 3441790"/>
                      <a:gd name="connsiteX0" fmla="*/ 1382611 w 3975088"/>
                      <a:gd name="connsiteY0" fmla="*/ 2892742 h 3441790"/>
                      <a:gd name="connsiteX1" fmla="*/ 1382611 w 3975088"/>
                      <a:gd name="connsiteY1" fmla="*/ 3030855 h 3441790"/>
                      <a:gd name="connsiteX2" fmla="*/ 3216174 w 3975088"/>
                      <a:gd name="connsiteY2" fmla="*/ 3235642 h 3441790"/>
                      <a:gd name="connsiteX3" fmla="*/ 3216174 w 3975088"/>
                      <a:gd name="connsiteY3" fmla="*/ 3078480 h 3441790"/>
                      <a:gd name="connsiteX4" fmla="*/ 1382611 w 3975088"/>
                      <a:gd name="connsiteY4" fmla="*/ 2892742 h 3441790"/>
                      <a:gd name="connsiteX5" fmla="*/ 1382611 w 3975088"/>
                      <a:gd name="connsiteY5" fmla="*/ 2592463 h 3441790"/>
                      <a:gd name="connsiteX6" fmla="*/ 1382611 w 3975088"/>
                      <a:gd name="connsiteY6" fmla="*/ 2730576 h 3441790"/>
                      <a:gd name="connsiteX7" fmla="*/ 3216174 w 3975088"/>
                      <a:gd name="connsiteY7" fmla="*/ 2935363 h 3441790"/>
                      <a:gd name="connsiteX8" fmla="*/ 3216174 w 3975088"/>
                      <a:gd name="connsiteY8" fmla="*/ 2778201 h 3441790"/>
                      <a:gd name="connsiteX9" fmla="*/ 1382611 w 3975088"/>
                      <a:gd name="connsiteY9" fmla="*/ 2592463 h 3441790"/>
                      <a:gd name="connsiteX10" fmla="*/ 1382611 w 3975088"/>
                      <a:gd name="connsiteY10" fmla="*/ 2292183 h 3441790"/>
                      <a:gd name="connsiteX11" fmla="*/ 1382611 w 3975088"/>
                      <a:gd name="connsiteY11" fmla="*/ 2430296 h 3441790"/>
                      <a:gd name="connsiteX12" fmla="*/ 3216174 w 3975088"/>
                      <a:gd name="connsiteY12" fmla="*/ 2635083 h 3441790"/>
                      <a:gd name="connsiteX13" fmla="*/ 3216174 w 3975088"/>
                      <a:gd name="connsiteY13" fmla="*/ 2477921 h 3441790"/>
                      <a:gd name="connsiteX14" fmla="*/ 1382611 w 3975088"/>
                      <a:gd name="connsiteY14" fmla="*/ 2292183 h 3441790"/>
                      <a:gd name="connsiteX15" fmla="*/ 1382611 w 3975088"/>
                      <a:gd name="connsiteY15" fmla="*/ 1991903 h 3441790"/>
                      <a:gd name="connsiteX16" fmla="*/ 1382611 w 3975088"/>
                      <a:gd name="connsiteY16" fmla="*/ 2130016 h 3441790"/>
                      <a:gd name="connsiteX17" fmla="*/ 3216174 w 3975088"/>
                      <a:gd name="connsiteY17" fmla="*/ 2334803 h 3441790"/>
                      <a:gd name="connsiteX18" fmla="*/ 3216174 w 3975088"/>
                      <a:gd name="connsiteY18" fmla="*/ 2177641 h 3441790"/>
                      <a:gd name="connsiteX19" fmla="*/ 1382611 w 3975088"/>
                      <a:gd name="connsiteY19" fmla="*/ 1991903 h 3441790"/>
                      <a:gd name="connsiteX20" fmla="*/ 1382611 w 3975088"/>
                      <a:gd name="connsiteY20" fmla="*/ 1691623 h 3441790"/>
                      <a:gd name="connsiteX21" fmla="*/ 1382611 w 3975088"/>
                      <a:gd name="connsiteY21" fmla="*/ 1829736 h 3441790"/>
                      <a:gd name="connsiteX22" fmla="*/ 3216174 w 3975088"/>
                      <a:gd name="connsiteY22" fmla="*/ 2034523 h 3441790"/>
                      <a:gd name="connsiteX23" fmla="*/ 3216174 w 3975088"/>
                      <a:gd name="connsiteY23" fmla="*/ 1877361 h 3441790"/>
                      <a:gd name="connsiteX24" fmla="*/ 1382611 w 3975088"/>
                      <a:gd name="connsiteY24" fmla="*/ 1691623 h 3441790"/>
                      <a:gd name="connsiteX25" fmla="*/ 1382611 w 3975088"/>
                      <a:gd name="connsiteY25" fmla="*/ 1391343 h 3441790"/>
                      <a:gd name="connsiteX26" fmla="*/ 1382611 w 3975088"/>
                      <a:gd name="connsiteY26" fmla="*/ 1529456 h 3441790"/>
                      <a:gd name="connsiteX27" fmla="*/ 3216174 w 3975088"/>
                      <a:gd name="connsiteY27" fmla="*/ 1734243 h 3441790"/>
                      <a:gd name="connsiteX28" fmla="*/ 3216174 w 3975088"/>
                      <a:gd name="connsiteY28" fmla="*/ 1577081 h 3441790"/>
                      <a:gd name="connsiteX29" fmla="*/ 1382611 w 3975088"/>
                      <a:gd name="connsiteY29" fmla="*/ 1391343 h 3441790"/>
                      <a:gd name="connsiteX30" fmla="*/ 1373086 w 3975088"/>
                      <a:gd name="connsiteY30" fmla="*/ 1095826 h 3441790"/>
                      <a:gd name="connsiteX31" fmla="*/ 1373086 w 3975088"/>
                      <a:gd name="connsiteY31" fmla="*/ 1248226 h 3441790"/>
                      <a:gd name="connsiteX32" fmla="*/ 3206649 w 3975088"/>
                      <a:gd name="connsiteY32" fmla="*/ 1433963 h 3441790"/>
                      <a:gd name="connsiteX33" fmla="*/ 3206649 w 3975088"/>
                      <a:gd name="connsiteY33" fmla="*/ 1281563 h 3441790"/>
                      <a:gd name="connsiteX34" fmla="*/ 1373086 w 3975088"/>
                      <a:gd name="connsiteY34" fmla="*/ 1095826 h 3441790"/>
                      <a:gd name="connsiteX35" fmla="*/ 1382611 w 3975088"/>
                      <a:gd name="connsiteY35" fmla="*/ 781258 h 3441790"/>
                      <a:gd name="connsiteX36" fmla="*/ 1382611 w 3975088"/>
                      <a:gd name="connsiteY36" fmla="*/ 947946 h 3441790"/>
                      <a:gd name="connsiteX37" fmla="*/ 3206649 w 3975088"/>
                      <a:gd name="connsiteY37" fmla="*/ 1138446 h 3441790"/>
                      <a:gd name="connsiteX38" fmla="*/ 3206649 w 3975088"/>
                      <a:gd name="connsiteY38" fmla="*/ 981283 h 3441790"/>
                      <a:gd name="connsiteX39" fmla="*/ 1382611 w 3975088"/>
                      <a:gd name="connsiteY39" fmla="*/ 781258 h 3441790"/>
                      <a:gd name="connsiteX40" fmla="*/ 6350 w 3975088"/>
                      <a:gd name="connsiteY40" fmla="*/ 0 h 3441790"/>
                      <a:gd name="connsiteX41" fmla="*/ 1412143 w 3975088"/>
                      <a:gd name="connsiteY41" fmla="*/ 481708 h 3441790"/>
                      <a:gd name="connsiteX42" fmla="*/ 3250488 w 3975088"/>
                      <a:gd name="connsiteY42" fmla="*/ 678322 h 3441790"/>
                      <a:gd name="connsiteX43" fmla="*/ 3968129 w 3975088"/>
                      <a:gd name="connsiteY43" fmla="*/ 285094 h 3441790"/>
                      <a:gd name="connsiteX44" fmla="*/ 3975088 w 3975088"/>
                      <a:gd name="connsiteY44" fmla="*/ 2924852 h 3441790"/>
                      <a:gd name="connsiteX45" fmla="*/ 3272404 w 3975088"/>
                      <a:gd name="connsiteY45" fmla="*/ 3441790 h 3441790"/>
                      <a:gd name="connsiteX46" fmla="*/ 1320798 w 3975088"/>
                      <a:gd name="connsiteY46" fmla="*/ 3232476 h 3441790"/>
                      <a:gd name="connsiteX47" fmla="*/ 0 w 3975088"/>
                      <a:gd name="connsiteY47" fmla="*/ 2659422 h 3441790"/>
                      <a:gd name="connsiteX48" fmla="*/ 6350 w 3975088"/>
                      <a:gd name="connsiteY48" fmla="*/ 0 h 34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75088" h="3441790">
                        <a:moveTo>
                          <a:pt x="1382611" y="2892742"/>
                        </a:moveTo>
                        <a:lnTo>
                          <a:pt x="1382611" y="3030855"/>
                        </a:lnTo>
                        <a:lnTo>
                          <a:pt x="3216174" y="3235642"/>
                        </a:lnTo>
                        <a:lnTo>
                          <a:pt x="3216174" y="3078480"/>
                        </a:lnTo>
                        <a:lnTo>
                          <a:pt x="1382611" y="2892742"/>
                        </a:lnTo>
                        <a:close/>
                        <a:moveTo>
                          <a:pt x="1382611" y="2592463"/>
                        </a:moveTo>
                        <a:lnTo>
                          <a:pt x="1382611" y="2730576"/>
                        </a:lnTo>
                        <a:lnTo>
                          <a:pt x="3216174" y="2935363"/>
                        </a:lnTo>
                        <a:lnTo>
                          <a:pt x="3216174" y="2778201"/>
                        </a:lnTo>
                        <a:lnTo>
                          <a:pt x="1382611" y="2592463"/>
                        </a:lnTo>
                        <a:close/>
                        <a:moveTo>
                          <a:pt x="1382611" y="2292183"/>
                        </a:moveTo>
                        <a:lnTo>
                          <a:pt x="1382611" y="2430296"/>
                        </a:lnTo>
                        <a:lnTo>
                          <a:pt x="3216174" y="2635083"/>
                        </a:lnTo>
                        <a:lnTo>
                          <a:pt x="3216174" y="2477921"/>
                        </a:lnTo>
                        <a:lnTo>
                          <a:pt x="1382611" y="2292183"/>
                        </a:lnTo>
                        <a:close/>
                        <a:moveTo>
                          <a:pt x="1382611" y="1991903"/>
                        </a:moveTo>
                        <a:lnTo>
                          <a:pt x="1382611" y="2130016"/>
                        </a:lnTo>
                        <a:lnTo>
                          <a:pt x="3216174" y="2334803"/>
                        </a:lnTo>
                        <a:lnTo>
                          <a:pt x="3216174" y="2177641"/>
                        </a:lnTo>
                        <a:lnTo>
                          <a:pt x="1382611" y="1991903"/>
                        </a:lnTo>
                        <a:close/>
                        <a:moveTo>
                          <a:pt x="1382611" y="1691623"/>
                        </a:moveTo>
                        <a:lnTo>
                          <a:pt x="1382611" y="1829736"/>
                        </a:lnTo>
                        <a:lnTo>
                          <a:pt x="3216174" y="2034523"/>
                        </a:lnTo>
                        <a:lnTo>
                          <a:pt x="3216174" y="1877361"/>
                        </a:lnTo>
                        <a:lnTo>
                          <a:pt x="1382611" y="1691623"/>
                        </a:lnTo>
                        <a:close/>
                        <a:moveTo>
                          <a:pt x="1382611" y="1391343"/>
                        </a:moveTo>
                        <a:lnTo>
                          <a:pt x="1382611" y="1529456"/>
                        </a:lnTo>
                        <a:lnTo>
                          <a:pt x="3216174" y="1734243"/>
                        </a:lnTo>
                        <a:lnTo>
                          <a:pt x="3216174" y="1577081"/>
                        </a:lnTo>
                        <a:lnTo>
                          <a:pt x="1382611" y="1391343"/>
                        </a:lnTo>
                        <a:close/>
                        <a:moveTo>
                          <a:pt x="1373086" y="1095826"/>
                        </a:moveTo>
                        <a:lnTo>
                          <a:pt x="1373086" y="1248226"/>
                        </a:lnTo>
                        <a:lnTo>
                          <a:pt x="3206649" y="1433963"/>
                        </a:lnTo>
                        <a:lnTo>
                          <a:pt x="3206649" y="1281563"/>
                        </a:lnTo>
                        <a:lnTo>
                          <a:pt x="1373086" y="1095826"/>
                        </a:lnTo>
                        <a:close/>
                        <a:moveTo>
                          <a:pt x="1382611" y="781258"/>
                        </a:moveTo>
                        <a:lnTo>
                          <a:pt x="1382611" y="947946"/>
                        </a:lnTo>
                        <a:lnTo>
                          <a:pt x="3206649" y="1138446"/>
                        </a:lnTo>
                        <a:lnTo>
                          <a:pt x="3206649" y="981283"/>
                        </a:lnTo>
                        <a:lnTo>
                          <a:pt x="1382611" y="781258"/>
                        </a:lnTo>
                        <a:close/>
                        <a:moveTo>
                          <a:pt x="6350" y="0"/>
                        </a:moveTo>
                        <a:lnTo>
                          <a:pt x="1412143" y="481708"/>
                        </a:lnTo>
                        <a:lnTo>
                          <a:pt x="3250488" y="678322"/>
                        </a:lnTo>
                        <a:lnTo>
                          <a:pt x="3968129" y="285094"/>
                        </a:lnTo>
                        <a:cubicBezTo>
                          <a:pt x="3974680" y="1150197"/>
                          <a:pt x="3968536" y="2059750"/>
                          <a:pt x="3975088" y="2924852"/>
                        </a:cubicBezTo>
                        <a:lnTo>
                          <a:pt x="3272404" y="3441790"/>
                        </a:lnTo>
                        <a:lnTo>
                          <a:pt x="1320798" y="3232476"/>
                        </a:lnTo>
                        <a:lnTo>
                          <a:pt x="0" y="2659422"/>
                        </a:lnTo>
                        <a:cubicBezTo>
                          <a:pt x="2117" y="1768715"/>
                          <a:pt x="4233" y="890707"/>
                          <a:pt x="6350"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12" name="Freeform 311"/>
                  <p:cNvSpPr/>
                  <p:nvPr/>
                </p:nvSpPr>
                <p:spPr>
                  <a:xfrm flipH="1">
                    <a:off x="2702448" y="290443"/>
                    <a:ext cx="2640337" cy="3090954"/>
                  </a:xfrm>
                  <a:custGeom>
                    <a:avLst/>
                    <a:gdLst>
                      <a:gd name="connsiteX0" fmla="*/ 16382 w 668336"/>
                      <a:gd name="connsiteY0" fmla="*/ 632250 h 782150"/>
                      <a:gd name="connsiteX1" fmla="*/ 18763 w 668336"/>
                      <a:gd name="connsiteY1" fmla="*/ 270300 h 782150"/>
                      <a:gd name="connsiteX2" fmla="*/ 178307 w 668336"/>
                      <a:gd name="connsiteY2" fmla="*/ 51225 h 782150"/>
                      <a:gd name="connsiteX3" fmla="*/ 390238 w 668336"/>
                      <a:gd name="connsiteY3" fmla="*/ 8362 h 782150"/>
                      <a:gd name="connsiteX4" fmla="*/ 623601 w 668336"/>
                      <a:gd name="connsiteY4" fmla="*/ 177431 h 782150"/>
                      <a:gd name="connsiteX5" fmla="*/ 659320 w 668336"/>
                      <a:gd name="connsiteY5" fmla="*/ 722737 h 782150"/>
                      <a:gd name="connsiteX6" fmla="*/ 511682 w 668336"/>
                      <a:gd name="connsiteY6" fmla="*/ 725119 h 782150"/>
                      <a:gd name="connsiteX7" fmla="*/ 516445 w 668336"/>
                      <a:gd name="connsiteY7" fmla="*/ 344119 h 782150"/>
                      <a:gd name="connsiteX8" fmla="*/ 342613 w 668336"/>
                      <a:gd name="connsiteY8" fmla="*/ 134569 h 782150"/>
                      <a:gd name="connsiteX9" fmla="*/ 156876 w 668336"/>
                      <a:gd name="connsiteY9" fmla="*/ 358406 h 782150"/>
                      <a:gd name="connsiteX10" fmla="*/ 137826 w 668336"/>
                      <a:gd name="connsiteY10" fmla="*/ 644156 h 782150"/>
                      <a:gd name="connsiteX11" fmla="*/ 16382 w 668336"/>
                      <a:gd name="connsiteY11" fmla="*/ 632250 h 782150"/>
                      <a:gd name="connsiteX0" fmla="*/ 16382 w 668336"/>
                      <a:gd name="connsiteY0" fmla="*/ 632250 h 782150"/>
                      <a:gd name="connsiteX1" fmla="*/ 18763 w 668336"/>
                      <a:gd name="connsiteY1" fmla="*/ 270300 h 782150"/>
                      <a:gd name="connsiteX2" fmla="*/ 178307 w 668336"/>
                      <a:gd name="connsiteY2" fmla="*/ 51225 h 782150"/>
                      <a:gd name="connsiteX3" fmla="*/ 390238 w 668336"/>
                      <a:gd name="connsiteY3" fmla="*/ 8362 h 782150"/>
                      <a:gd name="connsiteX4" fmla="*/ 623601 w 668336"/>
                      <a:gd name="connsiteY4" fmla="*/ 177431 h 782150"/>
                      <a:gd name="connsiteX5" fmla="*/ 659320 w 668336"/>
                      <a:gd name="connsiteY5" fmla="*/ 722737 h 782150"/>
                      <a:gd name="connsiteX6" fmla="*/ 511682 w 668336"/>
                      <a:gd name="connsiteY6" fmla="*/ 725119 h 782150"/>
                      <a:gd name="connsiteX7" fmla="*/ 516445 w 668336"/>
                      <a:gd name="connsiteY7" fmla="*/ 344119 h 782150"/>
                      <a:gd name="connsiteX8" fmla="*/ 342613 w 668336"/>
                      <a:gd name="connsiteY8" fmla="*/ 134569 h 782150"/>
                      <a:gd name="connsiteX9" fmla="*/ 156876 w 668336"/>
                      <a:gd name="connsiteY9" fmla="*/ 291731 h 782150"/>
                      <a:gd name="connsiteX10" fmla="*/ 137826 w 668336"/>
                      <a:gd name="connsiteY10" fmla="*/ 644156 h 782150"/>
                      <a:gd name="connsiteX11" fmla="*/ 16382 w 668336"/>
                      <a:gd name="connsiteY11" fmla="*/ 632250 h 782150"/>
                      <a:gd name="connsiteX0" fmla="*/ 16382 w 668336"/>
                      <a:gd name="connsiteY0" fmla="*/ 632250 h 784936"/>
                      <a:gd name="connsiteX1" fmla="*/ 18763 w 668336"/>
                      <a:gd name="connsiteY1" fmla="*/ 270300 h 784936"/>
                      <a:gd name="connsiteX2" fmla="*/ 178307 w 668336"/>
                      <a:gd name="connsiteY2" fmla="*/ 51225 h 784936"/>
                      <a:gd name="connsiteX3" fmla="*/ 390238 w 668336"/>
                      <a:gd name="connsiteY3" fmla="*/ 8362 h 784936"/>
                      <a:gd name="connsiteX4" fmla="*/ 623601 w 668336"/>
                      <a:gd name="connsiteY4" fmla="*/ 177431 h 784936"/>
                      <a:gd name="connsiteX5" fmla="*/ 659320 w 668336"/>
                      <a:gd name="connsiteY5" fmla="*/ 722737 h 784936"/>
                      <a:gd name="connsiteX6" fmla="*/ 511682 w 668336"/>
                      <a:gd name="connsiteY6" fmla="*/ 725119 h 784936"/>
                      <a:gd name="connsiteX7" fmla="*/ 506920 w 668336"/>
                      <a:gd name="connsiteY7" fmla="*/ 296494 h 784936"/>
                      <a:gd name="connsiteX8" fmla="*/ 342613 w 668336"/>
                      <a:gd name="connsiteY8" fmla="*/ 134569 h 784936"/>
                      <a:gd name="connsiteX9" fmla="*/ 156876 w 668336"/>
                      <a:gd name="connsiteY9" fmla="*/ 291731 h 784936"/>
                      <a:gd name="connsiteX10" fmla="*/ 137826 w 668336"/>
                      <a:gd name="connsiteY10" fmla="*/ 644156 h 784936"/>
                      <a:gd name="connsiteX11" fmla="*/ 16382 w 668336"/>
                      <a:gd name="connsiteY11" fmla="*/ 632250 h 784936"/>
                      <a:gd name="connsiteX0" fmla="*/ 16382 w 667808"/>
                      <a:gd name="connsiteY0" fmla="*/ 632250 h 781249"/>
                      <a:gd name="connsiteX1" fmla="*/ 18763 w 667808"/>
                      <a:gd name="connsiteY1" fmla="*/ 270300 h 781249"/>
                      <a:gd name="connsiteX2" fmla="*/ 178307 w 667808"/>
                      <a:gd name="connsiteY2" fmla="*/ 51225 h 781249"/>
                      <a:gd name="connsiteX3" fmla="*/ 390238 w 667808"/>
                      <a:gd name="connsiteY3" fmla="*/ 8362 h 781249"/>
                      <a:gd name="connsiteX4" fmla="*/ 623601 w 667808"/>
                      <a:gd name="connsiteY4" fmla="*/ 177431 h 781249"/>
                      <a:gd name="connsiteX5" fmla="*/ 659320 w 667808"/>
                      <a:gd name="connsiteY5" fmla="*/ 722737 h 781249"/>
                      <a:gd name="connsiteX6" fmla="*/ 518826 w 667808"/>
                      <a:gd name="connsiteY6" fmla="*/ 717975 h 781249"/>
                      <a:gd name="connsiteX7" fmla="*/ 506920 w 667808"/>
                      <a:gd name="connsiteY7" fmla="*/ 296494 h 781249"/>
                      <a:gd name="connsiteX8" fmla="*/ 342613 w 667808"/>
                      <a:gd name="connsiteY8" fmla="*/ 134569 h 781249"/>
                      <a:gd name="connsiteX9" fmla="*/ 156876 w 667808"/>
                      <a:gd name="connsiteY9" fmla="*/ 291731 h 781249"/>
                      <a:gd name="connsiteX10" fmla="*/ 137826 w 667808"/>
                      <a:gd name="connsiteY10" fmla="*/ 644156 h 781249"/>
                      <a:gd name="connsiteX11" fmla="*/ 16382 w 667808"/>
                      <a:gd name="connsiteY11" fmla="*/ 632250 h 781249"/>
                      <a:gd name="connsiteX0" fmla="*/ 16382 w 667808"/>
                      <a:gd name="connsiteY0" fmla="*/ 632250 h 778861"/>
                      <a:gd name="connsiteX1" fmla="*/ 18763 w 667808"/>
                      <a:gd name="connsiteY1" fmla="*/ 270300 h 778861"/>
                      <a:gd name="connsiteX2" fmla="*/ 178307 w 667808"/>
                      <a:gd name="connsiteY2" fmla="*/ 51225 h 778861"/>
                      <a:gd name="connsiteX3" fmla="*/ 390238 w 667808"/>
                      <a:gd name="connsiteY3" fmla="*/ 8362 h 778861"/>
                      <a:gd name="connsiteX4" fmla="*/ 623601 w 667808"/>
                      <a:gd name="connsiteY4" fmla="*/ 177431 h 778861"/>
                      <a:gd name="connsiteX5" fmla="*/ 659320 w 667808"/>
                      <a:gd name="connsiteY5" fmla="*/ 722737 h 778861"/>
                      <a:gd name="connsiteX6" fmla="*/ 518826 w 667808"/>
                      <a:gd name="connsiteY6" fmla="*/ 717975 h 778861"/>
                      <a:gd name="connsiteX7" fmla="*/ 506920 w 667808"/>
                      <a:gd name="connsiteY7" fmla="*/ 296494 h 778861"/>
                      <a:gd name="connsiteX8" fmla="*/ 342613 w 667808"/>
                      <a:gd name="connsiteY8" fmla="*/ 134569 h 778861"/>
                      <a:gd name="connsiteX9" fmla="*/ 156876 w 667808"/>
                      <a:gd name="connsiteY9" fmla="*/ 291731 h 778861"/>
                      <a:gd name="connsiteX10" fmla="*/ 137826 w 667808"/>
                      <a:gd name="connsiteY10" fmla="*/ 644156 h 778861"/>
                      <a:gd name="connsiteX11" fmla="*/ 16382 w 667808"/>
                      <a:gd name="connsiteY11" fmla="*/ 632250 h 778861"/>
                      <a:gd name="connsiteX0" fmla="*/ 16382 w 667808"/>
                      <a:gd name="connsiteY0" fmla="*/ 632250 h 772746"/>
                      <a:gd name="connsiteX1" fmla="*/ 18763 w 667808"/>
                      <a:gd name="connsiteY1" fmla="*/ 270300 h 772746"/>
                      <a:gd name="connsiteX2" fmla="*/ 178307 w 667808"/>
                      <a:gd name="connsiteY2" fmla="*/ 51225 h 772746"/>
                      <a:gd name="connsiteX3" fmla="*/ 390238 w 667808"/>
                      <a:gd name="connsiteY3" fmla="*/ 8362 h 772746"/>
                      <a:gd name="connsiteX4" fmla="*/ 623601 w 667808"/>
                      <a:gd name="connsiteY4" fmla="*/ 177431 h 772746"/>
                      <a:gd name="connsiteX5" fmla="*/ 659320 w 667808"/>
                      <a:gd name="connsiteY5" fmla="*/ 708449 h 772746"/>
                      <a:gd name="connsiteX6" fmla="*/ 518826 w 667808"/>
                      <a:gd name="connsiteY6" fmla="*/ 717975 h 772746"/>
                      <a:gd name="connsiteX7" fmla="*/ 506920 w 667808"/>
                      <a:gd name="connsiteY7" fmla="*/ 296494 h 772746"/>
                      <a:gd name="connsiteX8" fmla="*/ 342613 w 667808"/>
                      <a:gd name="connsiteY8" fmla="*/ 134569 h 772746"/>
                      <a:gd name="connsiteX9" fmla="*/ 156876 w 667808"/>
                      <a:gd name="connsiteY9" fmla="*/ 291731 h 772746"/>
                      <a:gd name="connsiteX10" fmla="*/ 137826 w 667808"/>
                      <a:gd name="connsiteY10" fmla="*/ 644156 h 772746"/>
                      <a:gd name="connsiteX11" fmla="*/ 16382 w 667808"/>
                      <a:gd name="connsiteY11" fmla="*/ 632250 h 772746"/>
                      <a:gd name="connsiteX0" fmla="*/ 16382 w 667808"/>
                      <a:gd name="connsiteY0" fmla="*/ 632250 h 772746"/>
                      <a:gd name="connsiteX1" fmla="*/ 18763 w 667808"/>
                      <a:gd name="connsiteY1" fmla="*/ 270300 h 772746"/>
                      <a:gd name="connsiteX2" fmla="*/ 178307 w 667808"/>
                      <a:gd name="connsiteY2" fmla="*/ 51225 h 772746"/>
                      <a:gd name="connsiteX3" fmla="*/ 390238 w 667808"/>
                      <a:gd name="connsiteY3" fmla="*/ 8362 h 772746"/>
                      <a:gd name="connsiteX4" fmla="*/ 623601 w 667808"/>
                      <a:gd name="connsiteY4" fmla="*/ 177431 h 772746"/>
                      <a:gd name="connsiteX5" fmla="*/ 659320 w 667808"/>
                      <a:gd name="connsiteY5" fmla="*/ 708449 h 772746"/>
                      <a:gd name="connsiteX6" fmla="*/ 518826 w 667808"/>
                      <a:gd name="connsiteY6" fmla="*/ 717975 h 772746"/>
                      <a:gd name="connsiteX7" fmla="*/ 504539 w 667808"/>
                      <a:gd name="connsiteY7" fmla="*/ 296494 h 772746"/>
                      <a:gd name="connsiteX8" fmla="*/ 342613 w 667808"/>
                      <a:gd name="connsiteY8" fmla="*/ 134569 h 772746"/>
                      <a:gd name="connsiteX9" fmla="*/ 156876 w 667808"/>
                      <a:gd name="connsiteY9" fmla="*/ 291731 h 772746"/>
                      <a:gd name="connsiteX10" fmla="*/ 137826 w 667808"/>
                      <a:gd name="connsiteY10" fmla="*/ 644156 h 772746"/>
                      <a:gd name="connsiteX11" fmla="*/ 16382 w 667808"/>
                      <a:gd name="connsiteY11" fmla="*/ 632250 h 772746"/>
                      <a:gd name="connsiteX0" fmla="*/ 16382 w 672011"/>
                      <a:gd name="connsiteY0" fmla="*/ 632250 h 772746"/>
                      <a:gd name="connsiteX1" fmla="*/ 18763 w 672011"/>
                      <a:gd name="connsiteY1" fmla="*/ 270300 h 772746"/>
                      <a:gd name="connsiteX2" fmla="*/ 178307 w 672011"/>
                      <a:gd name="connsiteY2" fmla="*/ 51225 h 772746"/>
                      <a:gd name="connsiteX3" fmla="*/ 390238 w 672011"/>
                      <a:gd name="connsiteY3" fmla="*/ 8362 h 772746"/>
                      <a:gd name="connsiteX4" fmla="*/ 623601 w 672011"/>
                      <a:gd name="connsiteY4" fmla="*/ 177431 h 772746"/>
                      <a:gd name="connsiteX5" fmla="*/ 659320 w 672011"/>
                      <a:gd name="connsiteY5" fmla="*/ 708449 h 772746"/>
                      <a:gd name="connsiteX6" fmla="*/ 518826 w 672011"/>
                      <a:gd name="connsiteY6" fmla="*/ 717975 h 772746"/>
                      <a:gd name="connsiteX7" fmla="*/ 504539 w 672011"/>
                      <a:gd name="connsiteY7" fmla="*/ 296494 h 772746"/>
                      <a:gd name="connsiteX8" fmla="*/ 342613 w 672011"/>
                      <a:gd name="connsiteY8" fmla="*/ 134569 h 772746"/>
                      <a:gd name="connsiteX9" fmla="*/ 156876 w 672011"/>
                      <a:gd name="connsiteY9" fmla="*/ 291731 h 772746"/>
                      <a:gd name="connsiteX10" fmla="*/ 137826 w 672011"/>
                      <a:gd name="connsiteY10" fmla="*/ 644156 h 772746"/>
                      <a:gd name="connsiteX11" fmla="*/ 16382 w 672011"/>
                      <a:gd name="connsiteY11" fmla="*/ 632250 h 772746"/>
                      <a:gd name="connsiteX0" fmla="*/ 16382 w 672011"/>
                      <a:gd name="connsiteY0" fmla="*/ 632250 h 772746"/>
                      <a:gd name="connsiteX1" fmla="*/ 18763 w 672011"/>
                      <a:gd name="connsiteY1" fmla="*/ 270300 h 772746"/>
                      <a:gd name="connsiteX2" fmla="*/ 178307 w 672011"/>
                      <a:gd name="connsiteY2" fmla="*/ 51225 h 772746"/>
                      <a:gd name="connsiteX3" fmla="*/ 390238 w 672011"/>
                      <a:gd name="connsiteY3" fmla="*/ 8362 h 772746"/>
                      <a:gd name="connsiteX4" fmla="*/ 623601 w 672011"/>
                      <a:gd name="connsiteY4" fmla="*/ 177431 h 772746"/>
                      <a:gd name="connsiteX5" fmla="*/ 659320 w 672011"/>
                      <a:gd name="connsiteY5" fmla="*/ 708449 h 772746"/>
                      <a:gd name="connsiteX6" fmla="*/ 518826 w 672011"/>
                      <a:gd name="connsiteY6" fmla="*/ 717975 h 772746"/>
                      <a:gd name="connsiteX7" fmla="*/ 504539 w 672011"/>
                      <a:gd name="connsiteY7" fmla="*/ 296494 h 772746"/>
                      <a:gd name="connsiteX8" fmla="*/ 342613 w 672011"/>
                      <a:gd name="connsiteY8" fmla="*/ 134569 h 772746"/>
                      <a:gd name="connsiteX9" fmla="*/ 156876 w 672011"/>
                      <a:gd name="connsiteY9" fmla="*/ 291731 h 772746"/>
                      <a:gd name="connsiteX10" fmla="*/ 137826 w 672011"/>
                      <a:gd name="connsiteY10" fmla="*/ 644156 h 772746"/>
                      <a:gd name="connsiteX11" fmla="*/ 16382 w 672011"/>
                      <a:gd name="connsiteY11" fmla="*/ 632250 h 772746"/>
                      <a:gd name="connsiteX0" fmla="*/ 16382 w 666093"/>
                      <a:gd name="connsiteY0" fmla="*/ 632250 h 772746"/>
                      <a:gd name="connsiteX1" fmla="*/ 18763 w 666093"/>
                      <a:gd name="connsiteY1" fmla="*/ 270300 h 772746"/>
                      <a:gd name="connsiteX2" fmla="*/ 178307 w 666093"/>
                      <a:gd name="connsiteY2" fmla="*/ 51225 h 772746"/>
                      <a:gd name="connsiteX3" fmla="*/ 390238 w 666093"/>
                      <a:gd name="connsiteY3" fmla="*/ 8362 h 772746"/>
                      <a:gd name="connsiteX4" fmla="*/ 623601 w 666093"/>
                      <a:gd name="connsiteY4" fmla="*/ 177431 h 772746"/>
                      <a:gd name="connsiteX5" fmla="*/ 659320 w 666093"/>
                      <a:gd name="connsiteY5" fmla="*/ 708449 h 772746"/>
                      <a:gd name="connsiteX6" fmla="*/ 518826 w 666093"/>
                      <a:gd name="connsiteY6" fmla="*/ 717975 h 772746"/>
                      <a:gd name="connsiteX7" fmla="*/ 504539 w 666093"/>
                      <a:gd name="connsiteY7" fmla="*/ 296494 h 772746"/>
                      <a:gd name="connsiteX8" fmla="*/ 342613 w 666093"/>
                      <a:gd name="connsiteY8" fmla="*/ 134569 h 772746"/>
                      <a:gd name="connsiteX9" fmla="*/ 156876 w 666093"/>
                      <a:gd name="connsiteY9" fmla="*/ 291731 h 772746"/>
                      <a:gd name="connsiteX10" fmla="*/ 137826 w 666093"/>
                      <a:gd name="connsiteY10" fmla="*/ 644156 h 772746"/>
                      <a:gd name="connsiteX11" fmla="*/ 16382 w 666093"/>
                      <a:gd name="connsiteY11" fmla="*/ 632250 h 772746"/>
                      <a:gd name="connsiteX0" fmla="*/ 16382 w 666093"/>
                      <a:gd name="connsiteY0" fmla="*/ 632250 h 772746"/>
                      <a:gd name="connsiteX1" fmla="*/ 18763 w 666093"/>
                      <a:gd name="connsiteY1" fmla="*/ 270300 h 772746"/>
                      <a:gd name="connsiteX2" fmla="*/ 178307 w 666093"/>
                      <a:gd name="connsiteY2" fmla="*/ 51225 h 772746"/>
                      <a:gd name="connsiteX3" fmla="*/ 390238 w 666093"/>
                      <a:gd name="connsiteY3" fmla="*/ 8362 h 772746"/>
                      <a:gd name="connsiteX4" fmla="*/ 623601 w 666093"/>
                      <a:gd name="connsiteY4" fmla="*/ 177431 h 772746"/>
                      <a:gd name="connsiteX5" fmla="*/ 659320 w 666093"/>
                      <a:gd name="connsiteY5" fmla="*/ 708449 h 772746"/>
                      <a:gd name="connsiteX6" fmla="*/ 518826 w 666093"/>
                      <a:gd name="connsiteY6" fmla="*/ 717975 h 772746"/>
                      <a:gd name="connsiteX7" fmla="*/ 504539 w 666093"/>
                      <a:gd name="connsiteY7" fmla="*/ 296494 h 772746"/>
                      <a:gd name="connsiteX8" fmla="*/ 342613 w 666093"/>
                      <a:gd name="connsiteY8" fmla="*/ 134569 h 772746"/>
                      <a:gd name="connsiteX9" fmla="*/ 156876 w 666093"/>
                      <a:gd name="connsiteY9" fmla="*/ 291731 h 772746"/>
                      <a:gd name="connsiteX10" fmla="*/ 137826 w 666093"/>
                      <a:gd name="connsiteY10" fmla="*/ 644156 h 772746"/>
                      <a:gd name="connsiteX11" fmla="*/ 16382 w 666093"/>
                      <a:gd name="connsiteY11" fmla="*/ 632250 h 772746"/>
                      <a:gd name="connsiteX0" fmla="*/ 16382 w 666093"/>
                      <a:gd name="connsiteY0" fmla="*/ 632250 h 754481"/>
                      <a:gd name="connsiteX1" fmla="*/ 18763 w 666093"/>
                      <a:gd name="connsiteY1" fmla="*/ 270300 h 754481"/>
                      <a:gd name="connsiteX2" fmla="*/ 178307 w 666093"/>
                      <a:gd name="connsiteY2" fmla="*/ 51225 h 754481"/>
                      <a:gd name="connsiteX3" fmla="*/ 390238 w 666093"/>
                      <a:gd name="connsiteY3" fmla="*/ 8362 h 754481"/>
                      <a:gd name="connsiteX4" fmla="*/ 623601 w 666093"/>
                      <a:gd name="connsiteY4" fmla="*/ 177431 h 754481"/>
                      <a:gd name="connsiteX5" fmla="*/ 659320 w 666093"/>
                      <a:gd name="connsiteY5" fmla="*/ 708449 h 754481"/>
                      <a:gd name="connsiteX6" fmla="*/ 518826 w 666093"/>
                      <a:gd name="connsiteY6" fmla="*/ 717975 h 754481"/>
                      <a:gd name="connsiteX7" fmla="*/ 504539 w 666093"/>
                      <a:gd name="connsiteY7" fmla="*/ 296494 h 754481"/>
                      <a:gd name="connsiteX8" fmla="*/ 342613 w 666093"/>
                      <a:gd name="connsiteY8" fmla="*/ 134569 h 754481"/>
                      <a:gd name="connsiteX9" fmla="*/ 156876 w 666093"/>
                      <a:gd name="connsiteY9" fmla="*/ 291731 h 754481"/>
                      <a:gd name="connsiteX10" fmla="*/ 137826 w 666093"/>
                      <a:gd name="connsiteY10" fmla="*/ 644156 h 754481"/>
                      <a:gd name="connsiteX11" fmla="*/ 16382 w 666093"/>
                      <a:gd name="connsiteY11" fmla="*/ 632250 h 754481"/>
                      <a:gd name="connsiteX0" fmla="*/ 16382 w 666093"/>
                      <a:gd name="connsiteY0" fmla="*/ 632250 h 754481"/>
                      <a:gd name="connsiteX1" fmla="*/ 18763 w 666093"/>
                      <a:gd name="connsiteY1" fmla="*/ 270300 h 754481"/>
                      <a:gd name="connsiteX2" fmla="*/ 178307 w 666093"/>
                      <a:gd name="connsiteY2" fmla="*/ 51225 h 754481"/>
                      <a:gd name="connsiteX3" fmla="*/ 390238 w 666093"/>
                      <a:gd name="connsiteY3" fmla="*/ 8362 h 754481"/>
                      <a:gd name="connsiteX4" fmla="*/ 623601 w 666093"/>
                      <a:gd name="connsiteY4" fmla="*/ 177431 h 754481"/>
                      <a:gd name="connsiteX5" fmla="*/ 659320 w 666093"/>
                      <a:gd name="connsiteY5" fmla="*/ 708449 h 754481"/>
                      <a:gd name="connsiteX6" fmla="*/ 518826 w 666093"/>
                      <a:gd name="connsiteY6" fmla="*/ 717975 h 754481"/>
                      <a:gd name="connsiteX7" fmla="*/ 504539 w 666093"/>
                      <a:gd name="connsiteY7" fmla="*/ 296494 h 754481"/>
                      <a:gd name="connsiteX8" fmla="*/ 342613 w 666093"/>
                      <a:gd name="connsiteY8" fmla="*/ 134569 h 754481"/>
                      <a:gd name="connsiteX9" fmla="*/ 156876 w 666093"/>
                      <a:gd name="connsiteY9" fmla="*/ 291731 h 754481"/>
                      <a:gd name="connsiteX10" fmla="*/ 137826 w 666093"/>
                      <a:gd name="connsiteY10" fmla="*/ 644156 h 754481"/>
                      <a:gd name="connsiteX11" fmla="*/ 16382 w 666093"/>
                      <a:gd name="connsiteY11" fmla="*/ 632250 h 754481"/>
                      <a:gd name="connsiteX0" fmla="*/ 16382 w 666093"/>
                      <a:gd name="connsiteY0" fmla="*/ 632250 h 743186"/>
                      <a:gd name="connsiteX1" fmla="*/ 18763 w 666093"/>
                      <a:gd name="connsiteY1" fmla="*/ 270300 h 743186"/>
                      <a:gd name="connsiteX2" fmla="*/ 178307 w 666093"/>
                      <a:gd name="connsiteY2" fmla="*/ 51225 h 743186"/>
                      <a:gd name="connsiteX3" fmla="*/ 390238 w 666093"/>
                      <a:gd name="connsiteY3" fmla="*/ 8362 h 743186"/>
                      <a:gd name="connsiteX4" fmla="*/ 623601 w 666093"/>
                      <a:gd name="connsiteY4" fmla="*/ 177431 h 743186"/>
                      <a:gd name="connsiteX5" fmla="*/ 659320 w 666093"/>
                      <a:gd name="connsiteY5" fmla="*/ 708449 h 743186"/>
                      <a:gd name="connsiteX6" fmla="*/ 518826 w 666093"/>
                      <a:gd name="connsiteY6" fmla="*/ 717975 h 743186"/>
                      <a:gd name="connsiteX7" fmla="*/ 504539 w 666093"/>
                      <a:gd name="connsiteY7" fmla="*/ 296494 h 743186"/>
                      <a:gd name="connsiteX8" fmla="*/ 342613 w 666093"/>
                      <a:gd name="connsiteY8" fmla="*/ 134569 h 743186"/>
                      <a:gd name="connsiteX9" fmla="*/ 156876 w 666093"/>
                      <a:gd name="connsiteY9" fmla="*/ 291731 h 743186"/>
                      <a:gd name="connsiteX10" fmla="*/ 137826 w 666093"/>
                      <a:gd name="connsiteY10" fmla="*/ 644156 h 743186"/>
                      <a:gd name="connsiteX11" fmla="*/ 16382 w 666093"/>
                      <a:gd name="connsiteY11" fmla="*/ 632250 h 743186"/>
                      <a:gd name="connsiteX0" fmla="*/ 16382 w 666093"/>
                      <a:gd name="connsiteY0" fmla="*/ 632250 h 743186"/>
                      <a:gd name="connsiteX1" fmla="*/ 18763 w 666093"/>
                      <a:gd name="connsiteY1" fmla="*/ 270300 h 743186"/>
                      <a:gd name="connsiteX2" fmla="*/ 178307 w 666093"/>
                      <a:gd name="connsiteY2" fmla="*/ 51225 h 743186"/>
                      <a:gd name="connsiteX3" fmla="*/ 390238 w 666093"/>
                      <a:gd name="connsiteY3" fmla="*/ 8362 h 743186"/>
                      <a:gd name="connsiteX4" fmla="*/ 623601 w 666093"/>
                      <a:gd name="connsiteY4" fmla="*/ 177431 h 743186"/>
                      <a:gd name="connsiteX5" fmla="*/ 659320 w 666093"/>
                      <a:gd name="connsiteY5" fmla="*/ 708449 h 743186"/>
                      <a:gd name="connsiteX6" fmla="*/ 518826 w 666093"/>
                      <a:gd name="connsiteY6" fmla="*/ 717975 h 743186"/>
                      <a:gd name="connsiteX7" fmla="*/ 504539 w 666093"/>
                      <a:gd name="connsiteY7" fmla="*/ 296494 h 743186"/>
                      <a:gd name="connsiteX8" fmla="*/ 337851 w 666093"/>
                      <a:gd name="connsiteY8" fmla="*/ 144094 h 743186"/>
                      <a:gd name="connsiteX9" fmla="*/ 156876 w 666093"/>
                      <a:gd name="connsiteY9" fmla="*/ 291731 h 743186"/>
                      <a:gd name="connsiteX10" fmla="*/ 137826 w 666093"/>
                      <a:gd name="connsiteY10" fmla="*/ 644156 h 743186"/>
                      <a:gd name="connsiteX11" fmla="*/ 16382 w 666093"/>
                      <a:gd name="connsiteY11" fmla="*/ 632250 h 743186"/>
                      <a:gd name="connsiteX0" fmla="*/ 16382 w 666093"/>
                      <a:gd name="connsiteY0" fmla="*/ 632250 h 743186"/>
                      <a:gd name="connsiteX1" fmla="*/ 18763 w 666093"/>
                      <a:gd name="connsiteY1" fmla="*/ 270300 h 743186"/>
                      <a:gd name="connsiteX2" fmla="*/ 178307 w 666093"/>
                      <a:gd name="connsiteY2" fmla="*/ 51225 h 743186"/>
                      <a:gd name="connsiteX3" fmla="*/ 390238 w 666093"/>
                      <a:gd name="connsiteY3" fmla="*/ 8362 h 743186"/>
                      <a:gd name="connsiteX4" fmla="*/ 623601 w 666093"/>
                      <a:gd name="connsiteY4" fmla="*/ 177431 h 743186"/>
                      <a:gd name="connsiteX5" fmla="*/ 659320 w 666093"/>
                      <a:gd name="connsiteY5" fmla="*/ 708449 h 743186"/>
                      <a:gd name="connsiteX6" fmla="*/ 518826 w 666093"/>
                      <a:gd name="connsiteY6" fmla="*/ 717975 h 743186"/>
                      <a:gd name="connsiteX7" fmla="*/ 504539 w 666093"/>
                      <a:gd name="connsiteY7" fmla="*/ 296494 h 743186"/>
                      <a:gd name="connsiteX8" fmla="*/ 335470 w 666093"/>
                      <a:gd name="connsiteY8" fmla="*/ 132188 h 743186"/>
                      <a:gd name="connsiteX9" fmla="*/ 156876 w 666093"/>
                      <a:gd name="connsiteY9" fmla="*/ 291731 h 743186"/>
                      <a:gd name="connsiteX10" fmla="*/ 137826 w 666093"/>
                      <a:gd name="connsiteY10" fmla="*/ 644156 h 743186"/>
                      <a:gd name="connsiteX11" fmla="*/ 16382 w 666093"/>
                      <a:gd name="connsiteY11" fmla="*/ 632250 h 743186"/>
                      <a:gd name="connsiteX0" fmla="*/ 16382 w 666093"/>
                      <a:gd name="connsiteY0" fmla="*/ 632250 h 743186"/>
                      <a:gd name="connsiteX1" fmla="*/ 18763 w 666093"/>
                      <a:gd name="connsiteY1" fmla="*/ 270300 h 743186"/>
                      <a:gd name="connsiteX2" fmla="*/ 178307 w 666093"/>
                      <a:gd name="connsiteY2" fmla="*/ 51225 h 743186"/>
                      <a:gd name="connsiteX3" fmla="*/ 390238 w 666093"/>
                      <a:gd name="connsiteY3" fmla="*/ 8362 h 743186"/>
                      <a:gd name="connsiteX4" fmla="*/ 623601 w 666093"/>
                      <a:gd name="connsiteY4" fmla="*/ 177431 h 743186"/>
                      <a:gd name="connsiteX5" fmla="*/ 659320 w 666093"/>
                      <a:gd name="connsiteY5" fmla="*/ 708449 h 743186"/>
                      <a:gd name="connsiteX6" fmla="*/ 518826 w 666093"/>
                      <a:gd name="connsiteY6" fmla="*/ 717975 h 743186"/>
                      <a:gd name="connsiteX7" fmla="*/ 504539 w 666093"/>
                      <a:gd name="connsiteY7" fmla="*/ 296494 h 743186"/>
                      <a:gd name="connsiteX8" fmla="*/ 335470 w 666093"/>
                      <a:gd name="connsiteY8" fmla="*/ 132188 h 743186"/>
                      <a:gd name="connsiteX9" fmla="*/ 156876 w 666093"/>
                      <a:gd name="connsiteY9" fmla="*/ 291731 h 743186"/>
                      <a:gd name="connsiteX10" fmla="*/ 137826 w 666093"/>
                      <a:gd name="connsiteY10" fmla="*/ 644156 h 743186"/>
                      <a:gd name="connsiteX11" fmla="*/ 16382 w 666093"/>
                      <a:gd name="connsiteY11" fmla="*/ 632250 h 743186"/>
                      <a:gd name="connsiteX0" fmla="*/ 16528 w 666239"/>
                      <a:gd name="connsiteY0" fmla="*/ 632250 h 743186"/>
                      <a:gd name="connsiteX1" fmla="*/ 18909 w 666239"/>
                      <a:gd name="connsiteY1" fmla="*/ 270300 h 743186"/>
                      <a:gd name="connsiteX2" fmla="*/ 178453 w 666239"/>
                      <a:gd name="connsiteY2" fmla="*/ 51225 h 743186"/>
                      <a:gd name="connsiteX3" fmla="*/ 390384 w 666239"/>
                      <a:gd name="connsiteY3" fmla="*/ 8362 h 743186"/>
                      <a:gd name="connsiteX4" fmla="*/ 623747 w 666239"/>
                      <a:gd name="connsiteY4" fmla="*/ 177431 h 743186"/>
                      <a:gd name="connsiteX5" fmla="*/ 659466 w 666239"/>
                      <a:gd name="connsiteY5" fmla="*/ 708449 h 743186"/>
                      <a:gd name="connsiteX6" fmla="*/ 518972 w 666239"/>
                      <a:gd name="connsiteY6" fmla="*/ 717975 h 743186"/>
                      <a:gd name="connsiteX7" fmla="*/ 504685 w 666239"/>
                      <a:gd name="connsiteY7" fmla="*/ 296494 h 743186"/>
                      <a:gd name="connsiteX8" fmla="*/ 335616 w 666239"/>
                      <a:gd name="connsiteY8" fmla="*/ 132188 h 743186"/>
                      <a:gd name="connsiteX9" fmla="*/ 157022 w 666239"/>
                      <a:gd name="connsiteY9" fmla="*/ 291731 h 743186"/>
                      <a:gd name="connsiteX10" fmla="*/ 140353 w 666239"/>
                      <a:gd name="connsiteY10" fmla="*/ 639394 h 743186"/>
                      <a:gd name="connsiteX11" fmla="*/ 16528 w 666239"/>
                      <a:gd name="connsiteY11" fmla="*/ 632250 h 743186"/>
                      <a:gd name="connsiteX0" fmla="*/ 16528 w 666239"/>
                      <a:gd name="connsiteY0" fmla="*/ 632250 h 743186"/>
                      <a:gd name="connsiteX1" fmla="*/ 18909 w 666239"/>
                      <a:gd name="connsiteY1" fmla="*/ 270300 h 743186"/>
                      <a:gd name="connsiteX2" fmla="*/ 178453 w 666239"/>
                      <a:gd name="connsiteY2" fmla="*/ 51225 h 743186"/>
                      <a:gd name="connsiteX3" fmla="*/ 390384 w 666239"/>
                      <a:gd name="connsiteY3" fmla="*/ 8362 h 743186"/>
                      <a:gd name="connsiteX4" fmla="*/ 623747 w 666239"/>
                      <a:gd name="connsiteY4" fmla="*/ 177431 h 743186"/>
                      <a:gd name="connsiteX5" fmla="*/ 659466 w 666239"/>
                      <a:gd name="connsiteY5" fmla="*/ 708449 h 743186"/>
                      <a:gd name="connsiteX6" fmla="*/ 518972 w 666239"/>
                      <a:gd name="connsiteY6" fmla="*/ 717975 h 743186"/>
                      <a:gd name="connsiteX7" fmla="*/ 504685 w 666239"/>
                      <a:gd name="connsiteY7" fmla="*/ 296494 h 743186"/>
                      <a:gd name="connsiteX8" fmla="*/ 335616 w 666239"/>
                      <a:gd name="connsiteY8" fmla="*/ 132188 h 743186"/>
                      <a:gd name="connsiteX9" fmla="*/ 157022 w 666239"/>
                      <a:gd name="connsiteY9" fmla="*/ 291731 h 743186"/>
                      <a:gd name="connsiteX10" fmla="*/ 140353 w 666239"/>
                      <a:gd name="connsiteY10" fmla="*/ 639394 h 743186"/>
                      <a:gd name="connsiteX11" fmla="*/ 16528 w 666239"/>
                      <a:gd name="connsiteY11" fmla="*/ 632250 h 743186"/>
                      <a:gd name="connsiteX0" fmla="*/ 16528 w 666239"/>
                      <a:gd name="connsiteY0" fmla="*/ 632250 h 743186"/>
                      <a:gd name="connsiteX1" fmla="*/ 18909 w 666239"/>
                      <a:gd name="connsiteY1" fmla="*/ 270300 h 743186"/>
                      <a:gd name="connsiteX2" fmla="*/ 178453 w 666239"/>
                      <a:gd name="connsiteY2" fmla="*/ 51225 h 743186"/>
                      <a:gd name="connsiteX3" fmla="*/ 390384 w 666239"/>
                      <a:gd name="connsiteY3" fmla="*/ 8362 h 743186"/>
                      <a:gd name="connsiteX4" fmla="*/ 623747 w 666239"/>
                      <a:gd name="connsiteY4" fmla="*/ 177431 h 743186"/>
                      <a:gd name="connsiteX5" fmla="*/ 659466 w 666239"/>
                      <a:gd name="connsiteY5" fmla="*/ 708449 h 743186"/>
                      <a:gd name="connsiteX6" fmla="*/ 518972 w 666239"/>
                      <a:gd name="connsiteY6" fmla="*/ 717975 h 743186"/>
                      <a:gd name="connsiteX7" fmla="*/ 504685 w 666239"/>
                      <a:gd name="connsiteY7" fmla="*/ 296494 h 743186"/>
                      <a:gd name="connsiteX8" fmla="*/ 335616 w 666239"/>
                      <a:gd name="connsiteY8" fmla="*/ 132188 h 743186"/>
                      <a:gd name="connsiteX9" fmla="*/ 157022 w 666239"/>
                      <a:gd name="connsiteY9" fmla="*/ 291731 h 743186"/>
                      <a:gd name="connsiteX10" fmla="*/ 140353 w 666239"/>
                      <a:gd name="connsiteY10" fmla="*/ 639394 h 743186"/>
                      <a:gd name="connsiteX11" fmla="*/ 16528 w 666239"/>
                      <a:gd name="connsiteY11" fmla="*/ 632250 h 743186"/>
                      <a:gd name="connsiteX0" fmla="*/ 16528 w 666239"/>
                      <a:gd name="connsiteY0" fmla="*/ 632250 h 743186"/>
                      <a:gd name="connsiteX1" fmla="*/ 18909 w 666239"/>
                      <a:gd name="connsiteY1" fmla="*/ 270300 h 743186"/>
                      <a:gd name="connsiteX2" fmla="*/ 178453 w 666239"/>
                      <a:gd name="connsiteY2" fmla="*/ 51225 h 743186"/>
                      <a:gd name="connsiteX3" fmla="*/ 390384 w 666239"/>
                      <a:gd name="connsiteY3" fmla="*/ 8362 h 743186"/>
                      <a:gd name="connsiteX4" fmla="*/ 623747 w 666239"/>
                      <a:gd name="connsiteY4" fmla="*/ 177431 h 743186"/>
                      <a:gd name="connsiteX5" fmla="*/ 659466 w 666239"/>
                      <a:gd name="connsiteY5" fmla="*/ 708449 h 743186"/>
                      <a:gd name="connsiteX6" fmla="*/ 518972 w 666239"/>
                      <a:gd name="connsiteY6" fmla="*/ 717975 h 743186"/>
                      <a:gd name="connsiteX7" fmla="*/ 504685 w 666239"/>
                      <a:gd name="connsiteY7" fmla="*/ 296494 h 743186"/>
                      <a:gd name="connsiteX8" fmla="*/ 335616 w 666239"/>
                      <a:gd name="connsiteY8" fmla="*/ 132188 h 743186"/>
                      <a:gd name="connsiteX9" fmla="*/ 157022 w 666239"/>
                      <a:gd name="connsiteY9" fmla="*/ 291731 h 743186"/>
                      <a:gd name="connsiteX10" fmla="*/ 140353 w 666239"/>
                      <a:gd name="connsiteY10" fmla="*/ 639394 h 743186"/>
                      <a:gd name="connsiteX11" fmla="*/ 16528 w 666239"/>
                      <a:gd name="connsiteY11" fmla="*/ 632250 h 743186"/>
                      <a:gd name="connsiteX0" fmla="*/ 14253 w 663964"/>
                      <a:gd name="connsiteY0" fmla="*/ 631315 h 742251"/>
                      <a:gd name="connsiteX1" fmla="*/ 21397 w 663964"/>
                      <a:gd name="connsiteY1" fmla="*/ 231265 h 742251"/>
                      <a:gd name="connsiteX2" fmla="*/ 176178 w 663964"/>
                      <a:gd name="connsiteY2" fmla="*/ 50290 h 742251"/>
                      <a:gd name="connsiteX3" fmla="*/ 388109 w 663964"/>
                      <a:gd name="connsiteY3" fmla="*/ 7427 h 742251"/>
                      <a:gd name="connsiteX4" fmla="*/ 621472 w 663964"/>
                      <a:gd name="connsiteY4" fmla="*/ 176496 h 742251"/>
                      <a:gd name="connsiteX5" fmla="*/ 657191 w 663964"/>
                      <a:gd name="connsiteY5" fmla="*/ 707514 h 742251"/>
                      <a:gd name="connsiteX6" fmla="*/ 516697 w 663964"/>
                      <a:gd name="connsiteY6" fmla="*/ 717040 h 742251"/>
                      <a:gd name="connsiteX7" fmla="*/ 502410 w 663964"/>
                      <a:gd name="connsiteY7" fmla="*/ 295559 h 742251"/>
                      <a:gd name="connsiteX8" fmla="*/ 333341 w 663964"/>
                      <a:gd name="connsiteY8" fmla="*/ 131253 h 742251"/>
                      <a:gd name="connsiteX9" fmla="*/ 154747 w 663964"/>
                      <a:gd name="connsiteY9" fmla="*/ 290796 h 742251"/>
                      <a:gd name="connsiteX10" fmla="*/ 138078 w 663964"/>
                      <a:gd name="connsiteY10" fmla="*/ 638459 h 742251"/>
                      <a:gd name="connsiteX11" fmla="*/ 14253 w 663964"/>
                      <a:gd name="connsiteY11" fmla="*/ 631315 h 742251"/>
                      <a:gd name="connsiteX0" fmla="*/ 6688 w 656399"/>
                      <a:gd name="connsiteY0" fmla="*/ 631315 h 742251"/>
                      <a:gd name="connsiteX1" fmla="*/ 13832 w 656399"/>
                      <a:gd name="connsiteY1" fmla="*/ 231265 h 742251"/>
                      <a:gd name="connsiteX2" fmla="*/ 168613 w 656399"/>
                      <a:gd name="connsiteY2" fmla="*/ 50290 h 742251"/>
                      <a:gd name="connsiteX3" fmla="*/ 380544 w 656399"/>
                      <a:gd name="connsiteY3" fmla="*/ 7427 h 742251"/>
                      <a:gd name="connsiteX4" fmla="*/ 613907 w 656399"/>
                      <a:gd name="connsiteY4" fmla="*/ 176496 h 742251"/>
                      <a:gd name="connsiteX5" fmla="*/ 649626 w 656399"/>
                      <a:gd name="connsiteY5" fmla="*/ 707514 h 742251"/>
                      <a:gd name="connsiteX6" fmla="*/ 509132 w 656399"/>
                      <a:gd name="connsiteY6" fmla="*/ 717040 h 742251"/>
                      <a:gd name="connsiteX7" fmla="*/ 494845 w 656399"/>
                      <a:gd name="connsiteY7" fmla="*/ 295559 h 742251"/>
                      <a:gd name="connsiteX8" fmla="*/ 325776 w 656399"/>
                      <a:gd name="connsiteY8" fmla="*/ 131253 h 742251"/>
                      <a:gd name="connsiteX9" fmla="*/ 147182 w 656399"/>
                      <a:gd name="connsiteY9" fmla="*/ 290796 h 742251"/>
                      <a:gd name="connsiteX10" fmla="*/ 130513 w 656399"/>
                      <a:gd name="connsiteY10" fmla="*/ 638459 h 742251"/>
                      <a:gd name="connsiteX11" fmla="*/ 6688 w 656399"/>
                      <a:gd name="connsiteY11" fmla="*/ 631315 h 742251"/>
                      <a:gd name="connsiteX0" fmla="*/ 0 w 649711"/>
                      <a:gd name="connsiteY0" fmla="*/ 631368 h 742304"/>
                      <a:gd name="connsiteX1" fmla="*/ 21432 w 649711"/>
                      <a:gd name="connsiteY1" fmla="*/ 233700 h 742304"/>
                      <a:gd name="connsiteX2" fmla="*/ 161925 w 649711"/>
                      <a:gd name="connsiteY2" fmla="*/ 50343 h 742304"/>
                      <a:gd name="connsiteX3" fmla="*/ 373856 w 649711"/>
                      <a:gd name="connsiteY3" fmla="*/ 7480 h 742304"/>
                      <a:gd name="connsiteX4" fmla="*/ 607219 w 649711"/>
                      <a:gd name="connsiteY4" fmla="*/ 176549 h 742304"/>
                      <a:gd name="connsiteX5" fmla="*/ 642938 w 649711"/>
                      <a:gd name="connsiteY5" fmla="*/ 707567 h 742304"/>
                      <a:gd name="connsiteX6" fmla="*/ 502444 w 649711"/>
                      <a:gd name="connsiteY6" fmla="*/ 717093 h 742304"/>
                      <a:gd name="connsiteX7" fmla="*/ 488157 w 649711"/>
                      <a:gd name="connsiteY7" fmla="*/ 295612 h 742304"/>
                      <a:gd name="connsiteX8" fmla="*/ 319088 w 649711"/>
                      <a:gd name="connsiteY8" fmla="*/ 131306 h 742304"/>
                      <a:gd name="connsiteX9" fmla="*/ 140494 w 649711"/>
                      <a:gd name="connsiteY9" fmla="*/ 290849 h 742304"/>
                      <a:gd name="connsiteX10" fmla="*/ 123825 w 649711"/>
                      <a:gd name="connsiteY10" fmla="*/ 638512 h 742304"/>
                      <a:gd name="connsiteX11" fmla="*/ 0 w 649711"/>
                      <a:gd name="connsiteY11" fmla="*/ 631368 h 742304"/>
                      <a:gd name="connsiteX0" fmla="*/ 0 w 649711"/>
                      <a:gd name="connsiteY0" fmla="*/ 631368 h 742304"/>
                      <a:gd name="connsiteX1" fmla="*/ 21432 w 649711"/>
                      <a:gd name="connsiteY1" fmla="*/ 233700 h 742304"/>
                      <a:gd name="connsiteX2" fmla="*/ 161925 w 649711"/>
                      <a:gd name="connsiteY2" fmla="*/ 50343 h 742304"/>
                      <a:gd name="connsiteX3" fmla="*/ 373856 w 649711"/>
                      <a:gd name="connsiteY3" fmla="*/ 7480 h 742304"/>
                      <a:gd name="connsiteX4" fmla="*/ 607219 w 649711"/>
                      <a:gd name="connsiteY4" fmla="*/ 176549 h 742304"/>
                      <a:gd name="connsiteX5" fmla="*/ 642938 w 649711"/>
                      <a:gd name="connsiteY5" fmla="*/ 707567 h 742304"/>
                      <a:gd name="connsiteX6" fmla="*/ 502444 w 649711"/>
                      <a:gd name="connsiteY6" fmla="*/ 717093 h 742304"/>
                      <a:gd name="connsiteX7" fmla="*/ 488157 w 649711"/>
                      <a:gd name="connsiteY7" fmla="*/ 295612 h 742304"/>
                      <a:gd name="connsiteX8" fmla="*/ 319088 w 649711"/>
                      <a:gd name="connsiteY8" fmla="*/ 131306 h 742304"/>
                      <a:gd name="connsiteX9" fmla="*/ 145257 w 649711"/>
                      <a:gd name="connsiteY9" fmla="*/ 278943 h 742304"/>
                      <a:gd name="connsiteX10" fmla="*/ 123825 w 649711"/>
                      <a:gd name="connsiteY10" fmla="*/ 638512 h 742304"/>
                      <a:gd name="connsiteX11" fmla="*/ 0 w 649711"/>
                      <a:gd name="connsiteY11" fmla="*/ 631368 h 742304"/>
                      <a:gd name="connsiteX0" fmla="*/ 0 w 649711"/>
                      <a:gd name="connsiteY0" fmla="*/ 631368 h 742304"/>
                      <a:gd name="connsiteX1" fmla="*/ 21432 w 649711"/>
                      <a:gd name="connsiteY1" fmla="*/ 233700 h 742304"/>
                      <a:gd name="connsiteX2" fmla="*/ 161925 w 649711"/>
                      <a:gd name="connsiteY2" fmla="*/ 50343 h 742304"/>
                      <a:gd name="connsiteX3" fmla="*/ 373856 w 649711"/>
                      <a:gd name="connsiteY3" fmla="*/ 7480 h 742304"/>
                      <a:gd name="connsiteX4" fmla="*/ 607219 w 649711"/>
                      <a:gd name="connsiteY4" fmla="*/ 176549 h 742304"/>
                      <a:gd name="connsiteX5" fmla="*/ 642938 w 649711"/>
                      <a:gd name="connsiteY5" fmla="*/ 707567 h 742304"/>
                      <a:gd name="connsiteX6" fmla="*/ 502444 w 649711"/>
                      <a:gd name="connsiteY6" fmla="*/ 717093 h 742304"/>
                      <a:gd name="connsiteX7" fmla="*/ 488157 w 649711"/>
                      <a:gd name="connsiteY7" fmla="*/ 295612 h 742304"/>
                      <a:gd name="connsiteX8" fmla="*/ 319088 w 649711"/>
                      <a:gd name="connsiteY8" fmla="*/ 131306 h 742304"/>
                      <a:gd name="connsiteX9" fmla="*/ 145257 w 649711"/>
                      <a:gd name="connsiteY9" fmla="*/ 278943 h 742304"/>
                      <a:gd name="connsiteX10" fmla="*/ 123825 w 649711"/>
                      <a:gd name="connsiteY10" fmla="*/ 638512 h 742304"/>
                      <a:gd name="connsiteX11" fmla="*/ 0 w 649711"/>
                      <a:gd name="connsiteY11" fmla="*/ 631368 h 742304"/>
                      <a:gd name="connsiteX0" fmla="*/ 0 w 649711"/>
                      <a:gd name="connsiteY0" fmla="*/ 631368 h 742304"/>
                      <a:gd name="connsiteX1" fmla="*/ 21432 w 649711"/>
                      <a:gd name="connsiteY1" fmla="*/ 233700 h 742304"/>
                      <a:gd name="connsiteX2" fmla="*/ 161925 w 649711"/>
                      <a:gd name="connsiteY2" fmla="*/ 50343 h 742304"/>
                      <a:gd name="connsiteX3" fmla="*/ 373856 w 649711"/>
                      <a:gd name="connsiteY3" fmla="*/ 7480 h 742304"/>
                      <a:gd name="connsiteX4" fmla="*/ 607219 w 649711"/>
                      <a:gd name="connsiteY4" fmla="*/ 176549 h 742304"/>
                      <a:gd name="connsiteX5" fmla="*/ 642938 w 649711"/>
                      <a:gd name="connsiteY5" fmla="*/ 707567 h 742304"/>
                      <a:gd name="connsiteX6" fmla="*/ 502444 w 649711"/>
                      <a:gd name="connsiteY6" fmla="*/ 717093 h 742304"/>
                      <a:gd name="connsiteX7" fmla="*/ 488157 w 649711"/>
                      <a:gd name="connsiteY7" fmla="*/ 295612 h 742304"/>
                      <a:gd name="connsiteX8" fmla="*/ 319088 w 649711"/>
                      <a:gd name="connsiteY8" fmla="*/ 131306 h 742304"/>
                      <a:gd name="connsiteX9" fmla="*/ 145257 w 649711"/>
                      <a:gd name="connsiteY9" fmla="*/ 278943 h 742304"/>
                      <a:gd name="connsiteX10" fmla="*/ 123825 w 649711"/>
                      <a:gd name="connsiteY10" fmla="*/ 638512 h 742304"/>
                      <a:gd name="connsiteX11" fmla="*/ 0 w 649711"/>
                      <a:gd name="connsiteY11" fmla="*/ 631368 h 742304"/>
                      <a:gd name="connsiteX0" fmla="*/ 0 w 649711"/>
                      <a:gd name="connsiteY0" fmla="*/ 631368 h 742304"/>
                      <a:gd name="connsiteX1" fmla="*/ 21432 w 649711"/>
                      <a:gd name="connsiteY1" fmla="*/ 233700 h 742304"/>
                      <a:gd name="connsiteX2" fmla="*/ 161925 w 649711"/>
                      <a:gd name="connsiteY2" fmla="*/ 50343 h 742304"/>
                      <a:gd name="connsiteX3" fmla="*/ 373856 w 649711"/>
                      <a:gd name="connsiteY3" fmla="*/ 7480 h 742304"/>
                      <a:gd name="connsiteX4" fmla="*/ 607219 w 649711"/>
                      <a:gd name="connsiteY4" fmla="*/ 176549 h 742304"/>
                      <a:gd name="connsiteX5" fmla="*/ 642938 w 649711"/>
                      <a:gd name="connsiteY5" fmla="*/ 707567 h 742304"/>
                      <a:gd name="connsiteX6" fmla="*/ 502444 w 649711"/>
                      <a:gd name="connsiteY6" fmla="*/ 717093 h 742304"/>
                      <a:gd name="connsiteX7" fmla="*/ 488157 w 649711"/>
                      <a:gd name="connsiteY7" fmla="*/ 295612 h 742304"/>
                      <a:gd name="connsiteX8" fmla="*/ 319088 w 649711"/>
                      <a:gd name="connsiteY8" fmla="*/ 131306 h 742304"/>
                      <a:gd name="connsiteX9" fmla="*/ 145257 w 649711"/>
                      <a:gd name="connsiteY9" fmla="*/ 278943 h 742304"/>
                      <a:gd name="connsiteX10" fmla="*/ 123825 w 649711"/>
                      <a:gd name="connsiteY10" fmla="*/ 638512 h 742304"/>
                      <a:gd name="connsiteX11" fmla="*/ 0 w 649711"/>
                      <a:gd name="connsiteY11" fmla="*/ 631368 h 742304"/>
                      <a:gd name="connsiteX0" fmla="*/ 0 w 649711"/>
                      <a:gd name="connsiteY0" fmla="*/ 631368 h 742304"/>
                      <a:gd name="connsiteX1" fmla="*/ 21432 w 649711"/>
                      <a:gd name="connsiteY1" fmla="*/ 233700 h 742304"/>
                      <a:gd name="connsiteX2" fmla="*/ 161925 w 649711"/>
                      <a:gd name="connsiteY2" fmla="*/ 50343 h 742304"/>
                      <a:gd name="connsiteX3" fmla="*/ 373856 w 649711"/>
                      <a:gd name="connsiteY3" fmla="*/ 7480 h 742304"/>
                      <a:gd name="connsiteX4" fmla="*/ 607219 w 649711"/>
                      <a:gd name="connsiteY4" fmla="*/ 176549 h 742304"/>
                      <a:gd name="connsiteX5" fmla="*/ 642938 w 649711"/>
                      <a:gd name="connsiteY5" fmla="*/ 707567 h 742304"/>
                      <a:gd name="connsiteX6" fmla="*/ 502444 w 649711"/>
                      <a:gd name="connsiteY6" fmla="*/ 717093 h 742304"/>
                      <a:gd name="connsiteX7" fmla="*/ 488157 w 649711"/>
                      <a:gd name="connsiteY7" fmla="*/ 295612 h 742304"/>
                      <a:gd name="connsiteX8" fmla="*/ 319088 w 649711"/>
                      <a:gd name="connsiteY8" fmla="*/ 131306 h 742304"/>
                      <a:gd name="connsiteX9" fmla="*/ 145257 w 649711"/>
                      <a:gd name="connsiteY9" fmla="*/ 278943 h 742304"/>
                      <a:gd name="connsiteX10" fmla="*/ 123825 w 649711"/>
                      <a:gd name="connsiteY10" fmla="*/ 638512 h 742304"/>
                      <a:gd name="connsiteX11" fmla="*/ 0 w 649711"/>
                      <a:gd name="connsiteY11" fmla="*/ 631368 h 742304"/>
                      <a:gd name="connsiteX0" fmla="*/ 0 w 649711"/>
                      <a:gd name="connsiteY0" fmla="*/ 631368 h 742304"/>
                      <a:gd name="connsiteX1" fmla="*/ 21432 w 649711"/>
                      <a:gd name="connsiteY1" fmla="*/ 233700 h 742304"/>
                      <a:gd name="connsiteX2" fmla="*/ 161925 w 649711"/>
                      <a:gd name="connsiteY2" fmla="*/ 50343 h 742304"/>
                      <a:gd name="connsiteX3" fmla="*/ 373856 w 649711"/>
                      <a:gd name="connsiteY3" fmla="*/ 7480 h 742304"/>
                      <a:gd name="connsiteX4" fmla="*/ 607219 w 649711"/>
                      <a:gd name="connsiteY4" fmla="*/ 176549 h 742304"/>
                      <a:gd name="connsiteX5" fmla="*/ 642938 w 649711"/>
                      <a:gd name="connsiteY5" fmla="*/ 707567 h 742304"/>
                      <a:gd name="connsiteX6" fmla="*/ 502444 w 649711"/>
                      <a:gd name="connsiteY6" fmla="*/ 717093 h 742304"/>
                      <a:gd name="connsiteX7" fmla="*/ 488157 w 649711"/>
                      <a:gd name="connsiteY7" fmla="*/ 295612 h 742304"/>
                      <a:gd name="connsiteX8" fmla="*/ 319088 w 649711"/>
                      <a:gd name="connsiteY8" fmla="*/ 131306 h 742304"/>
                      <a:gd name="connsiteX9" fmla="*/ 145257 w 649711"/>
                      <a:gd name="connsiteY9" fmla="*/ 278943 h 742304"/>
                      <a:gd name="connsiteX10" fmla="*/ 123825 w 649711"/>
                      <a:gd name="connsiteY10" fmla="*/ 638512 h 742304"/>
                      <a:gd name="connsiteX11" fmla="*/ 0 w 649711"/>
                      <a:gd name="connsiteY11" fmla="*/ 631368 h 742304"/>
                      <a:gd name="connsiteX0" fmla="*/ 0 w 649711"/>
                      <a:gd name="connsiteY0" fmla="*/ 631368 h 742304"/>
                      <a:gd name="connsiteX1" fmla="*/ 21432 w 649711"/>
                      <a:gd name="connsiteY1" fmla="*/ 233700 h 742304"/>
                      <a:gd name="connsiteX2" fmla="*/ 161925 w 649711"/>
                      <a:gd name="connsiteY2" fmla="*/ 50343 h 742304"/>
                      <a:gd name="connsiteX3" fmla="*/ 373856 w 649711"/>
                      <a:gd name="connsiteY3" fmla="*/ 7480 h 742304"/>
                      <a:gd name="connsiteX4" fmla="*/ 607219 w 649711"/>
                      <a:gd name="connsiteY4" fmla="*/ 176549 h 742304"/>
                      <a:gd name="connsiteX5" fmla="*/ 642938 w 649711"/>
                      <a:gd name="connsiteY5" fmla="*/ 707567 h 742304"/>
                      <a:gd name="connsiteX6" fmla="*/ 502444 w 649711"/>
                      <a:gd name="connsiteY6" fmla="*/ 717093 h 742304"/>
                      <a:gd name="connsiteX7" fmla="*/ 488157 w 649711"/>
                      <a:gd name="connsiteY7" fmla="*/ 295612 h 742304"/>
                      <a:gd name="connsiteX8" fmla="*/ 319088 w 649711"/>
                      <a:gd name="connsiteY8" fmla="*/ 131306 h 742304"/>
                      <a:gd name="connsiteX9" fmla="*/ 145257 w 649711"/>
                      <a:gd name="connsiteY9" fmla="*/ 278943 h 742304"/>
                      <a:gd name="connsiteX10" fmla="*/ 123825 w 649711"/>
                      <a:gd name="connsiteY10" fmla="*/ 638512 h 742304"/>
                      <a:gd name="connsiteX11" fmla="*/ 0 w 649711"/>
                      <a:gd name="connsiteY11" fmla="*/ 631368 h 742304"/>
                      <a:gd name="connsiteX0" fmla="*/ 0 w 649711"/>
                      <a:gd name="connsiteY0" fmla="*/ 631368 h 742304"/>
                      <a:gd name="connsiteX1" fmla="*/ 21432 w 649711"/>
                      <a:gd name="connsiteY1" fmla="*/ 233700 h 742304"/>
                      <a:gd name="connsiteX2" fmla="*/ 161925 w 649711"/>
                      <a:gd name="connsiteY2" fmla="*/ 50343 h 742304"/>
                      <a:gd name="connsiteX3" fmla="*/ 373856 w 649711"/>
                      <a:gd name="connsiteY3" fmla="*/ 7480 h 742304"/>
                      <a:gd name="connsiteX4" fmla="*/ 607219 w 649711"/>
                      <a:gd name="connsiteY4" fmla="*/ 176549 h 742304"/>
                      <a:gd name="connsiteX5" fmla="*/ 642938 w 649711"/>
                      <a:gd name="connsiteY5" fmla="*/ 707567 h 742304"/>
                      <a:gd name="connsiteX6" fmla="*/ 502444 w 649711"/>
                      <a:gd name="connsiteY6" fmla="*/ 717093 h 742304"/>
                      <a:gd name="connsiteX7" fmla="*/ 488157 w 649711"/>
                      <a:gd name="connsiteY7" fmla="*/ 295612 h 742304"/>
                      <a:gd name="connsiteX8" fmla="*/ 319088 w 649711"/>
                      <a:gd name="connsiteY8" fmla="*/ 131306 h 742304"/>
                      <a:gd name="connsiteX9" fmla="*/ 145257 w 649711"/>
                      <a:gd name="connsiteY9" fmla="*/ 278943 h 742304"/>
                      <a:gd name="connsiteX10" fmla="*/ 123825 w 649711"/>
                      <a:gd name="connsiteY10" fmla="*/ 638512 h 742304"/>
                      <a:gd name="connsiteX11" fmla="*/ 0 w 649711"/>
                      <a:gd name="connsiteY11" fmla="*/ 631368 h 742304"/>
                      <a:gd name="connsiteX0" fmla="*/ 0 w 649711"/>
                      <a:gd name="connsiteY0" fmla="*/ 631368 h 742304"/>
                      <a:gd name="connsiteX1" fmla="*/ 21432 w 649711"/>
                      <a:gd name="connsiteY1" fmla="*/ 233700 h 742304"/>
                      <a:gd name="connsiteX2" fmla="*/ 161925 w 649711"/>
                      <a:gd name="connsiteY2" fmla="*/ 50343 h 742304"/>
                      <a:gd name="connsiteX3" fmla="*/ 373856 w 649711"/>
                      <a:gd name="connsiteY3" fmla="*/ 7480 h 742304"/>
                      <a:gd name="connsiteX4" fmla="*/ 607219 w 649711"/>
                      <a:gd name="connsiteY4" fmla="*/ 176549 h 742304"/>
                      <a:gd name="connsiteX5" fmla="*/ 642938 w 649711"/>
                      <a:gd name="connsiteY5" fmla="*/ 707567 h 742304"/>
                      <a:gd name="connsiteX6" fmla="*/ 502444 w 649711"/>
                      <a:gd name="connsiteY6" fmla="*/ 717093 h 742304"/>
                      <a:gd name="connsiteX7" fmla="*/ 488157 w 649711"/>
                      <a:gd name="connsiteY7" fmla="*/ 295612 h 742304"/>
                      <a:gd name="connsiteX8" fmla="*/ 319088 w 649711"/>
                      <a:gd name="connsiteY8" fmla="*/ 131306 h 742304"/>
                      <a:gd name="connsiteX9" fmla="*/ 145257 w 649711"/>
                      <a:gd name="connsiteY9" fmla="*/ 278943 h 742304"/>
                      <a:gd name="connsiteX10" fmla="*/ 123825 w 649711"/>
                      <a:gd name="connsiteY10" fmla="*/ 638512 h 742304"/>
                      <a:gd name="connsiteX11" fmla="*/ 0 w 649711"/>
                      <a:gd name="connsiteY11" fmla="*/ 631368 h 742304"/>
                      <a:gd name="connsiteX0" fmla="*/ 0 w 649711"/>
                      <a:gd name="connsiteY0" fmla="*/ 631702 h 742638"/>
                      <a:gd name="connsiteX1" fmla="*/ 21432 w 649711"/>
                      <a:gd name="connsiteY1" fmla="*/ 234034 h 742638"/>
                      <a:gd name="connsiteX2" fmla="*/ 161925 w 649711"/>
                      <a:gd name="connsiteY2" fmla="*/ 50677 h 742638"/>
                      <a:gd name="connsiteX3" fmla="*/ 373856 w 649711"/>
                      <a:gd name="connsiteY3" fmla="*/ 7814 h 742638"/>
                      <a:gd name="connsiteX4" fmla="*/ 607219 w 649711"/>
                      <a:gd name="connsiteY4" fmla="*/ 181645 h 742638"/>
                      <a:gd name="connsiteX5" fmla="*/ 642938 w 649711"/>
                      <a:gd name="connsiteY5" fmla="*/ 707901 h 742638"/>
                      <a:gd name="connsiteX6" fmla="*/ 502444 w 649711"/>
                      <a:gd name="connsiteY6" fmla="*/ 717427 h 742638"/>
                      <a:gd name="connsiteX7" fmla="*/ 488157 w 649711"/>
                      <a:gd name="connsiteY7" fmla="*/ 295946 h 742638"/>
                      <a:gd name="connsiteX8" fmla="*/ 319088 w 649711"/>
                      <a:gd name="connsiteY8" fmla="*/ 131640 h 742638"/>
                      <a:gd name="connsiteX9" fmla="*/ 145257 w 649711"/>
                      <a:gd name="connsiteY9" fmla="*/ 279277 h 742638"/>
                      <a:gd name="connsiteX10" fmla="*/ 123825 w 649711"/>
                      <a:gd name="connsiteY10" fmla="*/ 638846 h 742638"/>
                      <a:gd name="connsiteX11" fmla="*/ 0 w 649711"/>
                      <a:gd name="connsiteY11" fmla="*/ 631702 h 742638"/>
                      <a:gd name="connsiteX0" fmla="*/ 0 w 643851"/>
                      <a:gd name="connsiteY0" fmla="*/ 631702 h 742638"/>
                      <a:gd name="connsiteX1" fmla="*/ 21432 w 643851"/>
                      <a:gd name="connsiteY1" fmla="*/ 234034 h 742638"/>
                      <a:gd name="connsiteX2" fmla="*/ 161925 w 643851"/>
                      <a:gd name="connsiteY2" fmla="*/ 50677 h 742638"/>
                      <a:gd name="connsiteX3" fmla="*/ 373856 w 643851"/>
                      <a:gd name="connsiteY3" fmla="*/ 7814 h 742638"/>
                      <a:gd name="connsiteX4" fmla="*/ 607219 w 643851"/>
                      <a:gd name="connsiteY4" fmla="*/ 181645 h 742638"/>
                      <a:gd name="connsiteX5" fmla="*/ 642938 w 643851"/>
                      <a:gd name="connsiteY5" fmla="*/ 707901 h 742638"/>
                      <a:gd name="connsiteX6" fmla="*/ 502444 w 643851"/>
                      <a:gd name="connsiteY6" fmla="*/ 717427 h 742638"/>
                      <a:gd name="connsiteX7" fmla="*/ 488157 w 643851"/>
                      <a:gd name="connsiteY7" fmla="*/ 295946 h 742638"/>
                      <a:gd name="connsiteX8" fmla="*/ 319088 w 643851"/>
                      <a:gd name="connsiteY8" fmla="*/ 131640 h 742638"/>
                      <a:gd name="connsiteX9" fmla="*/ 145257 w 643851"/>
                      <a:gd name="connsiteY9" fmla="*/ 279277 h 742638"/>
                      <a:gd name="connsiteX10" fmla="*/ 123825 w 643851"/>
                      <a:gd name="connsiteY10" fmla="*/ 638846 h 742638"/>
                      <a:gd name="connsiteX11" fmla="*/ 0 w 643851"/>
                      <a:gd name="connsiteY11" fmla="*/ 631702 h 742638"/>
                      <a:gd name="connsiteX0" fmla="*/ 0 w 643851"/>
                      <a:gd name="connsiteY0" fmla="*/ 631702 h 742638"/>
                      <a:gd name="connsiteX1" fmla="*/ 21432 w 643851"/>
                      <a:gd name="connsiteY1" fmla="*/ 234034 h 742638"/>
                      <a:gd name="connsiteX2" fmla="*/ 161925 w 643851"/>
                      <a:gd name="connsiteY2" fmla="*/ 50677 h 742638"/>
                      <a:gd name="connsiteX3" fmla="*/ 373856 w 643851"/>
                      <a:gd name="connsiteY3" fmla="*/ 7814 h 742638"/>
                      <a:gd name="connsiteX4" fmla="*/ 607219 w 643851"/>
                      <a:gd name="connsiteY4" fmla="*/ 181645 h 742638"/>
                      <a:gd name="connsiteX5" fmla="*/ 642938 w 643851"/>
                      <a:gd name="connsiteY5" fmla="*/ 707901 h 742638"/>
                      <a:gd name="connsiteX6" fmla="*/ 502444 w 643851"/>
                      <a:gd name="connsiteY6" fmla="*/ 717427 h 742638"/>
                      <a:gd name="connsiteX7" fmla="*/ 488157 w 643851"/>
                      <a:gd name="connsiteY7" fmla="*/ 295946 h 742638"/>
                      <a:gd name="connsiteX8" fmla="*/ 319088 w 643851"/>
                      <a:gd name="connsiteY8" fmla="*/ 131640 h 742638"/>
                      <a:gd name="connsiteX9" fmla="*/ 145257 w 643851"/>
                      <a:gd name="connsiteY9" fmla="*/ 279277 h 742638"/>
                      <a:gd name="connsiteX10" fmla="*/ 123825 w 643851"/>
                      <a:gd name="connsiteY10" fmla="*/ 638846 h 742638"/>
                      <a:gd name="connsiteX11" fmla="*/ 0 w 643851"/>
                      <a:gd name="connsiteY11" fmla="*/ 631702 h 742638"/>
                      <a:gd name="connsiteX0" fmla="*/ 0 w 646134"/>
                      <a:gd name="connsiteY0" fmla="*/ 631702 h 742638"/>
                      <a:gd name="connsiteX1" fmla="*/ 21432 w 646134"/>
                      <a:gd name="connsiteY1" fmla="*/ 234034 h 742638"/>
                      <a:gd name="connsiteX2" fmla="*/ 161925 w 646134"/>
                      <a:gd name="connsiteY2" fmla="*/ 50677 h 742638"/>
                      <a:gd name="connsiteX3" fmla="*/ 373856 w 646134"/>
                      <a:gd name="connsiteY3" fmla="*/ 7814 h 742638"/>
                      <a:gd name="connsiteX4" fmla="*/ 607219 w 646134"/>
                      <a:gd name="connsiteY4" fmla="*/ 181645 h 742638"/>
                      <a:gd name="connsiteX5" fmla="*/ 642938 w 646134"/>
                      <a:gd name="connsiteY5" fmla="*/ 707901 h 742638"/>
                      <a:gd name="connsiteX6" fmla="*/ 502444 w 646134"/>
                      <a:gd name="connsiteY6" fmla="*/ 717427 h 742638"/>
                      <a:gd name="connsiteX7" fmla="*/ 488157 w 646134"/>
                      <a:gd name="connsiteY7" fmla="*/ 295946 h 742638"/>
                      <a:gd name="connsiteX8" fmla="*/ 319088 w 646134"/>
                      <a:gd name="connsiteY8" fmla="*/ 131640 h 742638"/>
                      <a:gd name="connsiteX9" fmla="*/ 145257 w 646134"/>
                      <a:gd name="connsiteY9" fmla="*/ 279277 h 742638"/>
                      <a:gd name="connsiteX10" fmla="*/ 123825 w 646134"/>
                      <a:gd name="connsiteY10" fmla="*/ 638846 h 742638"/>
                      <a:gd name="connsiteX11" fmla="*/ 0 w 646134"/>
                      <a:gd name="connsiteY11" fmla="*/ 631702 h 742638"/>
                      <a:gd name="connsiteX0" fmla="*/ 0 w 646134"/>
                      <a:gd name="connsiteY0" fmla="*/ 629720 h 740656"/>
                      <a:gd name="connsiteX1" fmla="*/ 21432 w 646134"/>
                      <a:gd name="connsiteY1" fmla="*/ 232052 h 740656"/>
                      <a:gd name="connsiteX2" fmla="*/ 161925 w 646134"/>
                      <a:gd name="connsiteY2" fmla="*/ 48695 h 740656"/>
                      <a:gd name="connsiteX3" fmla="*/ 373856 w 646134"/>
                      <a:gd name="connsiteY3" fmla="*/ 5832 h 740656"/>
                      <a:gd name="connsiteX4" fmla="*/ 607219 w 646134"/>
                      <a:gd name="connsiteY4" fmla="*/ 179663 h 740656"/>
                      <a:gd name="connsiteX5" fmla="*/ 642938 w 646134"/>
                      <a:gd name="connsiteY5" fmla="*/ 705919 h 740656"/>
                      <a:gd name="connsiteX6" fmla="*/ 502444 w 646134"/>
                      <a:gd name="connsiteY6" fmla="*/ 715445 h 740656"/>
                      <a:gd name="connsiteX7" fmla="*/ 488157 w 646134"/>
                      <a:gd name="connsiteY7" fmla="*/ 293964 h 740656"/>
                      <a:gd name="connsiteX8" fmla="*/ 319088 w 646134"/>
                      <a:gd name="connsiteY8" fmla="*/ 129658 h 740656"/>
                      <a:gd name="connsiteX9" fmla="*/ 145257 w 646134"/>
                      <a:gd name="connsiteY9" fmla="*/ 277295 h 740656"/>
                      <a:gd name="connsiteX10" fmla="*/ 123825 w 646134"/>
                      <a:gd name="connsiteY10" fmla="*/ 636864 h 740656"/>
                      <a:gd name="connsiteX11" fmla="*/ 0 w 646134"/>
                      <a:gd name="connsiteY11" fmla="*/ 629720 h 740656"/>
                      <a:gd name="connsiteX0" fmla="*/ 0 w 644226"/>
                      <a:gd name="connsiteY0" fmla="*/ 631869 h 742805"/>
                      <a:gd name="connsiteX1" fmla="*/ 21432 w 644226"/>
                      <a:gd name="connsiteY1" fmla="*/ 234201 h 742805"/>
                      <a:gd name="connsiteX2" fmla="*/ 161925 w 644226"/>
                      <a:gd name="connsiteY2" fmla="*/ 50844 h 742805"/>
                      <a:gd name="connsiteX3" fmla="*/ 373856 w 644226"/>
                      <a:gd name="connsiteY3" fmla="*/ 7981 h 742805"/>
                      <a:gd name="connsiteX4" fmla="*/ 597694 w 644226"/>
                      <a:gd name="connsiteY4" fmla="*/ 184194 h 742805"/>
                      <a:gd name="connsiteX5" fmla="*/ 642938 w 644226"/>
                      <a:gd name="connsiteY5" fmla="*/ 708068 h 742805"/>
                      <a:gd name="connsiteX6" fmla="*/ 502444 w 644226"/>
                      <a:gd name="connsiteY6" fmla="*/ 717594 h 742805"/>
                      <a:gd name="connsiteX7" fmla="*/ 488157 w 644226"/>
                      <a:gd name="connsiteY7" fmla="*/ 296113 h 742805"/>
                      <a:gd name="connsiteX8" fmla="*/ 319088 w 644226"/>
                      <a:gd name="connsiteY8" fmla="*/ 131807 h 742805"/>
                      <a:gd name="connsiteX9" fmla="*/ 145257 w 644226"/>
                      <a:gd name="connsiteY9" fmla="*/ 279444 h 742805"/>
                      <a:gd name="connsiteX10" fmla="*/ 123825 w 644226"/>
                      <a:gd name="connsiteY10" fmla="*/ 639013 h 742805"/>
                      <a:gd name="connsiteX11" fmla="*/ 0 w 644226"/>
                      <a:gd name="connsiteY11" fmla="*/ 631869 h 742805"/>
                      <a:gd name="connsiteX0" fmla="*/ 0 w 644226"/>
                      <a:gd name="connsiteY0" fmla="*/ 628907 h 739843"/>
                      <a:gd name="connsiteX1" fmla="*/ 21432 w 644226"/>
                      <a:gd name="connsiteY1" fmla="*/ 231239 h 739843"/>
                      <a:gd name="connsiteX2" fmla="*/ 161925 w 644226"/>
                      <a:gd name="connsiteY2" fmla="*/ 47882 h 739843"/>
                      <a:gd name="connsiteX3" fmla="*/ 373856 w 644226"/>
                      <a:gd name="connsiteY3" fmla="*/ 5019 h 739843"/>
                      <a:gd name="connsiteX4" fmla="*/ 597694 w 644226"/>
                      <a:gd name="connsiteY4" fmla="*/ 181232 h 739843"/>
                      <a:gd name="connsiteX5" fmla="*/ 642938 w 644226"/>
                      <a:gd name="connsiteY5" fmla="*/ 705106 h 739843"/>
                      <a:gd name="connsiteX6" fmla="*/ 502444 w 644226"/>
                      <a:gd name="connsiteY6" fmla="*/ 714632 h 739843"/>
                      <a:gd name="connsiteX7" fmla="*/ 488157 w 644226"/>
                      <a:gd name="connsiteY7" fmla="*/ 293151 h 739843"/>
                      <a:gd name="connsiteX8" fmla="*/ 319088 w 644226"/>
                      <a:gd name="connsiteY8" fmla="*/ 128845 h 739843"/>
                      <a:gd name="connsiteX9" fmla="*/ 145257 w 644226"/>
                      <a:gd name="connsiteY9" fmla="*/ 276482 h 739843"/>
                      <a:gd name="connsiteX10" fmla="*/ 123825 w 644226"/>
                      <a:gd name="connsiteY10" fmla="*/ 636051 h 739843"/>
                      <a:gd name="connsiteX11" fmla="*/ 0 w 644226"/>
                      <a:gd name="connsiteY11" fmla="*/ 628907 h 739843"/>
                      <a:gd name="connsiteX0" fmla="*/ 0 w 644226"/>
                      <a:gd name="connsiteY0" fmla="*/ 628907 h 739843"/>
                      <a:gd name="connsiteX1" fmla="*/ 21432 w 644226"/>
                      <a:gd name="connsiteY1" fmla="*/ 231239 h 739843"/>
                      <a:gd name="connsiteX2" fmla="*/ 161925 w 644226"/>
                      <a:gd name="connsiteY2" fmla="*/ 47882 h 739843"/>
                      <a:gd name="connsiteX3" fmla="*/ 373856 w 644226"/>
                      <a:gd name="connsiteY3" fmla="*/ 5019 h 739843"/>
                      <a:gd name="connsiteX4" fmla="*/ 597694 w 644226"/>
                      <a:gd name="connsiteY4" fmla="*/ 181232 h 739843"/>
                      <a:gd name="connsiteX5" fmla="*/ 642938 w 644226"/>
                      <a:gd name="connsiteY5" fmla="*/ 705106 h 739843"/>
                      <a:gd name="connsiteX6" fmla="*/ 502444 w 644226"/>
                      <a:gd name="connsiteY6" fmla="*/ 714632 h 739843"/>
                      <a:gd name="connsiteX7" fmla="*/ 488157 w 644226"/>
                      <a:gd name="connsiteY7" fmla="*/ 293151 h 739843"/>
                      <a:gd name="connsiteX8" fmla="*/ 319088 w 644226"/>
                      <a:gd name="connsiteY8" fmla="*/ 135989 h 739843"/>
                      <a:gd name="connsiteX9" fmla="*/ 145257 w 644226"/>
                      <a:gd name="connsiteY9" fmla="*/ 276482 h 739843"/>
                      <a:gd name="connsiteX10" fmla="*/ 123825 w 644226"/>
                      <a:gd name="connsiteY10" fmla="*/ 636051 h 739843"/>
                      <a:gd name="connsiteX11" fmla="*/ 0 w 644226"/>
                      <a:gd name="connsiteY11" fmla="*/ 628907 h 739843"/>
                      <a:gd name="connsiteX0" fmla="*/ 0 w 644226"/>
                      <a:gd name="connsiteY0" fmla="*/ 628907 h 748339"/>
                      <a:gd name="connsiteX1" fmla="*/ 21432 w 644226"/>
                      <a:gd name="connsiteY1" fmla="*/ 231239 h 748339"/>
                      <a:gd name="connsiteX2" fmla="*/ 161925 w 644226"/>
                      <a:gd name="connsiteY2" fmla="*/ 47882 h 748339"/>
                      <a:gd name="connsiteX3" fmla="*/ 373856 w 644226"/>
                      <a:gd name="connsiteY3" fmla="*/ 5019 h 748339"/>
                      <a:gd name="connsiteX4" fmla="*/ 597694 w 644226"/>
                      <a:gd name="connsiteY4" fmla="*/ 181232 h 748339"/>
                      <a:gd name="connsiteX5" fmla="*/ 642938 w 644226"/>
                      <a:gd name="connsiteY5" fmla="*/ 705106 h 748339"/>
                      <a:gd name="connsiteX6" fmla="*/ 505905 w 644226"/>
                      <a:gd name="connsiteY6" fmla="*/ 727322 h 748339"/>
                      <a:gd name="connsiteX7" fmla="*/ 488157 w 644226"/>
                      <a:gd name="connsiteY7" fmla="*/ 293151 h 748339"/>
                      <a:gd name="connsiteX8" fmla="*/ 319088 w 644226"/>
                      <a:gd name="connsiteY8" fmla="*/ 135989 h 748339"/>
                      <a:gd name="connsiteX9" fmla="*/ 145257 w 644226"/>
                      <a:gd name="connsiteY9" fmla="*/ 276482 h 748339"/>
                      <a:gd name="connsiteX10" fmla="*/ 123825 w 644226"/>
                      <a:gd name="connsiteY10" fmla="*/ 636051 h 748339"/>
                      <a:gd name="connsiteX11" fmla="*/ 0 w 644226"/>
                      <a:gd name="connsiteY11" fmla="*/ 628907 h 748339"/>
                      <a:gd name="connsiteX0" fmla="*/ 0 w 639557"/>
                      <a:gd name="connsiteY0" fmla="*/ 628907 h 754869"/>
                      <a:gd name="connsiteX1" fmla="*/ 21432 w 639557"/>
                      <a:gd name="connsiteY1" fmla="*/ 231239 h 754869"/>
                      <a:gd name="connsiteX2" fmla="*/ 161925 w 639557"/>
                      <a:gd name="connsiteY2" fmla="*/ 47882 h 754869"/>
                      <a:gd name="connsiteX3" fmla="*/ 373856 w 639557"/>
                      <a:gd name="connsiteY3" fmla="*/ 5019 h 754869"/>
                      <a:gd name="connsiteX4" fmla="*/ 597694 w 639557"/>
                      <a:gd name="connsiteY4" fmla="*/ 181232 h 754869"/>
                      <a:gd name="connsiteX5" fmla="*/ 638324 w 639557"/>
                      <a:gd name="connsiteY5" fmla="*/ 723564 h 754869"/>
                      <a:gd name="connsiteX6" fmla="*/ 505905 w 639557"/>
                      <a:gd name="connsiteY6" fmla="*/ 727322 h 754869"/>
                      <a:gd name="connsiteX7" fmla="*/ 488157 w 639557"/>
                      <a:gd name="connsiteY7" fmla="*/ 293151 h 754869"/>
                      <a:gd name="connsiteX8" fmla="*/ 319088 w 639557"/>
                      <a:gd name="connsiteY8" fmla="*/ 135989 h 754869"/>
                      <a:gd name="connsiteX9" fmla="*/ 145257 w 639557"/>
                      <a:gd name="connsiteY9" fmla="*/ 276482 h 754869"/>
                      <a:gd name="connsiteX10" fmla="*/ 123825 w 639557"/>
                      <a:gd name="connsiteY10" fmla="*/ 636051 h 754869"/>
                      <a:gd name="connsiteX11" fmla="*/ 0 w 639557"/>
                      <a:gd name="connsiteY11" fmla="*/ 628907 h 754869"/>
                      <a:gd name="connsiteX0" fmla="*/ 0 w 639557"/>
                      <a:gd name="connsiteY0" fmla="*/ 628907 h 752977"/>
                      <a:gd name="connsiteX1" fmla="*/ 21432 w 639557"/>
                      <a:gd name="connsiteY1" fmla="*/ 231239 h 752977"/>
                      <a:gd name="connsiteX2" fmla="*/ 161925 w 639557"/>
                      <a:gd name="connsiteY2" fmla="*/ 47882 h 752977"/>
                      <a:gd name="connsiteX3" fmla="*/ 373856 w 639557"/>
                      <a:gd name="connsiteY3" fmla="*/ 5019 h 752977"/>
                      <a:gd name="connsiteX4" fmla="*/ 597694 w 639557"/>
                      <a:gd name="connsiteY4" fmla="*/ 181232 h 752977"/>
                      <a:gd name="connsiteX5" fmla="*/ 638324 w 639557"/>
                      <a:gd name="connsiteY5" fmla="*/ 723564 h 752977"/>
                      <a:gd name="connsiteX6" fmla="*/ 505905 w 639557"/>
                      <a:gd name="connsiteY6" fmla="*/ 727322 h 752977"/>
                      <a:gd name="connsiteX7" fmla="*/ 488157 w 639557"/>
                      <a:gd name="connsiteY7" fmla="*/ 293151 h 752977"/>
                      <a:gd name="connsiteX8" fmla="*/ 319088 w 639557"/>
                      <a:gd name="connsiteY8" fmla="*/ 135989 h 752977"/>
                      <a:gd name="connsiteX9" fmla="*/ 145257 w 639557"/>
                      <a:gd name="connsiteY9" fmla="*/ 276482 h 752977"/>
                      <a:gd name="connsiteX10" fmla="*/ 123825 w 639557"/>
                      <a:gd name="connsiteY10" fmla="*/ 636051 h 752977"/>
                      <a:gd name="connsiteX11" fmla="*/ 0 w 639557"/>
                      <a:gd name="connsiteY11" fmla="*/ 628907 h 752977"/>
                      <a:gd name="connsiteX0" fmla="*/ 0 w 639557"/>
                      <a:gd name="connsiteY0" fmla="*/ 628907 h 748708"/>
                      <a:gd name="connsiteX1" fmla="*/ 21432 w 639557"/>
                      <a:gd name="connsiteY1" fmla="*/ 231239 h 748708"/>
                      <a:gd name="connsiteX2" fmla="*/ 161925 w 639557"/>
                      <a:gd name="connsiteY2" fmla="*/ 47882 h 748708"/>
                      <a:gd name="connsiteX3" fmla="*/ 373856 w 639557"/>
                      <a:gd name="connsiteY3" fmla="*/ 5019 h 748708"/>
                      <a:gd name="connsiteX4" fmla="*/ 597694 w 639557"/>
                      <a:gd name="connsiteY4" fmla="*/ 181232 h 748708"/>
                      <a:gd name="connsiteX5" fmla="*/ 638324 w 639557"/>
                      <a:gd name="connsiteY5" fmla="*/ 723564 h 748708"/>
                      <a:gd name="connsiteX6" fmla="*/ 505905 w 639557"/>
                      <a:gd name="connsiteY6" fmla="*/ 727322 h 748708"/>
                      <a:gd name="connsiteX7" fmla="*/ 488157 w 639557"/>
                      <a:gd name="connsiteY7" fmla="*/ 293151 h 748708"/>
                      <a:gd name="connsiteX8" fmla="*/ 319088 w 639557"/>
                      <a:gd name="connsiteY8" fmla="*/ 135989 h 748708"/>
                      <a:gd name="connsiteX9" fmla="*/ 145257 w 639557"/>
                      <a:gd name="connsiteY9" fmla="*/ 276482 h 748708"/>
                      <a:gd name="connsiteX10" fmla="*/ 123825 w 639557"/>
                      <a:gd name="connsiteY10" fmla="*/ 636051 h 748708"/>
                      <a:gd name="connsiteX11" fmla="*/ 0 w 639557"/>
                      <a:gd name="connsiteY11" fmla="*/ 628907 h 748708"/>
                      <a:gd name="connsiteX0" fmla="*/ 0 w 639557"/>
                      <a:gd name="connsiteY0" fmla="*/ 628907 h 748708"/>
                      <a:gd name="connsiteX1" fmla="*/ 21432 w 639557"/>
                      <a:gd name="connsiteY1" fmla="*/ 231239 h 748708"/>
                      <a:gd name="connsiteX2" fmla="*/ 161925 w 639557"/>
                      <a:gd name="connsiteY2" fmla="*/ 47882 h 748708"/>
                      <a:gd name="connsiteX3" fmla="*/ 373856 w 639557"/>
                      <a:gd name="connsiteY3" fmla="*/ 5019 h 748708"/>
                      <a:gd name="connsiteX4" fmla="*/ 597694 w 639557"/>
                      <a:gd name="connsiteY4" fmla="*/ 181232 h 748708"/>
                      <a:gd name="connsiteX5" fmla="*/ 638324 w 639557"/>
                      <a:gd name="connsiteY5" fmla="*/ 723564 h 748708"/>
                      <a:gd name="connsiteX6" fmla="*/ 505905 w 639557"/>
                      <a:gd name="connsiteY6" fmla="*/ 727322 h 748708"/>
                      <a:gd name="connsiteX7" fmla="*/ 488157 w 639557"/>
                      <a:gd name="connsiteY7" fmla="*/ 293151 h 748708"/>
                      <a:gd name="connsiteX8" fmla="*/ 319088 w 639557"/>
                      <a:gd name="connsiteY8" fmla="*/ 135989 h 748708"/>
                      <a:gd name="connsiteX9" fmla="*/ 145257 w 639557"/>
                      <a:gd name="connsiteY9" fmla="*/ 276482 h 748708"/>
                      <a:gd name="connsiteX10" fmla="*/ 123825 w 639557"/>
                      <a:gd name="connsiteY10" fmla="*/ 636051 h 748708"/>
                      <a:gd name="connsiteX11" fmla="*/ 0 w 639557"/>
                      <a:gd name="connsiteY11" fmla="*/ 628907 h 748708"/>
                      <a:gd name="connsiteX0" fmla="*/ 0 w 639557"/>
                      <a:gd name="connsiteY0" fmla="*/ 628907 h 748708"/>
                      <a:gd name="connsiteX1" fmla="*/ 21432 w 639557"/>
                      <a:gd name="connsiteY1" fmla="*/ 231239 h 748708"/>
                      <a:gd name="connsiteX2" fmla="*/ 161925 w 639557"/>
                      <a:gd name="connsiteY2" fmla="*/ 47882 h 748708"/>
                      <a:gd name="connsiteX3" fmla="*/ 373856 w 639557"/>
                      <a:gd name="connsiteY3" fmla="*/ 5019 h 748708"/>
                      <a:gd name="connsiteX4" fmla="*/ 597694 w 639557"/>
                      <a:gd name="connsiteY4" fmla="*/ 181232 h 748708"/>
                      <a:gd name="connsiteX5" fmla="*/ 638324 w 639557"/>
                      <a:gd name="connsiteY5" fmla="*/ 723564 h 748708"/>
                      <a:gd name="connsiteX6" fmla="*/ 505905 w 639557"/>
                      <a:gd name="connsiteY6" fmla="*/ 727322 h 748708"/>
                      <a:gd name="connsiteX7" fmla="*/ 488157 w 639557"/>
                      <a:gd name="connsiteY7" fmla="*/ 293151 h 748708"/>
                      <a:gd name="connsiteX8" fmla="*/ 319088 w 639557"/>
                      <a:gd name="connsiteY8" fmla="*/ 135989 h 748708"/>
                      <a:gd name="connsiteX9" fmla="*/ 145257 w 639557"/>
                      <a:gd name="connsiteY9" fmla="*/ 276482 h 748708"/>
                      <a:gd name="connsiteX10" fmla="*/ 121518 w 639557"/>
                      <a:gd name="connsiteY10" fmla="*/ 645280 h 748708"/>
                      <a:gd name="connsiteX11" fmla="*/ 0 w 639557"/>
                      <a:gd name="connsiteY11" fmla="*/ 628907 h 748708"/>
                      <a:gd name="connsiteX0" fmla="*/ 0 w 639557"/>
                      <a:gd name="connsiteY0" fmla="*/ 628907 h 748708"/>
                      <a:gd name="connsiteX1" fmla="*/ 21432 w 639557"/>
                      <a:gd name="connsiteY1" fmla="*/ 231239 h 748708"/>
                      <a:gd name="connsiteX2" fmla="*/ 161925 w 639557"/>
                      <a:gd name="connsiteY2" fmla="*/ 47882 h 748708"/>
                      <a:gd name="connsiteX3" fmla="*/ 373856 w 639557"/>
                      <a:gd name="connsiteY3" fmla="*/ 5019 h 748708"/>
                      <a:gd name="connsiteX4" fmla="*/ 597694 w 639557"/>
                      <a:gd name="connsiteY4" fmla="*/ 181232 h 748708"/>
                      <a:gd name="connsiteX5" fmla="*/ 638324 w 639557"/>
                      <a:gd name="connsiteY5" fmla="*/ 723564 h 748708"/>
                      <a:gd name="connsiteX6" fmla="*/ 505905 w 639557"/>
                      <a:gd name="connsiteY6" fmla="*/ 727322 h 748708"/>
                      <a:gd name="connsiteX7" fmla="*/ 488157 w 639557"/>
                      <a:gd name="connsiteY7" fmla="*/ 293151 h 748708"/>
                      <a:gd name="connsiteX8" fmla="*/ 319088 w 639557"/>
                      <a:gd name="connsiteY8" fmla="*/ 135989 h 748708"/>
                      <a:gd name="connsiteX9" fmla="*/ 145257 w 639557"/>
                      <a:gd name="connsiteY9" fmla="*/ 276482 h 748708"/>
                      <a:gd name="connsiteX10" fmla="*/ 121518 w 639557"/>
                      <a:gd name="connsiteY10" fmla="*/ 645280 h 748708"/>
                      <a:gd name="connsiteX11" fmla="*/ 0 w 639557"/>
                      <a:gd name="connsiteY11" fmla="*/ 628907 h 748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9557" h="748708">
                        <a:moveTo>
                          <a:pt x="0" y="628907"/>
                        </a:moveTo>
                        <a:cubicBezTo>
                          <a:pt x="1191" y="550722"/>
                          <a:pt x="-5556" y="328076"/>
                          <a:pt x="21432" y="231239"/>
                        </a:cubicBezTo>
                        <a:cubicBezTo>
                          <a:pt x="48420" y="134401"/>
                          <a:pt x="103188" y="85585"/>
                          <a:pt x="161925" y="47882"/>
                        </a:cubicBezTo>
                        <a:cubicBezTo>
                          <a:pt x="220662" y="10179"/>
                          <a:pt x="301228" y="-10062"/>
                          <a:pt x="373856" y="5019"/>
                        </a:cubicBezTo>
                        <a:cubicBezTo>
                          <a:pt x="446484" y="20100"/>
                          <a:pt x="553616" y="61475"/>
                          <a:pt x="597694" y="181232"/>
                        </a:cubicBezTo>
                        <a:cubicBezTo>
                          <a:pt x="641772" y="300989"/>
                          <a:pt x="641500" y="545366"/>
                          <a:pt x="638324" y="723564"/>
                        </a:cubicBezTo>
                        <a:cubicBezTo>
                          <a:pt x="631763" y="753118"/>
                          <a:pt x="535534" y="759404"/>
                          <a:pt x="505905" y="727322"/>
                        </a:cubicBezTo>
                        <a:cubicBezTo>
                          <a:pt x="494395" y="646757"/>
                          <a:pt x="519293" y="391706"/>
                          <a:pt x="488157" y="293151"/>
                        </a:cubicBezTo>
                        <a:cubicBezTo>
                          <a:pt x="457021" y="194596"/>
                          <a:pt x="376238" y="138767"/>
                          <a:pt x="319088" y="135989"/>
                        </a:cubicBezTo>
                        <a:cubicBezTo>
                          <a:pt x="261938" y="133211"/>
                          <a:pt x="179388" y="191551"/>
                          <a:pt x="145257" y="276482"/>
                        </a:cubicBezTo>
                        <a:cubicBezTo>
                          <a:pt x="111126" y="361413"/>
                          <a:pt x="129058" y="600830"/>
                          <a:pt x="121518" y="645280"/>
                        </a:cubicBezTo>
                        <a:cubicBezTo>
                          <a:pt x="101849" y="666288"/>
                          <a:pt x="18865" y="664599"/>
                          <a:pt x="0" y="628907"/>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66" name="Group 165"/>
                <p:cNvGrpSpPr/>
                <p:nvPr/>
              </p:nvGrpSpPr>
              <p:grpSpPr>
                <a:xfrm>
                  <a:off x="7517607" y="3245354"/>
                  <a:ext cx="673100" cy="673100"/>
                  <a:chOff x="7678648" y="3232646"/>
                  <a:chExt cx="673100" cy="673100"/>
                </a:xfrm>
              </p:grpSpPr>
              <p:sp>
                <p:nvSpPr>
                  <p:cNvPr id="308" name="Oval 307"/>
                  <p:cNvSpPr/>
                  <p:nvPr/>
                </p:nvSpPr>
                <p:spPr bwMode="auto">
                  <a:xfrm>
                    <a:off x="7678648" y="3232646"/>
                    <a:ext cx="673100" cy="673100"/>
                  </a:xfrm>
                  <a:prstGeom prst="ellipse">
                    <a:avLst/>
                  </a:prstGeom>
                  <a:solidFill>
                    <a:schemeClr val="accent4"/>
                  </a:solidFill>
                  <a:ln w="66675">
                    <a:solidFill>
                      <a:srgbClr val="EAEAEA">
                        <a:alpha val="74000"/>
                      </a:srgb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IN" sz="2400" dirty="0">
                      <a:solidFill>
                        <a:schemeClr val="bg1"/>
                      </a:solidFill>
                      <a:latin typeface="+mj-lt"/>
                      <a:ea typeface="Segoe UI" pitchFamily="34" charset="0"/>
                      <a:cs typeface="Segoe UI" pitchFamily="34" charset="0"/>
                    </a:endParaRPr>
                  </a:p>
                </p:txBody>
              </p:sp>
              <p:sp>
                <p:nvSpPr>
                  <p:cNvPr id="309" name="Freeform 308"/>
                  <p:cNvSpPr/>
                  <p:nvPr/>
                </p:nvSpPr>
                <p:spPr bwMode="auto">
                  <a:xfrm>
                    <a:off x="7900676" y="3358889"/>
                    <a:ext cx="229044" cy="420615"/>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836" spc="-5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7" name="Group 166"/>
                <p:cNvGrpSpPr/>
                <p:nvPr/>
              </p:nvGrpSpPr>
              <p:grpSpPr>
                <a:xfrm>
                  <a:off x="8294131" y="2483239"/>
                  <a:ext cx="673100" cy="673100"/>
                  <a:chOff x="8913898" y="2977654"/>
                  <a:chExt cx="673100" cy="673100"/>
                </a:xfrm>
              </p:grpSpPr>
              <p:sp>
                <p:nvSpPr>
                  <p:cNvPr id="306" name="Oval 305"/>
                  <p:cNvSpPr/>
                  <p:nvPr/>
                </p:nvSpPr>
                <p:spPr bwMode="auto">
                  <a:xfrm>
                    <a:off x="8913898" y="2977654"/>
                    <a:ext cx="673100" cy="673100"/>
                  </a:xfrm>
                  <a:prstGeom prst="ellipse">
                    <a:avLst/>
                  </a:prstGeom>
                  <a:solidFill>
                    <a:schemeClr val="accent1"/>
                  </a:solidFill>
                  <a:ln w="66675">
                    <a:solidFill>
                      <a:srgbClr val="EAEAEA">
                        <a:alpha val="74000"/>
                      </a:srgb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IN" sz="2400" dirty="0">
                      <a:solidFill>
                        <a:schemeClr val="bg1"/>
                      </a:solidFill>
                      <a:latin typeface="+mj-lt"/>
                      <a:ea typeface="Segoe UI" pitchFamily="34" charset="0"/>
                      <a:cs typeface="Segoe UI" pitchFamily="34" charset="0"/>
                    </a:endParaRPr>
                  </a:p>
                </p:txBody>
              </p:sp>
              <p:sp>
                <p:nvSpPr>
                  <p:cNvPr id="307" name="Diamond 229"/>
                  <p:cNvSpPr/>
                  <p:nvPr/>
                </p:nvSpPr>
                <p:spPr>
                  <a:xfrm>
                    <a:off x="9028670" y="3093803"/>
                    <a:ext cx="443557" cy="440802"/>
                  </a:xfrm>
                  <a:custGeom>
                    <a:avLst/>
                    <a:gdLst/>
                    <a:ahLst/>
                    <a:cxnLst/>
                    <a:rect l="l" t="t" r="r" b="b"/>
                    <a:pathLst>
                      <a:path w="1956112" h="1943960">
                        <a:moveTo>
                          <a:pt x="978056" y="1247795"/>
                        </a:moveTo>
                        <a:cubicBezTo>
                          <a:pt x="1038882" y="1247795"/>
                          <a:pt x="1088192" y="1297105"/>
                          <a:pt x="1088192" y="1357931"/>
                        </a:cubicBezTo>
                        <a:cubicBezTo>
                          <a:pt x="1088192" y="1418757"/>
                          <a:pt x="1038882" y="1468067"/>
                          <a:pt x="978056" y="1468067"/>
                        </a:cubicBezTo>
                        <a:cubicBezTo>
                          <a:pt x="917230" y="1468067"/>
                          <a:pt x="867920" y="1418757"/>
                          <a:pt x="867920" y="1357931"/>
                        </a:cubicBezTo>
                        <a:cubicBezTo>
                          <a:pt x="867920" y="1297105"/>
                          <a:pt x="917230" y="1247795"/>
                          <a:pt x="978056" y="1247795"/>
                        </a:cubicBezTo>
                        <a:close/>
                        <a:moveTo>
                          <a:pt x="978056" y="475893"/>
                        </a:moveTo>
                        <a:cubicBezTo>
                          <a:pt x="1038882" y="475893"/>
                          <a:pt x="1088192" y="525203"/>
                          <a:pt x="1088192" y="586029"/>
                        </a:cubicBezTo>
                        <a:lnTo>
                          <a:pt x="1088192" y="1084693"/>
                        </a:lnTo>
                        <a:cubicBezTo>
                          <a:pt x="1088192" y="1145519"/>
                          <a:pt x="1038882" y="1194829"/>
                          <a:pt x="978056" y="1194829"/>
                        </a:cubicBezTo>
                        <a:cubicBezTo>
                          <a:pt x="917230" y="1194829"/>
                          <a:pt x="867920" y="1145519"/>
                          <a:pt x="867920" y="1084693"/>
                        </a:cubicBezTo>
                        <a:lnTo>
                          <a:pt x="867920" y="586029"/>
                        </a:lnTo>
                        <a:cubicBezTo>
                          <a:pt x="867920" y="525203"/>
                          <a:pt x="917230" y="475893"/>
                          <a:pt x="978056" y="475893"/>
                        </a:cubicBezTo>
                        <a:close/>
                        <a:moveTo>
                          <a:pt x="978056" y="196849"/>
                        </a:moveTo>
                        <a:lnTo>
                          <a:pt x="198080" y="971980"/>
                        </a:lnTo>
                        <a:lnTo>
                          <a:pt x="978056" y="1747111"/>
                        </a:lnTo>
                        <a:lnTo>
                          <a:pt x="1758032" y="971980"/>
                        </a:lnTo>
                        <a:close/>
                        <a:moveTo>
                          <a:pt x="978056" y="0"/>
                        </a:moveTo>
                        <a:lnTo>
                          <a:pt x="1956112" y="971980"/>
                        </a:lnTo>
                        <a:lnTo>
                          <a:pt x="978056" y="1943960"/>
                        </a:lnTo>
                        <a:lnTo>
                          <a:pt x="0" y="971980"/>
                        </a:lnTo>
                        <a:close/>
                      </a:path>
                    </a:pathLst>
                  </a:custGeom>
                  <a:solidFill>
                    <a:schemeClr val="bg1"/>
                  </a:solidFill>
                  <a:ln w="19050"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smtClean="0">
                      <a:ln>
                        <a:noFill/>
                      </a:ln>
                      <a:solidFill>
                        <a:sysClr val="window" lastClr="FFFFFF"/>
                      </a:solidFill>
                      <a:effectLst/>
                      <a:uLnTx/>
                      <a:uFillTx/>
                      <a:latin typeface="Segoe UI" panose="020B0502040204020203" pitchFamily="34" charset="0"/>
                      <a:ea typeface="+mn-ea"/>
                      <a:cs typeface="+mn-cs"/>
                      <a:sym typeface="Segoe UI" panose="020B0502040204020203" pitchFamily="34" charset="0"/>
                    </a:endParaRPr>
                  </a:p>
                </p:txBody>
              </p:sp>
            </p:grpSp>
            <p:grpSp>
              <p:nvGrpSpPr>
                <p:cNvPr id="168" name="Group 167"/>
                <p:cNvGrpSpPr/>
                <p:nvPr/>
              </p:nvGrpSpPr>
              <p:grpSpPr>
                <a:xfrm>
                  <a:off x="11097052" y="3323609"/>
                  <a:ext cx="673100" cy="673100"/>
                  <a:chOff x="7777297" y="4604728"/>
                  <a:chExt cx="673100" cy="673100"/>
                </a:xfrm>
              </p:grpSpPr>
              <p:sp>
                <p:nvSpPr>
                  <p:cNvPr id="175" name="Oval 174"/>
                  <p:cNvSpPr/>
                  <p:nvPr/>
                </p:nvSpPr>
                <p:spPr bwMode="auto">
                  <a:xfrm>
                    <a:off x="7777297" y="4604728"/>
                    <a:ext cx="673100" cy="673100"/>
                  </a:xfrm>
                  <a:prstGeom prst="ellipse">
                    <a:avLst/>
                  </a:prstGeom>
                  <a:solidFill>
                    <a:schemeClr val="accent2"/>
                  </a:solidFill>
                  <a:ln w="66675">
                    <a:solidFill>
                      <a:srgbClr val="EAEAEA">
                        <a:alpha val="74000"/>
                      </a:srgb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IN" sz="2400" dirty="0">
                      <a:solidFill>
                        <a:schemeClr val="bg1"/>
                      </a:solidFill>
                      <a:latin typeface="+mj-lt"/>
                      <a:ea typeface="Segoe UI" pitchFamily="34" charset="0"/>
                      <a:cs typeface="Segoe UI" pitchFamily="34" charset="0"/>
                    </a:endParaRPr>
                  </a:p>
                </p:txBody>
              </p:sp>
              <p:grpSp>
                <p:nvGrpSpPr>
                  <p:cNvPr id="176" name="Group 175"/>
                  <p:cNvGrpSpPr/>
                  <p:nvPr/>
                </p:nvGrpSpPr>
                <p:grpSpPr>
                  <a:xfrm>
                    <a:off x="7946237" y="4810172"/>
                    <a:ext cx="335220" cy="262212"/>
                    <a:chOff x="7874380" y="4741053"/>
                    <a:chExt cx="442613" cy="346216"/>
                  </a:xfrm>
                </p:grpSpPr>
                <p:sp>
                  <p:nvSpPr>
                    <p:cNvPr id="177" name="Rounded Rectangle 36"/>
                    <p:cNvSpPr/>
                    <p:nvPr/>
                  </p:nvSpPr>
                  <p:spPr bwMode="auto">
                    <a:xfrm>
                      <a:off x="7874380" y="4741053"/>
                      <a:ext cx="442613" cy="346216"/>
                    </a:xfrm>
                    <a:custGeom>
                      <a:avLst/>
                      <a:gdLst>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56436 w 1320185"/>
                        <a:gd name="connsiteY13" fmla="*/ 616942 h 1032660"/>
                        <a:gd name="connsiteX14" fmla="*/ 561174 w 1320185"/>
                        <a:gd name="connsiteY14" fmla="*/ 616942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56436 w 1320185"/>
                        <a:gd name="connsiteY13" fmla="*/ 616942 h 1032660"/>
                        <a:gd name="connsiteX14" fmla="*/ 561174 w 1320185"/>
                        <a:gd name="connsiteY14" fmla="*/ 616942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56436 w 1320185"/>
                        <a:gd name="connsiteY13" fmla="*/ 616942 h 1032660"/>
                        <a:gd name="connsiteX14" fmla="*/ 561174 w 1320185"/>
                        <a:gd name="connsiteY14" fmla="*/ 616942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56436 w 1320185"/>
                        <a:gd name="connsiteY13" fmla="*/ 616942 h 1032660"/>
                        <a:gd name="connsiteX14" fmla="*/ 561174 w 1320185"/>
                        <a:gd name="connsiteY14" fmla="*/ 616942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56436 w 1320185"/>
                        <a:gd name="connsiteY13" fmla="*/ 616942 h 1032660"/>
                        <a:gd name="connsiteX14" fmla="*/ 561174 w 1320185"/>
                        <a:gd name="connsiteY14" fmla="*/ 616942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56436 w 1320185"/>
                        <a:gd name="connsiteY13" fmla="*/ 616942 h 1032660"/>
                        <a:gd name="connsiteX14" fmla="*/ 561174 w 1320185"/>
                        <a:gd name="connsiteY14" fmla="*/ 616942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56436 w 1320185"/>
                        <a:gd name="connsiteY13" fmla="*/ 616942 h 1032660"/>
                        <a:gd name="connsiteX14" fmla="*/ 561174 w 1320185"/>
                        <a:gd name="connsiteY14" fmla="*/ 616942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56436 w 1320185"/>
                        <a:gd name="connsiteY13" fmla="*/ 616942 h 1032660"/>
                        <a:gd name="connsiteX14" fmla="*/ 561174 w 1320185"/>
                        <a:gd name="connsiteY14" fmla="*/ 616942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56436 w 1320185"/>
                        <a:gd name="connsiteY13" fmla="*/ 616942 h 1032660"/>
                        <a:gd name="connsiteX14" fmla="*/ 561174 w 1320185"/>
                        <a:gd name="connsiteY14" fmla="*/ 616942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56436 w 1320185"/>
                        <a:gd name="connsiteY13" fmla="*/ 616942 h 1032660"/>
                        <a:gd name="connsiteX14" fmla="*/ 554030 w 1320185"/>
                        <a:gd name="connsiteY14" fmla="*/ 612180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56436 w 1320185"/>
                        <a:gd name="connsiteY13" fmla="*/ 616942 h 1032660"/>
                        <a:gd name="connsiteX14" fmla="*/ 554030 w 1320185"/>
                        <a:gd name="connsiteY14" fmla="*/ 612180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63579 w 1320185"/>
                        <a:gd name="connsiteY13" fmla="*/ 609798 h 1032660"/>
                        <a:gd name="connsiteX14" fmla="*/ 554030 w 1320185"/>
                        <a:gd name="connsiteY14" fmla="*/ 612180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63579 w 1320185"/>
                        <a:gd name="connsiteY13" fmla="*/ 609798 h 1032660"/>
                        <a:gd name="connsiteX14" fmla="*/ 554030 w 1320185"/>
                        <a:gd name="connsiteY14" fmla="*/ 612180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63579 w 1320185"/>
                        <a:gd name="connsiteY13" fmla="*/ 609798 h 1032660"/>
                        <a:gd name="connsiteX14" fmla="*/ 554030 w 1320185"/>
                        <a:gd name="connsiteY14" fmla="*/ 612180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63579 w 1320185"/>
                        <a:gd name="connsiteY13" fmla="*/ 609798 h 1032660"/>
                        <a:gd name="connsiteX14" fmla="*/ 561173 w 1320185"/>
                        <a:gd name="connsiteY14" fmla="*/ 614562 h 1032660"/>
                        <a:gd name="connsiteX15" fmla="*/ 0 w 1320185"/>
                        <a:gd name="connsiteY15" fmla="*/ 212707 h 1032660"/>
                        <a:gd name="connsiteX16" fmla="*/ 0 w 1320185"/>
                        <a:gd name="connsiteY16" fmla="*/ 101387 h 1032660"/>
                        <a:gd name="connsiteX17" fmla="*/ 101387 w 1320185"/>
                        <a:gd name="connsiteY17" fmla="*/ 0 h 1032660"/>
                        <a:gd name="connsiteX0" fmla="*/ 1320185 w 1320185"/>
                        <a:gd name="connsiteY0" fmla="*/ 293173 h 1032660"/>
                        <a:gd name="connsiteX1" fmla="*/ 1320185 w 1320185"/>
                        <a:gd name="connsiteY1" fmla="*/ 931273 h 1032660"/>
                        <a:gd name="connsiteX2" fmla="*/ 1218798 w 1320185"/>
                        <a:gd name="connsiteY2" fmla="*/ 1032660 h 1032660"/>
                        <a:gd name="connsiteX3" fmla="*/ 101387 w 1320185"/>
                        <a:gd name="connsiteY3" fmla="*/ 1032660 h 1032660"/>
                        <a:gd name="connsiteX4" fmla="*/ 0 w 1320185"/>
                        <a:gd name="connsiteY4" fmla="*/ 931273 h 1032660"/>
                        <a:gd name="connsiteX5" fmla="*/ 0 w 1320185"/>
                        <a:gd name="connsiteY5" fmla="*/ 305565 h 1032660"/>
                        <a:gd name="connsiteX6" fmla="*/ 554030 w 1320185"/>
                        <a:gd name="connsiteY6" fmla="*/ 697905 h 1032660"/>
                        <a:gd name="connsiteX7" fmla="*/ 761199 w 1320185"/>
                        <a:gd name="connsiteY7" fmla="*/ 697905 h 1032660"/>
                        <a:gd name="connsiteX8" fmla="*/ 1320185 w 1320185"/>
                        <a:gd name="connsiteY8" fmla="*/ 293173 h 1032660"/>
                        <a:gd name="connsiteX9" fmla="*/ 101387 w 1320185"/>
                        <a:gd name="connsiteY9" fmla="*/ 0 h 1032660"/>
                        <a:gd name="connsiteX10" fmla="*/ 1218798 w 1320185"/>
                        <a:gd name="connsiteY10" fmla="*/ 0 h 1032660"/>
                        <a:gd name="connsiteX11" fmla="*/ 1320185 w 1320185"/>
                        <a:gd name="connsiteY11" fmla="*/ 101387 h 1032660"/>
                        <a:gd name="connsiteX12" fmla="*/ 1320185 w 1320185"/>
                        <a:gd name="connsiteY12" fmla="*/ 214265 h 1032660"/>
                        <a:gd name="connsiteX13" fmla="*/ 763579 w 1320185"/>
                        <a:gd name="connsiteY13" fmla="*/ 609798 h 1032660"/>
                        <a:gd name="connsiteX14" fmla="*/ 556411 w 1320185"/>
                        <a:gd name="connsiteY14" fmla="*/ 607418 h 1032660"/>
                        <a:gd name="connsiteX15" fmla="*/ 0 w 1320185"/>
                        <a:gd name="connsiteY15" fmla="*/ 212707 h 1032660"/>
                        <a:gd name="connsiteX16" fmla="*/ 0 w 1320185"/>
                        <a:gd name="connsiteY16" fmla="*/ 101387 h 1032660"/>
                        <a:gd name="connsiteX17" fmla="*/ 101387 w 1320185"/>
                        <a:gd name="connsiteY17" fmla="*/ 0 h 1032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20185" h="1032660">
                          <a:moveTo>
                            <a:pt x="1320185" y="293173"/>
                          </a:moveTo>
                          <a:lnTo>
                            <a:pt x="1320185" y="931273"/>
                          </a:lnTo>
                          <a:cubicBezTo>
                            <a:pt x="1320185" y="987267"/>
                            <a:pt x="1274792" y="1032660"/>
                            <a:pt x="1218798" y="1032660"/>
                          </a:cubicBezTo>
                          <a:lnTo>
                            <a:pt x="101387" y="1032660"/>
                          </a:lnTo>
                          <a:cubicBezTo>
                            <a:pt x="45393" y="1032660"/>
                            <a:pt x="0" y="987267"/>
                            <a:pt x="0" y="931273"/>
                          </a:cubicBezTo>
                          <a:lnTo>
                            <a:pt x="0" y="305565"/>
                          </a:lnTo>
                          <a:lnTo>
                            <a:pt x="554030" y="697905"/>
                          </a:lnTo>
                          <a:cubicBezTo>
                            <a:pt x="620706" y="736007"/>
                            <a:pt x="701666" y="736005"/>
                            <a:pt x="761199" y="697905"/>
                          </a:cubicBezTo>
                          <a:cubicBezTo>
                            <a:pt x="890464" y="610576"/>
                            <a:pt x="1222984" y="376757"/>
                            <a:pt x="1320185" y="293173"/>
                          </a:cubicBezTo>
                          <a:close/>
                          <a:moveTo>
                            <a:pt x="101387" y="0"/>
                          </a:moveTo>
                          <a:lnTo>
                            <a:pt x="1218798" y="0"/>
                          </a:lnTo>
                          <a:cubicBezTo>
                            <a:pt x="1274792" y="0"/>
                            <a:pt x="1320185" y="45393"/>
                            <a:pt x="1320185" y="101387"/>
                          </a:cubicBezTo>
                          <a:lnTo>
                            <a:pt x="1320185" y="214265"/>
                          </a:lnTo>
                          <a:lnTo>
                            <a:pt x="763579" y="609798"/>
                          </a:lnTo>
                          <a:cubicBezTo>
                            <a:pt x="705634" y="650279"/>
                            <a:pt x="626262" y="659805"/>
                            <a:pt x="556411" y="607418"/>
                          </a:cubicBezTo>
                          <a:lnTo>
                            <a:pt x="0" y="212707"/>
                          </a:lnTo>
                          <a:lnTo>
                            <a:pt x="0" y="101387"/>
                          </a:lnTo>
                          <a:cubicBezTo>
                            <a:pt x="0" y="45393"/>
                            <a:pt x="45393" y="0"/>
                            <a:pt x="10138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78" name="Group 177"/>
                    <p:cNvGrpSpPr/>
                    <p:nvPr/>
                  </p:nvGrpSpPr>
                  <p:grpSpPr>
                    <a:xfrm>
                      <a:off x="8001110" y="4753934"/>
                      <a:ext cx="255057" cy="190350"/>
                      <a:chOff x="-1624633" y="2888149"/>
                      <a:chExt cx="4030624" cy="3008058"/>
                    </a:xfrm>
                    <a:solidFill>
                      <a:schemeClr val="accent2"/>
                    </a:solidFill>
                  </p:grpSpPr>
                  <p:sp>
                    <p:nvSpPr>
                      <p:cNvPr id="273" name="Freeform 272"/>
                      <p:cNvSpPr/>
                      <p:nvPr/>
                    </p:nvSpPr>
                    <p:spPr>
                      <a:xfrm>
                        <a:off x="-1624633" y="3030362"/>
                        <a:ext cx="2865845" cy="2865845"/>
                      </a:xfrm>
                      <a:custGeom>
                        <a:avLst/>
                        <a:gdLst>
                          <a:gd name="connsiteX0" fmla="*/ 363035 w 726070"/>
                          <a:gd name="connsiteY0" fmla="*/ 0 h 726070"/>
                          <a:gd name="connsiteX1" fmla="*/ 504345 w 726070"/>
                          <a:gd name="connsiteY1" fmla="*/ 28529 h 726070"/>
                          <a:gd name="connsiteX2" fmla="*/ 504998 w 726070"/>
                          <a:gd name="connsiteY2" fmla="*/ 28884 h 726070"/>
                          <a:gd name="connsiteX3" fmla="*/ 490568 w 726070"/>
                          <a:gd name="connsiteY3" fmla="*/ 39305 h 726070"/>
                          <a:gd name="connsiteX4" fmla="*/ 527466 w 726070"/>
                          <a:gd name="connsiteY4" fmla="*/ 136445 h 726070"/>
                          <a:gd name="connsiteX5" fmla="*/ 631118 w 726070"/>
                          <a:gd name="connsiteY5" fmla="*/ 143789 h 726070"/>
                          <a:gd name="connsiteX6" fmla="*/ 636888 w 726070"/>
                          <a:gd name="connsiteY6" fmla="*/ 127115 h 726070"/>
                          <a:gd name="connsiteX7" fmla="*/ 664069 w 726070"/>
                          <a:gd name="connsiteY7" fmla="*/ 160059 h 726070"/>
                          <a:gd name="connsiteX8" fmla="*/ 726070 w 726070"/>
                          <a:gd name="connsiteY8" fmla="*/ 363035 h 726070"/>
                          <a:gd name="connsiteX9" fmla="*/ 363035 w 726070"/>
                          <a:gd name="connsiteY9" fmla="*/ 726070 h 726070"/>
                          <a:gd name="connsiteX10" fmla="*/ 0 w 726070"/>
                          <a:gd name="connsiteY10" fmla="*/ 363035 h 726070"/>
                          <a:gd name="connsiteX11" fmla="*/ 363035 w 726070"/>
                          <a:gd name="connsiteY11" fmla="*/ 0 h 726070"/>
                          <a:gd name="connsiteX0" fmla="*/ 363035 w 726070"/>
                          <a:gd name="connsiteY0" fmla="*/ 0 h 726070"/>
                          <a:gd name="connsiteX1" fmla="*/ 504345 w 726070"/>
                          <a:gd name="connsiteY1" fmla="*/ 28529 h 726070"/>
                          <a:gd name="connsiteX2" fmla="*/ 504998 w 726070"/>
                          <a:gd name="connsiteY2" fmla="*/ 28884 h 726070"/>
                          <a:gd name="connsiteX3" fmla="*/ 490568 w 726070"/>
                          <a:gd name="connsiteY3" fmla="*/ 39305 h 726070"/>
                          <a:gd name="connsiteX4" fmla="*/ 527466 w 726070"/>
                          <a:gd name="connsiteY4" fmla="*/ 136445 h 726070"/>
                          <a:gd name="connsiteX5" fmla="*/ 636888 w 726070"/>
                          <a:gd name="connsiteY5" fmla="*/ 127115 h 726070"/>
                          <a:gd name="connsiteX6" fmla="*/ 664069 w 726070"/>
                          <a:gd name="connsiteY6" fmla="*/ 160059 h 726070"/>
                          <a:gd name="connsiteX7" fmla="*/ 726070 w 726070"/>
                          <a:gd name="connsiteY7" fmla="*/ 363035 h 726070"/>
                          <a:gd name="connsiteX8" fmla="*/ 363035 w 726070"/>
                          <a:gd name="connsiteY8" fmla="*/ 726070 h 726070"/>
                          <a:gd name="connsiteX9" fmla="*/ 0 w 726070"/>
                          <a:gd name="connsiteY9" fmla="*/ 363035 h 726070"/>
                          <a:gd name="connsiteX10" fmla="*/ 363035 w 726070"/>
                          <a:gd name="connsiteY10" fmla="*/ 0 h 726070"/>
                          <a:gd name="connsiteX0" fmla="*/ 363035 w 726070"/>
                          <a:gd name="connsiteY0" fmla="*/ 0 h 726070"/>
                          <a:gd name="connsiteX1" fmla="*/ 504345 w 726070"/>
                          <a:gd name="connsiteY1" fmla="*/ 28529 h 726070"/>
                          <a:gd name="connsiteX2" fmla="*/ 504998 w 726070"/>
                          <a:gd name="connsiteY2" fmla="*/ 28884 h 726070"/>
                          <a:gd name="connsiteX3" fmla="*/ 527466 w 726070"/>
                          <a:gd name="connsiteY3" fmla="*/ 136445 h 726070"/>
                          <a:gd name="connsiteX4" fmla="*/ 636888 w 726070"/>
                          <a:gd name="connsiteY4" fmla="*/ 127115 h 726070"/>
                          <a:gd name="connsiteX5" fmla="*/ 664069 w 726070"/>
                          <a:gd name="connsiteY5" fmla="*/ 160059 h 726070"/>
                          <a:gd name="connsiteX6" fmla="*/ 726070 w 726070"/>
                          <a:gd name="connsiteY6" fmla="*/ 363035 h 726070"/>
                          <a:gd name="connsiteX7" fmla="*/ 363035 w 726070"/>
                          <a:gd name="connsiteY7" fmla="*/ 726070 h 726070"/>
                          <a:gd name="connsiteX8" fmla="*/ 0 w 726070"/>
                          <a:gd name="connsiteY8" fmla="*/ 363035 h 726070"/>
                          <a:gd name="connsiteX9" fmla="*/ 363035 w 726070"/>
                          <a:gd name="connsiteY9" fmla="*/ 0 h 726070"/>
                          <a:gd name="connsiteX0" fmla="*/ 363035 w 726070"/>
                          <a:gd name="connsiteY0" fmla="*/ 0 h 726070"/>
                          <a:gd name="connsiteX1" fmla="*/ 504345 w 726070"/>
                          <a:gd name="connsiteY1" fmla="*/ 28529 h 726070"/>
                          <a:gd name="connsiteX2" fmla="*/ 504998 w 726070"/>
                          <a:gd name="connsiteY2" fmla="*/ 28884 h 726070"/>
                          <a:gd name="connsiteX3" fmla="*/ 527466 w 726070"/>
                          <a:gd name="connsiteY3" fmla="*/ 136445 h 726070"/>
                          <a:gd name="connsiteX4" fmla="*/ 636888 w 726070"/>
                          <a:gd name="connsiteY4" fmla="*/ 127115 h 726070"/>
                          <a:gd name="connsiteX5" fmla="*/ 664069 w 726070"/>
                          <a:gd name="connsiteY5" fmla="*/ 160059 h 726070"/>
                          <a:gd name="connsiteX6" fmla="*/ 726070 w 726070"/>
                          <a:gd name="connsiteY6" fmla="*/ 363035 h 726070"/>
                          <a:gd name="connsiteX7" fmla="*/ 363035 w 726070"/>
                          <a:gd name="connsiteY7" fmla="*/ 726070 h 726070"/>
                          <a:gd name="connsiteX8" fmla="*/ 0 w 726070"/>
                          <a:gd name="connsiteY8" fmla="*/ 363035 h 726070"/>
                          <a:gd name="connsiteX9" fmla="*/ 363035 w 726070"/>
                          <a:gd name="connsiteY9" fmla="*/ 0 h 726070"/>
                          <a:gd name="connsiteX0" fmla="*/ 363035 w 726070"/>
                          <a:gd name="connsiteY0" fmla="*/ 0 h 726070"/>
                          <a:gd name="connsiteX1" fmla="*/ 504345 w 726070"/>
                          <a:gd name="connsiteY1" fmla="*/ 28529 h 726070"/>
                          <a:gd name="connsiteX2" fmla="*/ 504998 w 726070"/>
                          <a:gd name="connsiteY2" fmla="*/ 28884 h 726070"/>
                          <a:gd name="connsiteX3" fmla="*/ 527466 w 726070"/>
                          <a:gd name="connsiteY3" fmla="*/ 136445 h 726070"/>
                          <a:gd name="connsiteX4" fmla="*/ 636888 w 726070"/>
                          <a:gd name="connsiteY4" fmla="*/ 127115 h 726070"/>
                          <a:gd name="connsiteX5" fmla="*/ 664069 w 726070"/>
                          <a:gd name="connsiteY5" fmla="*/ 160059 h 726070"/>
                          <a:gd name="connsiteX6" fmla="*/ 726070 w 726070"/>
                          <a:gd name="connsiteY6" fmla="*/ 363035 h 726070"/>
                          <a:gd name="connsiteX7" fmla="*/ 363035 w 726070"/>
                          <a:gd name="connsiteY7" fmla="*/ 726070 h 726070"/>
                          <a:gd name="connsiteX8" fmla="*/ 0 w 726070"/>
                          <a:gd name="connsiteY8" fmla="*/ 363035 h 726070"/>
                          <a:gd name="connsiteX9" fmla="*/ 363035 w 726070"/>
                          <a:gd name="connsiteY9" fmla="*/ 0 h 726070"/>
                          <a:gd name="connsiteX0" fmla="*/ 363035 w 726070"/>
                          <a:gd name="connsiteY0" fmla="*/ 0 h 726070"/>
                          <a:gd name="connsiteX1" fmla="*/ 504345 w 726070"/>
                          <a:gd name="connsiteY1" fmla="*/ 28529 h 726070"/>
                          <a:gd name="connsiteX2" fmla="*/ 504998 w 726070"/>
                          <a:gd name="connsiteY2" fmla="*/ 28884 h 726070"/>
                          <a:gd name="connsiteX3" fmla="*/ 527466 w 726070"/>
                          <a:gd name="connsiteY3" fmla="*/ 136445 h 726070"/>
                          <a:gd name="connsiteX4" fmla="*/ 636888 w 726070"/>
                          <a:gd name="connsiteY4" fmla="*/ 127115 h 726070"/>
                          <a:gd name="connsiteX5" fmla="*/ 664069 w 726070"/>
                          <a:gd name="connsiteY5" fmla="*/ 160059 h 726070"/>
                          <a:gd name="connsiteX6" fmla="*/ 726070 w 726070"/>
                          <a:gd name="connsiteY6" fmla="*/ 363035 h 726070"/>
                          <a:gd name="connsiteX7" fmla="*/ 363035 w 726070"/>
                          <a:gd name="connsiteY7" fmla="*/ 726070 h 726070"/>
                          <a:gd name="connsiteX8" fmla="*/ 0 w 726070"/>
                          <a:gd name="connsiteY8" fmla="*/ 363035 h 726070"/>
                          <a:gd name="connsiteX9" fmla="*/ 363035 w 726070"/>
                          <a:gd name="connsiteY9" fmla="*/ 0 h 726070"/>
                          <a:gd name="connsiteX0" fmla="*/ 363035 w 726070"/>
                          <a:gd name="connsiteY0" fmla="*/ 0 h 726070"/>
                          <a:gd name="connsiteX1" fmla="*/ 504345 w 726070"/>
                          <a:gd name="connsiteY1" fmla="*/ 28529 h 726070"/>
                          <a:gd name="connsiteX2" fmla="*/ 504998 w 726070"/>
                          <a:gd name="connsiteY2" fmla="*/ 28884 h 726070"/>
                          <a:gd name="connsiteX3" fmla="*/ 527466 w 726070"/>
                          <a:gd name="connsiteY3" fmla="*/ 136445 h 726070"/>
                          <a:gd name="connsiteX4" fmla="*/ 636888 w 726070"/>
                          <a:gd name="connsiteY4" fmla="*/ 127115 h 726070"/>
                          <a:gd name="connsiteX5" fmla="*/ 664069 w 726070"/>
                          <a:gd name="connsiteY5" fmla="*/ 160059 h 726070"/>
                          <a:gd name="connsiteX6" fmla="*/ 726070 w 726070"/>
                          <a:gd name="connsiteY6" fmla="*/ 363035 h 726070"/>
                          <a:gd name="connsiteX7" fmla="*/ 363035 w 726070"/>
                          <a:gd name="connsiteY7" fmla="*/ 726070 h 726070"/>
                          <a:gd name="connsiteX8" fmla="*/ 0 w 726070"/>
                          <a:gd name="connsiteY8" fmla="*/ 363035 h 726070"/>
                          <a:gd name="connsiteX9" fmla="*/ 363035 w 726070"/>
                          <a:gd name="connsiteY9" fmla="*/ 0 h 726070"/>
                          <a:gd name="connsiteX0" fmla="*/ 363035 w 726070"/>
                          <a:gd name="connsiteY0" fmla="*/ 0 h 726070"/>
                          <a:gd name="connsiteX1" fmla="*/ 504345 w 726070"/>
                          <a:gd name="connsiteY1" fmla="*/ 28529 h 726070"/>
                          <a:gd name="connsiteX2" fmla="*/ 504998 w 726070"/>
                          <a:gd name="connsiteY2" fmla="*/ 28884 h 726070"/>
                          <a:gd name="connsiteX3" fmla="*/ 527466 w 726070"/>
                          <a:gd name="connsiteY3" fmla="*/ 136445 h 726070"/>
                          <a:gd name="connsiteX4" fmla="*/ 636888 w 726070"/>
                          <a:gd name="connsiteY4" fmla="*/ 127115 h 726070"/>
                          <a:gd name="connsiteX5" fmla="*/ 664069 w 726070"/>
                          <a:gd name="connsiteY5" fmla="*/ 160059 h 726070"/>
                          <a:gd name="connsiteX6" fmla="*/ 726070 w 726070"/>
                          <a:gd name="connsiteY6" fmla="*/ 363035 h 726070"/>
                          <a:gd name="connsiteX7" fmla="*/ 363035 w 726070"/>
                          <a:gd name="connsiteY7" fmla="*/ 726070 h 726070"/>
                          <a:gd name="connsiteX8" fmla="*/ 0 w 726070"/>
                          <a:gd name="connsiteY8" fmla="*/ 363035 h 726070"/>
                          <a:gd name="connsiteX9" fmla="*/ 363035 w 726070"/>
                          <a:gd name="connsiteY9" fmla="*/ 0 h 726070"/>
                          <a:gd name="connsiteX0" fmla="*/ 363035 w 726070"/>
                          <a:gd name="connsiteY0" fmla="*/ 0 h 726070"/>
                          <a:gd name="connsiteX1" fmla="*/ 504345 w 726070"/>
                          <a:gd name="connsiteY1" fmla="*/ 28529 h 726070"/>
                          <a:gd name="connsiteX2" fmla="*/ 504998 w 726070"/>
                          <a:gd name="connsiteY2" fmla="*/ 28884 h 726070"/>
                          <a:gd name="connsiteX3" fmla="*/ 527466 w 726070"/>
                          <a:gd name="connsiteY3" fmla="*/ 136445 h 726070"/>
                          <a:gd name="connsiteX4" fmla="*/ 636888 w 726070"/>
                          <a:gd name="connsiteY4" fmla="*/ 127115 h 726070"/>
                          <a:gd name="connsiteX5" fmla="*/ 664069 w 726070"/>
                          <a:gd name="connsiteY5" fmla="*/ 160059 h 726070"/>
                          <a:gd name="connsiteX6" fmla="*/ 726070 w 726070"/>
                          <a:gd name="connsiteY6" fmla="*/ 363035 h 726070"/>
                          <a:gd name="connsiteX7" fmla="*/ 363035 w 726070"/>
                          <a:gd name="connsiteY7" fmla="*/ 726070 h 726070"/>
                          <a:gd name="connsiteX8" fmla="*/ 0 w 726070"/>
                          <a:gd name="connsiteY8" fmla="*/ 363035 h 726070"/>
                          <a:gd name="connsiteX9" fmla="*/ 363035 w 726070"/>
                          <a:gd name="connsiteY9" fmla="*/ 0 h 726070"/>
                          <a:gd name="connsiteX0" fmla="*/ 363035 w 726070"/>
                          <a:gd name="connsiteY0" fmla="*/ 0 h 726070"/>
                          <a:gd name="connsiteX1" fmla="*/ 504345 w 726070"/>
                          <a:gd name="connsiteY1" fmla="*/ 28529 h 726070"/>
                          <a:gd name="connsiteX2" fmla="*/ 504998 w 726070"/>
                          <a:gd name="connsiteY2" fmla="*/ 28884 h 726070"/>
                          <a:gd name="connsiteX3" fmla="*/ 529276 w 726070"/>
                          <a:gd name="connsiteY3" fmla="*/ 127999 h 726070"/>
                          <a:gd name="connsiteX4" fmla="*/ 636888 w 726070"/>
                          <a:gd name="connsiteY4" fmla="*/ 127115 h 726070"/>
                          <a:gd name="connsiteX5" fmla="*/ 664069 w 726070"/>
                          <a:gd name="connsiteY5" fmla="*/ 160059 h 726070"/>
                          <a:gd name="connsiteX6" fmla="*/ 726070 w 726070"/>
                          <a:gd name="connsiteY6" fmla="*/ 363035 h 726070"/>
                          <a:gd name="connsiteX7" fmla="*/ 363035 w 726070"/>
                          <a:gd name="connsiteY7" fmla="*/ 726070 h 726070"/>
                          <a:gd name="connsiteX8" fmla="*/ 0 w 726070"/>
                          <a:gd name="connsiteY8" fmla="*/ 363035 h 726070"/>
                          <a:gd name="connsiteX9" fmla="*/ 363035 w 726070"/>
                          <a:gd name="connsiteY9" fmla="*/ 0 h 726070"/>
                          <a:gd name="connsiteX0" fmla="*/ 363035 w 726070"/>
                          <a:gd name="connsiteY0" fmla="*/ 0 h 726070"/>
                          <a:gd name="connsiteX1" fmla="*/ 504345 w 726070"/>
                          <a:gd name="connsiteY1" fmla="*/ 28529 h 726070"/>
                          <a:gd name="connsiteX2" fmla="*/ 504998 w 726070"/>
                          <a:gd name="connsiteY2" fmla="*/ 28884 h 726070"/>
                          <a:gd name="connsiteX3" fmla="*/ 529276 w 726070"/>
                          <a:gd name="connsiteY3" fmla="*/ 127999 h 726070"/>
                          <a:gd name="connsiteX4" fmla="*/ 636888 w 726070"/>
                          <a:gd name="connsiteY4" fmla="*/ 127115 h 726070"/>
                          <a:gd name="connsiteX5" fmla="*/ 664069 w 726070"/>
                          <a:gd name="connsiteY5" fmla="*/ 160059 h 726070"/>
                          <a:gd name="connsiteX6" fmla="*/ 726070 w 726070"/>
                          <a:gd name="connsiteY6" fmla="*/ 363035 h 726070"/>
                          <a:gd name="connsiteX7" fmla="*/ 363035 w 726070"/>
                          <a:gd name="connsiteY7" fmla="*/ 726070 h 726070"/>
                          <a:gd name="connsiteX8" fmla="*/ 0 w 726070"/>
                          <a:gd name="connsiteY8" fmla="*/ 363035 h 726070"/>
                          <a:gd name="connsiteX9" fmla="*/ 363035 w 726070"/>
                          <a:gd name="connsiteY9" fmla="*/ 0 h 726070"/>
                          <a:gd name="connsiteX0" fmla="*/ 363035 w 726070"/>
                          <a:gd name="connsiteY0" fmla="*/ 0 h 726070"/>
                          <a:gd name="connsiteX1" fmla="*/ 504345 w 726070"/>
                          <a:gd name="connsiteY1" fmla="*/ 28529 h 726070"/>
                          <a:gd name="connsiteX2" fmla="*/ 504998 w 726070"/>
                          <a:gd name="connsiteY2" fmla="*/ 28884 h 726070"/>
                          <a:gd name="connsiteX3" fmla="*/ 529276 w 726070"/>
                          <a:gd name="connsiteY3" fmla="*/ 127999 h 726070"/>
                          <a:gd name="connsiteX4" fmla="*/ 636888 w 726070"/>
                          <a:gd name="connsiteY4" fmla="*/ 127115 h 726070"/>
                          <a:gd name="connsiteX5" fmla="*/ 664069 w 726070"/>
                          <a:gd name="connsiteY5" fmla="*/ 160059 h 726070"/>
                          <a:gd name="connsiteX6" fmla="*/ 726070 w 726070"/>
                          <a:gd name="connsiteY6" fmla="*/ 363035 h 726070"/>
                          <a:gd name="connsiteX7" fmla="*/ 363035 w 726070"/>
                          <a:gd name="connsiteY7" fmla="*/ 726070 h 726070"/>
                          <a:gd name="connsiteX8" fmla="*/ 0 w 726070"/>
                          <a:gd name="connsiteY8" fmla="*/ 363035 h 726070"/>
                          <a:gd name="connsiteX9" fmla="*/ 363035 w 726070"/>
                          <a:gd name="connsiteY9" fmla="*/ 0 h 72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6070" h="726070">
                            <a:moveTo>
                              <a:pt x="363035" y="0"/>
                            </a:moveTo>
                            <a:cubicBezTo>
                              <a:pt x="413160" y="0"/>
                              <a:pt x="460912" y="10159"/>
                              <a:pt x="504345" y="28529"/>
                            </a:cubicBezTo>
                            <a:lnTo>
                              <a:pt x="504998" y="28884"/>
                            </a:lnTo>
                            <a:cubicBezTo>
                              <a:pt x="484735" y="40003"/>
                              <a:pt x="484383" y="92145"/>
                              <a:pt x="529276" y="127999"/>
                            </a:cubicBezTo>
                            <a:cubicBezTo>
                              <a:pt x="574169" y="163853"/>
                              <a:pt x="628600" y="158774"/>
                              <a:pt x="636888" y="127115"/>
                            </a:cubicBezTo>
                            <a:lnTo>
                              <a:pt x="664069" y="160059"/>
                            </a:lnTo>
                            <a:cubicBezTo>
                              <a:pt x="703213" y="218000"/>
                              <a:pt x="726070" y="287848"/>
                              <a:pt x="726070" y="363035"/>
                            </a:cubicBezTo>
                            <a:cubicBezTo>
                              <a:pt x="726070" y="563534"/>
                              <a:pt x="563534" y="726070"/>
                              <a:pt x="363035" y="726070"/>
                            </a:cubicBezTo>
                            <a:cubicBezTo>
                              <a:pt x="162536" y="726070"/>
                              <a:pt x="0" y="563534"/>
                              <a:pt x="0" y="363035"/>
                            </a:cubicBezTo>
                            <a:cubicBezTo>
                              <a:pt x="0" y="162536"/>
                              <a:pt x="162536" y="0"/>
                              <a:pt x="363035" y="0"/>
                            </a:cubicBezTo>
                            <a:close/>
                          </a:path>
                        </a:pathLst>
                      </a:custGeom>
                      <a:grpFill/>
                      <a:ln>
                        <a:noFill/>
                      </a:ln>
                    </p:spPr>
                    <p:style>
                      <a:lnRef idx="1">
                        <a:schemeClr val="dk1"/>
                      </a:lnRef>
                      <a:fillRef idx="0">
                        <a:schemeClr val="dk1"/>
                      </a:fillRef>
                      <a:effectRef idx="0">
                        <a:schemeClr val="dk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p>
                    </p:txBody>
                  </p:sp>
                  <p:sp>
                    <p:nvSpPr>
                      <p:cNvPr id="274" name="Freeform 273"/>
                      <p:cNvSpPr/>
                      <p:nvPr/>
                    </p:nvSpPr>
                    <p:spPr>
                      <a:xfrm rot="2364348">
                        <a:off x="342088" y="3090715"/>
                        <a:ext cx="603356" cy="472184"/>
                      </a:xfrm>
                      <a:custGeom>
                        <a:avLst/>
                        <a:gdLst>
                          <a:gd name="connsiteX0" fmla="*/ 0 w 603356"/>
                          <a:gd name="connsiteY0" fmla="*/ 41157 h 451631"/>
                          <a:gd name="connsiteX1" fmla="*/ 2397 w 603356"/>
                          <a:gd name="connsiteY1" fmla="*/ 43551 h 451631"/>
                          <a:gd name="connsiteX2" fmla="*/ 6403 w 603356"/>
                          <a:gd name="connsiteY2" fmla="*/ 57427 h 451631"/>
                          <a:gd name="connsiteX3" fmla="*/ 307861 w 603356"/>
                          <a:gd name="connsiteY3" fmla="*/ 147896 h 451631"/>
                          <a:gd name="connsiteX4" fmla="*/ 595847 w 603356"/>
                          <a:gd name="connsiteY4" fmla="*/ 20909 h 451631"/>
                          <a:gd name="connsiteX5" fmla="*/ 598462 w 603356"/>
                          <a:gd name="connsiteY5" fmla="*/ 4418 h 451631"/>
                          <a:gd name="connsiteX6" fmla="*/ 603356 w 603356"/>
                          <a:gd name="connsiteY6" fmla="*/ 0 h 451631"/>
                          <a:gd name="connsiteX7" fmla="*/ 603356 w 603356"/>
                          <a:gd name="connsiteY7" fmla="*/ 327178 h 451631"/>
                          <a:gd name="connsiteX8" fmla="*/ 0 w 603356"/>
                          <a:gd name="connsiteY8" fmla="*/ 327178 h 451631"/>
                          <a:gd name="connsiteX0" fmla="*/ 0 w 603356"/>
                          <a:gd name="connsiteY0" fmla="*/ 41157 h 466529"/>
                          <a:gd name="connsiteX1" fmla="*/ 2397 w 603356"/>
                          <a:gd name="connsiteY1" fmla="*/ 43551 h 466529"/>
                          <a:gd name="connsiteX2" fmla="*/ 6403 w 603356"/>
                          <a:gd name="connsiteY2" fmla="*/ 57427 h 466529"/>
                          <a:gd name="connsiteX3" fmla="*/ 307861 w 603356"/>
                          <a:gd name="connsiteY3" fmla="*/ 147896 h 466529"/>
                          <a:gd name="connsiteX4" fmla="*/ 595847 w 603356"/>
                          <a:gd name="connsiteY4" fmla="*/ 20909 h 466529"/>
                          <a:gd name="connsiteX5" fmla="*/ 598462 w 603356"/>
                          <a:gd name="connsiteY5" fmla="*/ 4418 h 466529"/>
                          <a:gd name="connsiteX6" fmla="*/ 603356 w 603356"/>
                          <a:gd name="connsiteY6" fmla="*/ 0 h 466529"/>
                          <a:gd name="connsiteX7" fmla="*/ 603356 w 603356"/>
                          <a:gd name="connsiteY7" fmla="*/ 327178 h 466529"/>
                          <a:gd name="connsiteX8" fmla="*/ 0 w 603356"/>
                          <a:gd name="connsiteY8" fmla="*/ 327178 h 466529"/>
                          <a:gd name="connsiteX9" fmla="*/ 0 w 603356"/>
                          <a:gd name="connsiteY9" fmla="*/ 41157 h 466529"/>
                          <a:gd name="connsiteX0" fmla="*/ 0 w 603356"/>
                          <a:gd name="connsiteY0" fmla="*/ 41157 h 472184"/>
                          <a:gd name="connsiteX1" fmla="*/ 2397 w 603356"/>
                          <a:gd name="connsiteY1" fmla="*/ 43551 h 472184"/>
                          <a:gd name="connsiteX2" fmla="*/ 6403 w 603356"/>
                          <a:gd name="connsiteY2" fmla="*/ 57427 h 472184"/>
                          <a:gd name="connsiteX3" fmla="*/ 307861 w 603356"/>
                          <a:gd name="connsiteY3" fmla="*/ 147896 h 472184"/>
                          <a:gd name="connsiteX4" fmla="*/ 595847 w 603356"/>
                          <a:gd name="connsiteY4" fmla="*/ 20909 h 472184"/>
                          <a:gd name="connsiteX5" fmla="*/ 598462 w 603356"/>
                          <a:gd name="connsiteY5" fmla="*/ 4418 h 472184"/>
                          <a:gd name="connsiteX6" fmla="*/ 603356 w 603356"/>
                          <a:gd name="connsiteY6" fmla="*/ 0 h 472184"/>
                          <a:gd name="connsiteX7" fmla="*/ 603356 w 603356"/>
                          <a:gd name="connsiteY7" fmla="*/ 327178 h 472184"/>
                          <a:gd name="connsiteX8" fmla="*/ 0 w 603356"/>
                          <a:gd name="connsiteY8" fmla="*/ 327178 h 472184"/>
                          <a:gd name="connsiteX9" fmla="*/ 0 w 603356"/>
                          <a:gd name="connsiteY9" fmla="*/ 41157 h 472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3356" h="472184">
                            <a:moveTo>
                              <a:pt x="0" y="41157"/>
                            </a:moveTo>
                            <a:lnTo>
                              <a:pt x="2397" y="43551"/>
                            </a:lnTo>
                            <a:lnTo>
                              <a:pt x="6403" y="57427"/>
                            </a:lnTo>
                            <a:cubicBezTo>
                              <a:pt x="38299" y="117740"/>
                              <a:pt x="162483" y="156902"/>
                              <a:pt x="307861" y="147896"/>
                            </a:cubicBezTo>
                            <a:cubicBezTo>
                              <a:pt x="453239" y="138889"/>
                              <a:pt x="571640" y="84697"/>
                              <a:pt x="595847" y="20909"/>
                            </a:cubicBezTo>
                            <a:lnTo>
                              <a:pt x="598462" y="4418"/>
                            </a:lnTo>
                            <a:lnTo>
                              <a:pt x="603356" y="0"/>
                            </a:lnTo>
                            <a:lnTo>
                              <a:pt x="603356" y="327178"/>
                            </a:lnTo>
                            <a:cubicBezTo>
                              <a:pt x="414744" y="544961"/>
                              <a:pt x="95070" y="494436"/>
                              <a:pt x="0" y="327178"/>
                            </a:cubicBezTo>
                            <a:lnTo>
                              <a:pt x="0" y="41157"/>
                            </a:lnTo>
                            <a:close/>
                          </a:path>
                        </a:pathLst>
                      </a:custGeom>
                      <a:grpFill/>
                      <a:ln>
                        <a:noFill/>
                      </a:ln>
                    </p:spPr>
                    <p:style>
                      <a:lnRef idx="1">
                        <a:schemeClr val="dk1"/>
                      </a:lnRef>
                      <a:fillRef idx="0">
                        <a:schemeClr val="dk1"/>
                      </a:fillRef>
                      <a:effectRef idx="0">
                        <a:schemeClr val="dk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p>
                    </p:txBody>
                  </p:sp>
                  <p:sp>
                    <p:nvSpPr>
                      <p:cNvPr id="276" name="Oval 275"/>
                      <p:cNvSpPr/>
                      <p:nvPr/>
                    </p:nvSpPr>
                    <p:spPr>
                      <a:xfrm rot="2151639">
                        <a:off x="508674" y="3017527"/>
                        <a:ext cx="559160" cy="253720"/>
                      </a:xfrm>
                      <a:prstGeom prst="ellipse">
                        <a:avLst/>
                      </a:prstGeom>
                      <a:grpFill/>
                      <a:ln>
                        <a:noFill/>
                      </a:ln>
                    </p:spPr>
                    <p:style>
                      <a:lnRef idx="1">
                        <a:schemeClr val="dk1"/>
                      </a:lnRef>
                      <a:fillRef idx="0">
                        <a:schemeClr val="dk1"/>
                      </a:fillRef>
                      <a:effectRef idx="0">
                        <a:schemeClr val="dk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p>
                    </p:txBody>
                  </p:sp>
                  <p:sp>
                    <p:nvSpPr>
                      <p:cNvPr id="278" name="Freeform 277"/>
                      <p:cNvSpPr/>
                      <p:nvPr/>
                    </p:nvSpPr>
                    <p:spPr>
                      <a:xfrm>
                        <a:off x="776288" y="2888149"/>
                        <a:ext cx="1176337" cy="493225"/>
                      </a:xfrm>
                      <a:custGeom>
                        <a:avLst/>
                        <a:gdLst>
                          <a:gd name="connsiteX0" fmla="*/ 0 w 1176337"/>
                          <a:gd name="connsiteY0" fmla="*/ 214313 h 485775"/>
                          <a:gd name="connsiteX1" fmla="*/ 200025 w 1176337"/>
                          <a:gd name="connsiteY1" fmla="*/ 0 h 485775"/>
                          <a:gd name="connsiteX2" fmla="*/ 742950 w 1176337"/>
                          <a:gd name="connsiteY2" fmla="*/ 133350 h 485775"/>
                          <a:gd name="connsiteX3" fmla="*/ 1176337 w 1176337"/>
                          <a:gd name="connsiteY3" fmla="*/ 485775 h 485775"/>
                          <a:gd name="connsiteX4" fmla="*/ 738187 w 1176337"/>
                          <a:gd name="connsiteY4" fmla="*/ 180975 h 485775"/>
                          <a:gd name="connsiteX5" fmla="*/ 219075 w 1176337"/>
                          <a:gd name="connsiteY5" fmla="*/ 47625 h 485775"/>
                          <a:gd name="connsiteX6" fmla="*/ 47625 w 1176337"/>
                          <a:gd name="connsiteY6" fmla="*/ 252413 h 485775"/>
                          <a:gd name="connsiteX7" fmla="*/ 0 w 1176337"/>
                          <a:gd name="connsiteY7" fmla="*/ 214313 h 485775"/>
                          <a:gd name="connsiteX0" fmla="*/ 0 w 1176337"/>
                          <a:gd name="connsiteY0" fmla="*/ 214313 h 485775"/>
                          <a:gd name="connsiteX1" fmla="*/ 200025 w 1176337"/>
                          <a:gd name="connsiteY1" fmla="*/ 0 h 485775"/>
                          <a:gd name="connsiteX2" fmla="*/ 742950 w 1176337"/>
                          <a:gd name="connsiteY2" fmla="*/ 133350 h 485775"/>
                          <a:gd name="connsiteX3" fmla="*/ 1176337 w 1176337"/>
                          <a:gd name="connsiteY3" fmla="*/ 485775 h 485775"/>
                          <a:gd name="connsiteX4" fmla="*/ 738187 w 1176337"/>
                          <a:gd name="connsiteY4" fmla="*/ 180975 h 485775"/>
                          <a:gd name="connsiteX5" fmla="*/ 219075 w 1176337"/>
                          <a:gd name="connsiteY5" fmla="*/ 47625 h 485775"/>
                          <a:gd name="connsiteX6" fmla="*/ 47625 w 1176337"/>
                          <a:gd name="connsiteY6" fmla="*/ 252413 h 485775"/>
                          <a:gd name="connsiteX7" fmla="*/ 0 w 1176337"/>
                          <a:gd name="connsiteY7" fmla="*/ 214313 h 485775"/>
                          <a:gd name="connsiteX0" fmla="*/ 0 w 1176337"/>
                          <a:gd name="connsiteY0" fmla="*/ 218738 h 490200"/>
                          <a:gd name="connsiteX1" fmla="*/ 200025 w 1176337"/>
                          <a:gd name="connsiteY1" fmla="*/ 4425 h 490200"/>
                          <a:gd name="connsiteX2" fmla="*/ 742950 w 1176337"/>
                          <a:gd name="connsiteY2" fmla="*/ 137775 h 490200"/>
                          <a:gd name="connsiteX3" fmla="*/ 1176337 w 1176337"/>
                          <a:gd name="connsiteY3" fmla="*/ 490200 h 490200"/>
                          <a:gd name="connsiteX4" fmla="*/ 738187 w 1176337"/>
                          <a:gd name="connsiteY4" fmla="*/ 185400 h 490200"/>
                          <a:gd name="connsiteX5" fmla="*/ 219075 w 1176337"/>
                          <a:gd name="connsiteY5" fmla="*/ 52050 h 490200"/>
                          <a:gd name="connsiteX6" fmla="*/ 47625 w 1176337"/>
                          <a:gd name="connsiteY6" fmla="*/ 256838 h 490200"/>
                          <a:gd name="connsiteX7" fmla="*/ 0 w 1176337"/>
                          <a:gd name="connsiteY7" fmla="*/ 218738 h 490200"/>
                          <a:gd name="connsiteX0" fmla="*/ 0 w 1176337"/>
                          <a:gd name="connsiteY0" fmla="*/ 221763 h 493225"/>
                          <a:gd name="connsiteX1" fmla="*/ 200025 w 1176337"/>
                          <a:gd name="connsiteY1" fmla="*/ 7450 h 493225"/>
                          <a:gd name="connsiteX2" fmla="*/ 742950 w 1176337"/>
                          <a:gd name="connsiteY2" fmla="*/ 140800 h 493225"/>
                          <a:gd name="connsiteX3" fmla="*/ 1176337 w 1176337"/>
                          <a:gd name="connsiteY3" fmla="*/ 493225 h 493225"/>
                          <a:gd name="connsiteX4" fmla="*/ 738187 w 1176337"/>
                          <a:gd name="connsiteY4" fmla="*/ 188425 h 493225"/>
                          <a:gd name="connsiteX5" fmla="*/ 219075 w 1176337"/>
                          <a:gd name="connsiteY5" fmla="*/ 55075 h 493225"/>
                          <a:gd name="connsiteX6" fmla="*/ 47625 w 1176337"/>
                          <a:gd name="connsiteY6" fmla="*/ 259863 h 493225"/>
                          <a:gd name="connsiteX7" fmla="*/ 0 w 1176337"/>
                          <a:gd name="connsiteY7" fmla="*/ 221763 h 493225"/>
                          <a:gd name="connsiteX0" fmla="*/ 0 w 1176337"/>
                          <a:gd name="connsiteY0" fmla="*/ 221763 h 493225"/>
                          <a:gd name="connsiteX1" fmla="*/ 200025 w 1176337"/>
                          <a:gd name="connsiteY1" fmla="*/ 7450 h 493225"/>
                          <a:gd name="connsiteX2" fmla="*/ 742950 w 1176337"/>
                          <a:gd name="connsiteY2" fmla="*/ 140800 h 493225"/>
                          <a:gd name="connsiteX3" fmla="*/ 1176337 w 1176337"/>
                          <a:gd name="connsiteY3" fmla="*/ 493225 h 493225"/>
                          <a:gd name="connsiteX4" fmla="*/ 738187 w 1176337"/>
                          <a:gd name="connsiteY4" fmla="*/ 188425 h 493225"/>
                          <a:gd name="connsiteX5" fmla="*/ 219075 w 1176337"/>
                          <a:gd name="connsiteY5" fmla="*/ 55075 h 493225"/>
                          <a:gd name="connsiteX6" fmla="*/ 47625 w 1176337"/>
                          <a:gd name="connsiteY6" fmla="*/ 259863 h 493225"/>
                          <a:gd name="connsiteX7" fmla="*/ 0 w 1176337"/>
                          <a:gd name="connsiteY7" fmla="*/ 221763 h 49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6337" h="493225">
                            <a:moveTo>
                              <a:pt x="0" y="221763"/>
                            </a:moveTo>
                            <a:cubicBezTo>
                              <a:pt x="66675" y="150325"/>
                              <a:pt x="71437" y="36026"/>
                              <a:pt x="200025" y="7450"/>
                            </a:cubicBezTo>
                            <a:cubicBezTo>
                              <a:pt x="328613" y="-21126"/>
                              <a:pt x="590550" y="34438"/>
                              <a:pt x="742950" y="140800"/>
                            </a:cubicBezTo>
                            <a:cubicBezTo>
                              <a:pt x="895350" y="247162"/>
                              <a:pt x="1031875" y="375750"/>
                              <a:pt x="1176337" y="493225"/>
                            </a:cubicBezTo>
                            <a:cubicBezTo>
                              <a:pt x="1030287" y="391625"/>
                              <a:pt x="901699" y="323363"/>
                              <a:pt x="738187" y="188425"/>
                            </a:cubicBezTo>
                            <a:cubicBezTo>
                              <a:pt x="574675" y="53487"/>
                              <a:pt x="304800" y="43962"/>
                              <a:pt x="219075" y="55075"/>
                            </a:cubicBezTo>
                            <a:cubicBezTo>
                              <a:pt x="133350" y="66188"/>
                              <a:pt x="104775" y="191600"/>
                              <a:pt x="47625" y="259863"/>
                            </a:cubicBezTo>
                            <a:lnTo>
                              <a:pt x="0" y="221763"/>
                            </a:lnTo>
                            <a:close/>
                          </a:path>
                        </a:pathLst>
                      </a:custGeom>
                      <a:grpFill/>
                      <a:ln>
                        <a:noFill/>
                      </a:ln>
                    </p:spPr>
                    <p:style>
                      <a:lnRef idx="1">
                        <a:schemeClr val="dk1"/>
                      </a:lnRef>
                      <a:fillRef idx="0">
                        <a:schemeClr val="dk1"/>
                      </a:fillRef>
                      <a:effectRef idx="0">
                        <a:schemeClr val="dk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p>
                    </p:txBody>
                  </p:sp>
                  <p:grpSp>
                    <p:nvGrpSpPr>
                      <p:cNvPr id="295" name="Group 294"/>
                      <p:cNvGrpSpPr/>
                      <p:nvPr/>
                    </p:nvGrpSpPr>
                    <p:grpSpPr>
                      <a:xfrm rot="8100000">
                        <a:off x="1571588" y="3168542"/>
                        <a:ext cx="834403" cy="519932"/>
                        <a:chOff x="3763015" y="1862775"/>
                        <a:chExt cx="1562102" cy="973375"/>
                      </a:xfrm>
                      <a:grpFill/>
                    </p:grpSpPr>
                    <p:grpSp>
                      <p:nvGrpSpPr>
                        <p:cNvPr id="296" name="Group 295"/>
                        <p:cNvGrpSpPr>
                          <a:grpSpLocks/>
                        </p:cNvGrpSpPr>
                        <p:nvPr/>
                      </p:nvGrpSpPr>
                      <p:grpSpPr bwMode="auto">
                        <a:xfrm>
                          <a:off x="3763015" y="1862775"/>
                          <a:ext cx="1562102" cy="842964"/>
                          <a:chOff x="2265" y="968"/>
                          <a:chExt cx="984" cy="531"/>
                        </a:xfrm>
                        <a:grpFill/>
                      </p:grpSpPr>
                      <p:sp>
                        <p:nvSpPr>
                          <p:cNvPr id="298" name="Freeform 297"/>
                          <p:cNvSpPr>
                            <a:spLocks/>
                          </p:cNvSpPr>
                          <p:nvPr/>
                        </p:nvSpPr>
                        <p:spPr bwMode="auto">
                          <a:xfrm>
                            <a:off x="2498" y="1012"/>
                            <a:ext cx="149" cy="183"/>
                          </a:xfrm>
                          <a:custGeom>
                            <a:avLst/>
                            <a:gdLst>
                              <a:gd name="T0" fmla="*/ 122 w 149"/>
                              <a:gd name="T1" fmla="*/ 180 h 183"/>
                              <a:gd name="T2" fmla="*/ 2 w 149"/>
                              <a:gd name="T3" fmla="*/ 38 h 183"/>
                              <a:gd name="T4" fmla="*/ 0 w 149"/>
                              <a:gd name="T5" fmla="*/ 13 h 183"/>
                              <a:gd name="T6" fmla="*/ 17 w 149"/>
                              <a:gd name="T7" fmla="*/ 0 h 183"/>
                              <a:gd name="T8" fmla="*/ 42 w 149"/>
                              <a:gd name="T9" fmla="*/ 0 h 183"/>
                              <a:gd name="T10" fmla="*/ 149 w 149"/>
                              <a:gd name="T11" fmla="*/ 165 h 183"/>
                              <a:gd name="T12" fmla="*/ 142 w 149"/>
                              <a:gd name="T13" fmla="*/ 183 h 183"/>
                              <a:gd name="T14" fmla="*/ 122 w 149"/>
                              <a:gd name="T15" fmla="*/ 180 h 1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183">
                                <a:moveTo>
                                  <a:pt x="122" y="180"/>
                                </a:moveTo>
                                <a:lnTo>
                                  <a:pt x="2" y="38"/>
                                </a:lnTo>
                                <a:lnTo>
                                  <a:pt x="0" y="13"/>
                                </a:lnTo>
                                <a:lnTo>
                                  <a:pt x="17" y="0"/>
                                </a:lnTo>
                                <a:lnTo>
                                  <a:pt x="42" y="0"/>
                                </a:lnTo>
                                <a:lnTo>
                                  <a:pt x="149" y="165"/>
                                </a:lnTo>
                                <a:lnTo>
                                  <a:pt x="142" y="183"/>
                                </a:lnTo>
                                <a:lnTo>
                                  <a:pt x="122" y="180"/>
                                </a:lnTo>
                                <a:close/>
                              </a:path>
                            </a:pathLst>
                          </a:custGeom>
                          <a:grpFill/>
                          <a:ln>
                            <a:noFill/>
                          </a:ln>
                          <a:extLst/>
                        </p:spPr>
                        <p:style>
                          <a:lnRef idx="1">
                            <a:schemeClr val="dk1"/>
                          </a:lnRef>
                          <a:fillRef idx="0">
                            <a:schemeClr val="dk1"/>
                          </a:fillRef>
                          <a:effectRef idx="0">
                            <a:schemeClr val="dk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p>
                        </p:txBody>
                      </p:sp>
                      <p:sp>
                        <p:nvSpPr>
                          <p:cNvPr id="300" name="Freeform 299"/>
                          <p:cNvSpPr>
                            <a:spLocks/>
                          </p:cNvSpPr>
                          <p:nvPr/>
                        </p:nvSpPr>
                        <p:spPr bwMode="auto">
                          <a:xfrm>
                            <a:off x="2287" y="1199"/>
                            <a:ext cx="218" cy="89"/>
                          </a:xfrm>
                          <a:custGeom>
                            <a:avLst/>
                            <a:gdLst>
                              <a:gd name="T0" fmla="*/ 200 w 218"/>
                              <a:gd name="T1" fmla="*/ 89 h 89"/>
                              <a:gd name="T2" fmla="*/ 18 w 218"/>
                              <a:gd name="T3" fmla="*/ 55 h 89"/>
                              <a:gd name="T4" fmla="*/ 0 w 218"/>
                              <a:gd name="T5" fmla="*/ 37 h 89"/>
                              <a:gd name="T6" fmla="*/ 5 w 218"/>
                              <a:gd name="T7" fmla="*/ 15 h 89"/>
                              <a:gd name="T8" fmla="*/ 24 w 218"/>
                              <a:gd name="T9" fmla="*/ 0 h 89"/>
                              <a:gd name="T10" fmla="*/ 211 w 218"/>
                              <a:gd name="T11" fmla="*/ 62 h 89"/>
                              <a:gd name="T12" fmla="*/ 218 w 218"/>
                              <a:gd name="T13" fmla="*/ 79 h 89"/>
                              <a:gd name="T14" fmla="*/ 200 w 218"/>
                              <a:gd name="T15" fmla="*/ 89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89">
                                <a:moveTo>
                                  <a:pt x="200" y="89"/>
                                </a:moveTo>
                                <a:lnTo>
                                  <a:pt x="18" y="55"/>
                                </a:lnTo>
                                <a:lnTo>
                                  <a:pt x="0" y="37"/>
                                </a:lnTo>
                                <a:lnTo>
                                  <a:pt x="5" y="15"/>
                                </a:lnTo>
                                <a:lnTo>
                                  <a:pt x="24" y="0"/>
                                </a:lnTo>
                                <a:lnTo>
                                  <a:pt x="211" y="62"/>
                                </a:lnTo>
                                <a:lnTo>
                                  <a:pt x="218" y="79"/>
                                </a:lnTo>
                                <a:lnTo>
                                  <a:pt x="200" y="89"/>
                                </a:lnTo>
                                <a:close/>
                              </a:path>
                            </a:pathLst>
                          </a:custGeom>
                          <a:grpFill/>
                          <a:ln>
                            <a:noFill/>
                          </a:ln>
                          <a:extLst/>
                        </p:spPr>
                        <p:style>
                          <a:lnRef idx="1">
                            <a:schemeClr val="dk1"/>
                          </a:lnRef>
                          <a:fillRef idx="0">
                            <a:schemeClr val="dk1"/>
                          </a:fillRef>
                          <a:effectRef idx="0">
                            <a:schemeClr val="dk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p>
                        </p:txBody>
                      </p:sp>
                      <p:sp>
                        <p:nvSpPr>
                          <p:cNvPr id="302" name="Freeform 301"/>
                          <p:cNvSpPr>
                            <a:spLocks/>
                          </p:cNvSpPr>
                          <p:nvPr/>
                        </p:nvSpPr>
                        <p:spPr bwMode="auto">
                          <a:xfrm>
                            <a:off x="2930" y="1068"/>
                            <a:ext cx="191" cy="152"/>
                          </a:xfrm>
                          <a:custGeom>
                            <a:avLst/>
                            <a:gdLst>
                              <a:gd name="T0" fmla="*/ 4 w 191"/>
                              <a:gd name="T1" fmla="*/ 124 h 152"/>
                              <a:gd name="T2" fmla="*/ 153 w 191"/>
                              <a:gd name="T3" fmla="*/ 1 h 152"/>
                              <a:gd name="T4" fmla="*/ 178 w 191"/>
                              <a:gd name="T5" fmla="*/ 0 h 152"/>
                              <a:gd name="T6" fmla="*/ 191 w 191"/>
                              <a:gd name="T7" fmla="*/ 18 h 152"/>
                              <a:gd name="T8" fmla="*/ 190 w 191"/>
                              <a:gd name="T9" fmla="*/ 44 h 152"/>
                              <a:gd name="T10" fmla="*/ 17 w 191"/>
                              <a:gd name="T11" fmla="*/ 152 h 152"/>
                              <a:gd name="T12" fmla="*/ 0 w 191"/>
                              <a:gd name="T13" fmla="*/ 145 h 152"/>
                              <a:gd name="T14" fmla="*/ 4 w 191"/>
                              <a:gd name="T15" fmla="*/ 124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1" h="152">
                                <a:moveTo>
                                  <a:pt x="4" y="124"/>
                                </a:moveTo>
                                <a:lnTo>
                                  <a:pt x="153" y="1"/>
                                </a:lnTo>
                                <a:lnTo>
                                  <a:pt x="178" y="0"/>
                                </a:lnTo>
                                <a:lnTo>
                                  <a:pt x="191" y="18"/>
                                </a:lnTo>
                                <a:lnTo>
                                  <a:pt x="190" y="44"/>
                                </a:lnTo>
                                <a:lnTo>
                                  <a:pt x="17" y="152"/>
                                </a:lnTo>
                                <a:lnTo>
                                  <a:pt x="0" y="145"/>
                                </a:lnTo>
                                <a:lnTo>
                                  <a:pt x="4" y="124"/>
                                </a:lnTo>
                                <a:close/>
                              </a:path>
                            </a:pathLst>
                          </a:custGeom>
                          <a:grpFill/>
                          <a:ln>
                            <a:noFill/>
                          </a:ln>
                          <a:extLst/>
                        </p:spPr>
                        <p:style>
                          <a:lnRef idx="1">
                            <a:schemeClr val="dk1"/>
                          </a:lnRef>
                          <a:fillRef idx="0">
                            <a:schemeClr val="dk1"/>
                          </a:fillRef>
                          <a:effectRef idx="0">
                            <a:schemeClr val="dk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p>
                        </p:txBody>
                      </p:sp>
                      <p:sp>
                        <p:nvSpPr>
                          <p:cNvPr id="303" name="Freeform 302"/>
                          <p:cNvSpPr>
                            <a:spLocks/>
                          </p:cNvSpPr>
                          <p:nvPr/>
                        </p:nvSpPr>
                        <p:spPr bwMode="auto">
                          <a:xfrm>
                            <a:off x="3030" y="1346"/>
                            <a:ext cx="219" cy="78"/>
                          </a:xfrm>
                          <a:custGeom>
                            <a:avLst/>
                            <a:gdLst>
                              <a:gd name="T0" fmla="*/ 12 w 219"/>
                              <a:gd name="T1" fmla="*/ 49 h 78"/>
                              <a:gd name="T2" fmla="*/ 190 w 219"/>
                              <a:gd name="T3" fmla="*/ 0 h 78"/>
                              <a:gd name="T4" fmla="*/ 214 w 219"/>
                              <a:gd name="T5" fmla="*/ 9 h 78"/>
                              <a:gd name="T6" fmla="*/ 219 w 219"/>
                              <a:gd name="T7" fmla="*/ 30 h 78"/>
                              <a:gd name="T8" fmla="*/ 208 w 219"/>
                              <a:gd name="T9" fmla="*/ 52 h 78"/>
                              <a:gd name="T10" fmla="*/ 14 w 219"/>
                              <a:gd name="T11" fmla="*/ 78 h 78"/>
                              <a:gd name="T12" fmla="*/ 0 w 219"/>
                              <a:gd name="T13" fmla="*/ 65 h 78"/>
                              <a:gd name="T14" fmla="*/ 12 w 219"/>
                              <a:gd name="T15" fmla="*/ 4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78">
                                <a:moveTo>
                                  <a:pt x="12" y="49"/>
                                </a:moveTo>
                                <a:lnTo>
                                  <a:pt x="190" y="0"/>
                                </a:lnTo>
                                <a:lnTo>
                                  <a:pt x="214" y="9"/>
                                </a:lnTo>
                                <a:lnTo>
                                  <a:pt x="219" y="30"/>
                                </a:lnTo>
                                <a:lnTo>
                                  <a:pt x="208" y="52"/>
                                </a:lnTo>
                                <a:lnTo>
                                  <a:pt x="14" y="78"/>
                                </a:lnTo>
                                <a:lnTo>
                                  <a:pt x="0" y="65"/>
                                </a:lnTo>
                                <a:lnTo>
                                  <a:pt x="12" y="49"/>
                                </a:lnTo>
                                <a:close/>
                              </a:path>
                            </a:pathLst>
                          </a:custGeom>
                          <a:grpFill/>
                          <a:ln>
                            <a:noFill/>
                          </a:ln>
                          <a:extLst/>
                        </p:spPr>
                        <p:style>
                          <a:lnRef idx="1">
                            <a:schemeClr val="dk1"/>
                          </a:lnRef>
                          <a:fillRef idx="0">
                            <a:schemeClr val="dk1"/>
                          </a:fillRef>
                          <a:effectRef idx="0">
                            <a:schemeClr val="dk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p>
                        </p:txBody>
                      </p:sp>
                      <p:sp>
                        <p:nvSpPr>
                          <p:cNvPr id="304" name="Freeform 303"/>
                          <p:cNvSpPr>
                            <a:spLocks/>
                          </p:cNvSpPr>
                          <p:nvPr/>
                        </p:nvSpPr>
                        <p:spPr bwMode="auto">
                          <a:xfrm>
                            <a:off x="2265" y="1424"/>
                            <a:ext cx="221" cy="75"/>
                          </a:xfrm>
                          <a:custGeom>
                            <a:avLst/>
                            <a:gdLst>
                              <a:gd name="T0" fmla="*/ 208 w 221"/>
                              <a:gd name="T1" fmla="*/ 29 h 75"/>
                              <a:gd name="T2" fmla="*/ 29 w 221"/>
                              <a:gd name="T3" fmla="*/ 75 h 75"/>
                              <a:gd name="T4" fmla="*/ 5 w 221"/>
                              <a:gd name="T5" fmla="*/ 67 h 75"/>
                              <a:gd name="T6" fmla="*/ 0 w 221"/>
                              <a:gd name="T7" fmla="*/ 45 h 75"/>
                              <a:gd name="T8" fmla="*/ 11 w 221"/>
                              <a:gd name="T9" fmla="*/ 23 h 75"/>
                              <a:gd name="T10" fmla="*/ 207 w 221"/>
                              <a:gd name="T11" fmla="*/ 0 h 75"/>
                              <a:gd name="T12" fmla="*/ 221 w 221"/>
                              <a:gd name="T13" fmla="*/ 13 h 75"/>
                              <a:gd name="T14" fmla="*/ 208 w 221"/>
                              <a:gd name="T15" fmla="*/ 29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1" h="75">
                                <a:moveTo>
                                  <a:pt x="208" y="29"/>
                                </a:moveTo>
                                <a:lnTo>
                                  <a:pt x="29" y="75"/>
                                </a:lnTo>
                                <a:lnTo>
                                  <a:pt x="5" y="67"/>
                                </a:lnTo>
                                <a:lnTo>
                                  <a:pt x="0" y="45"/>
                                </a:lnTo>
                                <a:lnTo>
                                  <a:pt x="11" y="23"/>
                                </a:lnTo>
                                <a:lnTo>
                                  <a:pt x="207" y="0"/>
                                </a:lnTo>
                                <a:lnTo>
                                  <a:pt x="221" y="13"/>
                                </a:lnTo>
                                <a:lnTo>
                                  <a:pt x="208" y="29"/>
                                </a:lnTo>
                                <a:close/>
                              </a:path>
                            </a:pathLst>
                          </a:custGeom>
                          <a:grpFill/>
                          <a:ln>
                            <a:noFill/>
                          </a:ln>
                          <a:extLst/>
                        </p:spPr>
                        <p:style>
                          <a:lnRef idx="1">
                            <a:schemeClr val="dk1"/>
                          </a:lnRef>
                          <a:fillRef idx="0">
                            <a:schemeClr val="dk1"/>
                          </a:fillRef>
                          <a:effectRef idx="0">
                            <a:schemeClr val="dk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p>
                        </p:txBody>
                      </p:sp>
                      <p:sp>
                        <p:nvSpPr>
                          <p:cNvPr id="305" name="Freeform 304"/>
                          <p:cNvSpPr>
                            <a:spLocks/>
                          </p:cNvSpPr>
                          <p:nvPr/>
                        </p:nvSpPr>
                        <p:spPr bwMode="auto">
                          <a:xfrm>
                            <a:off x="2772" y="968"/>
                            <a:ext cx="60" cy="222"/>
                          </a:xfrm>
                          <a:custGeom>
                            <a:avLst/>
                            <a:gdLst>
                              <a:gd name="T0" fmla="*/ 0 w 60"/>
                              <a:gd name="T1" fmla="*/ 205 h 222"/>
                              <a:gd name="T2" fmla="*/ 5 w 60"/>
                              <a:gd name="T3" fmla="*/ 21 h 222"/>
                              <a:gd name="T4" fmla="*/ 19 w 60"/>
                              <a:gd name="T5" fmla="*/ 0 h 222"/>
                              <a:gd name="T6" fmla="*/ 42 w 60"/>
                              <a:gd name="T7" fmla="*/ 1 h 222"/>
                              <a:gd name="T8" fmla="*/ 60 w 60"/>
                              <a:gd name="T9" fmla="*/ 18 h 222"/>
                              <a:gd name="T10" fmla="*/ 28 w 60"/>
                              <a:gd name="T11" fmla="*/ 212 h 222"/>
                              <a:gd name="T12" fmla="*/ 11 w 60"/>
                              <a:gd name="T13" fmla="*/ 222 h 222"/>
                              <a:gd name="T14" fmla="*/ 0 w 60"/>
                              <a:gd name="T15" fmla="*/ 205 h 2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222">
                                <a:moveTo>
                                  <a:pt x="0" y="205"/>
                                </a:moveTo>
                                <a:lnTo>
                                  <a:pt x="5" y="21"/>
                                </a:lnTo>
                                <a:lnTo>
                                  <a:pt x="19" y="0"/>
                                </a:lnTo>
                                <a:lnTo>
                                  <a:pt x="42" y="1"/>
                                </a:lnTo>
                                <a:lnTo>
                                  <a:pt x="60" y="18"/>
                                </a:lnTo>
                                <a:lnTo>
                                  <a:pt x="28" y="212"/>
                                </a:lnTo>
                                <a:lnTo>
                                  <a:pt x="11" y="222"/>
                                </a:lnTo>
                                <a:lnTo>
                                  <a:pt x="0" y="205"/>
                                </a:lnTo>
                                <a:close/>
                              </a:path>
                            </a:pathLst>
                          </a:custGeom>
                          <a:grpFill/>
                          <a:ln>
                            <a:noFill/>
                          </a:ln>
                          <a:extLst/>
                        </p:spPr>
                        <p:style>
                          <a:lnRef idx="1">
                            <a:schemeClr val="dk1"/>
                          </a:lnRef>
                          <a:fillRef idx="0">
                            <a:schemeClr val="dk1"/>
                          </a:fillRef>
                          <a:effectRef idx="0">
                            <a:schemeClr val="dk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p>
                        </p:txBody>
                      </p:sp>
                    </p:grpSp>
                    <p:sp>
                      <p:nvSpPr>
                        <p:cNvPr id="297" name="Freeform 296"/>
                        <p:cNvSpPr>
                          <a:spLocks/>
                        </p:cNvSpPr>
                        <p:nvPr/>
                      </p:nvSpPr>
                      <p:spPr bwMode="auto">
                        <a:xfrm>
                          <a:off x="4324986" y="2395803"/>
                          <a:ext cx="438151" cy="440347"/>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grpFill/>
                        <a:ln>
                          <a:noFill/>
                        </a:ln>
                        <a:extLst/>
                      </p:spPr>
                      <p:style>
                        <a:lnRef idx="1">
                          <a:schemeClr val="dk1"/>
                        </a:lnRef>
                        <a:fillRef idx="0">
                          <a:schemeClr val="dk1"/>
                        </a:fillRef>
                        <a:effectRef idx="0">
                          <a:schemeClr val="dk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p>
                      </p:txBody>
                    </p:sp>
                  </p:grpSp>
                </p:grpSp>
              </p:grpSp>
            </p:grpSp>
            <p:grpSp>
              <p:nvGrpSpPr>
                <p:cNvPr id="169" name="Group 168"/>
                <p:cNvGrpSpPr/>
                <p:nvPr/>
              </p:nvGrpSpPr>
              <p:grpSpPr>
                <a:xfrm>
                  <a:off x="9307329" y="2137198"/>
                  <a:ext cx="673100" cy="673100"/>
                  <a:chOff x="10060069" y="2294741"/>
                  <a:chExt cx="673100" cy="673100"/>
                </a:xfrm>
              </p:grpSpPr>
              <p:sp>
                <p:nvSpPr>
                  <p:cNvPr id="173" name="Oval 172"/>
                  <p:cNvSpPr/>
                  <p:nvPr/>
                </p:nvSpPr>
                <p:spPr bwMode="auto">
                  <a:xfrm>
                    <a:off x="10060069" y="2294741"/>
                    <a:ext cx="673100" cy="673100"/>
                  </a:xfrm>
                  <a:prstGeom prst="ellipse">
                    <a:avLst/>
                  </a:prstGeom>
                  <a:solidFill>
                    <a:schemeClr val="accent3"/>
                  </a:solidFill>
                  <a:ln w="66675">
                    <a:solidFill>
                      <a:srgbClr val="EAEAEA">
                        <a:alpha val="74000"/>
                      </a:srgb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IN" sz="2400" dirty="0">
                      <a:solidFill>
                        <a:schemeClr val="bg1"/>
                      </a:solidFill>
                      <a:latin typeface="+mj-lt"/>
                      <a:ea typeface="Segoe UI" pitchFamily="34" charset="0"/>
                      <a:cs typeface="Segoe UI" pitchFamily="34" charset="0"/>
                    </a:endParaRPr>
                  </a:p>
                </p:txBody>
              </p:sp>
              <p:sp>
                <p:nvSpPr>
                  <p:cNvPr id="174" name="Rectangle 3"/>
                  <p:cNvSpPr/>
                  <p:nvPr/>
                </p:nvSpPr>
                <p:spPr>
                  <a:xfrm rot="18873348">
                    <a:off x="10176161" y="2480743"/>
                    <a:ext cx="434871" cy="283868"/>
                  </a:xfrm>
                  <a:custGeom>
                    <a:avLst/>
                    <a:gdLst/>
                    <a:ahLst/>
                    <a:cxnLst/>
                    <a:rect l="l" t="t" r="r" b="b"/>
                    <a:pathLst>
                      <a:path w="3009901" h="1964752">
                        <a:moveTo>
                          <a:pt x="1196274" y="1550125"/>
                        </a:moveTo>
                        <a:lnTo>
                          <a:pt x="1249793" y="1604481"/>
                        </a:lnTo>
                        <a:lnTo>
                          <a:pt x="1249048" y="1650273"/>
                        </a:lnTo>
                        <a:lnTo>
                          <a:pt x="1078400" y="1818295"/>
                        </a:lnTo>
                        <a:lnTo>
                          <a:pt x="1032603" y="1818330"/>
                        </a:lnTo>
                        <a:lnTo>
                          <a:pt x="979083" y="1763973"/>
                        </a:lnTo>
                        <a:lnTo>
                          <a:pt x="979828" y="1718183"/>
                        </a:lnTo>
                        <a:lnTo>
                          <a:pt x="1150476" y="1550160"/>
                        </a:lnTo>
                        <a:close/>
                        <a:moveTo>
                          <a:pt x="1538748" y="1660034"/>
                        </a:moveTo>
                        <a:lnTo>
                          <a:pt x="1570088" y="1693430"/>
                        </a:lnTo>
                        <a:lnTo>
                          <a:pt x="1564527" y="1932848"/>
                        </a:lnTo>
                        <a:lnTo>
                          <a:pt x="1531671" y="1964752"/>
                        </a:lnTo>
                        <a:lnTo>
                          <a:pt x="1455408" y="1962980"/>
                        </a:lnTo>
                        <a:lnTo>
                          <a:pt x="1424070" y="1929586"/>
                        </a:lnTo>
                        <a:lnTo>
                          <a:pt x="1429631" y="1690167"/>
                        </a:lnTo>
                        <a:lnTo>
                          <a:pt x="1462488" y="1658262"/>
                        </a:lnTo>
                        <a:close/>
                        <a:moveTo>
                          <a:pt x="1837887" y="1551810"/>
                        </a:moveTo>
                        <a:lnTo>
                          <a:pt x="2005909" y="1722458"/>
                        </a:lnTo>
                        <a:lnTo>
                          <a:pt x="2005945" y="1768255"/>
                        </a:lnTo>
                        <a:lnTo>
                          <a:pt x="1951588" y="1821775"/>
                        </a:lnTo>
                        <a:lnTo>
                          <a:pt x="1905797" y="1821030"/>
                        </a:lnTo>
                        <a:lnTo>
                          <a:pt x="1737775" y="1650382"/>
                        </a:lnTo>
                        <a:lnTo>
                          <a:pt x="1737740" y="1604584"/>
                        </a:lnTo>
                        <a:lnTo>
                          <a:pt x="1792095" y="1551065"/>
                        </a:lnTo>
                        <a:close/>
                        <a:moveTo>
                          <a:pt x="1345453" y="565884"/>
                        </a:moveTo>
                        <a:lnTo>
                          <a:pt x="1371600" y="599205"/>
                        </a:lnTo>
                        <a:lnTo>
                          <a:pt x="1371600" y="1370763"/>
                        </a:lnTo>
                        <a:lnTo>
                          <a:pt x="1345453" y="1404084"/>
                        </a:lnTo>
                        <a:lnTo>
                          <a:pt x="894522" y="1404084"/>
                        </a:lnTo>
                        <a:lnTo>
                          <a:pt x="655983" y="1187731"/>
                        </a:lnTo>
                        <a:lnTo>
                          <a:pt x="655983" y="1187390"/>
                        </a:lnTo>
                        <a:lnTo>
                          <a:pt x="119271" y="1187390"/>
                        </a:lnTo>
                        <a:lnTo>
                          <a:pt x="0" y="1001650"/>
                        </a:lnTo>
                        <a:lnTo>
                          <a:pt x="0" y="968318"/>
                        </a:lnTo>
                        <a:lnTo>
                          <a:pt x="119271" y="782578"/>
                        </a:lnTo>
                        <a:lnTo>
                          <a:pt x="655983" y="782578"/>
                        </a:lnTo>
                        <a:lnTo>
                          <a:pt x="655983" y="782237"/>
                        </a:lnTo>
                        <a:lnTo>
                          <a:pt x="894522" y="565884"/>
                        </a:lnTo>
                        <a:close/>
                        <a:moveTo>
                          <a:pt x="1095873" y="143722"/>
                        </a:moveTo>
                        <a:lnTo>
                          <a:pt x="1263895" y="314370"/>
                        </a:lnTo>
                        <a:lnTo>
                          <a:pt x="1263930" y="360168"/>
                        </a:lnTo>
                        <a:lnTo>
                          <a:pt x="1209575" y="413687"/>
                        </a:lnTo>
                        <a:lnTo>
                          <a:pt x="1163783" y="412941"/>
                        </a:lnTo>
                        <a:lnTo>
                          <a:pt x="995760" y="242294"/>
                        </a:lnTo>
                        <a:lnTo>
                          <a:pt x="995725" y="196497"/>
                        </a:lnTo>
                        <a:lnTo>
                          <a:pt x="1050082" y="142976"/>
                        </a:lnTo>
                        <a:close/>
                        <a:moveTo>
                          <a:pt x="1546262" y="1771"/>
                        </a:moveTo>
                        <a:lnTo>
                          <a:pt x="1577601" y="35166"/>
                        </a:lnTo>
                        <a:lnTo>
                          <a:pt x="1572039" y="274585"/>
                        </a:lnTo>
                        <a:lnTo>
                          <a:pt x="1539182" y="306489"/>
                        </a:lnTo>
                        <a:lnTo>
                          <a:pt x="1462922" y="304718"/>
                        </a:lnTo>
                        <a:lnTo>
                          <a:pt x="1431582" y="271322"/>
                        </a:lnTo>
                        <a:lnTo>
                          <a:pt x="1437143" y="31903"/>
                        </a:lnTo>
                        <a:lnTo>
                          <a:pt x="1469999" y="0"/>
                        </a:lnTo>
                        <a:close/>
                        <a:moveTo>
                          <a:pt x="1969066" y="146421"/>
                        </a:moveTo>
                        <a:lnTo>
                          <a:pt x="2022587" y="200778"/>
                        </a:lnTo>
                        <a:lnTo>
                          <a:pt x="2021841" y="246569"/>
                        </a:lnTo>
                        <a:lnTo>
                          <a:pt x="1851194" y="414591"/>
                        </a:lnTo>
                        <a:lnTo>
                          <a:pt x="1805396" y="414626"/>
                        </a:lnTo>
                        <a:lnTo>
                          <a:pt x="1751876" y="360271"/>
                        </a:lnTo>
                        <a:lnTo>
                          <a:pt x="1752622" y="314479"/>
                        </a:lnTo>
                        <a:lnTo>
                          <a:pt x="1923270" y="146457"/>
                        </a:lnTo>
                        <a:close/>
                        <a:moveTo>
                          <a:pt x="2890630" y="782578"/>
                        </a:moveTo>
                        <a:lnTo>
                          <a:pt x="3009901" y="968318"/>
                        </a:lnTo>
                        <a:lnTo>
                          <a:pt x="3009901" y="1001650"/>
                        </a:lnTo>
                        <a:lnTo>
                          <a:pt x="2890630" y="1187390"/>
                        </a:lnTo>
                        <a:lnTo>
                          <a:pt x="2353919" y="1187390"/>
                        </a:lnTo>
                        <a:lnTo>
                          <a:pt x="2353919" y="1187731"/>
                        </a:lnTo>
                        <a:lnTo>
                          <a:pt x="2115379" y="1404084"/>
                        </a:lnTo>
                        <a:lnTo>
                          <a:pt x="1664448" y="1404084"/>
                        </a:lnTo>
                        <a:lnTo>
                          <a:pt x="1638301" y="1370763"/>
                        </a:lnTo>
                        <a:lnTo>
                          <a:pt x="1638301" y="599205"/>
                        </a:lnTo>
                        <a:lnTo>
                          <a:pt x="1664448" y="565884"/>
                        </a:lnTo>
                        <a:lnTo>
                          <a:pt x="2115380" y="565884"/>
                        </a:lnTo>
                        <a:lnTo>
                          <a:pt x="2353919" y="782237"/>
                        </a:lnTo>
                        <a:lnTo>
                          <a:pt x="2353919" y="7825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p>
                </p:txBody>
              </p:sp>
            </p:grpSp>
            <p:grpSp>
              <p:nvGrpSpPr>
                <p:cNvPr id="170" name="Group 169"/>
                <p:cNvGrpSpPr/>
                <p:nvPr/>
              </p:nvGrpSpPr>
              <p:grpSpPr>
                <a:xfrm>
                  <a:off x="10370453" y="2309208"/>
                  <a:ext cx="673100" cy="673100"/>
                  <a:chOff x="11533673" y="3174236"/>
                  <a:chExt cx="673100" cy="673100"/>
                </a:xfrm>
              </p:grpSpPr>
              <p:sp>
                <p:nvSpPr>
                  <p:cNvPr id="171" name="Oval 170"/>
                  <p:cNvSpPr/>
                  <p:nvPr/>
                </p:nvSpPr>
                <p:spPr bwMode="auto">
                  <a:xfrm>
                    <a:off x="11533673" y="3174236"/>
                    <a:ext cx="673100" cy="673100"/>
                  </a:xfrm>
                  <a:prstGeom prst="ellipse">
                    <a:avLst/>
                  </a:prstGeom>
                  <a:solidFill>
                    <a:schemeClr val="accent5"/>
                  </a:solidFill>
                  <a:ln w="66675">
                    <a:solidFill>
                      <a:srgbClr val="EAEAEA">
                        <a:alpha val="74000"/>
                      </a:srgb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IN" sz="2400" dirty="0">
                      <a:solidFill>
                        <a:schemeClr val="bg1"/>
                      </a:solidFill>
                      <a:latin typeface="+mj-lt"/>
                      <a:ea typeface="Segoe UI" pitchFamily="34" charset="0"/>
                      <a:cs typeface="Segoe UI" pitchFamily="34" charset="0"/>
                    </a:endParaRPr>
                  </a:p>
                </p:txBody>
              </p:sp>
              <p:sp>
                <p:nvSpPr>
                  <p:cNvPr id="172" name="Freeform 171"/>
                  <p:cNvSpPr/>
                  <p:nvPr/>
                </p:nvSpPr>
                <p:spPr bwMode="auto">
                  <a:xfrm>
                    <a:off x="11690808" y="3349670"/>
                    <a:ext cx="358830" cy="322232"/>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12" name="Group 11"/>
              <p:cNvGrpSpPr/>
              <p:nvPr/>
            </p:nvGrpSpPr>
            <p:grpSpPr>
              <a:xfrm>
                <a:off x="10991849" y="4836320"/>
                <a:ext cx="1664072" cy="1672932"/>
                <a:chOff x="10991849" y="4836320"/>
                <a:chExt cx="1664072" cy="1672932"/>
              </a:xfrm>
            </p:grpSpPr>
            <p:sp>
              <p:nvSpPr>
                <p:cNvPr id="162" name="Freeform 161"/>
                <p:cNvSpPr/>
                <p:nvPr/>
              </p:nvSpPr>
              <p:spPr bwMode="auto">
                <a:xfrm>
                  <a:off x="10991849" y="4836320"/>
                  <a:ext cx="940478" cy="927910"/>
                </a:xfrm>
                <a:custGeom>
                  <a:avLst/>
                  <a:gdLst>
                    <a:gd name="connsiteX0" fmla="*/ 308686 w 523733"/>
                    <a:gd name="connsiteY0" fmla="*/ 0 h 773822"/>
                    <a:gd name="connsiteX1" fmla="*/ 3886 w 523733"/>
                    <a:gd name="connsiteY1" fmla="*/ 381000 h 773822"/>
                    <a:gd name="connsiteX2" fmla="*/ 499186 w 523733"/>
                    <a:gd name="connsiteY2" fmla="*/ 406400 h 773822"/>
                    <a:gd name="connsiteX3" fmla="*/ 448386 w 523733"/>
                    <a:gd name="connsiteY3" fmla="*/ 723900 h 773822"/>
                    <a:gd name="connsiteX4" fmla="*/ 448386 w 523733"/>
                    <a:gd name="connsiteY4" fmla="*/ 736600 h 773822"/>
                    <a:gd name="connsiteX0" fmla="*/ 307068 w 479693"/>
                    <a:gd name="connsiteY0" fmla="*/ 0 h 768133"/>
                    <a:gd name="connsiteX1" fmla="*/ 2268 w 479693"/>
                    <a:gd name="connsiteY1" fmla="*/ 381000 h 768133"/>
                    <a:gd name="connsiteX2" fmla="*/ 446768 w 479693"/>
                    <a:gd name="connsiteY2" fmla="*/ 520700 h 768133"/>
                    <a:gd name="connsiteX3" fmla="*/ 446768 w 479693"/>
                    <a:gd name="connsiteY3" fmla="*/ 723900 h 768133"/>
                    <a:gd name="connsiteX4" fmla="*/ 446768 w 479693"/>
                    <a:gd name="connsiteY4" fmla="*/ 736600 h 768133"/>
                    <a:gd name="connsiteX0" fmla="*/ 196172 w 360331"/>
                    <a:gd name="connsiteY0" fmla="*/ 0 h 768133"/>
                    <a:gd name="connsiteX1" fmla="*/ 5672 w 360331"/>
                    <a:gd name="connsiteY1" fmla="*/ 266700 h 768133"/>
                    <a:gd name="connsiteX2" fmla="*/ 335872 w 360331"/>
                    <a:gd name="connsiteY2" fmla="*/ 520700 h 768133"/>
                    <a:gd name="connsiteX3" fmla="*/ 335872 w 360331"/>
                    <a:gd name="connsiteY3" fmla="*/ 723900 h 768133"/>
                    <a:gd name="connsiteX4" fmla="*/ 335872 w 360331"/>
                    <a:gd name="connsiteY4" fmla="*/ 736600 h 768133"/>
                    <a:gd name="connsiteX0" fmla="*/ 15717 w 1713267"/>
                    <a:gd name="connsiteY0" fmla="*/ 0 h 1685428"/>
                    <a:gd name="connsiteX1" fmla="*/ 1358608 w 1713267"/>
                    <a:gd name="connsiteY1" fmla="*/ 1183995 h 1685428"/>
                    <a:gd name="connsiteX2" fmla="*/ 1688808 w 1713267"/>
                    <a:gd name="connsiteY2" fmla="*/ 1437995 h 1685428"/>
                    <a:gd name="connsiteX3" fmla="*/ 1688808 w 1713267"/>
                    <a:gd name="connsiteY3" fmla="*/ 1641195 h 1685428"/>
                    <a:gd name="connsiteX4" fmla="*/ 1688808 w 1713267"/>
                    <a:gd name="connsiteY4" fmla="*/ 1653895 h 1685428"/>
                    <a:gd name="connsiteX0" fmla="*/ -1 w 1697549"/>
                    <a:gd name="connsiteY0" fmla="*/ 0 h 1685428"/>
                    <a:gd name="connsiteX1" fmla="*/ 749616 w 1697549"/>
                    <a:gd name="connsiteY1" fmla="*/ 758981 h 1685428"/>
                    <a:gd name="connsiteX2" fmla="*/ 1342890 w 1697549"/>
                    <a:gd name="connsiteY2" fmla="*/ 1183995 h 1685428"/>
                    <a:gd name="connsiteX3" fmla="*/ 1673090 w 1697549"/>
                    <a:gd name="connsiteY3" fmla="*/ 1437995 h 1685428"/>
                    <a:gd name="connsiteX4" fmla="*/ 1673090 w 1697549"/>
                    <a:gd name="connsiteY4" fmla="*/ 1641195 h 1685428"/>
                    <a:gd name="connsiteX5" fmla="*/ 1673090 w 1697549"/>
                    <a:gd name="connsiteY5" fmla="*/ 1653895 h 1685428"/>
                    <a:gd name="connsiteX0" fmla="*/ 0 w 1697550"/>
                    <a:gd name="connsiteY0" fmla="*/ 0 h 1685428"/>
                    <a:gd name="connsiteX1" fmla="*/ 927600 w 1697550"/>
                    <a:gd name="connsiteY1" fmla="*/ 628916 h 1685428"/>
                    <a:gd name="connsiteX2" fmla="*/ 1342891 w 1697550"/>
                    <a:gd name="connsiteY2" fmla="*/ 1183995 h 1685428"/>
                    <a:gd name="connsiteX3" fmla="*/ 1673091 w 1697550"/>
                    <a:gd name="connsiteY3" fmla="*/ 1437995 h 1685428"/>
                    <a:gd name="connsiteX4" fmla="*/ 1673091 w 1697550"/>
                    <a:gd name="connsiteY4" fmla="*/ 1641195 h 1685428"/>
                    <a:gd name="connsiteX5" fmla="*/ 1673091 w 1697550"/>
                    <a:gd name="connsiteY5" fmla="*/ 1653895 h 1685428"/>
                    <a:gd name="connsiteX0" fmla="*/ 0 w 1697550"/>
                    <a:gd name="connsiteY0" fmla="*/ 0 h 1685428"/>
                    <a:gd name="connsiteX1" fmla="*/ 927600 w 1697550"/>
                    <a:gd name="connsiteY1" fmla="*/ 628916 h 1685428"/>
                    <a:gd name="connsiteX2" fmla="*/ 1342891 w 1697550"/>
                    <a:gd name="connsiteY2" fmla="*/ 1183995 h 1685428"/>
                    <a:gd name="connsiteX3" fmla="*/ 1673091 w 1697550"/>
                    <a:gd name="connsiteY3" fmla="*/ 1437995 h 1685428"/>
                    <a:gd name="connsiteX4" fmla="*/ 1673091 w 1697550"/>
                    <a:gd name="connsiteY4" fmla="*/ 1641195 h 1685428"/>
                    <a:gd name="connsiteX5" fmla="*/ 1673091 w 1697550"/>
                    <a:gd name="connsiteY5" fmla="*/ 1653895 h 1685428"/>
                    <a:gd name="connsiteX0" fmla="*/ 0 w 1697550"/>
                    <a:gd name="connsiteY0" fmla="*/ 0 h 1685428"/>
                    <a:gd name="connsiteX1" fmla="*/ 468952 w 1697550"/>
                    <a:gd name="connsiteY1" fmla="*/ 669989 h 1685428"/>
                    <a:gd name="connsiteX2" fmla="*/ 1342891 w 1697550"/>
                    <a:gd name="connsiteY2" fmla="*/ 1183995 h 1685428"/>
                    <a:gd name="connsiteX3" fmla="*/ 1673091 w 1697550"/>
                    <a:gd name="connsiteY3" fmla="*/ 1437995 h 1685428"/>
                    <a:gd name="connsiteX4" fmla="*/ 1673091 w 1697550"/>
                    <a:gd name="connsiteY4" fmla="*/ 1641195 h 1685428"/>
                    <a:gd name="connsiteX5" fmla="*/ 1673091 w 1697550"/>
                    <a:gd name="connsiteY5" fmla="*/ 1653895 h 1685428"/>
                    <a:gd name="connsiteX0" fmla="*/ 0 w 1697550"/>
                    <a:gd name="connsiteY0" fmla="*/ 0 h 1685428"/>
                    <a:gd name="connsiteX1" fmla="*/ 468952 w 1697550"/>
                    <a:gd name="connsiteY1" fmla="*/ 669989 h 1685428"/>
                    <a:gd name="connsiteX2" fmla="*/ 1342891 w 1697550"/>
                    <a:gd name="connsiteY2" fmla="*/ 1183995 h 1685428"/>
                    <a:gd name="connsiteX3" fmla="*/ 1673091 w 1697550"/>
                    <a:gd name="connsiteY3" fmla="*/ 1437995 h 1685428"/>
                    <a:gd name="connsiteX4" fmla="*/ 1673091 w 1697550"/>
                    <a:gd name="connsiteY4" fmla="*/ 1641195 h 1685428"/>
                    <a:gd name="connsiteX5" fmla="*/ 1673091 w 1697550"/>
                    <a:gd name="connsiteY5" fmla="*/ 1653895 h 1685428"/>
                    <a:gd name="connsiteX0" fmla="*/ 0 w 1697550"/>
                    <a:gd name="connsiteY0" fmla="*/ 0 h 1685428"/>
                    <a:gd name="connsiteX1" fmla="*/ 366269 w 1697550"/>
                    <a:gd name="connsiteY1" fmla="*/ 416707 h 1685428"/>
                    <a:gd name="connsiteX2" fmla="*/ 1342891 w 1697550"/>
                    <a:gd name="connsiteY2" fmla="*/ 1183995 h 1685428"/>
                    <a:gd name="connsiteX3" fmla="*/ 1673091 w 1697550"/>
                    <a:gd name="connsiteY3" fmla="*/ 1437995 h 1685428"/>
                    <a:gd name="connsiteX4" fmla="*/ 1673091 w 1697550"/>
                    <a:gd name="connsiteY4" fmla="*/ 1641195 h 1685428"/>
                    <a:gd name="connsiteX5" fmla="*/ 1673091 w 1697550"/>
                    <a:gd name="connsiteY5" fmla="*/ 1653895 h 1685428"/>
                    <a:gd name="connsiteX0" fmla="*/ 0 w 1697550"/>
                    <a:gd name="connsiteY0" fmla="*/ 0 h 1685428"/>
                    <a:gd name="connsiteX1" fmla="*/ 366269 w 1697550"/>
                    <a:gd name="connsiteY1" fmla="*/ 416707 h 1685428"/>
                    <a:gd name="connsiteX2" fmla="*/ 1342891 w 1697550"/>
                    <a:gd name="connsiteY2" fmla="*/ 1183995 h 1685428"/>
                    <a:gd name="connsiteX3" fmla="*/ 1673091 w 1697550"/>
                    <a:gd name="connsiteY3" fmla="*/ 1437995 h 1685428"/>
                    <a:gd name="connsiteX4" fmla="*/ 1673091 w 1697550"/>
                    <a:gd name="connsiteY4" fmla="*/ 1641195 h 1685428"/>
                    <a:gd name="connsiteX5" fmla="*/ 1673091 w 1697550"/>
                    <a:gd name="connsiteY5" fmla="*/ 1653895 h 1685428"/>
                    <a:gd name="connsiteX0" fmla="*/ 0 w 1697550"/>
                    <a:gd name="connsiteY0" fmla="*/ 0 h 1685428"/>
                    <a:gd name="connsiteX1" fmla="*/ 366269 w 1697550"/>
                    <a:gd name="connsiteY1" fmla="*/ 416707 h 1685428"/>
                    <a:gd name="connsiteX2" fmla="*/ 653781 w 1697550"/>
                    <a:gd name="connsiteY2" fmla="*/ 656298 h 1685428"/>
                    <a:gd name="connsiteX3" fmla="*/ 1342891 w 1697550"/>
                    <a:gd name="connsiteY3" fmla="*/ 1183995 h 1685428"/>
                    <a:gd name="connsiteX4" fmla="*/ 1673091 w 1697550"/>
                    <a:gd name="connsiteY4" fmla="*/ 1437995 h 1685428"/>
                    <a:gd name="connsiteX5" fmla="*/ 1673091 w 1697550"/>
                    <a:gd name="connsiteY5" fmla="*/ 1641195 h 1685428"/>
                    <a:gd name="connsiteX6" fmla="*/ 1673091 w 1697550"/>
                    <a:gd name="connsiteY6" fmla="*/ 1653895 h 1685428"/>
                    <a:gd name="connsiteX0" fmla="*/ 0 w 1697550"/>
                    <a:gd name="connsiteY0" fmla="*/ 0 h 1685428"/>
                    <a:gd name="connsiteX1" fmla="*/ 366269 w 1697550"/>
                    <a:gd name="connsiteY1" fmla="*/ 416707 h 1685428"/>
                    <a:gd name="connsiteX2" fmla="*/ 811228 w 1697550"/>
                    <a:gd name="connsiteY2" fmla="*/ 526235 h 1685428"/>
                    <a:gd name="connsiteX3" fmla="*/ 1342891 w 1697550"/>
                    <a:gd name="connsiteY3" fmla="*/ 1183995 h 1685428"/>
                    <a:gd name="connsiteX4" fmla="*/ 1673091 w 1697550"/>
                    <a:gd name="connsiteY4" fmla="*/ 1437995 h 1685428"/>
                    <a:gd name="connsiteX5" fmla="*/ 1673091 w 1697550"/>
                    <a:gd name="connsiteY5" fmla="*/ 1641195 h 1685428"/>
                    <a:gd name="connsiteX6" fmla="*/ 1673091 w 1697550"/>
                    <a:gd name="connsiteY6" fmla="*/ 1653895 h 1685428"/>
                    <a:gd name="connsiteX0" fmla="*/ 0 w 1697550"/>
                    <a:gd name="connsiteY0" fmla="*/ 0 h 1685428"/>
                    <a:gd name="connsiteX1" fmla="*/ 366269 w 1697550"/>
                    <a:gd name="connsiteY1" fmla="*/ 416707 h 1685428"/>
                    <a:gd name="connsiteX2" fmla="*/ 811228 w 1697550"/>
                    <a:gd name="connsiteY2" fmla="*/ 526235 h 1685428"/>
                    <a:gd name="connsiteX3" fmla="*/ 982365 w 1697550"/>
                    <a:gd name="connsiteY3" fmla="*/ 731599 h 1685428"/>
                    <a:gd name="connsiteX4" fmla="*/ 1342891 w 1697550"/>
                    <a:gd name="connsiteY4" fmla="*/ 1183995 h 1685428"/>
                    <a:gd name="connsiteX5" fmla="*/ 1673091 w 1697550"/>
                    <a:gd name="connsiteY5" fmla="*/ 1437995 h 1685428"/>
                    <a:gd name="connsiteX6" fmla="*/ 1673091 w 1697550"/>
                    <a:gd name="connsiteY6" fmla="*/ 1641195 h 1685428"/>
                    <a:gd name="connsiteX7" fmla="*/ 1673091 w 1697550"/>
                    <a:gd name="connsiteY7" fmla="*/ 1653895 h 1685428"/>
                    <a:gd name="connsiteX0" fmla="*/ 0 w 1697550"/>
                    <a:gd name="connsiteY0" fmla="*/ 0 h 1685428"/>
                    <a:gd name="connsiteX1" fmla="*/ 366269 w 1697550"/>
                    <a:gd name="connsiteY1" fmla="*/ 416707 h 1685428"/>
                    <a:gd name="connsiteX2" fmla="*/ 811228 w 1697550"/>
                    <a:gd name="connsiteY2" fmla="*/ 526235 h 1685428"/>
                    <a:gd name="connsiteX3" fmla="*/ 934445 w 1697550"/>
                    <a:gd name="connsiteY3" fmla="*/ 834282 h 1685428"/>
                    <a:gd name="connsiteX4" fmla="*/ 1342891 w 1697550"/>
                    <a:gd name="connsiteY4" fmla="*/ 1183995 h 1685428"/>
                    <a:gd name="connsiteX5" fmla="*/ 1673091 w 1697550"/>
                    <a:gd name="connsiteY5" fmla="*/ 1437995 h 1685428"/>
                    <a:gd name="connsiteX6" fmla="*/ 1673091 w 1697550"/>
                    <a:gd name="connsiteY6" fmla="*/ 1641195 h 1685428"/>
                    <a:gd name="connsiteX7" fmla="*/ 1673091 w 1697550"/>
                    <a:gd name="connsiteY7" fmla="*/ 1653895 h 1685428"/>
                    <a:gd name="connsiteX0" fmla="*/ 0 w 1697550"/>
                    <a:gd name="connsiteY0" fmla="*/ 0 h 1685428"/>
                    <a:gd name="connsiteX1" fmla="*/ 366269 w 1697550"/>
                    <a:gd name="connsiteY1" fmla="*/ 416707 h 1685428"/>
                    <a:gd name="connsiteX2" fmla="*/ 811228 w 1697550"/>
                    <a:gd name="connsiteY2" fmla="*/ 526235 h 1685428"/>
                    <a:gd name="connsiteX3" fmla="*/ 934445 w 1697550"/>
                    <a:gd name="connsiteY3" fmla="*/ 834282 h 1685428"/>
                    <a:gd name="connsiteX4" fmla="*/ 1342891 w 1697550"/>
                    <a:gd name="connsiteY4" fmla="*/ 1183995 h 1685428"/>
                    <a:gd name="connsiteX5" fmla="*/ 1673091 w 1697550"/>
                    <a:gd name="connsiteY5" fmla="*/ 1437995 h 1685428"/>
                    <a:gd name="connsiteX6" fmla="*/ 1673091 w 1697550"/>
                    <a:gd name="connsiteY6" fmla="*/ 1641195 h 1685428"/>
                    <a:gd name="connsiteX7" fmla="*/ 1673091 w 1697550"/>
                    <a:gd name="connsiteY7" fmla="*/ 1653895 h 1685428"/>
                    <a:gd name="connsiteX0" fmla="*/ 0 w 1697550"/>
                    <a:gd name="connsiteY0" fmla="*/ 0 h 1685428"/>
                    <a:gd name="connsiteX1" fmla="*/ 366269 w 1697550"/>
                    <a:gd name="connsiteY1" fmla="*/ 416707 h 1685428"/>
                    <a:gd name="connsiteX2" fmla="*/ 811228 w 1697550"/>
                    <a:gd name="connsiteY2" fmla="*/ 526235 h 1685428"/>
                    <a:gd name="connsiteX3" fmla="*/ 934445 w 1697550"/>
                    <a:gd name="connsiteY3" fmla="*/ 834282 h 1685428"/>
                    <a:gd name="connsiteX4" fmla="*/ 1139810 w 1697550"/>
                    <a:gd name="connsiteY4" fmla="*/ 1039645 h 1685428"/>
                    <a:gd name="connsiteX5" fmla="*/ 1342891 w 1697550"/>
                    <a:gd name="connsiteY5" fmla="*/ 1183995 h 1685428"/>
                    <a:gd name="connsiteX6" fmla="*/ 1673091 w 1697550"/>
                    <a:gd name="connsiteY6" fmla="*/ 1437995 h 1685428"/>
                    <a:gd name="connsiteX7" fmla="*/ 1673091 w 1697550"/>
                    <a:gd name="connsiteY7" fmla="*/ 1641195 h 1685428"/>
                    <a:gd name="connsiteX8" fmla="*/ 1673091 w 1697550"/>
                    <a:gd name="connsiteY8" fmla="*/ 1653895 h 1685428"/>
                    <a:gd name="connsiteX0" fmla="*/ 0 w 1697550"/>
                    <a:gd name="connsiteY0" fmla="*/ 0 h 1685428"/>
                    <a:gd name="connsiteX1" fmla="*/ 366269 w 1697550"/>
                    <a:gd name="connsiteY1" fmla="*/ 416707 h 1685428"/>
                    <a:gd name="connsiteX2" fmla="*/ 811228 w 1697550"/>
                    <a:gd name="connsiteY2" fmla="*/ 526235 h 1685428"/>
                    <a:gd name="connsiteX3" fmla="*/ 934445 w 1697550"/>
                    <a:gd name="connsiteY3" fmla="*/ 834282 h 1685428"/>
                    <a:gd name="connsiteX4" fmla="*/ 1215110 w 1697550"/>
                    <a:gd name="connsiteY4" fmla="*/ 978035 h 1685428"/>
                    <a:gd name="connsiteX5" fmla="*/ 1342891 w 1697550"/>
                    <a:gd name="connsiteY5" fmla="*/ 1183995 h 1685428"/>
                    <a:gd name="connsiteX6" fmla="*/ 1673091 w 1697550"/>
                    <a:gd name="connsiteY6" fmla="*/ 1437995 h 1685428"/>
                    <a:gd name="connsiteX7" fmla="*/ 1673091 w 1697550"/>
                    <a:gd name="connsiteY7" fmla="*/ 1641195 h 1685428"/>
                    <a:gd name="connsiteX8" fmla="*/ 1673091 w 1697550"/>
                    <a:gd name="connsiteY8" fmla="*/ 1653895 h 1685428"/>
                    <a:gd name="connsiteX0" fmla="*/ 0 w 1697550"/>
                    <a:gd name="connsiteY0" fmla="*/ 0 h 1685428"/>
                    <a:gd name="connsiteX1" fmla="*/ 366269 w 1697550"/>
                    <a:gd name="connsiteY1" fmla="*/ 416707 h 1685428"/>
                    <a:gd name="connsiteX2" fmla="*/ 811228 w 1697550"/>
                    <a:gd name="connsiteY2" fmla="*/ 526235 h 1685428"/>
                    <a:gd name="connsiteX3" fmla="*/ 934445 w 1697550"/>
                    <a:gd name="connsiteY3" fmla="*/ 834282 h 1685428"/>
                    <a:gd name="connsiteX4" fmla="*/ 1215110 w 1697550"/>
                    <a:gd name="connsiteY4" fmla="*/ 978035 h 1685428"/>
                    <a:gd name="connsiteX5" fmla="*/ 1342891 w 1697550"/>
                    <a:gd name="connsiteY5" fmla="*/ 1183995 h 1685428"/>
                    <a:gd name="connsiteX6" fmla="*/ 1673091 w 1697550"/>
                    <a:gd name="connsiteY6" fmla="*/ 1437995 h 1685428"/>
                    <a:gd name="connsiteX7" fmla="*/ 1673091 w 1697550"/>
                    <a:gd name="connsiteY7" fmla="*/ 1641195 h 1685428"/>
                    <a:gd name="connsiteX8" fmla="*/ 1673091 w 1697550"/>
                    <a:gd name="connsiteY8" fmla="*/ 1653895 h 1685428"/>
                    <a:gd name="connsiteX0" fmla="*/ 0 w 1331281"/>
                    <a:gd name="connsiteY0" fmla="*/ 0 h 1268721"/>
                    <a:gd name="connsiteX1" fmla="*/ 444959 w 1331281"/>
                    <a:gd name="connsiteY1" fmla="*/ 109528 h 1268721"/>
                    <a:gd name="connsiteX2" fmla="*/ 568176 w 1331281"/>
                    <a:gd name="connsiteY2" fmla="*/ 417575 h 1268721"/>
                    <a:gd name="connsiteX3" fmla="*/ 848841 w 1331281"/>
                    <a:gd name="connsiteY3" fmla="*/ 561328 h 1268721"/>
                    <a:gd name="connsiteX4" fmla="*/ 976622 w 1331281"/>
                    <a:gd name="connsiteY4" fmla="*/ 767288 h 1268721"/>
                    <a:gd name="connsiteX5" fmla="*/ 1306822 w 1331281"/>
                    <a:gd name="connsiteY5" fmla="*/ 1021288 h 1268721"/>
                    <a:gd name="connsiteX6" fmla="*/ 1306822 w 1331281"/>
                    <a:gd name="connsiteY6" fmla="*/ 1224488 h 1268721"/>
                    <a:gd name="connsiteX7" fmla="*/ 1306822 w 1331281"/>
                    <a:gd name="connsiteY7" fmla="*/ 1237188 h 1268721"/>
                    <a:gd name="connsiteX0" fmla="*/ 0 w 1351818"/>
                    <a:gd name="connsiteY0" fmla="*/ 0 h 1333752"/>
                    <a:gd name="connsiteX1" fmla="*/ 465496 w 1351818"/>
                    <a:gd name="connsiteY1" fmla="*/ 174559 h 1333752"/>
                    <a:gd name="connsiteX2" fmla="*/ 588713 w 1351818"/>
                    <a:gd name="connsiteY2" fmla="*/ 482606 h 1333752"/>
                    <a:gd name="connsiteX3" fmla="*/ 869378 w 1351818"/>
                    <a:gd name="connsiteY3" fmla="*/ 626359 h 1333752"/>
                    <a:gd name="connsiteX4" fmla="*/ 997159 w 1351818"/>
                    <a:gd name="connsiteY4" fmla="*/ 832319 h 1333752"/>
                    <a:gd name="connsiteX5" fmla="*/ 1327359 w 1351818"/>
                    <a:gd name="connsiteY5" fmla="*/ 1086319 h 1333752"/>
                    <a:gd name="connsiteX6" fmla="*/ 1327359 w 1351818"/>
                    <a:gd name="connsiteY6" fmla="*/ 1289519 h 1333752"/>
                    <a:gd name="connsiteX7" fmla="*/ 1327359 w 1351818"/>
                    <a:gd name="connsiteY7" fmla="*/ 1302219 h 1333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51818" h="1333752">
                      <a:moveTo>
                        <a:pt x="0" y="0"/>
                      </a:moveTo>
                      <a:cubicBezTo>
                        <a:pt x="108963" y="109383"/>
                        <a:pt x="302726" y="46678"/>
                        <a:pt x="465496" y="174559"/>
                      </a:cubicBezTo>
                      <a:cubicBezTo>
                        <a:pt x="568179" y="227041"/>
                        <a:pt x="493257" y="400361"/>
                        <a:pt x="588713" y="482606"/>
                      </a:cubicBezTo>
                      <a:cubicBezTo>
                        <a:pt x="643477" y="568174"/>
                        <a:pt x="801304" y="568074"/>
                        <a:pt x="869378" y="626359"/>
                      </a:cubicBezTo>
                      <a:cubicBezTo>
                        <a:pt x="937452" y="684645"/>
                        <a:pt x="920829" y="755659"/>
                        <a:pt x="997159" y="832319"/>
                      </a:cubicBezTo>
                      <a:cubicBezTo>
                        <a:pt x="1073489" y="908979"/>
                        <a:pt x="1272326" y="1010119"/>
                        <a:pt x="1327359" y="1086319"/>
                      </a:cubicBezTo>
                      <a:cubicBezTo>
                        <a:pt x="1382392" y="1162519"/>
                        <a:pt x="1327359" y="1253536"/>
                        <a:pt x="1327359" y="1289519"/>
                      </a:cubicBezTo>
                      <a:cubicBezTo>
                        <a:pt x="1327359" y="1325502"/>
                        <a:pt x="1321009" y="1361486"/>
                        <a:pt x="1327359" y="1302219"/>
                      </a:cubicBezTo>
                    </a:path>
                  </a:pathLst>
                </a:custGeom>
                <a:noFill/>
                <a:ln w="19050">
                  <a:solidFill>
                    <a:schemeClr val="accent3">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16"/>
                  <a:endParaRPr lang="en-US" sz="1836" dirty="0">
                    <a:solidFill>
                      <a:srgbClr val="FFFFFF"/>
                    </a:solidFill>
                  </a:endParaRPr>
                </a:p>
              </p:txBody>
            </p:sp>
            <p:grpSp>
              <p:nvGrpSpPr>
                <p:cNvPr id="11" name="Group 10"/>
                <p:cNvGrpSpPr/>
                <p:nvPr/>
              </p:nvGrpSpPr>
              <p:grpSpPr>
                <a:xfrm>
                  <a:off x="11847466" y="5705215"/>
                  <a:ext cx="808455" cy="804037"/>
                  <a:chOff x="11847466" y="5705215"/>
                  <a:chExt cx="808455" cy="804037"/>
                </a:xfrm>
              </p:grpSpPr>
              <p:sp>
                <p:nvSpPr>
                  <p:cNvPr id="158" name="Freeform 5"/>
                  <p:cNvSpPr>
                    <a:spLocks/>
                  </p:cNvSpPr>
                  <p:nvPr/>
                </p:nvSpPr>
                <p:spPr bwMode="auto">
                  <a:xfrm>
                    <a:off x="11847466" y="5762646"/>
                    <a:ext cx="468285" cy="469389"/>
                  </a:xfrm>
                  <a:custGeom>
                    <a:avLst/>
                    <a:gdLst>
                      <a:gd name="T0" fmla="*/ 22 w 179"/>
                      <a:gd name="T1" fmla="*/ 79 h 179"/>
                      <a:gd name="T2" fmla="*/ 101 w 179"/>
                      <a:gd name="T3" fmla="*/ 157 h 179"/>
                      <a:gd name="T4" fmla="*/ 179 w 179"/>
                      <a:gd name="T5" fmla="*/ 157 h 179"/>
                      <a:gd name="T6" fmla="*/ 22 w 179"/>
                      <a:gd name="T7" fmla="*/ 0 h 179"/>
                      <a:gd name="T8" fmla="*/ 22 w 179"/>
                      <a:gd name="T9" fmla="*/ 79 h 179"/>
                    </a:gdLst>
                    <a:ahLst/>
                    <a:cxnLst>
                      <a:cxn ang="0">
                        <a:pos x="T0" y="T1"/>
                      </a:cxn>
                      <a:cxn ang="0">
                        <a:pos x="T2" y="T3"/>
                      </a:cxn>
                      <a:cxn ang="0">
                        <a:pos x="T4" y="T5"/>
                      </a:cxn>
                      <a:cxn ang="0">
                        <a:pos x="T6" y="T7"/>
                      </a:cxn>
                      <a:cxn ang="0">
                        <a:pos x="T8" y="T9"/>
                      </a:cxn>
                    </a:cxnLst>
                    <a:rect l="0" t="0" r="r" b="b"/>
                    <a:pathLst>
                      <a:path w="179" h="179">
                        <a:moveTo>
                          <a:pt x="22" y="79"/>
                        </a:moveTo>
                        <a:cubicBezTo>
                          <a:pt x="101" y="157"/>
                          <a:pt x="101" y="157"/>
                          <a:pt x="101" y="157"/>
                        </a:cubicBezTo>
                        <a:cubicBezTo>
                          <a:pt x="122" y="179"/>
                          <a:pt x="158" y="179"/>
                          <a:pt x="179" y="157"/>
                        </a:cubicBezTo>
                        <a:cubicBezTo>
                          <a:pt x="22" y="0"/>
                          <a:pt x="22" y="0"/>
                          <a:pt x="22" y="0"/>
                        </a:cubicBezTo>
                        <a:cubicBezTo>
                          <a:pt x="0" y="22"/>
                          <a:pt x="0" y="57"/>
                          <a:pt x="22" y="7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59" name="Freeform 6"/>
                  <p:cNvSpPr>
                    <a:spLocks/>
                  </p:cNvSpPr>
                  <p:nvPr/>
                </p:nvSpPr>
                <p:spPr bwMode="auto">
                  <a:xfrm>
                    <a:off x="11904897" y="5705215"/>
                    <a:ext cx="468285" cy="468285"/>
                  </a:xfrm>
                  <a:custGeom>
                    <a:avLst/>
                    <a:gdLst>
                      <a:gd name="T0" fmla="*/ 157 w 179"/>
                      <a:gd name="T1" fmla="*/ 100 h 179"/>
                      <a:gd name="T2" fmla="*/ 79 w 179"/>
                      <a:gd name="T3" fmla="*/ 22 h 179"/>
                      <a:gd name="T4" fmla="*/ 0 w 179"/>
                      <a:gd name="T5" fmla="*/ 22 h 179"/>
                      <a:gd name="T6" fmla="*/ 157 w 179"/>
                      <a:gd name="T7" fmla="*/ 179 h 179"/>
                      <a:gd name="T8" fmla="*/ 157 w 179"/>
                      <a:gd name="T9" fmla="*/ 100 h 179"/>
                    </a:gdLst>
                    <a:ahLst/>
                    <a:cxnLst>
                      <a:cxn ang="0">
                        <a:pos x="T0" y="T1"/>
                      </a:cxn>
                      <a:cxn ang="0">
                        <a:pos x="T2" y="T3"/>
                      </a:cxn>
                      <a:cxn ang="0">
                        <a:pos x="T4" y="T5"/>
                      </a:cxn>
                      <a:cxn ang="0">
                        <a:pos x="T6" y="T7"/>
                      </a:cxn>
                      <a:cxn ang="0">
                        <a:pos x="T8" y="T9"/>
                      </a:cxn>
                    </a:cxnLst>
                    <a:rect l="0" t="0" r="r" b="b"/>
                    <a:pathLst>
                      <a:path w="179" h="179">
                        <a:moveTo>
                          <a:pt x="157" y="100"/>
                        </a:moveTo>
                        <a:cubicBezTo>
                          <a:pt x="79" y="22"/>
                          <a:pt x="79" y="22"/>
                          <a:pt x="79" y="22"/>
                        </a:cubicBezTo>
                        <a:cubicBezTo>
                          <a:pt x="57" y="0"/>
                          <a:pt x="22" y="0"/>
                          <a:pt x="0" y="22"/>
                        </a:cubicBezTo>
                        <a:cubicBezTo>
                          <a:pt x="157" y="179"/>
                          <a:pt x="157" y="179"/>
                          <a:pt x="157" y="179"/>
                        </a:cubicBezTo>
                        <a:cubicBezTo>
                          <a:pt x="179" y="157"/>
                          <a:pt x="179" y="122"/>
                          <a:pt x="157" y="100"/>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60" name="Freeform 9"/>
                  <p:cNvSpPr>
                    <a:spLocks/>
                  </p:cNvSpPr>
                  <p:nvPr/>
                </p:nvSpPr>
                <p:spPr bwMode="auto">
                  <a:xfrm>
                    <a:off x="12266051" y="6121591"/>
                    <a:ext cx="389870" cy="387661"/>
                  </a:xfrm>
                  <a:custGeom>
                    <a:avLst/>
                    <a:gdLst>
                      <a:gd name="T0" fmla="*/ 353 w 353"/>
                      <a:gd name="T1" fmla="*/ 163 h 351"/>
                      <a:gd name="T2" fmla="*/ 163 w 353"/>
                      <a:gd name="T3" fmla="*/ 351 h 351"/>
                      <a:gd name="T4" fmla="*/ 0 w 353"/>
                      <a:gd name="T5" fmla="*/ 190 h 351"/>
                      <a:gd name="T6" fmla="*/ 189 w 353"/>
                      <a:gd name="T7" fmla="*/ 0 h 351"/>
                      <a:gd name="T8" fmla="*/ 353 w 353"/>
                      <a:gd name="T9" fmla="*/ 163 h 351"/>
                    </a:gdLst>
                    <a:ahLst/>
                    <a:cxnLst>
                      <a:cxn ang="0">
                        <a:pos x="T0" y="T1"/>
                      </a:cxn>
                      <a:cxn ang="0">
                        <a:pos x="T2" y="T3"/>
                      </a:cxn>
                      <a:cxn ang="0">
                        <a:pos x="T4" y="T5"/>
                      </a:cxn>
                      <a:cxn ang="0">
                        <a:pos x="T6" y="T7"/>
                      </a:cxn>
                      <a:cxn ang="0">
                        <a:pos x="T8" y="T9"/>
                      </a:cxn>
                    </a:cxnLst>
                    <a:rect l="0" t="0" r="r" b="b"/>
                    <a:pathLst>
                      <a:path w="353" h="351">
                        <a:moveTo>
                          <a:pt x="353" y="163"/>
                        </a:moveTo>
                        <a:lnTo>
                          <a:pt x="163" y="351"/>
                        </a:lnTo>
                        <a:lnTo>
                          <a:pt x="0" y="190"/>
                        </a:lnTo>
                        <a:lnTo>
                          <a:pt x="189" y="0"/>
                        </a:lnTo>
                        <a:lnTo>
                          <a:pt x="353" y="16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61" name="Freeform 10"/>
                  <p:cNvSpPr>
                    <a:spLocks/>
                  </p:cNvSpPr>
                  <p:nvPr/>
                </p:nvSpPr>
                <p:spPr bwMode="auto">
                  <a:xfrm>
                    <a:off x="11920359" y="5846584"/>
                    <a:ext cx="517985" cy="450614"/>
                  </a:xfrm>
                  <a:custGeom>
                    <a:avLst/>
                    <a:gdLst>
                      <a:gd name="T0" fmla="*/ 111 w 198"/>
                      <a:gd name="T1" fmla="*/ 5 h 172"/>
                      <a:gd name="T2" fmla="*/ 95 w 198"/>
                      <a:gd name="T3" fmla="*/ 5 h 172"/>
                      <a:gd name="T4" fmla="*/ 93 w 198"/>
                      <a:gd name="T5" fmla="*/ 17 h 172"/>
                      <a:gd name="T6" fmla="*/ 82 w 198"/>
                      <a:gd name="T7" fmla="*/ 5 h 172"/>
                      <a:gd name="T8" fmla="*/ 66 w 198"/>
                      <a:gd name="T9" fmla="*/ 5 h 172"/>
                      <a:gd name="T10" fmla="*/ 66 w 198"/>
                      <a:gd name="T11" fmla="*/ 21 h 172"/>
                      <a:gd name="T12" fmla="*/ 66 w 198"/>
                      <a:gd name="T13" fmla="*/ 21 h 172"/>
                      <a:gd name="T14" fmla="*/ 66 w 198"/>
                      <a:gd name="T15" fmla="*/ 21 h 172"/>
                      <a:gd name="T16" fmla="*/ 66 w 198"/>
                      <a:gd name="T17" fmla="*/ 21 h 172"/>
                      <a:gd name="T18" fmla="*/ 51 w 198"/>
                      <a:gd name="T19" fmla="*/ 5 h 172"/>
                      <a:gd name="T20" fmla="*/ 35 w 198"/>
                      <a:gd name="T21" fmla="*/ 5 h 172"/>
                      <a:gd name="T22" fmla="*/ 36 w 198"/>
                      <a:gd name="T23" fmla="*/ 21 h 172"/>
                      <a:gd name="T24" fmla="*/ 35 w 198"/>
                      <a:gd name="T25" fmla="*/ 20 h 172"/>
                      <a:gd name="T26" fmla="*/ 35 w 198"/>
                      <a:gd name="T27" fmla="*/ 20 h 172"/>
                      <a:gd name="T28" fmla="*/ 23 w 198"/>
                      <a:gd name="T29" fmla="*/ 8 h 172"/>
                      <a:gd name="T30" fmla="*/ 5 w 198"/>
                      <a:gd name="T31" fmla="*/ 7 h 172"/>
                      <a:gd name="T32" fmla="*/ 6 w 198"/>
                      <a:gd name="T33" fmla="*/ 25 h 172"/>
                      <a:gd name="T34" fmla="*/ 63 w 198"/>
                      <a:gd name="T35" fmla="*/ 82 h 172"/>
                      <a:gd name="T36" fmla="*/ 48 w 198"/>
                      <a:gd name="T37" fmla="*/ 84 h 172"/>
                      <a:gd name="T38" fmla="*/ 49 w 198"/>
                      <a:gd name="T39" fmla="*/ 102 h 172"/>
                      <a:gd name="T40" fmla="*/ 75 w 198"/>
                      <a:gd name="T41" fmla="*/ 127 h 172"/>
                      <a:gd name="T42" fmla="*/ 101 w 198"/>
                      <a:gd name="T43" fmla="*/ 154 h 172"/>
                      <a:gd name="T44" fmla="*/ 126 w 198"/>
                      <a:gd name="T45" fmla="*/ 154 h 172"/>
                      <a:gd name="T46" fmla="*/ 144 w 198"/>
                      <a:gd name="T47" fmla="*/ 172 h 172"/>
                      <a:gd name="T48" fmla="*/ 198 w 198"/>
                      <a:gd name="T49" fmla="*/ 117 h 172"/>
                      <a:gd name="T50" fmla="*/ 180 w 198"/>
                      <a:gd name="T51" fmla="*/ 99 h 172"/>
                      <a:gd name="T52" fmla="*/ 180 w 198"/>
                      <a:gd name="T53" fmla="*/ 75 h 172"/>
                      <a:gd name="T54" fmla="*/ 144 w 198"/>
                      <a:gd name="T55" fmla="*/ 38 h 172"/>
                      <a:gd name="T56" fmla="*/ 144 w 198"/>
                      <a:gd name="T57" fmla="*/ 38 h 172"/>
                      <a:gd name="T58" fmla="*/ 111 w 198"/>
                      <a:gd name="T59" fmla="*/ 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8" h="172">
                        <a:moveTo>
                          <a:pt x="111" y="5"/>
                        </a:moveTo>
                        <a:cubicBezTo>
                          <a:pt x="106" y="1"/>
                          <a:pt x="99" y="0"/>
                          <a:pt x="95" y="5"/>
                        </a:cubicBezTo>
                        <a:cubicBezTo>
                          <a:pt x="92" y="8"/>
                          <a:pt x="91" y="13"/>
                          <a:pt x="93" y="17"/>
                        </a:cubicBezTo>
                        <a:cubicBezTo>
                          <a:pt x="82" y="5"/>
                          <a:pt x="82" y="5"/>
                          <a:pt x="82" y="5"/>
                        </a:cubicBezTo>
                        <a:cubicBezTo>
                          <a:pt x="77" y="1"/>
                          <a:pt x="70" y="0"/>
                          <a:pt x="66" y="5"/>
                        </a:cubicBezTo>
                        <a:cubicBezTo>
                          <a:pt x="61" y="9"/>
                          <a:pt x="62" y="16"/>
                          <a:pt x="66" y="21"/>
                        </a:cubicBezTo>
                        <a:cubicBezTo>
                          <a:pt x="66" y="21"/>
                          <a:pt x="66" y="21"/>
                          <a:pt x="66" y="21"/>
                        </a:cubicBezTo>
                        <a:cubicBezTo>
                          <a:pt x="66" y="21"/>
                          <a:pt x="66" y="21"/>
                          <a:pt x="66" y="21"/>
                        </a:cubicBezTo>
                        <a:cubicBezTo>
                          <a:pt x="66" y="21"/>
                          <a:pt x="66" y="21"/>
                          <a:pt x="66" y="21"/>
                        </a:cubicBezTo>
                        <a:cubicBezTo>
                          <a:pt x="51" y="5"/>
                          <a:pt x="51" y="5"/>
                          <a:pt x="51" y="5"/>
                        </a:cubicBezTo>
                        <a:cubicBezTo>
                          <a:pt x="46" y="1"/>
                          <a:pt x="39" y="0"/>
                          <a:pt x="35" y="5"/>
                        </a:cubicBezTo>
                        <a:cubicBezTo>
                          <a:pt x="31" y="9"/>
                          <a:pt x="31" y="16"/>
                          <a:pt x="36" y="21"/>
                        </a:cubicBezTo>
                        <a:cubicBezTo>
                          <a:pt x="35" y="20"/>
                          <a:pt x="35" y="20"/>
                          <a:pt x="35" y="20"/>
                        </a:cubicBezTo>
                        <a:cubicBezTo>
                          <a:pt x="35" y="20"/>
                          <a:pt x="35" y="20"/>
                          <a:pt x="35" y="20"/>
                        </a:cubicBezTo>
                        <a:cubicBezTo>
                          <a:pt x="23" y="8"/>
                          <a:pt x="23" y="8"/>
                          <a:pt x="23" y="8"/>
                        </a:cubicBezTo>
                        <a:cubicBezTo>
                          <a:pt x="18" y="3"/>
                          <a:pt x="10" y="3"/>
                          <a:pt x="5" y="7"/>
                        </a:cubicBezTo>
                        <a:cubicBezTo>
                          <a:pt x="0" y="12"/>
                          <a:pt x="1" y="20"/>
                          <a:pt x="6" y="25"/>
                        </a:cubicBezTo>
                        <a:cubicBezTo>
                          <a:pt x="63" y="82"/>
                          <a:pt x="63" y="82"/>
                          <a:pt x="63" y="82"/>
                        </a:cubicBezTo>
                        <a:cubicBezTo>
                          <a:pt x="58" y="80"/>
                          <a:pt x="52" y="80"/>
                          <a:pt x="48" y="84"/>
                        </a:cubicBezTo>
                        <a:cubicBezTo>
                          <a:pt x="43" y="89"/>
                          <a:pt x="44" y="97"/>
                          <a:pt x="49" y="102"/>
                        </a:cubicBezTo>
                        <a:cubicBezTo>
                          <a:pt x="75" y="127"/>
                          <a:pt x="75" y="127"/>
                          <a:pt x="75" y="127"/>
                        </a:cubicBezTo>
                        <a:cubicBezTo>
                          <a:pt x="101" y="154"/>
                          <a:pt x="101" y="154"/>
                          <a:pt x="101" y="154"/>
                        </a:cubicBezTo>
                        <a:cubicBezTo>
                          <a:pt x="108" y="161"/>
                          <a:pt x="119" y="161"/>
                          <a:pt x="126" y="154"/>
                        </a:cubicBezTo>
                        <a:cubicBezTo>
                          <a:pt x="144" y="172"/>
                          <a:pt x="144" y="172"/>
                          <a:pt x="144" y="172"/>
                        </a:cubicBezTo>
                        <a:cubicBezTo>
                          <a:pt x="198" y="117"/>
                          <a:pt x="198" y="117"/>
                          <a:pt x="198" y="117"/>
                        </a:cubicBezTo>
                        <a:cubicBezTo>
                          <a:pt x="180" y="99"/>
                          <a:pt x="180" y="99"/>
                          <a:pt x="180" y="99"/>
                        </a:cubicBezTo>
                        <a:cubicBezTo>
                          <a:pt x="187" y="92"/>
                          <a:pt x="187" y="81"/>
                          <a:pt x="180" y="75"/>
                        </a:cubicBezTo>
                        <a:cubicBezTo>
                          <a:pt x="144" y="38"/>
                          <a:pt x="144" y="38"/>
                          <a:pt x="144" y="38"/>
                        </a:cubicBezTo>
                        <a:cubicBezTo>
                          <a:pt x="144" y="38"/>
                          <a:pt x="144" y="38"/>
                          <a:pt x="144" y="38"/>
                        </a:cubicBezTo>
                        <a:lnTo>
                          <a:pt x="111" y="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grpSp>
      </p:grpSp>
    </p:spTree>
    <p:extLst>
      <p:ext uri="{BB962C8B-B14F-4D97-AF65-F5344CB8AC3E}">
        <p14:creationId xmlns:p14="http://schemas.microsoft.com/office/powerpoint/2010/main" val="3380832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0A164282-434E-41D4-9582-783D542A7B68}" type="slidenum">
              <a:rPr/>
              <a:pPr/>
              <a:t>30</a:t>
            </a:fld>
            <a:endParaRPr dirty="0"/>
          </a:p>
        </p:txBody>
      </p:sp>
      <p:sp>
        <p:nvSpPr>
          <p:cNvPr id="2" name="Title 1"/>
          <p:cNvSpPr>
            <a:spLocks noGrp="1"/>
          </p:cNvSpPr>
          <p:nvPr>
            <p:ph type="title"/>
          </p:nvPr>
        </p:nvSpPr>
        <p:spPr/>
        <p:txBody>
          <a:bodyPr>
            <a:normAutofit/>
          </a:bodyPr>
          <a:lstStyle/>
          <a:p>
            <a:r>
              <a:rPr lang="en-US" dirty="0" smtClean="0"/>
              <a:t>Trusted globally by leading companies</a:t>
            </a:r>
            <a:endParaRPr lang="en-US" dirty="0"/>
          </a:p>
        </p:txBody>
      </p:sp>
      <p:pic>
        <p:nvPicPr>
          <p:cNvPr id="5" name="Picture 4"/>
          <p:cNvPicPr>
            <a:picLocks noChangeAspect="1"/>
          </p:cNvPicPr>
          <p:nvPr/>
        </p:nvPicPr>
        <p:blipFill>
          <a:blip r:embed="rId3"/>
          <a:stretch>
            <a:fillRect/>
          </a:stretch>
        </p:blipFill>
        <p:spPr>
          <a:xfrm>
            <a:off x="755641" y="1582957"/>
            <a:ext cx="11117596" cy="4507973"/>
          </a:xfrm>
          <a:prstGeom prst="rect">
            <a:avLst/>
          </a:prstGeom>
        </p:spPr>
      </p:pic>
    </p:spTree>
    <p:extLst>
      <p:ext uri="{BB962C8B-B14F-4D97-AF65-F5344CB8AC3E}">
        <p14:creationId xmlns:p14="http://schemas.microsoft.com/office/powerpoint/2010/main" val="18577150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4276"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786299143"/>
      </p:ext>
    </p:extLst>
  </p:cSld>
  <p:clrMapOvr>
    <a:masterClrMapping/>
  </p:clrMapOvr>
  <p:transition spd="slow">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886"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IN" dirty="0"/>
              <a:t>But cloud momentum continues to accelerate </a:t>
            </a:r>
          </a:p>
        </p:txBody>
      </p:sp>
      <p:grpSp>
        <p:nvGrpSpPr>
          <p:cNvPr id="2" name="Group 1"/>
          <p:cNvGrpSpPr/>
          <p:nvPr/>
        </p:nvGrpSpPr>
        <p:grpSpPr>
          <a:xfrm>
            <a:off x="590625" y="1401762"/>
            <a:ext cx="3721608" cy="4491038"/>
            <a:chOff x="590625" y="1401762"/>
            <a:chExt cx="3721608" cy="4491038"/>
          </a:xfrm>
        </p:grpSpPr>
        <p:sp>
          <p:nvSpPr>
            <p:cNvPr id="118" name="Rectangle 117"/>
            <p:cNvSpPr/>
            <p:nvPr/>
          </p:nvSpPr>
          <p:spPr bwMode="auto">
            <a:xfrm>
              <a:off x="590627" y="4327841"/>
              <a:ext cx="3721606" cy="156495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1440" rIns="91440" bIns="45720" numCol="1" rtlCol="0" anchor="t" anchorCtr="0" compatLnSpc="1">
              <a:prstTxWarp prst="textNoShape">
                <a:avLst/>
              </a:prstTxWarp>
              <a:noAutofit/>
            </a:bodyPr>
            <a:lstStyle/>
            <a:p>
              <a:pPr defTabSz="914050"/>
              <a:endParaRPr lang="en-IN" sz="1400" dirty="0">
                <a:solidFill>
                  <a:schemeClr val="tx2"/>
                </a:solidFill>
                <a:ea typeface="Segoe UI" panose="020B0502040204020203" pitchFamily="34" charset="0"/>
                <a:cs typeface="Segoe UI" panose="020B0502040204020203" pitchFamily="34" charset="0"/>
              </a:endParaRPr>
            </a:p>
          </p:txBody>
        </p:sp>
        <p:sp>
          <p:nvSpPr>
            <p:cNvPr id="119" name="Rectangle 118"/>
            <p:cNvSpPr/>
            <p:nvPr/>
          </p:nvSpPr>
          <p:spPr bwMode="auto">
            <a:xfrm>
              <a:off x="590627" y="1401762"/>
              <a:ext cx="3721606" cy="2926080"/>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28" tIns="64008" rIns="109728" bIns="64008" numCol="1" rtlCol="0" anchor="t" anchorCtr="0" compatLnSpc="1">
              <a:prstTxWarp prst="textNoShape">
                <a:avLst/>
              </a:prstTxWarp>
              <a:noAutofit/>
            </a:bodyPr>
            <a:lstStyle/>
            <a:p>
              <a:pPr lvl="0"/>
              <a:r>
                <a:rPr lang="en-US" sz="2400" dirty="0">
                  <a:solidFill>
                    <a:srgbClr val="FFFFFF"/>
                  </a:solidFill>
                  <a:latin typeface="Segoe UI Light"/>
                  <a:ea typeface="Segoe UI" panose="020B0502040204020203" pitchFamily="34" charset="0"/>
                  <a:cs typeface="Segoe UI" panose="020B0502040204020203" pitchFamily="34" charset="0"/>
                </a:rPr>
                <a:t>“If you’re resisting the cloud because of security concerns, </a:t>
              </a:r>
              <a:r>
                <a:rPr lang="en-US" sz="2400" dirty="0">
                  <a:solidFill>
                    <a:srgbClr val="FFFFFF"/>
                  </a:solidFill>
                  <a:latin typeface="Segoe UI Semibold" panose="020B0702040204020203" pitchFamily="34" charset="0"/>
                  <a:ea typeface="Segoe UI" panose="020B0502040204020203" pitchFamily="34" charset="0"/>
                  <a:cs typeface="Segoe UI Semibold" panose="020B0702040204020203" pitchFamily="34" charset="0"/>
                </a:rPr>
                <a:t>you’re running out of excuses.”</a:t>
              </a:r>
            </a:p>
          </p:txBody>
        </p:sp>
        <p:sp>
          <p:nvSpPr>
            <p:cNvPr id="120" name="Rectangle 119"/>
            <p:cNvSpPr/>
            <p:nvPr/>
          </p:nvSpPr>
          <p:spPr>
            <a:xfrm>
              <a:off x="590625" y="4272978"/>
              <a:ext cx="3721606" cy="54864"/>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pic>
          <p:nvPicPr>
            <p:cNvPr id="129" name="Picture 9" descr="http://logonoid.com/images/forrester-logo.png"/>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1040688" y="4645370"/>
              <a:ext cx="2821484" cy="929900"/>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4363027" y="1401762"/>
            <a:ext cx="3721608" cy="4491038"/>
            <a:chOff x="4363027" y="1401762"/>
            <a:chExt cx="3721608" cy="4491038"/>
          </a:xfrm>
        </p:grpSpPr>
        <p:sp>
          <p:nvSpPr>
            <p:cNvPr id="126" name="Rectangle 125"/>
            <p:cNvSpPr/>
            <p:nvPr/>
          </p:nvSpPr>
          <p:spPr bwMode="auto">
            <a:xfrm>
              <a:off x="4363029" y="4327841"/>
              <a:ext cx="3721606" cy="156495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1440" rIns="91440" bIns="45720" numCol="1" rtlCol="0" anchor="t" anchorCtr="0" compatLnSpc="1">
              <a:prstTxWarp prst="textNoShape">
                <a:avLst/>
              </a:prstTxWarp>
              <a:noAutofit/>
            </a:bodyPr>
            <a:lstStyle/>
            <a:p>
              <a:pPr defTabSz="914050"/>
              <a:endParaRPr lang="en-IN" sz="1400" dirty="0">
                <a:solidFill>
                  <a:schemeClr val="tx2"/>
                </a:solidFill>
                <a:ea typeface="Segoe UI" panose="020B0502040204020203" pitchFamily="34" charset="0"/>
                <a:cs typeface="Segoe UI" panose="020B0502040204020203" pitchFamily="34" charset="0"/>
              </a:endParaRPr>
            </a:p>
          </p:txBody>
        </p:sp>
        <p:sp>
          <p:nvSpPr>
            <p:cNvPr id="127" name="Rectangle 126"/>
            <p:cNvSpPr/>
            <p:nvPr/>
          </p:nvSpPr>
          <p:spPr bwMode="auto">
            <a:xfrm>
              <a:off x="4363029" y="1401762"/>
              <a:ext cx="3721606" cy="2926080"/>
            </a:xfrm>
            <a:prstGeom prst="rect">
              <a:avLst/>
            </a:prstGeom>
            <a:solidFill>
              <a:schemeClr val="accent2"/>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28" tIns="64008" rIns="109728" bIns="64008" numCol="1" rtlCol="0" anchor="t" anchorCtr="0" compatLnSpc="1">
              <a:prstTxWarp prst="textNoShape">
                <a:avLst/>
              </a:prstTxWarp>
              <a:noAutofit/>
            </a:bodyPr>
            <a:lstStyle/>
            <a:p>
              <a:pPr lvl="0"/>
              <a:r>
                <a:rPr lang="en-US" sz="2400" dirty="0">
                  <a:solidFill>
                    <a:srgbClr val="FFFFFF"/>
                  </a:solidFill>
                  <a:latin typeface="Segoe UI Light"/>
                  <a:cs typeface="Segoe UI" panose="020B0502040204020203" pitchFamily="34" charset="0"/>
                </a:rPr>
                <a:t>“The question is no longer: ‘How do I move to the cloud?’ Instead, it’s ‘Now that I’m in the cloud, how do I make sure I’ve optimized my investment and risk exposure?’”</a:t>
              </a:r>
            </a:p>
          </p:txBody>
        </p:sp>
        <p:sp>
          <p:nvSpPr>
            <p:cNvPr id="128" name="Rectangle 127"/>
            <p:cNvSpPr/>
            <p:nvPr/>
          </p:nvSpPr>
          <p:spPr>
            <a:xfrm>
              <a:off x="4363027" y="4272978"/>
              <a:ext cx="3721606" cy="54864"/>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pic>
          <p:nvPicPr>
            <p:cNvPr id="130" name="Picture 5" descr="http://t3.gstatic.com/images?q=tbn:ANd9GcRvwkWdjA-ICJsfBpp8THrO0DH8UPiDsXRZKOvy0P66dqvlrYcp"/>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5060902" y="4658070"/>
              <a:ext cx="2325860" cy="904500"/>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8135430" y="1401762"/>
            <a:ext cx="3721608" cy="4491038"/>
            <a:chOff x="8135430" y="1401762"/>
            <a:chExt cx="3721608" cy="4491038"/>
          </a:xfrm>
        </p:grpSpPr>
        <p:sp>
          <p:nvSpPr>
            <p:cNvPr id="122" name="Rectangle 121"/>
            <p:cNvSpPr/>
            <p:nvPr/>
          </p:nvSpPr>
          <p:spPr bwMode="auto">
            <a:xfrm>
              <a:off x="8135432" y="4327841"/>
              <a:ext cx="3721606" cy="156495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91440" rIns="91440" bIns="45720" numCol="1" rtlCol="0" anchor="t" anchorCtr="0" compatLnSpc="1">
              <a:prstTxWarp prst="textNoShape">
                <a:avLst/>
              </a:prstTxWarp>
              <a:noAutofit/>
            </a:bodyPr>
            <a:lstStyle/>
            <a:p>
              <a:pPr defTabSz="914050"/>
              <a:endParaRPr lang="en-IN" sz="1400" dirty="0">
                <a:solidFill>
                  <a:schemeClr val="tx2"/>
                </a:solidFill>
                <a:ea typeface="Segoe UI" panose="020B0502040204020203" pitchFamily="34" charset="0"/>
                <a:cs typeface="Segoe UI" panose="020B0502040204020203" pitchFamily="34" charset="0"/>
              </a:endParaRPr>
            </a:p>
          </p:txBody>
        </p:sp>
        <p:sp>
          <p:nvSpPr>
            <p:cNvPr id="123" name="Rectangle 122"/>
            <p:cNvSpPr/>
            <p:nvPr/>
          </p:nvSpPr>
          <p:spPr bwMode="auto">
            <a:xfrm>
              <a:off x="8135432" y="1401762"/>
              <a:ext cx="3721606" cy="2926080"/>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09728" tIns="64008" rIns="109728" bIns="64008" numCol="1" rtlCol="0" anchor="t" anchorCtr="0" compatLnSpc="1">
              <a:prstTxWarp prst="textNoShape">
                <a:avLst/>
              </a:prstTxWarp>
              <a:noAutofit/>
            </a:bodyPr>
            <a:lstStyle/>
            <a:p>
              <a:pPr lvl="0"/>
              <a:r>
                <a:rPr lang="en-US" sz="2400" dirty="0">
                  <a:solidFill>
                    <a:srgbClr val="FFFFFF"/>
                  </a:solidFill>
                  <a:latin typeface="Segoe UI Light"/>
                  <a:cs typeface="Segoe UI" panose="020B0502040204020203" pitchFamily="34" charset="0"/>
                </a:rPr>
                <a:t>“By 2020 clouds will stop being referred to as ‘public’ and ‘private’. It will simply be </a:t>
              </a:r>
              <a:r>
                <a:rPr lang="en-US" sz="2400" dirty="0">
                  <a:solidFill>
                    <a:srgbClr val="FFFFFF"/>
                  </a:solidFill>
                  <a:latin typeface="Segoe UI Light"/>
                  <a:cs typeface="Segoe UI Semibold" panose="020B0702040204020203" pitchFamily="34" charset="0"/>
                </a:rPr>
                <a:t>the way business is done </a:t>
              </a:r>
              <a:r>
                <a:rPr lang="en-US" sz="2400" dirty="0">
                  <a:solidFill>
                    <a:srgbClr val="FFFFFF"/>
                  </a:solidFill>
                  <a:latin typeface="Segoe UI Light"/>
                  <a:cs typeface="Segoe UI" panose="020B0502040204020203" pitchFamily="34" charset="0"/>
                </a:rPr>
                <a:t>and IT is provisioned.”</a:t>
              </a:r>
            </a:p>
          </p:txBody>
        </p:sp>
        <p:sp>
          <p:nvSpPr>
            <p:cNvPr id="124" name="Rectangle 123"/>
            <p:cNvSpPr/>
            <p:nvPr/>
          </p:nvSpPr>
          <p:spPr>
            <a:xfrm>
              <a:off x="8135430" y="4272978"/>
              <a:ext cx="3721606" cy="54864"/>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pic>
          <p:nvPicPr>
            <p:cNvPr id="131" name="Picture 7" descr="https://upload.wikimedia.org/wikipedia/ru/1/1b/IDC_logo.png"/>
            <p:cNvPicPr>
              <a:picLocks noChangeAspect="1" noChangeArrowheads="1"/>
            </p:cNvPicPr>
            <p:nvPr/>
          </p:nvPicPr>
          <p:blipFill rotWithShape="1">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b="36420"/>
            <a:stretch/>
          </p:blipFill>
          <p:spPr bwMode="auto">
            <a:xfrm>
              <a:off x="8491154" y="4658070"/>
              <a:ext cx="3010162" cy="904500"/>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132" name="Rectangle 131"/>
          <p:cNvSpPr/>
          <p:nvPr/>
        </p:nvSpPr>
        <p:spPr bwMode="auto">
          <a:xfrm>
            <a:off x="-1" y="5892798"/>
            <a:ext cx="12436475" cy="11017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Slide Number Placeholder 7"/>
          <p:cNvSpPr>
            <a:spLocks noGrp="1"/>
          </p:cNvSpPr>
          <p:nvPr>
            <p:ph type="sldNum" sz="quarter" idx="11"/>
          </p:nvPr>
        </p:nvSpPr>
        <p:spPr/>
        <p:txBody>
          <a:bodyPr/>
          <a:lstStyle/>
          <a:p>
            <a:fld id="{27258FFF-F925-446B-8502-81C933981705}" type="slidenum">
              <a:rPr lang="en-US" smtClean="0"/>
              <a:pPr/>
              <a:t>4</a:t>
            </a:fld>
            <a:endParaRPr lang="en-US" dirty="0"/>
          </a:p>
        </p:txBody>
      </p:sp>
    </p:spTree>
    <p:extLst>
      <p:ext uri="{BB962C8B-B14F-4D97-AF65-F5344CB8AC3E}">
        <p14:creationId xmlns:p14="http://schemas.microsoft.com/office/powerpoint/2010/main" val="390407425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ppt_x"/>
                                          </p:val>
                                        </p:tav>
                                        <p:tav tm="100000">
                                          <p:val>
                                            <p:strVal val="#ppt_x"/>
                                          </p:val>
                                        </p:tav>
                                      </p:tavLst>
                                    </p:anim>
                                    <p:anim calcmode="lin" valueType="num">
                                      <p:cBhvr additive="base">
                                        <p:cTn id="8" dur="75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ppt_x"/>
                                          </p:val>
                                        </p:tav>
                                        <p:tav tm="100000">
                                          <p:val>
                                            <p:strVal val="#ppt_x"/>
                                          </p:val>
                                        </p:tav>
                                      </p:tavLst>
                                    </p:anim>
                                    <p:anim calcmode="lin" valueType="num">
                                      <p:cBhvr additive="base">
                                        <p:cTn id="12" dur="75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750" fill="hold"/>
                                        <p:tgtEl>
                                          <p:spTgt spid="7"/>
                                        </p:tgtEl>
                                        <p:attrNameLst>
                                          <p:attrName>ppt_x</p:attrName>
                                        </p:attrNameLst>
                                      </p:cBhvr>
                                      <p:tavLst>
                                        <p:tav tm="0">
                                          <p:val>
                                            <p:strVal val="#ppt_x"/>
                                          </p:val>
                                        </p:tav>
                                        <p:tav tm="100000">
                                          <p:val>
                                            <p:strVal val="#ppt_x"/>
                                          </p:val>
                                        </p:tav>
                                      </p:tavLst>
                                    </p:anim>
                                    <p:anim calcmode="lin" valueType="num">
                                      <p:cBhvr additive="base">
                                        <p:cTn id="16" dur="75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5383"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 name="Group 3"/>
          <p:cNvGrpSpPr/>
          <p:nvPr/>
        </p:nvGrpSpPr>
        <p:grpSpPr>
          <a:xfrm>
            <a:off x="0" y="1239160"/>
            <a:ext cx="12436475" cy="3946615"/>
            <a:chOff x="0" y="1248685"/>
            <a:chExt cx="12436475" cy="3946615"/>
          </a:xfrm>
        </p:grpSpPr>
        <p:sp>
          <p:nvSpPr>
            <p:cNvPr id="32" name="Rectangle 31"/>
            <p:cNvSpPr/>
            <p:nvPr/>
          </p:nvSpPr>
          <p:spPr>
            <a:xfrm flipH="1">
              <a:off x="0" y="1249133"/>
              <a:ext cx="4480560" cy="19740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91440" bIns="91440" rtlCol="0" anchor="ctr"/>
            <a:lstStyle/>
            <a:p>
              <a:pPr algn="l" fontAlgn="auto">
                <a:spcBef>
                  <a:spcPts val="600"/>
                </a:spcBef>
              </a:pPr>
              <a:endParaRPr lang="en-US" sz="2400" dirty="0" smtClean="0">
                <a:solidFill>
                  <a:schemeClr val="bg1"/>
                </a:solidFill>
                <a:latin typeface="Segoe UI Light"/>
              </a:endParaRPr>
            </a:p>
          </p:txBody>
        </p:sp>
        <p:sp>
          <p:nvSpPr>
            <p:cNvPr id="33" name="Rectangle 32"/>
            <p:cNvSpPr/>
            <p:nvPr/>
          </p:nvSpPr>
          <p:spPr>
            <a:xfrm flipH="1">
              <a:off x="0" y="3221202"/>
              <a:ext cx="4480560" cy="19740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91440" bIns="91440" rtlCol="0" anchor="ctr"/>
            <a:lstStyle/>
            <a:p>
              <a:pPr algn="l" fontAlgn="auto">
                <a:spcBef>
                  <a:spcPts val="600"/>
                </a:spcBef>
              </a:pPr>
              <a:endParaRPr lang="en-US" sz="2400" dirty="0" smtClean="0">
                <a:solidFill>
                  <a:schemeClr val="bg1"/>
                </a:solidFill>
                <a:latin typeface="Segoe UI Light"/>
              </a:endParaRPr>
            </a:p>
          </p:txBody>
        </p:sp>
        <p:grpSp>
          <p:nvGrpSpPr>
            <p:cNvPr id="56" name="Group 55"/>
            <p:cNvGrpSpPr/>
            <p:nvPr/>
          </p:nvGrpSpPr>
          <p:grpSpPr>
            <a:xfrm>
              <a:off x="3663376" y="1248685"/>
              <a:ext cx="8773099" cy="3946614"/>
              <a:chOff x="3663376" y="1248685"/>
              <a:chExt cx="8773099" cy="3946614"/>
            </a:xfrm>
          </p:grpSpPr>
          <p:sp>
            <p:nvSpPr>
              <p:cNvPr id="47" name="Freeform 46"/>
              <p:cNvSpPr/>
              <p:nvPr/>
            </p:nvSpPr>
            <p:spPr bwMode="auto">
              <a:xfrm>
                <a:off x="3742359" y="1248685"/>
                <a:ext cx="8694116" cy="3946614"/>
              </a:xfrm>
              <a:custGeom>
                <a:avLst/>
                <a:gdLst>
                  <a:gd name="connsiteX0" fmla="*/ 1468270 w 8694116"/>
                  <a:gd name="connsiteY0" fmla="*/ 0 h 3946614"/>
                  <a:gd name="connsiteX1" fmla="*/ 8694116 w 8694116"/>
                  <a:gd name="connsiteY1" fmla="*/ 0 h 3946614"/>
                  <a:gd name="connsiteX2" fmla="*/ 8694116 w 8694116"/>
                  <a:gd name="connsiteY2" fmla="*/ 3946613 h 3946614"/>
                  <a:gd name="connsiteX3" fmla="*/ 2778692 w 8694116"/>
                  <a:gd name="connsiteY3" fmla="*/ 3946613 h 3946614"/>
                  <a:gd name="connsiteX4" fmla="*/ 2778691 w 8694116"/>
                  <a:gd name="connsiteY4" fmla="*/ 3946614 h 3946614"/>
                  <a:gd name="connsiteX5" fmla="*/ 717948 w 8694116"/>
                  <a:gd name="connsiteY5" fmla="*/ 3946614 h 3946614"/>
                  <a:gd name="connsiteX6" fmla="*/ 636226 w 8694116"/>
                  <a:gd name="connsiteY6" fmla="*/ 3861111 h 3946614"/>
                  <a:gd name="connsiteX7" fmla="*/ 0 w 8694116"/>
                  <a:gd name="connsiteY7" fmla="*/ 1973531 h 3946614"/>
                  <a:gd name="connsiteX8" fmla="*/ 636226 w 8694116"/>
                  <a:gd name="connsiteY8" fmla="*/ 85951 h 3946614"/>
                  <a:gd name="connsiteX9" fmla="*/ 718376 w 8694116"/>
                  <a:gd name="connsiteY9" fmla="*/ 1 h 3946614"/>
                  <a:gd name="connsiteX10" fmla="*/ 1468270 w 8694116"/>
                  <a:gd name="connsiteY10" fmla="*/ 1 h 394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94116" h="3946614">
                    <a:moveTo>
                      <a:pt x="1468270" y="0"/>
                    </a:moveTo>
                    <a:lnTo>
                      <a:pt x="8694116" y="0"/>
                    </a:lnTo>
                    <a:lnTo>
                      <a:pt x="8694116" y="3946613"/>
                    </a:lnTo>
                    <a:lnTo>
                      <a:pt x="2778692" y="3946613"/>
                    </a:lnTo>
                    <a:lnTo>
                      <a:pt x="2778691" y="3946614"/>
                    </a:lnTo>
                    <a:lnTo>
                      <a:pt x="717948" y="3946614"/>
                    </a:lnTo>
                    <a:lnTo>
                      <a:pt x="636226" y="3861111"/>
                    </a:lnTo>
                    <a:cubicBezTo>
                      <a:pt x="247667" y="3412449"/>
                      <a:pt x="0" y="2733457"/>
                      <a:pt x="0" y="1973531"/>
                    </a:cubicBezTo>
                    <a:cubicBezTo>
                      <a:pt x="0" y="1213605"/>
                      <a:pt x="247667" y="534614"/>
                      <a:pt x="636226" y="85951"/>
                    </a:cubicBezTo>
                    <a:lnTo>
                      <a:pt x="718376" y="1"/>
                    </a:lnTo>
                    <a:lnTo>
                      <a:pt x="1468270" y="1"/>
                    </a:lnTo>
                    <a:close/>
                  </a:path>
                </a:pathLst>
              </a:cu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Freeform 95"/>
              <p:cNvSpPr>
                <a:spLocks/>
              </p:cNvSpPr>
              <p:nvPr/>
            </p:nvSpPr>
            <p:spPr bwMode="auto">
              <a:xfrm flipH="1">
                <a:off x="8939364" y="4380885"/>
                <a:ext cx="976898" cy="66544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alpha val="10000"/>
                </a:schemeClr>
              </a:solidFill>
              <a:ln w="38100">
                <a:noFill/>
                <a:prstDash val="solid"/>
                <a:round/>
                <a:headEnd/>
                <a:tailEnd/>
              </a:ln>
              <a:extLst/>
            </p:spPr>
            <p:txBody>
              <a:bodyPr vert="horz" wrap="square" lIns="91440" tIns="45720" rIns="91440" bIns="45720" numCol="1" anchor="t" anchorCtr="0" compatLnSpc="1">
                <a:prstTxWarp prst="textNoShape">
                  <a:avLst/>
                </a:prstTxWarp>
              </a:bodyPr>
              <a:lstStyle/>
              <a:p>
                <a:pPr fontAlgn="auto">
                  <a:defRPr/>
                </a:pPr>
                <a:endParaRPr lang="en-US" sz="1800" kern="0" dirty="0" smtClean="0">
                  <a:solidFill>
                    <a:srgbClr val="505050"/>
                  </a:solidFill>
                </a:endParaRPr>
              </a:p>
            </p:txBody>
          </p:sp>
          <p:sp>
            <p:nvSpPr>
              <p:cNvPr id="82" name="Freeform 95"/>
              <p:cNvSpPr>
                <a:spLocks/>
              </p:cNvSpPr>
              <p:nvPr/>
            </p:nvSpPr>
            <p:spPr bwMode="auto">
              <a:xfrm rot="10800000" flipH="1">
                <a:off x="10234491" y="1878766"/>
                <a:ext cx="1861806" cy="126822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alpha val="10000"/>
                </a:schemeClr>
              </a:solidFill>
              <a:ln w="38100">
                <a:noFill/>
                <a:prstDash val="solid"/>
                <a:round/>
                <a:headEnd/>
                <a:tailEnd/>
              </a:ln>
              <a:extLst/>
            </p:spPr>
            <p:txBody>
              <a:bodyPr vert="horz" wrap="square" lIns="91440" tIns="45720" rIns="91440" bIns="45720" numCol="1" anchor="t" anchorCtr="0" compatLnSpc="1">
                <a:prstTxWarp prst="textNoShape">
                  <a:avLst/>
                </a:prstTxWarp>
              </a:bodyPr>
              <a:lstStyle/>
              <a:p>
                <a:pPr fontAlgn="auto">
                  <a:defRPr/>
                </a:pPr>
                <a:endParaRPr lang="en-US" sz="1800" kern="0" dirty="0" smtClean="0">
                  <a:solidFill>
                    <a:srgbClr val="505050"/>
                  </a:solidFill>
                </a:endParaRPr>
              </a:p>
            </p:txBody>
          </p:sp>
          <p:sp>
            <p:nvSpPr>
              <p:cNvPr id="46" name="Freeform 45"/>
              <p:cNvSpPr/>
              <p:nvPr/>
            </p:nvSpPr>
            <p:spPr bwMode="auto">
              <a:xfrm>
                <a:off x="3663376" y="1248685"/>
                <a:ext cx="1612833" cy="3946614"/>
              </a:xfrm>
              <a:custGeom>
                <a:avLst/>
                <a:gdLst>
                  <a:gd name="connsiteX0" fmla="*/ 718376 w 1612833"/>
                  <a:gd name="connsiteY0" fmla="*/ 1 h 3946614"/>
                  <a:gd name="connsiteX1" fmla="*/ 862939 w 1612833"/>
                  <a:gd name="connsiteY1" fmla="*/ 1 h 3946614"/>
                  <a:gd name="connsiteX2" fmla="*/ 780789 w 1612833"/>
                  <a:gd name="connsiteY2" fmla="*/ 85951 h 3946614"/>
                  <a:gd name="connsiteX3" fmla="*/ 144563 w 1612833"/>
                  <a:gd name="connsiteY3" fmla="*/ 1973531 h 3946614"/>
                  <a:gd name="connsiteX4" fmla="*/ 780789 w 1612833"/>
                  <a:gd name="connsiteY4" fmla="*/ 3861111 h 3946614"/>
                  <a:gd name="connsiteX5" fmla="*/ 862511 w 1612833"/>
                  <a:gd name="connsiteY5" fmla="*/ 3946614 h 3946614"/>
                  <a:gd name="connsiteX6" fmla="*/ 717948 w 1612833"/>
                  <a:gd name="connsiteY6" fmla="*/ 3946614 h 3946614"/>
                  <a:gd name="connsiteX7" fmla="*/ 636226 w 1612833"/>
                  <a:gd name="connsiteY7" fmla="*/ 3861111 h 3946614"/>
                  <a:gd name="connsiteX8" fmla="*/ 0 w 1612833"/>
                  <a:gd name="connsiteY8" fmla="*/ 1973531 h 3946614"/>
                  <a:gd name="connsiteX9" fmla="*/ 636226 w 1612833"/>
                  <a:gd name="connsiteY9" fmla="*/ 85951 h 3946614"/>
                  <a:gd name="connsiteX10" fmla="*/ 1468270 w 1612833"/>
                  <a:gd name="connsiteY10" fmla="*/ 0 h 3946614"/>
                  <a:gd name="connsiteX11" fmla="*/ 1612833 w 1612833"/>
                  <a:gd name="connsiteY11" fmla="*/ 0 h 3946614"/>
                  <a:gd name="connsiteX12" fmla="*/ 1612833 w 1612833"/>
                  <a:gd name="connsiteY12" fmla="*/ 1 h 3946614"/>
                  <a:gd name="connsiteX13" fmla="*/ 1468270 w 1612833"/>
                  <a:gd name="connsiteY13" fmla="*/ 1 h 394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12833" h="3946614">
                    <a:moveTo>
                      <a:pt x="718376" y="1"/>
                    </a:moveTo>
                    <a:lnTo>
                      <a:pt x="862939" y="1"/>
                    </a:lnTo>
                    <a:lnTo>
                      <a:pt x="780789" y="85951"/>
                    </a:lnTo>
                    <a:cubicBezTo>
                      <a:pt x="392230" y="534614"/>
                      <a:pt x="144563" y="1213605"/>
                      <a:pt x="144563" y="1973531"/>
                    </a:cubicBezTo>
                    <a:cubicBezTo>
                      <a:pt x="144563" y="2733457"/>
                      <a:pt x="392230" y="3412449"/>
                      <a:pt x="780789" y="3861111"/>
                    </a:cubicBezTo>
                    <a:lnTo>
                      <a:pt x="862511" y="3946614"/>
                    </a:lnTo>
                    <a:lnTo>
                      <a:pt x="717948" y="3946614"/>
                    </a:lnTo>
                    <a:lnTo>
                      <a:pt x="636226" y="3861111"/>
                    </a:lnTo>
                    <a:cubicBezTo>
                      <a:pt x="247667" y="3412449"/>
                      <a:pt x="0" y="2733457"/>
                      <a:pt x="0" y="1973531"/>
                    </a:cubicBezTo>
                    <a:cubicBezTo>
                      <a:pt x="0" y="1213605"/>
                      <a:pt x="247667" y="534614"/>
                      <a:pt x="636226" y="85951"/>
                    </a:cubicBezTo>
                    <a:close/>
                    <a:moveTo>
                      <a:pt x="1468270" y="0"/>
                    </a:moveTo>
                    <a:lnTo>
                      <a:pt x="1612833" y="0"/>
                    </a:lnTo>
                    <a:lnTo>
                      <a:pt x="1612833" y="1"/>
                    </a:lnTo>
                    <a:lnTo>
                      <a:pt x="1468270" y="1"/>
                    </a:lnTo>
                    <a:close/>
                  </a:path>
                </a:pathLst>
              </a:custGeom>
              <a:solidFill>
                <a:schemeClr val="bg1">
                  <a:alpha val="25000"/>
                </a:schemeClr>
              </a:solidFill>
            </p:spPr>
            <p:txBody>
              <a:bodyPr wrap="square" rtlCol="0" anchor="ctr">
                <a:noAutofit/>
              </a:bodyPr>
              <a:lstStyle/>
              <a:p>
                <a:pPr fontAlgn="base"/>
                <a:endParaRPr lang="en-IN" sz="2000" dirty="0" err="1">
                  <a:solidFill>
                    <a:srgbClr val="FFFFFF"/>
                  </a:solidFill>
                  <a:cs typeface="Segoe UI Light"/>
                </a:endParaRPr>
              </a:p>
            </p:txBody>
          </p:sp>
          <p:grpSp>
            <p:nvGrpSpPr>
              <p:cNvPr id="29" name="Group 28"/>
              <p:cNvGrpSpPr/>
              <p:nvPr/>
            </p:nvGrpSpPr>
            <p:grpSpPr>
              <a:xfrm>
                <a:off x="4825582" y="3568534"/>
                <a:ext cx="2295992" cy="1454709"/>
                <a:chOff x="5753179" y="3226833"/>
                <a:chExt cx="2466048" cy="1562454"/>
              </a:xfrm>
            </p:grpSpPr>
            <p:sp>
              <p:nvSpPr>
                <p:cNvPr id="68" name="Freeform 95"/>
                <p:cNvSpPr>
                  <a:spLocks/>
                </p:cNvSpPr>
                <p:nvPr/>
              </p:nvSpPr>
              <p:spPr bwMode="auto">
                <a:xfrm flipH="1">
                  <a:off x="5753179" y="3226833"/>
                  <a:ext cx="2466048" cy="1562454"/>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solidFill>
                <a:ln w="76200">
                  <a:solidFill>
                    <a:srgbClr val="EAEAEA">
                      <a:alpha val="50000"/>
                    </a:srgbClr>
                  </a:solidFill>
                  <a:prstDash val="solid"/>
                  <a:round/>
                  <a:headEnd/>
                  <a:tailEnd/>
                </a:ln>
                <a:effectLst/>
                <a:extLst/>
              </p:spPr>
              <p:txBody>
                <a:bodyPr vert="horz" wrap="square" lIns="91440" tIns="45720" rIns="91440" bIns="45720" numCol="1" anchor="t" anchorCtr="0" compatLnSpc="1">
                  <a:prstTxWarp prst="textNoShape">
                    <a:avLst/>
                  </a:prstTxWarp>
                </a:bodyPr>
                <a:lstStyle/>
                <a:p>
                  <a:pPr algn="ctr"/>
                  <a:endParaRPr lang="en-US" kern="0" dirty="0">
                    <a:solidFill>
                      <a:srgbClr val="505050"/>
                    </a:solidFill>
                  </a:endParaRPr>
                </a:p>
              </p:txBody>
            </p:sp>
            <p:sp>
              <p:nvSpPr>
                <p:cNvPr id="69" name="TextBox 68"/>
                <p:cNvSpPr txBox="1"/>
                <p:nvPr/>
              </p:nvSpPr>
              <p:spPr>
                <a:xfrm>
                  <a:off x="6337816" y="3569512"/>
                  <a:ext cx="1318257" cy="672449"/>
                </a:xfrm>
                <a:prstGeom prst="rect">
                  <a:avLst/>
                </a:prstGeom>
                <a:noFill/>
              </p:spPr>
              <p:txBody>
                <a:bodyPr wrap="none" lIns="91440" tIns="91440" rIns="91440" bIns="91440" rtlCol="0" anchor="ctr">
                  <a:noAutofit/>
                </a:bodyPr>
                <a:lstStyle/>
                <a:p>
                  <a:pPr algn="ctr" fontAlgn="base"/>
                  <a:r>
                    <a:rPr lang="en-US" sz="1600" b="1" dirty="0" smtClean="0">
                      <a:solidFill>
                        <a:schemeClr val="accent3"/>
                      </a:solidFill>
                    </a:rPr>
                    <a:t>1.2 </a:t>
                  </a:r>
                  <a:r>
                    <a:rPr lang="en-US" sz="1600" b="1" dirty="0">
                      <a:solidFill>
                        <a:schemeClr val="accent3"/>
                      </a:solidFill>
                    </a:rPr>
                    <a:t>b</a:t>
                  </a:r>
                  <a:r>
                    <a:rPr lang="en-US" sz="1600" b="1" dirty="0" smtClean="0">
                      <a:solidFill>
                        <a:schemeClr val="accent3"/>
                      </a:solidFill>
                    </a:rPr>
                    <a:t>illion </a:t>
                  </a:r>
                  <a:endParaRPr lang="en-US" sz="1600" b="1" dirty="0">
                    <a:solidFill>
                      <a:schemeClr val="accent3"/>
                    </a:solidFill>
                  </a:endParaRPr>
                </a:p>
                <a:p>
                  <a:pPr algn="ctr" fontAlgn="base"/>
                  <a:r>
                    <a:rPr lang="en-US" sz="1100" dirty="0" smtClean="0">
                      <a:solidFill>
                        <a:schemeClr val="tx2"/>
                      </a:solidFill>
                    </a:rPr>
                    <a:t>worldwide users</a:t>
                  </a:r>
                  <a:r>
                    <a:rPr lang="en-US" sz="1100" baseline="30000" dirty="0" smtClean="0">
                      <a:solidFill>
                        <a:schemeClr val="tx2"/>
                      </a:solidFill>
                    </a:rPr>
                    <a:t>2</a:t>
                  </a:r>
                  <a:endParaRPr lang="en-US" sz="1100" baseline="30000" dirty="0">
                    <a:solidFill>
                      <a:schemeClr val="tx2"/>
                    </a:solidFill>
                  </a:endParaRPr>
                </a:p>
              </p:txBody>
            </p:sp>
            <p:pic>
              <p:nvPicPr>
                <p:cNvPr id="73" name="Picture 2" descr="http://www.messageops.com/wp-content/uploads/2013/12/Office365logoOrange_Web.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88978" y="4390080"/>
                  <a:ext cx="1167198" cy="257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9877873" y="1392734"/>
                <a:ext cx="1806584" cy="1164291"/>
                <a:chOff x="9977036" y="1810251"/>
                <a:chExt cx="1806584" cy="1164291"/>
              </a:xfrm>
            </p:grpSpPr>
            <p:sp>
              <p:nvSpPr>
                <p:cNvPr id="91" name="Freeform 95"/>
                <p:cNvSpPr>
                  <a:spLocks/>
                </p:cNvSpPr>
                <p:nvPr/>
              </p:nvSpPr>
              <p:spPr bwMode="auto">
                <a:xfrm flipH="1">
                  <a:off x="9977036" y="1810251"/>
                  <a:ext cx="1806584" cy="116429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solidFill>
                <a:ln w="76200">
                  <a:solidFill>
                    <a:srgbClr val="EAEAEA">
                      <a:alpha val="50000"/>
                    </a:srgbClr>
                  </a:solidFill>
                  <a:prstDash val="solid"/>
                  <a:round/>
                  <a:headEnd/>
                  <a:tailEnd/>
                </a:ln>
                <a:effectLst/>
                <a:extLst/>
              </p:spPr>
              <p:txBody>
                <a:bodyPr vert="horz" wrap="square" lIns="91440" tIns="45720" rIns="91440" bIns="45720" numCol="1" anchor="t" anchorCtr="0" compatLnSpc="1">
                  <a:prstTxWarp prst="textNoShape">
                    <a:avLst/>
                  </a:prstTxWarp>
                </a:bodyPr>
                <a:lstStyle/>
                <a:p>
                  <a:pPr algn="ctr"/>
                  <a:endParaRPr lang="en-US" kern="0" dirty="0">
                    <a:solidFill>
                      <a:srgbClr val="505050"/>
                    </a:solidFill>
                  </a:endParaRPr>
                </a:p>
              </p:txBody>
            </p:sp>
            <p:pic>
              <p:nvPicPr>
                <p:cNvPr id="104" name="Picture 10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558810" y="2596494"/>
                  <a:ext cx="643038" cy="284222"/>
                </a:xfrm>
                <a:prstGeom prst="rect">
                  <a:avLst/>
                </a:prstGeom>
              </p:spPr>
            </p:pic>
            <p:sp>
              <p:nvSpPr>
                <p:cNvPr id="92" name="TextBox 91"/>
                <p:cNvSpPr txBox="1"/>
                <p:nvPr/>
              </p:nvSpPr>
              <p:spPr>
                <a:xfrm>
                  <a:off x="10274045" y="2030974"/>
                  <a:ext cx="1414437" cy="664755"/>
                </a:xfrm>
                <a:prstGeom prst="rect">
                  <a:avLst/>
                </a:prstGeom>
                <a:noFill/>
              </p:spPr>
              <p:txBody>
                <a:bodyPr wrap="none" lIns="91440" tIns="91440" rIns="91440" bIns="91440" rtlCol="0">
                  <a:noAutofit/>
                </a:bodyPr>
                <a:lstStyle/>
                <a:p>
                  <a:pPr algn="ctr" fontAlgn="base"/>
                  <a:r>
                    <a:rPr lang="en-US" sz="1600" b="1" dirty="0" smtClean="0">
                      <a:solidFill>
                        <a:schemeClr val="accent3"/>
                      </a:solidFill>
                    </a:rPr>
                    <a:t>300</a:t>
                  </a:r>
                  <a:r>
                    <a:rPr lang="en-US" sz="1600" b="1" dirty="0">
                      <a:solidFill>
                        <a:schemeClr val="accent3"/>
                      </a:solidFill>
                    </a:rPr>
                    <a:t>+ million </a:t>
                  </a:r>
                </a:p>
                <a:p>
                  <a:pPr algn="ctr" fontAlgn="base"/>
                  <a:r>
                    <a:rPr lang="en-US" sz="1050" dirty="0">
                      <a:solidFill>
                        <a:schemeClr val="tx2"/>
                      </a:solidFill>
                    </a:rPr>
                    <a:t>users per </a:t>
                  </a:r>
                  <a:r>
                    <a:rPr lang="en-US" sz="1050" dirty="0" smtClean="0">
                      <a:solidFill>
                        <a:schemeClr val="tx2"/>
                      </a:solidFill>
                    </a:rPr>
                    <a:t>month</a:t>
                  </a:r>
                  <a:r>
                    <a:rPr lang="en-US" sz="1050" baseline="30000" dirty="0" smtClean="0">
                      <a:solidFill>
                        <a:schemeClr val="tx2"/>
                      </a:solidFill>
                    </a:rPr>
                    <a:t>5</a:t>
                  </a:r>
                  <a:endParaRPr lang="en-US" sz="1050" baseline="30000" dirty="0">
                    <a:solidFill>
                      <a:schemeClr val="tx2"/>
                    </a:solidFill>
                  </a:endParaRPr>
                </a:p>
              </p:txBody>
            </p:sp>
          </p:grpSp>
          <p:grpSp>
            <p:nvGrpSpPr>
              <p:cNvPr id="31" name="Group 30"/>
              <p:cNvGrpSpPr/>
              <p:nvPr/>
            </p:nvGrpSpPr>
            <p:grpSpPr>
              <a:xfrm>
                <a:off x="7496249" y="3788234"/>
                <a:ext cx="1827813" cy="1264885"/>
                <a:chOff x="8522906" y="3663576"/>
                <a:chExt cx="1827813" cy="1264885"/>
              </a:xfrm>
            </p:grpSpPr>
            <p:sp>
              <p:nvSpPr>
                <p:cNvPr id="97" name="Freeform 95"/>
                <p:cNvSpPr>
                  <a:spLocks/>
                </p:cNvSpPr>
                <p:nvPr/>
              </p:nvSpPr>
              <p:spPr bwMode="auto">
                <a:xfrm flipH="1">
                  <a:off x="8522906" y="3663576"/>
                  <a:ext cx="1827813" cy="126488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solidFill>
                <a:ln w="76200">
                  <a:solidFill>
                    <a:srgbClr val="EAEAEA">
                      <a:alpha val="50000"/>
                    </a:srgbClr>
                  </a:solidFill>
                  <a:prstDash val="solid"/>
                  <a:round/>
                  <a:headEnd/>
                  <a:tailEnd/>
                </a:ln>
                <a:effectLst/>
                <a:extLst/>
              </p:spPr>
              <p:txBody>
                <a:bodyPr vert="horz" wrap="square" lIns="91440" tIns="45720" rIns="91440" bIns="45720" numCol="1" anchor="t" anchorCtr="0" compatLnSpc="1">
                  <a:prstTxWarp prst="textNoShape">
                    <a:avLst/>
                  </a:prstTxWarp>
                </a:bodyPr>
                <a:lstStyle/>
                <a:p>
                  <a:pPr algn="ctr"/>
                  <a:endParaRPr lang="en-US" kern="0" dirty="0">
                    <a:solidFill>
                      <a:srgbClr val="505050"/>
                    </a:solidFill>
                  </a:endParaRPr>
                </a:p>
              </p:txBody>
            </p:sp>
            <p:sp>
              <p:nvSpPr>
                <p:cNvPr id="98" name="TextBox 97"/>
                <p:cNvSpPr txBox="1"/>
                <p:nvPr/>
              </p:nvSpPr>
              <p:spPr>
                <a:xfrm>
                  <a:off x="8774542" y="3905737"/>
                  <a:ext cx="1449903" cy="664755"/>
                </a:xfrm>
                <a:prstGeom prst="rect">
                  <a:avLst/>
                </a:prstGeom>
                <a:noFill/>
              </p:spPr>
              <p:txBody>
                <a:bodyPr wrap="none" lIns="91440" tIns="91440" rIns="91440" bIns="91440" rtlCol="0" anchor="ctr">
                  <a:noAutofit/>
                </a:bodyPr>
                <a:lstStyle/>
                <a:p>
                  <a:pPr algn="ctr" fontAlgn="base"/>
                  <a:r>
                    <a:rPr lang="en-US" sz="1600" b="1" dirty="0" smtClean="0">
                      <a:solidFill>
                        <a:schemeClr val="accent3"/>
                      </a:solidFill>
                    </a:rPr>
                    <a:t>48 </a:t>
                  </a:r>
                  <a:r>
                    <a:rPr lang="en-US" sz="1600" b="1" dirty="0">
                      <a:solidFill>
                        <a:schemeClr val="accent3"/>
                      </a:solidFill>
                    </a:rPr>
                    <a:t>million </a:t>
                  </a:r>
                </a:p>
                <a:p>
                  <a:pPr algn="ctr" fontAlgn="base"/>
                  <a:r>
                    <a:rPr lang="en-US" sz="1050" dirty="0" smtClean="0">
                      <a:solidFill>
                        <a:schemeClr val="tx2"/>
                      </a:solidFill>
                    </a:rPr>
                    <a:t>members </a:t>
                  </a:r>
                  <a:r>
                    <a:rPr lang="en-US" sz="1050" dirty="0">
                      <a:solidFill>
                        <a:schemeClr val="tx2"/>
                      </a:solidFill>
                    </a:rPr>
                    <a:t>in </a:t>
                  </a:r>
                  <a:r>
                    <a:rPr lang="en-US" sz="1050" dirty="0" smtClean="0">
                      <a:solidFill>
                        <a:schemeClr val="tx2"/>
                      </a:solidFill>
                    </a:rPr>
                    <a:t>57 countries</a:t>
                  </a:r>
                  <a:r>
                    <a:rPr lang="en-US" sz="1050" baseline="30000" dirty="0" smtClean="0">
                      <a:solidFill>
                        <a:schemeClr val="tx2"/>
                      </a:solidFill>
                    </a:rPr>
                    <a:t>4</a:t>
                  </a:r>
                  <a:endParaRPr lang="en-US" sz="1050" baseline="30000" dirty="0">
                    <a:solidFill>
                      <a:schemeClr val="tx2"/>
                    </a:solidFill>
                  </a:endParaRPr>
                </a:p>
              </p:txBody>
            </p:sp>
            <p:pic>
              <p:nvPicPr>
                <p:cNvPr id="16" name="Picture 1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89659" y="4529392"/>
                  <a:ext cx="894306" cy="315077"/>
                </a:xfrm>
                <a:prstGeom prst="rect">
                  <a:avLst/>
                </a:prstGeom>
                <a:solidFill>
                  <a:schemeClr val="bg1"/>
                </a:solidFill>
              </p:spPr>
            </p:pic>
          </p:grpSp>
          <p:grpSp>
            <p:nvGrpSpPr>
              <p:cNvPr id="27" name="Group 26"/>
              <p:cNvGrpSpPr/>
              <p:nvPr/>
            </p:nvGrpSpPr>
            <p:grpSpPr>
              <a:xfrm>
                <a:off x="4089971" y="1784844"/>
                <a:ext cx="2383778" cy="1606210"/>
                <a:chOff x="3961892" y="1768551"/>
                <a:chExt cx="2383778" cy="1606210"/>
              </a:xfrm>
            </p:grpSpPr>
            <p:sp>
              <p:nvSpPr>
                <p:cNvPr id="74" name="Freeform 95"/>
                <p:cNvSpPr>
                  <a:spLocks/>
                </p:cNvSpPr>
                <p:nvPr/>
              </p:nvSpPr>
              <p:spPr bwMode="auto">
                <a:xfrm flipH="1">
                  <a:off x="3961892" y="1768551"/>
                  <a:ext cx="2357975" cy="160621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solidFill>
                <a:ln w="76200">
                  <a:solidFill>
                    <a:srgbClr val="EAEAEA">
                      <a:alpha val="50000"/>
                    </a:srgbClr>
                  </a:solidFill>
                  <a:prstDash val="solid"/>
                  <a:round/>
                  <a:headEnd/>
                  <a:tailEnd/>
                </a:ln>
                <a:effectLst/>
                <a:extLst/>
              </p:spPr>
              <p:txBody>
                <a:bodyPr vert="horz" wrap="square" lIns="91440" tIns="45720" rIns="91440" bIns="45720" numCol="1" anchor="t" anchorCtr="0" compatLnSpc="1">
                  <a:prstTxWarp prst="textNoShape">
                    <a:avLst/>
                  </a:prstTxWarp>
                </a:bodyPr>
                <a:lstStyle/>
                <a:p>
                  <a:pPr algn="ctr"/>
                  <a:endParaRPr lang="en-US" kern="0" dirty="0">
                    <a:solidFill>
                      <a:srgbClr val="505050"/>
                    </a:solidFill>
                  </a:endParaRPr>
                </a:p>
              </p:txBody>
            </p:sp>
            <p:sp>
              <p:nvSpPr>
                <p:cNvPr id="76" name="TextBox 75"/>
                <p:cNvSpPr txBox="1"/>
                <p:nvPr/>
              </p:nvSpPr>
              <p:spPr>
                <a:xfrm>
                  <a:off x="4004751" y="2122329"/>
                  <a:ext cx="2340919" cy="818643"/>
                </a:xfrm>
                <a:prstGeom prst="rect">
                  <a:avLst/>
                </a:prstGeom>
                <a:noFill/>
              </p:spPr>
              <p:txBody>
                <a:bodyPr wrap="square" lIns="91440" tIns="91440" rIns="91440" bIns="91440" rtlCol="0" anchor="ctr">
                  <a:noAutofit/>
                </a:bodyPr>
                <a:lstStyle/>
                <a:p>
                  <a:pPr algn="ctr" fontAlgn="base"/>
                  <a:r>
                    <a:rPr lang="en-US" sz="1600" b="1" dirty="0">
                      <a:solidFill>
                        <a:schemeClr val="accent3"/>
                      </a:solidFill>
                    </a:rPr>
                    <a:t>57% </a:t>
                  </a:r>
                </a:p>
                <a:p>
                  <a:pPr algn="ctr" fontAlgn="base"/>
                  <a:r>
                    <a:rPr lang="en-US" sz="1050" dirty="0">
                      <a:solidFill>
                        <a:schemeClr val="tx2"/>
                      </a:solidFill>
                    </a:rPr>
                    <a:t>of Fortune 500</a:t>
                  </a:r>
                  <a:r>
                    <a:rPr lang="en-US" sz="1050" baseline="30000" dirty="0">
                      <a:solidFill>
                        <a:schemeClr val="tx2"/>
                      </a:solidFill>
                    </a:rPr>
                    <a:t>4</a:t>
                  </a:r>
                </a:p>
                <a:p>
                  <a:pPr algn="ctr" fontAlgn="base"/>
                  <a:r>
                    <a:rPr lang="en-US" sz="1050" dirty="0">
                      <a:solidFill>
                        <a:schemeClr val="tx2"/>
                      </a:solidFill>
                    </a:rPr>
                    <a:t>10,000 new subscribers </a:t>
                  </a:r>
                  <a:r>
                    <a:rPr lang="en-US" sz="1050" dirty="0" smtClean="0">
                      <a:solidFill>
                        <a:schemeClr val="tx2"/>
                      </a:solidFill>
                    </a:rPr>
                    <a:t>per week</a:t>
                  </a:r>
                  <a:r>
                    <a:rPr lang="en-US" sz="1050" baseline="30000" dirty="0" smtClean="0">
                      <a:solidFill>
                        <a:schemeClr val="tx2"/>
                      </a:solidFill>
                    </a:rPr>
                    <a:t>2</a:t>
                  </a:r>
                  <a:endParaRPr lang="en-US" sz="1050" baseline="30000" dirty="0">
                    <a:solidFill>
                      <a:schemeClr val="tx2"/>
                    </a:solidFill>
                  </a:endParaRPr>
                </a:p>
              </p:txBody>
            </p:sp>
            <p:pic>
              <p:nvPicPr>
                <p:cNvPr id="19" name="Picture 1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37602" y="2855402"/>
                  <a:ext cx="1614624" cy="371429"/>
                </a:xfrm>
                <a:prstGeom prst="rect">
                  <a:avLst/>
                </a:prstGeom>
              </p:spPr>
            </p:pic>
          </p:grpSp>
          <p:grpSp>
            <p:nvGrpSpPr>
              <p:cNvPr id="26" name="Group 25"/>
              <p:cNvGrpSpPr/>
              <p:nvPr/>
            </p:nvGrpSpPr>
            <p:grpSpPr>
              <a:xfrm>
                <a:off x="6655875" y="1373142"/>
                <a:ext cx="2077612" cy="1344707"/>
                <a:chOff x="6492940" y="1791032"/>
                <a:chExt cx="2077612" cy="1344707"/>
              </a:xfrm>
            </p:grpSpPr>
            <p:sp>
              <p:nvSpPr>
                <p:cNvPr id="52" name="Freeform 95"/>
                <p:cNvSpPr>
                  <a:spLocks/>
                </p:cNvSpPr>
                <p:nvPr/>
              </p:nvSpPr>
              <p:spPr bwMode="auto">
                <a:xfrm flipH="1">
                  <a:off x="6492940" y="1791032"/>
                  <a:ext cx="2077612" cy="1344707"/>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solidFill>
                <a:ln w="76200">
                  <a:solidFill>
                    <a:srgbClr val="EAEAEA">
                      <a:alpha val="50000"/>
                    </a:srgbClr>
                  </a:solidFill>
                  <a:prstDash val="solid"/>
                  <a:round/>
                  <a:headEnd/>
                  <a:tailEnd/>
                </a:ln>
                <a:effectLst/>
                <a:extLst/>
              </p:spPr>
              <p:txBody>
                <a:bodyPr vert="horz" wrap="square" lIns="91440" tIns="45720" rIns="91440" bIns="45720" numCol="1" anchor="t" anchorCtr="0" compatLnSpc="1">
                  <a:prstTxWarp prst="textNoShape">
                    <a:avLst/>
                  </a:prstTxWarp>
                </a:bodyPr>
                <a:lstStyle/>
                <a:p>
                  <a:pPr algn="ctr"/>
                  <a:endParaRPr lang="en-US" kern="0" dirty="0">
                    <a:solidFill>
                      <a:srgbClr val="505050"/>
                    </a:solidFill>
                  </a:endParaRPr>
                </a:p>
              </p:txBody>
            </p:sp>
            <p:sp>
              <p:nvSpPr>
                <p:cNvPr id="2" name="TextBox 1"/>
                <p:cNvSpPr txBox="1"/>
                <p:nvPr/>
              </p:nvSpPr>
              <p:spPr>
                <a:xfrm>
                  <a:off x="6938668" y="2102426"/>
                  <a:ext cx="1233297" cy="672449"/>
                </a:xfrm>
                <a:prstGeom prst="rect">
                  <a:avLst/>
                </a:prstGeom>
                <a:noFill/>
              </p:spPr>
              <p:txBody>
                <a:bodyPr wrap="none" lIns="91440" tIns="91440" rIns="91440" bIns="91440" rtlCol="0" anchor="ctr">
                  <a:noAutofit/>
                </a:bodyPr>
                <a:lstStyle/>
                <a:p>
                  <a:pPr algn="ctr" fontAlgn="base"/>
                  <a:r>
                    <a:rPr lang="en-US" sz="1600" b="1" dirty="0">
                      <a:solidFill>
                        <a:schemeClr val="accent3"/>
                      </a:solidFill>
                    </a:rPr>
                    <a:t>3.5 million </a:t>
                  </a:r>
                </a:p>
                <a:p>
                  <a:pPr algn="ctr" fontAlgn="base"/>
                  <a:r>
                    <a:rPr lang="en-US" sz="1100" dirty="0">
                      <a:solidFill>
                        <a:schemeClr val="tx2"/>
                      </a:solidFill>
                    </a:rPr>
                    <a:t>active </a:t>
                  </a:r>
                  <a:r>
                    <a:rPr lang="en-US" sz="1100" dirty="0" smtClean="0">
                      <a:solidFill>
                        <a:schemeClr val="tx2"/>
                      </a:solidFill>
                    </a:rPr>
                    <a:t>users</a:t>
                  </a:r>
                  <a:r>
                    <a:rPr lang="en-US" sz="1100" baseline="30000" dirty="0" smtClean="0">
                      <a:solidFill>
                        <a:schemeClr val="tx2"/>
                      </a:solidFill>
                    </a:rPr>
                    <a:t>4</a:t>
                  </a:r>
                  <a:endParaRPr lang="en-US" sz="1100" baseline="30000" dirty="0">
                    <a:solidFill>
                      <a:schemeClr val="tx2"/>
                    </a:solidFill>
                  </a:endParaRPr>
                </a:p>
              </p:txBody>
            </p:sp>
            <p:grpSp>
              <p:nvGrpSpPr>
                <p:cNvPr id="22" name="Group 21"/>
                <p:cNvGrpSpPr/>
                <p:nvPr/>
              </p:nvGrpSpPr>
              <p:grpSpPr>
                <a:xfrm>
                  <a:off x="6609675" y="2726286"/>
                  <a:ext cx="1817923" cy="169277"/>
                  <a:chOff x="6586586" y="2726286"/>
                  <a:chExt cx="1817923" cy="169277"/>
                </a:xfrm>
              </p:grpSpPr>
              <p:sp>
                <p:nvSpPr>
                  <p:cNvPr id="89" name="TextBox 88"/>
                  <p:cNvSpPr txBox="1"/>
                  <p:nvPr/>
                </p:nvSpPr>
                <p:spPr>
                  <a:xfrm>
                    <a:off x="7997346" y="2726286"/>
                    <a:ext cx="407163" cy="169277"/>
                  </a:xfrm>
                  <a:prstGeom prst="rect">
                    <a:avLst/>
                  </a:prstGeom>
                  <a:noFill/>
                </p:spPr>
                <p:txBody>
                  <a:bodyPr wrap="none" lIns="0" tIns="0" rIns="0" bIns="0" rtlCol="0">
                    <a:spAutoFit/>
                  </a:bodyPr>
                  <a:lstStyle/>
                  <a:p>
                    <a:pPr algn="r" fontAlgn="base"/>
                    <a:r>
                      <a:rPr lang="en-US" sz="1100" dirty="0">
                        <a:solidFill>
                          <a:srgbClr val="002392"/>
                        </a:solidFill>
                      </a:rPr>
                      <a:t>Online</a:t>
                    </a:r>
                  </a:p>
                </p:txBody>
              </p:sp>
              <p:pic>
                <p:nvPicPr>
                  <p:cNvPr id="21" name="Picture 20"/>
                  <p:cNvPicPr>
                    <a:picLocks noChangeAspect="1"/>
                  </p:cNvPicPr>
                  <p:nvPr/>
                </p:nvPicPr>
                <p:blipFill>
                  <a:blip r:embed="rId11"/>
                  <a:stretch>
                    <a:fillRect/>
                  </a:stretch>
                </p:blipFill>
                <p:spPr>
                  <a:xfrm>
                    <a:off x="6586586" y="2726286"/>
                    <a:ext cx="1405092" cy="162863"/>
                  </a:xfrm>
                  <a:prstGeom prst="rect">
                    <a:avLst/>
                  </a:prstGeom>
                </p:spPr>
              </p:pic>
            </p:grpSp>
          </p:grpSp>
          <p:grpSp>
            <p:nvGrpSpPr>
              <p:cNvPr id="25" name="Group 24"/>
              <p:cNvGrpSpPr/>
              <p:nvPr/>
            </p:nvGrpSpPr>
            <p:grpSpPr>
              <a:xfrm>
                <a:off x="8438034" y="2449997"/>
                <a:ext cx="1827813" cy="1264885"/>
                <a:chOff x="8297091" y="2365817"/>
                <a:chExt cx="1827813" cy="1264885"/>
              </a:xfrm>
            </p:grpSpPr>
            <p:sp>
              <p:nvSpPr>
                <p:cNvPr id="79" name="Freeform 95"/>
                <p:cNvSpPr>
                  <a:spLocks/>
                </p:cNvSpPr>
                <p:nvPr/>
              </p:nvSpPr>
              <p:spPr bwMode="auto">
                <a:xfrm flipH="1">
                  <a:off x="8297091" y="2365817"/>
                  <a:ext cx="1827813" cy="126488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solidFill>
                <a:ln w="76200">
                  <a:solidFill>
                    <a:srgbClr val="EAEAEA">
                      <a:alpha val="50000"/>
                    </a:srgbClr>
                  </a:solidFill>
                  <a:prstDash val="solid"/>
                  <a:round/>
                  <a:headEnd/>
                  <a:tailEnd/>
                </a:ln>
                <a:effectLst/>
                <a:extLst/>
              </p:spPr>
              <p:txBody>
                <a:bodyPr vert="horz" wrap="square" lIns="91440" tIns="45720" rIns="91440" bIns="45720" numCol="1" anchor="t" anchorCtr="0" compatLnSpc="1">
                  <a:prstTxWarp prst="textNoShape">
                    <a:avLst/>
                  </a:prstTxWarp>
                </a:bodyPr>
                <a:lstStyle/>
                <a:p>
                  <a:pPr algn="ctr"/>
                  <a:endParaRPr lang="en-US" kern="0" dirty="0">
                    <a:solidFill>
                      <a:srgbClr val="505050"/>
                    </a:solidFill>
                  </a:endParaRPr>
                </a:p>
              </p:txBody>
            </p:sp>
            <p:sp>
              <p:nvSpPr>
                <p:cNvPr id="80" name="TextBox 79"/>
                <p:cNvSpPr txBox="1"/>
                <p:nvPr/>
              </p:nvSpPr>
              <p:spPr>
                <a:xfrm>
                  <a:off x="8479773" y="2587016"/>
                  <a:ext cx="1583692" cy="818643"/>
                </a:xfrm>
                <a:prstGeom prst="rect">
                  <a:avLst/>
                </a:prstGeom>
                <a:noFill/>
              </p:spPr>
              <p:txBody>
                <a:bodyPr wrap="square" lIns="91440" tIns="91440" rIns="91440" bIns="91440" rtlCol="0">
                  <a:noAutofit/>
                </a:bodyPr>
                <a:lstStyle/>
                <a:p>
                  <a:pPr algn="ctr" fontAlgn="base"/>
                  <a:r>
                    <a:rPr lang="en-US" sz="1600" b="1" dirty="0">
                      <a:solidFill>
                        <a:schemeClr val="accent3"/>
                      </a:solidFill>
                    </a:rPr>
                    <a:t>5.5+ billion </a:t>
                  </a:r>
                </a:p>
                <a:p>
                  <a:pPr algn="ctr" fontAlgn="base"/>
                  <a:r>
                    <a:rPr lang="en-US" sz="1050" dirty="0">
                      <a:solidFill>
                        <a:schemeClr val="tx2"/>
                      </a:solidFill>
                    </a:rPr>
                    <a:t>worldwide </a:t>
                  </a:r>
                  <a:r>
                    <a:rPr lang="en-US" sz="1050" dirty="0" smtClean="0">
                      <a:solidFill>
                        <a:schemeClr val="tx2"/>
                      </a:solidFill>
                    </a:rPr>
                    <a:t>queries</a:t>
                  </a:r>
                  <a:br>
                    <a:rPr lang="en-US" sz="1050" dirty="0" smtClean="0">
                      <a:solidFill>
                        <a:schemeClr val="tx2"/>
                      </a:solidFill>
                    </a:rPr>
                  </a:br>
                  <a:r>
                    <a:rPr lang="en-US" sz="1050" dirty="0" smtClean="0">
                      <a:solidFill>
                        <a:schemeClr val="tx2"/>
                      </a:solidFill>
                    </a:rPr>
                    <a:t>each month</a:t>
                  </a:r>
                  <a:r>
                    <a:rPr lang="en-US" sz="1050" baseline="30000" dirty="0" smtClean="0">
                      <a:solidFill>
                        <a:schemeClr val="tx2"/>
                      </a:solidFill>
                    </a:rPr>
                    <a:t>3</a:t>
                  </a:r>
                  <a:endParaRPr lang="en-US" sz="1050" baseline="30000" dirty="0">
                    <a:solidFill>
                      <a:schemeClr val="tx2"/>
                    </a:solidFill>
                  </a:endParaRPr>
                </a:p>
              </p:txBody>
            </p:sp>
            <p:pic>
              <p:nvPicPr>
                <p:cNvPr id="24" name="Picture 23"/>
                <p:cNvPicPr>
                  <a:picLocks noChangeAspect="1"/>
                </p:cNvPicPr>
                <p:nvPr/>
              </p:nvPicPr>
              <p:blipFill>
                <a:blip r:embed="rId12"/>
                <a:stretch>
                  <a:fillRect/>
                </a:stretch>
              </p:blipFill>
              <p:spPr>
                <a:xfrm>
                  <a:off x="8918057" y="3302906"/>
                  <a:ext cx="647388" cy="250251"/>
                </a:xfrm>
                <a:prstGeom prst="rect">
                  <a:avLst/>
                </a:prstGeom>
              </p:spPr>
            </p:pic>
          </p:grpSp>
          <p:grpSp>
            <p:nvGrpSpPr>
              <p:cNvPr id="42" name="Group 41"/>
              <p:cNvGrpSpPr/>
              <p:nvPr/>
            </p:nvGrpSpPr>
            <p:grpSpPr>
              <a:xfrm>
                <a:off x="10141999" y="3730771"/>
                <a:ext cx="1921372" cy="1215521"/>
                <a:chOff x="10197653" y="3100203"/>
                <a:chExt cx="1921372" cy="1215521"/>
              </a:xfrm>
            </p:grpSpPr>
            <p:sp>
              <p:nvSpPr>
                <p:cNvPr id="85" name="Freeform 95"/>
                <p:cNvSpPr>
                  <a:spLocks/>
                </p:cNvSpPr>
                <p:nvPr/>
              </p:nvSpPr>
              <p:spPr bwMode="auto">
                <a:xfrm flipH="1">
                  <a:off x="10197653" y="3100203"/>
                  <a:ext cx="1895167" cy="121552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solidFill>
                <a:ln w="76200">
                  <a:solidFill>
                    <a:srgbClr val="EAEAEA">
                      <a:alpha val="50000"/>
                    </a:srgbClr>
                  </a:solidFill>
                  <a:prstDash val="solid"/>
                  <a:round/>
                  <a:headEnd/>
                  <a:tailEnd/>
                </a:ln>
                <a:effectLst/>
                <a:extLst/>
              </p:spPr>
              <p:txBody>
                <a:bodyPr vert="horz" wrap="square" lIns="91440" tIns="45720" rIns="91440" bIns="45720" numCol="1" anchor="t" anchorCtr="0" compatLnSpc="1">
                  <a:prstTxWarp prst="textNoShape">
                    <a:avLst/>
                  </a:prstTxWarp>
                </a:bodyPr>
                <a:lstStyle/>
                <a:p>
                  <a:pPr algn="ctr"/>
                  <a:endParaRPr lang="en-US" kern="0" dirty="0">
                    <a:solidFill>
                      <a:srgbClr val="505050"/>
                    </a:solidFill>
                  </a:endParaRPr>
                </a:p>
              </p:txBody>
            </p:sp>
            <p:sp>
              <p:nvSpPr>
                <p:cNvPr id="86" name="TextBox 85"/>
                <p:cNvSpPr txBox="1"/>
                <p:nvPr/>
              </p:nvSpPr>
              <p:spPr>
                <a:xfrm>
                  <a:off x="10323072" y="3330288"/>
                  <a:ext cx="1795953" cy="664755"/>
                </a:xfrm>
                <a:prstGeom prst="rect">
                  <a:avLst/>
                </a:prstGeom>
                <a:noFill/>
              </p:spPr>
              <p:txBody>
                <a:bodyPr wrap="none" lIns="91440" tIns="91440" rIns="91440" bIns="91440" rtlCol="0">
                  <a:noAutofit/>
                </a:bodyPr>
                <a:lstStyle/>
                <a:p>
                  <a:pPr algn="ctr" fontAlgn="base"/>
                  <a:r>
                    <a:rPr lang="en-US" sz="1600" b="1" dirty="0" smtClean="0">
                      <a:solidFill>
                        <a:schemeClr val="accent3"/>
                      </a:solidFill>
                    </a:rPr>
                    <a:t>450</a:t>
                  </a:r>
                  <a:r>
                    <a:rPr lang="en-US" sz="1600" b="1" dirty="0">
                      <a:solidFill>
                        <a:schemeClr val="accent3"/>
                      </a:solidFill>
                    </a:rPr>
                    <a:t>+ million </a:t>
                  </a:r>
                </a:p>
                <a:p>
                  <a:pPr algn="ctr" fontAlgn="base"/>
                  <a:r>
                    <a:rPr lang="en-US" sz="1050" dirty="0">
                      <a:solidFill>
                        <a:schemeClr val="tx2"/>
                      </a:solidFill>
                    </a:rPr>
                    <a:t>unique users each </a:t>
                  </a:r>
                  <a:r>
                    <a:rPr lang="en-US" sz="1050" dirty="0" smtClean="0">
                      <a:solidFill>
                        <a:schemeClr val="tx2"/>
                      </a:solidFill>
                    </a:rPr>
                    <a:t>month</a:t>
                  </a:r>
                  <a:r>
                    <a:rPr lang="en-US" sz="1050" baseline="30000" dirty="0" smtClean="0">
                      <a:solidFill>
                        <a:schemeClr val="tx2"/>
                      </a:solidFill>
                    </a:rPr>
                    <a:t>6</a:t>
                  </a:r>
                  <a:endParaRPr lang="en-US" sz="1050" baseline="30000" dirty="0">
                    <a:solidFill>
                      <a:schemeClr val="tx2"/>
                    </a:solidFill>
                  </a:endParaRPr>
                </a:p>
              </p:txBody>
            </p:sp>
            <p:pic>
              <p:nvPicPr>
                <p:cNvPr id="35" name="Picture 3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788692" y="3895117"/>
                  <a:ext cx="713089" cy="317113"/>
                </a:xfrm>
                <a:prstGeom prst="rect">
                  <a:avLst/>
                </a:prstGeom>
              </p:spPr>
            </p:pic>
          </p:grpSp>
          <p:sp>
            <p:nvSpPr>
              <p:cNvPr id="70" name="Freeform 95"/>
              <p:cNvSpPr>
                <a:spLocks/>
              </p:cNvSpPr>
              <p:nvPr/>
            </p:nvSpPr>
            <p:spPr bwMode="auto">
              <a:xfrm flipH="1">
                <a:off x="6233264" y="1448737"/>
                <a:ext cx="976898" cy="66544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alpha val="10000"/>
                </a:schemeClr>
              </a:solidFill>
              <a:ln w="38100">
                <a:noFill/>
                <a:prstDash val="solid"/>
                <a:round/>
                <a:headEnd/>
                <a:tailEnd/>
              </a:ln>
              <a:extLst/>
            </p:spPr>
            <p:txBody>
              <a:bodyPr vert="horz" wrap="square" lIns="91440" tIns="45720" rIns="91440" bIns="45720" numCol="1" anchor="t" anchorCtr="0" compatLnSpc="1">
                <a:prstTxWarp prst="textNoShape">
                  <a:avLst/>
                </a:prstTxWarp>
              </a:bodyPr>
              <a:lstStyle/>
              <a:p>
                <a:pPr fontAlgn="auto">
                  <a:defRPr/>
                </a:pPr>
                <a:endParaRPr lang="en-US" sz="1800" kern="0" dirty="0" smtClean="0">
                  <a:solidFill>
                    <a:srgbClr val="505050"/>
                  </a:solidFill>
                </a:endParaRPr>
              </a:p>
            </p:txBody>
          </p:sp>
          <p:sp>
            <p:nvSpPr>
              <p:cNvPr id="72" name="Freeform 95"/>
              <p:cNvSpPr>
                <a:spLocks/>
              </p:cNvSpPr>
              <p:nvPr/>
            </p:nvSpPr>
            <p:spPr bwMode="auto">
              <a:xfrm flipH="1">
                <a:off x="4425069" y="3723357"/>
                <a:ext cx="976898" cy="66544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alpha val="10000"/>
                </a:schemeClr>
              </a:solidFill>
              <a:ln w="38100">
                <a:noFill/>
                <a:prstDash val="solid"/>
                <a:round/>
                <a:headEnd/>
                <a:tailEnd/>
              </a:ln>
              <a:extLst/>
            </p:spPr>
            <p:txBody>
              <a:bodyPr vert="horz" wrap="square" lIns="91440" tIns="45720" rIns="91440" bIns="45720" numCol="1" anchor="t" anchorCtr="0" compatLnSpc="1">
                <a:prstTxWarp prst="textNoShape">
                  <a:avLst/>
                </a:prstTxWarp>
              </a:bodyPr>
              <a:lstStyle/>
              <a:p>
                <a:pPr fontAlgn="auto">
                  <a:defRPr/>
                </a:pPr>
                <a:endParaRPr lang="en-US" sz="1800" kern="0" dirty="0" smtClean="0">
                  <a:solidFill>
                    <a:srgbClr val="505050"/>
                  </a:solidFill>
                </a:endParaRPr>
              </a:p>
            </p:txBody>
          </p:sp>
          <p:sp>
            <p:nvSpPr>
              <p:cNvPr id="78" name="Freeform 95"/>
              <p:cNvSpPr>
                <a:spLocks/>
              </p:cNvSpPr>
              <p:nvPr/>
            </p:nvSpPr>
            <p:spPr bwMode="auto">
              <a:xfrm flipH="1">
                <a:off x="8275689" y="1663093"/>
                <a:ext cx="976898" cy="66544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alpha val="10000"/>
                </a:schemeClr>
              </a:solidFill>
              <a:ln w="38100">
                <a:noFill/>
                <a:prstDash val="solid"/>
                <a:round/>
                <a:headEnd/>
                <a:tailEnd/>
              </a:ln>
              <a:extLst/>
            </p:spPr>
            <p:txBody>
              <a:bodyPr vert="horz" wrap="square" lIns="91440" tIns="45720" rIns="91440" bIns="45720" numCol="1" anchor="t" anchorCtr="0" compatLnSpc="1">
                <a:prstTxWarp prst="textNoShape">
                  <a:avLst/>
                </a:prstTxWarp>
              </a:bodyPr>
              <a:lstStyle/>
              <a:p>
                <a:pPr fontAlgn="auto">
                  <a:defRPr/>
                </a:pPr>
                <a:endParaRPr lang="en-US" sz="1800" kern="0" dirty="0" smtClean="0">
                  <a:solidFill>
                    <a:srgbClr val="505050"/>
                  </a:solidFill>
                </a:endParaRPr>
              </a:p>
            </p:txBody>
          </p:sp>
          <p:sp>
            <p:nvSpPr>
              <p:cNvPr id="81" name="Freeform 95"/>
              <p:cNvSpPr>
                <a:spLocks/>
              </p:cNvSpPr>
              <p:nvPr/>
            </p:nvSpPr>
            <p:spPr bwMode="auto">
              <a:xfrm flipH="1">
                <a:off x="7886635" y="2993179"/>
                <a:ext cx="976898" cy="66544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alpha val="10000"/>
                </a:schemeClr>
              </a:solidFill>
              <a:ln w="38100">
                <a:noFill/>
                <a:prstDash val="solid"/>
                <a:round/>
                <a:headEnd/>
                <a:tailEnd/>
              </a:ln>
              <a:extLst/>
            </p:spPr>
            <p:txBody>
              <a:bodyPr vert="horz" wrap="square" lIns="91440" tIns="45720" rIns="91440" bIns="45720" numCol="1" anchor="t" anchorCtr="0" compatLnSpc="1">
                <a:prstTxWarp prst="textNoShape">
                  <a:avLst/>
                </a:prstTxWarp>
              </a:bodyPr>
              <a:lstStyle/>
              <a:p>
                <a:pPr fontAlgn="auto">
                  <a:defRPr/>
                </a:pPr>
                <a:endParaRPr lang="en-US" sz="1800" kern="0" dirty="0" smtClean="0">
                  <a:solidFill>
                    <a:srgbClr val="505050"/>
                  </a:solidFill>
                </a:endParaRPr>
              </a:p>
            </p:txBody>
          </p:sp>
          <p:sp>
            <p:nvSpPr>
              <p:cNvPr id="83" name="Freeform 95"/>
              <p:cNvSpPr>
                <a:spLocks/>
              </p:cNvSpPr>
              <p:nvPr/>
            </p:nvSpPr>
            <p:spPr bwMode="auto">
              <a:xfrm flipH="1">
                <a:off x="11182199" y="3464807"/>
                <a:ext cx="976898" cy="66544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alpha val="10000"/>
                </a:schemeClr>
              </a:solidFill>
              <a:ln w="38100">
                <a:noFill/>
                <a:prstDash val="solid"/>
                <a:round/>
                <a:headEnd/>
                <a:tailEnd/>
              </a:ln>
              <a:extLst/>
            </p:spPr>
            <p:txBody>
              <a:bodyPr vert="horz" wrap="square" lIns="91440" tIns="45720" rIns="91440" bIns="45720" numCol="1" anchor="t" anchorCtr="0" compatLnSpc="1">
                <a:prstTxWarp prst="textNoShape">
                  <a:avLst/>
                </a:prstTxWarp>
              </a:bodyPr>
              <a:lstStyle/>
              <a:p>
                <a:pPr fontAlgn="auto">
                  <a:defRPr/>
                </a:pPr>
                <a:endParaRPr lang="en-US" sz="1800" kern="0" dirty="0" smtClean="0">
                  <a:solidFill>
                    <a:srgbClr val="505050"/>
                  </a:solidFill>
                </a:endParaRPr>
              </a:p>
            </p:txBody>
          </p:sp>
          <p:sp>
            <p:nvSpPr>
              <p:cNvPr id="84" name="Freeform 95"/>
              <p:cNvSpPr>
                <a:spLocks/>
              </p:cNvSpPr>
              <p:nvPr/>
            </p:nvSpPr>
            <p:spPr bwMode="auto">
              <a:xfrm flipH="1">
                <a:off x="5908619" y="2775405"/>
                <a:ext cx="976898" cy="66544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alpha val="10000"/>
                </a:schemeClr>
              </a:solidFill>
              <a:ln w="38100">
                <a:noFill/>
                <a:prstDash val="solid"/>
                <a:round/>
                <a:headEnd/>
                <a:tailEnd/>
              </a:ln>
              <a:extLst/>
            </p:spPr>
            <p:txBody>
              <a:bodyPr vert="horz" wrap="square" lIns="91440" tIns="45720" rIns="91440" bIns="45720" numCol="1" anchor="t" anchorCtr="0" compatLnSpc="1">
                <a:prstTxWarp prst="textNoShape">
                  <a:avLst/>
                </a:prstTxWarp>
              </a:bodyPr>
              <a:lstStyle/>
              <a:p>
                <a:pPr fontAlgn="auto">
                  <a:defRPr/>
                </a:pPr>
                <a:endParaRPr lang="en-US" sz="1800" kern="0" dirty="0" smtClean="0">
                  <a:solidFill>
                    <a:srgbClr val="505050"/>
                  </a:solidFill>
                </a:endParaRPr>
              </a:p>
            </p:txBody>
          </p:sp>
        </p:grpSp>
      </p:grpSp>
      <p:sp>
        <p:nvSpPr>
          <p:cNvPr id="8" name="Title 7"/>
          <p:cNvSpPr>
            <a:spLocks noGrp="1"/>
          </p:cNvSpPr>
          <p:nvPr>
            <p:ph type="title"/>
          </p:nvPr>
        </p:nvSpPr>
        <p:spPr/>
        <p:txBody>
          <a:bodyPr/>
          <a:lstStyle/>
          <a:p>
            <a:r>
              <a:rPr lang="en-IN" dirty="0" smtClean="0"/>
              <a:t>The Microsoft Trusted Cloud</a:t>
            </a:r>
            <a:endParaRPr lang="en-IN" dirty="0"/>
          </a:p>
        </p:txBody>
      </p:sp>
      <p:cxnSp>
        <p:nvCxnSpPr>
          <p:cNvPr id="50" name="Straight Connector 49"/>
          <p:cNvCxnSpPr/>
          <p:nvPr/>
        </p:nvCxnSpPr>
        <p:spPr>
          <a:xfrm flipV="1">
            <a:off x="0" y="3222217"/>
            <a:ext cx="3640973"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1" y="5645082"/>
            <a:ext cx="12435840" cy="1349443"/>
            <a:chOff x="-1" y="5645082"/>
            <a:chExt cx="12435840" cy="1349443"/>
          </a:xfrm>
        </p:grpSpPr>
        <p:grpSp>
          <p:nvGrpSpPr>
            <p:cNvPr id="49" name="Group 48"/>
            <p:cNvGrpSpPr/>
            <p:nvPr/>
          </p:nvGrpSpPr>
          <p:grpSpPr>
            <a:xfrm>
              <a:off x="0" y="5918326"/>
              <a:ext cx="3849135" cy="1076198"/>
              <a:chOff x="240836" y="5591092"/>
              <a:chExt cx="5019522" cy="1403432"/>
            </a:xfrm>
          </p:grpSpPr>
          <p:sp>
            <p:nvSpPr>
              <p:cNvPr id="405" name="Freeform 19"/>
              <p:cNvSpPr>
                <a:spLocks/>
              </p:cNvSpPr>
              <p:nvPr/>
            </p:nvSpPr>
            <p:spPr bwMode="auto">
              <a:xfrm>
                <a:off x="240836" y="6125943"/>
                <a:ext cx="4169410" cy="868581"/>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06" name="Freeform 16"/>
              <p:cNvSpPr>
                <a:spLocks/>
              </p:cNvSpPr>
              <p:nvPr/>
            </p:nvSpPr>
            <p:spPr bwMode="auto">
              <a:xfrm>
                <a:off x="1927482" y="5591092"/>
                <a:ext cx="287317" cy="857530"/>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07" name="Freeform 17"/>
              <p:cNvSpPr>
                <a:spLocks/>
              </p:cNvSpPr>
              <p:nvPr/>
            </p:nvSpPr>
            <p:spPr bwMode="auto">
              <a:xfrm>
                <a:off x="2165071" y="5790004"/>
                <a:ext cx="222118" cy="658619"/>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08" name="Freeform 19"/>
              <p:cNvSpPr>
                <a:spLocks/>
              </p:cNvSpPr>
              <p:nvPr/>
            </p:nvSpPr>
            <p:spPr bwMode="auto">
              <a:xfrm>
                <a:off x="1090948" y="6125943"/>
                <a:ext cx="4169410" cy="868581"/>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nvGrpSpPr>
            <p:cNvPr id="313" name="Group 312"/>
            <p:cNvGrpSpPr/>
            <p:nvPr/>
          </p:nvGrpSpPr>
          <p:grpSpPr>
            <a:xfrm>
              <a:off x="3389923" y="6161559"/>
              <a:ext cx="572429" cy="796229"/>
              <a:chOff x="5110915" y="2871293"/>
              <a:chExt cx="2033173" cy="2828072"/>
            </a:xfrm>
          </p:grpSpPr>
          <p:grpSp>
            <p:nvGrpSpPr>
              <p:cNvPr id="314" name="Group 313"/>
              <p:cNvGrpSpPr/>
              <p:nvPr/>
            </p:nvGrpSpPr>
            <p:grpSpPr>
              <a:xfrm>
                <a:off x="5110915" y="3548072"/>
                <a:ext cx="794699" cy="2151293"/>
                <a:chOff x="6789906" y="3124658"/>
                <a:chExt cx="569182" cy="1540806"/>
              </a:xfrm>
            </p:grpSpPr>
            <p:sp>
              <p:nvSpPr>
                <p:cNvPr id="384" name="Rectangle 24"/>
                <p:cNvSpPr>
                  <a:spLocks noChangeArrowheads="1"/>
                </p:cNvSpPr>
                <p:nvPr/>
              </p:nvSpPr>
              <p:spPr bwMode="auto">
                <a:xfrm>
                  <a:off x="7025603" y="3406742"/>
                  <a:ext cx="97789" cy="29838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85" name="Freeform 25"/>
                <p:cNvSpPr>
                  <a:spLocks/>
                </p:cNvSpPr>
                <p:nvPr/>
              </p:nvSpPr>
              <p:spPr bwMode="auto">
                <a:xfrm>
                  <a:off x="6939096" y="4604032"/>
                  <a:ext cx="127878" cy="61432"/>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86" name="Freeform 26"/>
                <p:cNvSpPr>
                  <a:spLocks/>
                </p:cNvSpPr>
                <p:nvPr/>
              </p:nvSpPr>
              <p:spPr bwMode="auto">
                <a:xfrm>
                  <a:off x="7077004" y="4604032"/>
                  <a:ext cx="129132" cy="61432"/>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87" name="Freeform 27"/>
                <p:cNvSpPr>
                  <a:spLocks/>
                </p:cNvSpPr>
                <p:nvPr/>
              </p:nvSpPr>
              <p:spPr bwMode="auto">
                <a:xfrm>
                  <a:off x="6985484" y="3149732"/>
                  <a:ext cx="194325" cy="236951"/>
                </a:xfrm>
                <a:custGeom>
                  <a:avLst/>
                  <a:gdLst>
                    <a:gd name="T0" fmla="*/ 34 w 38"/>
                    <a:gd name="T1" fmla="*/ 26 h 46"/>
                    <a:gd name="T2" fmla="*/ 13 w 38"/>
                    <a:gd name="T3" fmla="*/ 43 h 46"/>
                    <a:gd name="T4" fmla="*/ 4 w 38"/>
                    <a:gd name="T5" fmla="*/ 18 h 46"/>
                    <a:gd name="T6" fmla="*/ 26 w 38"/>
                    <a:gd name="T7" fmla="*/ 3 h 46"/>
                    <a:gd name="T8" fmla="*/ 34 w 38"/>
                    <a:gd name="T9" fmla="*/ 26 h 46"/>
                  </a:gdLst>
                  <a:ahLst/>
                  <a:cxnLst>
                    <a:cxn ang="0">
                      <a:pos x="T0" y="T1"/>
                    </a:cxn>
                    <a:cxn ang="0">
                      <a:pos x="T2" y="T3"/>
                    </a:cxn>
                    <a:cxn ang="0">
                      <a:pos x="T4" y="T5"/>
                    </a:cxn>
                    <a:cxn ang="0">
                      <a:pos x="T6" y="T7"/>
                    </a:cxn>
                    <a:cxn ang="0">
                      <a:pos x="T8" y="T9"/>
                    </a:cxn>
                  </a:cxnLst>
                  <a:rect l="0" t="0" r="r" b="b"/>
                  <a:pathLst>
                    <a:path w="38" h="46">
                      <a:moveTo>
                        <a:pt x="34" y="26"/>
                      </a:moveTo>
                      <a:cubicBezTo>
                        <a:pt x="30" y="37"/>
                        <a:pt x="22" y="46"/>
                        <a:pt x="13" y="43"/>
                      </a:cubicBezTo>
                      <a:cubicBezTo>
                        <a:pt x="4" y="40"/>
                        <a:pt x="0" y="29"/>
                        <a:pt x="4" y="18"/>
                      </a:cubicBezTo>
                      <a:cubicBezTo>
                        <a:pt x="7" y="7"/>
                        <a:pt x="18" y="0"/>
                        <a:pt x="26" y="3"/>
                      </a:cubicBezTo>
                      <a:cubicBezTo>
                        <a:pt x="35" y="6"/>
                        <a:pt x="38" y="15"/>
                        <a:pt x="34"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88" name="Freeform 28"/>
                <p:cNvSpPr>
                  <a:spLocks/>
                </p:cNvSpPr>
                <p:nvPr/>
              </p:nvSpPr>
              <p:spPr bwMode="auto">
                <a:xfrm>
                  <a:off x="6959156" y="3124658"/>
                  <a:ext cx="190563" cy="220652"/>
                </a:xfrm>
                <a:custGeom>
                  <a:avLst/>
                  <a:gdLst>
                    <a:gd name="T0" fmla="*/ 32 w 37"/>
                    <a:gd name="T1" fmla="*/ 14 h 43"/>
                    <a:gd name="T2" fmla="*/ 29 w 37"/>
                    <a:gd name="T3" fmla="*/ 39 h 43"/>
                    <a:gd name="T4" fmla="*/ 6 w 37"/>
                    <a:gd name="T5" fmla="*/ 29 h 43"/>
                    <a:gd name="T6" fmla="*/ 9 w 37"/>
                    <a:gd name="T7" fmla="*/ 5 h 43"/>
                    <a:gd name="T8" fmla="*/ 32 w 37"/>
                    <a:gd name="T9" fmla="*/ 14 h 43"/>
                  </a:gdLst>
                  <a:ahLst/>
                  <a:cxnLst>
                    <a:cxn ang="0">
                      <a:pos x="T0" y="T1"/>
                    </a:cxn>
                    <a:cxn ang="0">
                      <a:pos x="T2" y="T3"/>
                    </a:cxn>
                    <a:cxn ang="0">
                      <a:pos x="T4" y="T5"/>
                    </a:cxn>
                    <a:cxn ang="0">
                      <a:pos x="T6" y="T7"/>
                    </a:cxn>
                    <a:cxn ang="0">
                      <a:pos x="T8" y="T9"/>
                    </a:cxn>
                  </a:cxnLst>
                  <a:rect l="0" t="0" r="r" b="b"/>
                  <a:pathLst>
                    <a:path w="37" h="43">
                      <a:moveTo>
                        <a:pt x="32" y="14"/>
                      </a:moveTo>
                      <a:cubicBezTo>
                        <a:pt x="37" y="23"/>
                        <a:pt x="36" y="34"/>
                        <a:pt x="29" y="39"/>
                      </a:cubicBezTo>
                      <a:cubicBezTo>
                        <a:pt x="21" y="43"/>
                        <a:pt x="11" y="39"/>
                        <a:pt x="6" y="29"/>
                      </a:cubicBezTo>
                      <a:cubicBezTo>
                        <a:pt x="0" y="20"/>
                        <a:pt x="2" y="9"/>
                        <a:pt x="9" y="5"/>
                      </a:cubicBezTo>
                      <a:cubicBezTo>
                        <a:pt x="16" y="0"/>
                        <a:pt x="26" y="5"/>
                        <a:pt x="32"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89" name="Freeform 29"/>
                <p:cNvSpPr>
                  <a:spLocks/>
                </p:cNvSpPr>
                <p:nvPr/>
              </p:nvSpPr>
              <p:spPr bwMode="auto">
                <a:xfrm>
                  <a:off x="7025603" y="3330266"/>
                  <a:ext cx="97789" cy="102804"/>
                </a:xfrm>
                <a:custGeom>
                  <a:avLst/>
                  <a:gdLst>
                    <a:gd name="T0" fmla="*/ 78 w 78"/>
                    <a:gd name="T1" fmla="*/ 61 h 82"/>
                    <a:gd name="T2" fmla="*/ 37 w 78"/>
                    <a:gd name="T3" fmla="*/ 82 h 82"/>
                    <a:gd name="T4" fmla="*/ 0 w 78"/>
                    <a:gd name="T5" fmla="*/ 61 h 82"/>
                    <a:gd name="T6" fmla="*/ 0 w 78"/>
                    <a:gd name="T7" fmla="*/ 0 h 82"/>
                    <a:gd name="T8" fmla="*/ 78 w 78"/>
                    <a:gd name="T9" fmla="*/ 0 h 82"/>
                    <a:gd name="T10" fmla="*/ 78 w 78"/>
                    <a:gd name="T11" fmla="*/ 61 h 82"/>
                  </a:gdLst>
                  <a:ahLst/>
                  <a:cxnLst>
                    <a:cxn ang="0">
                      <a:pos x="T0" y="T1"/>
                    </a:cxn>
                    <a:cxn ang="0">
                      <a:pos x="T2" y="T3"/>
                    </a:cxn>
                    <a:cxn ang="0">
                      <a:pos x="T4" y="T5"/>
                    </a:cxn>
                    <a:cxn ang="0">
                      <a:pos x="T6" y="T7"/>
                    </a:cxn>
                    <a:cxn ang="0">
                      <a:pos x="T8" y="T9"/>
                    </a:cxn>
                    <a:cxn ang="0">
                      <a:pos x="T10" y="T11"/>
                    </a:cxn>
                  </a:cxnLst>
                  <a:rect l="0" t="0" r="r" b="b"/>
                  <a:pathLst>
                    <a:path w="78" h="82">
                      <a:moveTo>
                        <a:pt x="78" y="61"/>
                      </a:moveTo>
                      <a:lnTo>
                        <a:pt x="37" y="82"/>
                      </a:lnTo>
                      <a:lnTo>
                        <a:pt x="0" y="61"/>
                      </a:lnTo>
                      <a:lnTo>
                        <a:pt x="0" y="0"/>
                      </a:lnTo>
                      <a:lnTo>
                        <a:pt x="78" y="0"/>
                      </a:lnTo>
                      <a:lnTo>
                        <a:pt x="78" y="6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90" name="Freeform 30"/>
                <p:cNvSpPr>
                  <a:spLocks/>
                </p:cNvSpPr>
                <p:nvPr/>
              </p:nvSpPr>
              <p:spPr bwMode="auto">
                <a:xfrm>
                  <a:off x="7046915" y="3433070"/>
                  <a:ext cx="56417" cy="389903"/>
                </a:xfrm>
                <a:custGeom>
                  <a:avLst/>
                  <a:gdLst>
                    <a:gd name="T0" fmla="*/ 33 w 45"/>
                    <a:gd name="T1" fmla="*/ 24 h 311"/>
                    <a:gd name="T2" fmla="*/ 45 w 45"/>
                    <a:gd name="T3" fmla="*/ 16 h 311"/>
                    <a:gd name="T4" fmla="*/ 20 w 45"/>
                    <a:gd name="T5" fmla="*/ 0 h 311"/>
                    <a:gd name="T6" fmla="*/ 0 w 45"/>
                    <a:gd name="T7" fmla="*/ 16 h 311"/>
                    <a:gd name="T8" fmla="*/ 8 w 45"/>
                    <a:gd name="T9" fmla="*/ 24 h 311"/>
                    <a:gd name="T10" fmla="*/ 8 w 45"/>
                    <a:gd name="T11" fmla="*/ 286 h 311"/>
                    <a:gd name="T12" fmla="*/ 20 w 45"/>
                    <a:gd name="T13" fmla="*/ 311 h 311"/>
                    <a:gd name="T14" fmla="*/ 33 w 45"/>
                    <a:gd name="T15" fmla="*/ 286 h 311"/>
                    <a:gd name="T16" fmla="*/ 33 w 45"/>
                    <a:gd name="T17" fmla="*/ 24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1">
                      <a:moveTo>
                        <a:pt x="33" y="24"/>
                      </a:moveTo>
                      <a:lnTo>
                        <a:pt x="45" y="16"/>
                      </a:lnTo>
                      <a:lnTo>
                        <a:pt x="20" y="0"/>
                      </a:lnTo>
                      <a:lnTo>
                        <a:pt x="0" y="16"/>
                      </a:lnTo>
                      <a:lnTo>
                        <a:pt x="8" y="24"/>
                      </a:lnTo>
                      <a:lnTo>
                        <a:pt x="8" y="286"/>
                      </a:lnTo>
                      <a:lnTo>
                        <a:pt x="20" y="311"/>
                      </a:lnTo>
                      <a:lnTo>
                        <a:pt x="33" y="286"/>
                      </a:lnTo>
                      <a:lnTo>
                        <a:pt x="33" y="2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91" name="Freeform 31"/>
                <p:cNvSpPr>
                  <a:spLocks/>
                </p:cNvSpPr>
                <p:nvPr/>
              </p:nvSpPr>
              <p:spPr bwMode="auto">
                <a:xfrm>
                  <a:off x="6789906" y="3438085"/>
                  <a:ext cx="210623" cy="549124"/>
                </a:xfrm>
                <a:custGeom>
                  <a:avLst/>
                  <a:gdLst>
                    <a:gd name="T0" fmla="*/ 41 w 41"/>
                    <a:gd name="T1" fmla="*/ 4 h 107"/>
                    <a:gd name="T2" fmla="*/ 25 w 41"/>
                    <a:gd name="T3" fmla="*/ 0 h 107"/>
                    <a:gd name="T4" fmla="*/ 0 w 41"/>
                    <a:gd name="T5" fmla="*/ 107 h 107"/>
                    <a:gd name="T6" fmla="*/ 16 w 41"/>
                    <a:gd name="T7" fmla="*/ 107 h 107"/>
                    <a:gd name="T8" fmla="*/ 41 w 41"/>
                    <a:gd name="T9" fmla="*/ 4 h 107"/>
                  </a:gdLst>
                  <a:ahLst/>
                  <a:cxnLst>
                    <a:cxn ang="0">
                      <a:pos x="T0" y="T1"/>
                    </a:cxn>
                    <a:cxn ang="0">
                      <a:pos x="T2" y="T3"/>
                    </a:cxn>
                    <a:cxn ang="0">
                      <a:pos x="T4" y="T5"/>
                    </a:cxn>
                    <a:cxn ang="0">
                      <a:pos x="T6" y="T7"/>
                    </a:cxn>
                    <a:cxn ang="0">
                      <a:pos x="T8" y="T9"/>
                    </a:cxn>
                  </a:cxnLst>
                  <a:rect l="0" t="0" r="r" b="b"/>
                  <a:pathLst>
                    <a:path w="41" h="107">
                      <a:moveTo>
                        <a:pt x="41" y="4"/>
                      </a:moveTo>
                      <a:cubicBezTo>
                        <a:pt x="36" y="3"/>
                        <a:pt x="30" y="1"/>
                        <a:pt x="25" y="0"/>
                      </a:cubicBezTo>
                      <a:cubicBezTo>
                        <a:pt x="9" y="34"/>
                        <a:pt x="3" y="69"/>
                        <a:pt x="0" y="107"/>
                      </a:cubicBezTo>
                      <a:cubicBezTo>
                        <a:pt x="16" y="107"/>
                        <a:pt x="16" y="107"/>
                        <a:pt x="16" y="107"/>
                      </a:cubicBezTo>
                      <a:cubicBezTo>
                        <a:pt x="20" y="71"/>
                        <a:pt x="26" y="37"/>
                        <a:pt x="41"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92" name="Freeform 33"/>
                <p:cNvSpPr>
                  <a:spLocks/>
                </p:cNvSpPr>
                <p:nvPr/>
              </p:nvSpPr>
              <p:spPr bwMode="auto">
                <a:xfrm>
                  <a:off x="6944111" y="4033595"/>
                  <a:ext cx="127878" cy="580467"/>
                </a:xfrm>
                <a:custGeom>
                  <a:avLst/>
                  <a:gdLst>
                    <a:gd name="T0" fmla="*/ 82 w 102"/>
                    <a:gd name="T1" fmla="*/ 463 h 463"/>
                    <a:gd name="T2" fmla="*/ 12 w 102"/>
                    <a:gd name="T3" fmla="*/ 463 h 463"/>
                    <a:gd name="T4" fmla="*/ 0 w 102"/>
                    <a:gd name="T5" fmla="*/ 0 h 463"/>
                    <a:gd name="T6" fmla="*/ 102 w 102"/>
                    <a:gd name="T7" fmla="*/ 0 h 463"/>
                    <a:gd name="T8" fmla="*/ 82 w 102"/>
                    <a:gd name="T9" fmla="*/ 463 h 463"/>
                  </a:gdLst>
                  <a:ahLst/>
                  <a:cxnLst>
                    <a:cxn ang="0">
                      <a:pos x="T0" y="T1"/>
                    </a:cxn>
                    <a:cxn ang="0">
                      <a:pos x="T2" y="T3"/>
                    </a:cxn>
                    <a:cxn ang="0">
                      <a:pos x="T4" y="T5"/>
                    </a:cxn>
                    <a:cxn ang="0">
                      <a:pos x="T6" y="T7"/>
                    </a:cxn>
                    <a:cxn ang="0">
                      <a:pos x="T8" y="T9"/>
                    </a:cxn>
                  </a:cxnLst>
                  <a:rect l="0" t="0" r="r" b="b"/>
                  <a:pathLst>
                    <a:path w="102" h="463">
                      <a:moveTo>
                        <a:pt x="82" y="463"/>
                      </a:moveTo>
                      <a:lnTo>
                        <a:pt x="12" y="463"/>
                      </a:lnTo>
                      <a:lnTo>
                        <a:pt x="0" y="0"/>
                      </a:lnTo>
                      <a:lnTo>
                        <a:pt x="102" y="0"/>
                      </a:lnTo>
                      <a:lnTo>
                        <a:pt x="82"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93" name="Freeform 34"/>
                <p:cNvSpPr>
                  <a:spLocks/>
                </p:cNvSpPr>
                <p:nvPr/>
              </p:nvSpPr>
              <p:spPr bwMode="auto">
                <a:xfrm>
                  <a:off x="7077004" y="4033595"/>
                  <a:ext cx="122863" cy="580467"/>
                </a:xfrm>
                <a:custGeom>
                  <a:avLst/>
                  <a:gdLst>
                    <a:gd name="T0" fmla="*/ 86 w 98"/>
                    <a:gd name="T1" fmla="*/ 463 h 463"/>
                    <a:gd name="T2" fmla="*/ 17 w 98"/>
                    <a:gd name="T3" fmla="*/ 463 h 463"/>
                    <a:gd name="T4" fmla="*/ 0 w 98"/>
                    <a:gd name="T5" fmla="*/ 0 h 463"/>
                    <a:gd name="T6" fmla="*/ 98 w 98"/>
                    <a:gd name="T7" fmla="*/ 0 h 463"/>
                    <a:gd name="T8" fmla="*/ 86 w 98"/>
                    <a:gd name="T9" fmla="*/ 463 h 463"/>
                  </a:gdLst>
                  <a:ahLst/>
                  <a:cxnLst>
                    <a:cxn ang="0">
                      <a:pos x="T0" y="T1"/>
                    </a:cxn>
                    <a:cxn ang="0">
                      <a:pos x="T2" y="T3"/>
                    </a:cxn>
                    <a:cxn ang="0">
                      <a:pos x="T4" y="T5"/>
                    </a:cxn>
                    <a:cxn ang="0">
                      <a:pos x="T6" y="T7"/>
                    </a:cxn>
                    <a:cxn ang="0">
                      <a:pos x="T8" y="T9"/>
                    </a:cxn>
                  </a:cxnLst>
                  <a:rect l="0" t="0" r="r" b="b"/>
                  <a:pathLst>
                    <a:path w="98" h="463">
                      <a:moveTo>
                        <a:pt x="86" y="463"/>
                      </a:moveTo>
                      <a:lnTo>
                        <a:pt x="17" y="463"/>
                      </a:lnTo>
                      <a:lnTo>
                        <a:pt x="0" y="0"/>
                      </a:lnTo>
                      <a:lnTo>
                        <a:pt x="98" y="0"/>
                      </a:lnTo>
                      <a:lnTo>
                        <a:pt x="86"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94" name="Freeform 35"/>
                <p:cNvSpPr>
                  <a:spLocks/>
                </p:cNvSpPr>
                <p:nvPr/>
              </p:nvSpPr>
              <p:spPr bwMode="auto">
                <a:xfrm>
                  <a:off x="6799935" y="3987208"/>
                  <a:ext cx="62685" cy="66447"/>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3" y="13"/>
                        <a:pt x="6" y="13"/>
                      </a:cubicBezTo>
                      <a:cubicBezTo>
                        <a:pt x="10"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95" name="Freeform 37"/>
                <p:cNvSpPr>
                  <a:spLocks/>
                </p:cNvSpPr>
                <p:nvPr/>
              </p:nvSpPr>
              <p:spPr bwMode="auto">
                <a:xfrm>
                  <a:off x="6912769" y="3406742"/>
                  <a:ext cx="318441" cy="626853"/>
                </a:xfrm>
                <a:custGeom>
                  <a:avLst/>
                  <a:gdLst>
                    <a:gd name="T0" fmla="*/ 168 w 254"/>
                    <a:gd name="T1" fmla="*/ 0 h 500"/>
                    <a:gd name="T2" fmla="*/ 127 w 254"/>
                    <a:gd name="T3" fmla="*/ 316 h 500"/>
                    <a:gd name="T4" fmla="*/ 90 w 254"/>
                    <a:gd name="T5" fmla="*/ 0 h 500"/>
                    <a:gd name="T6" fmla="*/ 0 w 254"/>
                    <a:gd name="T7" fmla="*/ 25 h 500"/>
                    <a:gd name="T8" fmla="*/ 5 w 254"/>
                    <a:gd name="T9" fmla="*/ 500 h 500"/>
                    <a:gd name="T10" fmla="*/ 250 w 254"/>
                    <a:gd name="T11" fmla="*/ 500 h 500"/>
                    <a:gd name="T12" fmla="*/ 254 w 254"/>
                    <a:gd name="T13" fmla="*/ 25 h 500"/>
                    <a:gd name="T14" fmla="*/ 168 w 254"/>
                    <a:gd name="T15" fmla="*/ 0 h 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4" h="500">
                      <a:moveTo>
                        <a:pt x="168" y="0"/>
                      </a:moveTo>
                      <a:lnTo>
                        <a:pt x="127" y="316"/>
                      </a:lnTo>
                      <a:lnTo>
                        <a:pt x="90" y="0"/>
                      </a:lnTo>
                      <a:lnTo>
                        <a:pt x="0" y="25"/>
                      </a:lnTo>
                      <a:lnTo>
                        <a:pt x="5" y="500"/>
                      </a:lnTo>
                      <a:lnTo>
                        <a:pt x="250" y="500"/>
                      </a:lnTo>
                      <a:lnTo>
                        <a:pt x="254" y="25"/>
                      </a:lnTo>
                      <a:lnTo>
                        <a:pt x="168"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96" name="Freeform 42"/>
                <p:cNvSpPr>
                  <a:spLocks/>
                </p:cNvSpPr>
                <p:nvPr/>
              </p:nvSpPr>
              <p:spPr bwMode="auto">
                <a:xfrm>
                  <a:off x="6995514" y="321743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97" name="Freeform 46"/>
                <p:cNvSpPr>
                  <a:spLocks/>
                </p:cNvSpPr>
                <p:nvPr/>
              </p:nvSpPr>
              <p:spPr bwMode="auto">
                <a:xfrm>
                  <a:off x="6990499" y="323247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98" name="Freeform 47"/>
                <p:cNvSpPr>
                  <a:spLocks/>
                </p:cNvSpPr>
                <p:nvPr/>
              </p:nvSpPr>
              <p:spPr bwMode="auto">
                <a:xfrm>
                  <a:off x="6990499" y="32274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99" name="Freeform 48"/>
                <p:cNvSpPr>
                  <a:spLocks/>
                </p:cNvSpPr>
                <p:nvPr/>
              </p:nvSpPr>
              <p:spPr bwMode="auto">
                <a:xfrm>
                  <a:off x="6990499" y="322244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00" name="Freeform 49"/>
                <p:cNvSpPr>
                  <a:spLocks/>
                </p:cNvSpPr>
                <p:nvPr/>
              </p:nvSpPr>
              <p:spPr bwMode="auto">
                <a:xfrm>
                  <a:off x="6990499" y="3227462"/>
                  <a:ext cx="0" cy="501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01" name="Freeform 50"/>
                <p:cNvSpPr>
                  <a:spLocks/>
                </p:cNvSpPr>
                <p:nvPr/>
              </p:nvSpPr>
              <p:spPr bwMode="auto">
                <a:xfrm>
                  <a:off x="6975454" y="3211163"/>
                  <a:ext cx="194325" cy="175519"/>
                </a:xfrm>
                <a:custGeom>
                  <a:avLst/>
                  <a:gdLst>
                    <a:gd name="T0" fmla="*/ 36 w 38"/>
                    <a:gd name="T1" fmla="*/ 8 h 34"/>
                    <a:gd name="T2" fmla="*/ 35 w 38"/>
                    <a:gd name="T3" fmla="*/ 8 h 34"/>
                    <a:gd name="T4" fmla="*/ 35 w 38"/>
                    <a:gd name="T5" fmla="*/ 5 h 34"/>
                    <a:gd name="T6" fmla="*/ 35 w 38"/>
                    <a:gd name="T7" fmla="*/ 5 h 34"/>
                    <a:gd name="T8" fmla="*/ 35 w 38"/>
                    <a:gd name="T9" fmla="*/ 4 h 34"/>
                    <a:gd name="T10" fmla="*/ 35 w 38"/>
                    <a:gd name="T11" fmla="*/ 4 h 34"/>
                    <a:gd name="T12" fmla="*/ 35 w 38"/>
                    <a:gd name="T13" fmla="*/ 4 h 34"/>
                    <a:gd name="T14" fmla="*/ 35 w 38"/>
                    <a:gd name="T15" fmla="*/ 3 h 34"/>
                    <a:gd name="T16" fmla="*/ 35 w 38"/>
                    <a:gd name="T17" fmla="*/ 3 h 34"/>
                    <a:gd name="T18" fmla="*/ 35 w 38"/>
                    <a:gd name="T19" fmla="*/ 3 h 34"/>
                    <a:gd name="T20" fmla="*/ 34 w 38"/>
                    <a:gd name="T21" fmla="*/ 2 h 34"/>
                    <a:gd name="T22" fmla="*/ 34 w 38"/>
                    <a:gd name="T23" fmla="*/ 2 h 34"/>
                    <a:gd name="T24" fmla="*/ 34 w 38"/>
                    <a:gd name="T25" fmla="*/ 1 h 34"/>
                    <a:gd name="T26" fmla="*/ 34 w 38"/>
                    <a:gd name="T27" fmla="*/ 1 h 34"/>
                    <a:gd name="T28" fmla="*/ 34 w 38"/>
                    <a:gd name="T29" fmla="*/ 1 h 34"/>
                    <a:gd name="T30" fmla="*/ 34 w 38"/>
                    <a:gd name="T31" fmla="*/ 1 h 34"/>
                    <a:gd name="T32" fmla="*/ 31 w 38"/>
                    <a:gd name="T33" fmla="*/ 1 h 34"/>
                    <a:gd name="T34" fmla="*/ 25 w 38"/>
                    <a:gd name="T35" fmla="*/ 0 h 34"/>
                    <a:gd name="T36" fmla="*/ 15 w 38"/>
                    <a:gd name="T37" fmla="*/ 1 h 34"/>
                    <a:gd name="T38" fmla="*/ 5 w 38"/>
                    <a:gd name="T39" fmla="*/ 0 h 34"/>
                    <a:gd name="T40" fmla="*/ 4 w 38"/>
                    <a:gd name="T41" fmla="*/ 1 h 34"/>
                    <a:gd name="T42" fmla="*/ 4 w 38"/>
                    <a:gd name="T43" fmla="*/ 1 h 34"/>
                    <a:gd name="T44" fmla="*/ 3 w 38"/>
                    <a:gd name="T45" fmla="*/ 2 h 34"/>
                    <a:gd name="T46" fmla="*/ 3 w 38"/>
                    <a:gd name="T47" fmla="*/ 2 h 34"/>
                    <a:gd name="T48" fmla="*/ 3 w 38"/>
                    <a:gd name="T49" fmla="*/ 3 h 34"/>
                    <a:gd name="T50" fmla="*/ 3 w 38"/>
                    <a:gd name="T51" fmla="*/ 3 h 34"/>
                    <a:gd name="T52" fmla="*/ 3 w 38"/>
                    <a:gd name="T53" fmla="*/ 3 h 34"/>
                    <a:gd name="T54" fmla="*/ 3 w 38"/>
                    <a:gd name="T55" fmla="*/ 4 h 34"/>
                    <a:gd name="T56" fmla="*/ 3 w 38"/>
                    <a:gd name="T57" fmla="*/ 4 h 34"/>
                    <a:gd name="T58" fmla="*/ 3 w 38"/>
                    <a:gd name="T59" fmla="*/ 4 h 34"/>
                    <a:gd name="T60" fmla="*/ 3 w 38"/>
                    <a:gd name="T61" fmla="*/ 5 h 34"/>
                    <a:gd name="T62" fmla="*/ 3 w 38"/>
                    <a:gd name="T63" fmla="*/ 8 h 34"/>
                    <a:gd name="T64" fmla="*/ 2 w 38"/>
                    <a:gd name="T65" fmla="*/ 8 h 34"/>
                    <a:gd name="T66" fmla="*/ 0 w 38"/>
                    <a:gd name="T67" fmla="*/ 10 h 34"/>
                    <a:gd name="T68" fmla="*/ 0 w 38"/>
                    <a:gd name="T69" fmla="*/ 16 h 34"/>
                    <a:gd name="T70" fmla="*/ 3 w 38"/>
                    <a:gd name="T71" fmla="*/ 19 h 34"/>
                    <a:gd name="T72" fmla="*/ 12 w 38"/>
                    <a:gd name="T73" fmla="*/ 34 h 34"/>
                    <a:gd name="T74" fmla="*/ 26 w 38"/>
                    <a:gd name="T75" fmla="*/ 34 h 34"/>
                    <a:gd name="T76" fmla="*/ 35 w 38"/>
                    <a:gd name="T77" fmla="*/ 19 h 34"/>
                    <a:gd name="T78" fmla="*/ 38 w 38"/>
                    <a:gd name="T79" fmla="*/ 16 h 34"/>
                    <a:gd name="T80" fmla="*/ 38 w 38"/>
                    <a:gd name="T81" fmla="*/ 10 h 34"/>
                    <a:gd name="T82" fmla="*/ 36 w 38"/>
                    <a:gd name="T8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 h="34">
                      <a:moveTo>
                        <a:pt x="36" y="8"/>
                      </a:moveTo>
                      <a:cubicBezTo>
                        <a:pt x="36" y="8"/>
                        <a:pt x="36" y="8"/>
                        <a:pt x="35" y="8"/>
                      </a:cubicBezTo>
                      <a:cubicBezTo>
                        <a:pt x="35" y="5"/>
                        <a:pt x="35" y="5"/>
                        <a:pt x="35" y="5"/>
                      </a:cubicBezTo>
                      <a:cubicBezTo>
                        <a:pt x="35" y="5"/>
                        <a:pt x="35" y="5"/>
                        <a:pt x="35" y="5"/>
                      </a:cubicBezTo>
                      <a:cubicBezTo>
                        <a:pt x="35" y="4"/>
                        <a:pt x="35" y="4"/>
                        <a:pt x="35" y="4"/>
                      </a:cubicBezTo>
                      <a:cubicBezTo>
                        <a:pt x="35" y="4"/>
                        <a:pt x="35" y="4"/>
                        <a:pt x="35" y="4"/>
                      </a:cubicBezTo>
                      <a:cubicBezTo>
                        <a:pt x="35" y="4"/>
                        <a:pt x="35" y="4"/>
                        <a:pt x="35" y="4"/>
                      </a:cubicBezTo>
                      <a:cubicBezTo>
                        <a:pt x="35" y="3"/>
                        <a:pt x="35" y="3"/>
                        <a:pt x="35" y="3"/>
                      </a:cubicBezTo>
                      <a:cubicBezTo>
                        <a:pt x="35" y="3"/>
                        <a:pt x="35" y="3"/>
                        <a:pt x="35" y="3"/>
                      </a:cubicBezTo>
                      <a:cubicBezTo>
                        <a:pt x="35" y="3"/>
                        <a:pt x="35" y="3"/>
                        <a:pt x="35" y="3"/>
                      </a:cubicBezTo>
                      <a:cubicBezTo>
                        <a:pt x="35" y="2"/>
                        <a:pt x="35" y="2"/>
                        <a:pt x="34" y="2"/>
                      </a:cubicBezTo>
                      <a:cubicBezTo>
                        <a:pt x="34" y="2"/>
                        <a:pt x="34" y="2"/>
                        <a:pt x="34" y="2"/>
                      </a:cubicBezTo>
                      <a:cubicBezTo>
                        <a:pt x="34" y="2"/>
                        <a:pt x="34" y="1"/>
                        <a:pt x="34" y="1"/>
                      </a:cubicBezTo>
                      <a:cubicBezTo>
                        <a:pt x="34" y="1"/>
                        <a:pt x="34" y="1"/>
                        <a:pt x="34" y="1"/>
                      </a:cubicBezTo>
                      <a:cubicBezTo>
                        <a:pt x="34" y="1"/>
                        <a:pt x="34" y="1"/>
                        <a:pt x="34" y="1"/>
                      </a:cubicBezTo>
                      <a:cubicBezTo>
                        <a:pt x="34" y="1"/>
                        <a:pt x="34" y="1"/>
                        <a:pt x="34" y="1"/>
                      </a:cubicBezTo>
                      <a:cubicBezTo>
                        <a:pt x="33" y="1"/>
                        <a:pt x="32" y="1"/>
                        <a:pt x="31" y="1"/>
                      </a:cubicBezTo>
                      <a:cubicBezTo>
                        <a:pt x="28" y="1"/>
                        <a:pt x="27" y="1"/>
                        <a:pt x="25" y="0"/>
                      </a:cubicBezTo>
                      <a:cubicBezTo>
                        <a:pt x="23" y="1"/>
                        <a:pt x="19" y="1"/>
                        <a:pt x="15" y="1"/>
                      </a:cubicBezTo>
                      <a:cubicBezTo>
                        <a:pt x="11" y="1"/>
                        <a:pt x="8" y="0"/>
                        <a:pt x="5" y="0"/>
                      </a:cubicBezTo>
                      <a:cubicBezTo>
                        <a:pt x="5" y="0"/>
                        <a:pt x="4" y="1"/>
                        <a:pt x="4" y="1"/>
                      </a:cubicBezTo>
                      <a:cubicBezTo>
                        <a:pt x="4" y="1"/>
                        <a:pt x="4" y="1"/>
                        <a:pt x="4" y="1"/>
                      </a:cubicBezTo>
                      <a:cubicBezTo>
                        <a:pt x="4" y="2"/>
                        <a:pt x="3" y="2"/>
                        <a:pt x="3" y="2"/>
                      </a:cubicBezTo>
                      <a:cubicBezTo>
                        <a:pt x="3" y="2"/>
                        <a:pt x="3" y="2"/>
                        <a:pt x="3" y="2"/>
                      </a:cubicBezTo>
                      <a:cubicBezTo>
                        <a:pt x="3" y="2"/>
                        <a:pt x="3" y="3"/>
                        <a:pt x="3" y="3"/>
                      </a:cubicBezTo>
                      <a:cubicBezTo>
                        <a:pt x="3" y="3"/>
                        <a:pt x="3" y="3"/>
                        <a:pt x="3" y="3"/>
                      </a:cubicBezTo>
                      <a:cubicBezTo>
                        <a:pt x="3" y="3"/>
                        <a:pt x="3" y="3"/>
                        <a:pt x="3" y="3"/>
                      </a:cubicBezTo>
                      <a:cubicBezTo>
                        <a:pt x="3" y="4"/>
                        <a:pt x="3" y="4"/>
                        <a:pt x="3" y="4"/>
                      </a:cubicBezTo>
                      <a:cubicBezTo>
                        <a:pt x="3" y="4"/>
                        <a:pt x="3" y="4"/>
                        <a:pt x="3" y="4"/>
                      </a:cubicBezTo>
                      <a:cubicBezTo>
                        <a:pt x="3" y="4"/>
                        <a:pt x="3" y="4"/>
                        <a:pt x="3" y="4"/>
                      </a:cubicBezTo>
                      <a:cubicBezTo>
                        <a:pt x="3" y="5"/>
                        <a:pt x="3" y="5"/>
                        <a:pt x="3" y="5"/>
                      </a:cubicBezTo>
                      <a:cubicBezTo>
                        <a:pt x="3" y="8"/>
                        <a:pt x="3" y="8"/>
                        <a:pt x="3" y="8"/>
                      </a:cubicBezTo>
                      <a:cubicBezTo>
                        <a:pt x="2" y="8"/>
                        <a:pt x="2" y="8"/>
                        <a:pt x="2" y="8"/>
                      </a:cubicBezTo>
                      <a:cubicBezTo>
                        <a:pt x="1" y="8"/>
                        <a:pt x="0" y="9"/>
                        <a:pt x="0" y="10"/>
                      </a:cubicBezTo>
                      <a:cubicBezTo>
                        <a:pt x="0" y="16"/>
                        <a:pt x="0" y="16"/>
                        <a:pt x="0" y="16"/>
                      </a:cubicBezTo>
                      <a:cubicBezTo>
                        <a:pt x="0" y="18"/>
                        <a:pt x="1" y="19"/>
                        <a:pt x="3" y="19"/>
                      </a:cubicBezTo>
                      <a:cubicBezTo>
                        <a:pt x="3" y="19"/>
                        <a:pt x="7" y="34"/>
                        <a:pt x="12" y="34"/>
                      </a:cubicBezTo>
                      <a:cubicBezTo>
                        <a:pt x="26" y="34"/>
                        <a:pt x="26" y="34"/>
                        <a:pt x="26" y="34"/>
                      </a:cubicBezTo>
                      <a:cubicBezTo>
                        <a:pt x="31" y="34"/>
                        <a:pt x="35" y="19"/>
                        <a:pt x="35" y="19"/>
                      </a:cubicBezTo>
                      <a:cubicBezTo>
                        <a:pt x="37" y="19"/>
                        <a:pt x="38" y="18"/>
                        <a:pt x="38" y="16"/>
                      </a:cubicBezTo>
                      <a:cubicBezTo>
                        <a:pt x="38" y="10"/>
                        <a:pt x="38" y="10"/>
                        <a:pt x="38" y="10"/>
                      </a:cubicBezTo>
                      <a:cubicBezTo>
                        <a:pt x="38" y="9"/>
                        <a:pt x="37" y="8"/>
                        <a:pt x="36" y="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02" name="Freeform 51"/>
                <p:cNvSpPr>
                  <a:spLocks noEditPoints="1"/>
                </p:cNvSpPr>
                <p:nvPr/>
              </p:nvSpPr>
              <p:spPr bwMode="auto">
                <a:xfrm>
                  <a:off x="6990499" y="3242506"/>
                  <a:ext cx="169251" cy="56417"/>
                </a:xfrm>
                <a:custGeom>
                  <a:avLst/>
                  <a:gdLst>
                    <a:gd name="T0" fmla="*/ 32 w 33"/>
                    <a:gd name="T1" fmla="*/ 1 h 11"/>
                    <a:gd name="T2" fmla="*/ 24 w 33"/>
                    <a:gd name="T3" fmla="*/ 1 h 11"/>
                    <a:gd name="T4" fmla="*/ 16 w 33"/>
                    <a:gd name="T5" fmla="*/ 2 h 11"/>
                    <a:gd name="T6" fmla="*/ 9 w 33"/>
                    <a:gd name="T7" fmla="*/ 1 h 11"/>
                    <a:gd name="T8" fmla="*/ 0 w 33"/>
                    <a:gd name="T9" fmla="*/ 1 h 11"/>
                    <a:gd name="T10" fmla="*/ 0 w 33"/>
                    <a:gd name="T11" fmla="*/ 2 h 11"/>
                    <a:gd name="T12" fmla="*/ 1 w 33"/>
                    <a:gd name="T13" fmla="*/ 4 h 11"/>
                    <a:gd name="T14" fmla="*/ 2 w 33"/>
                    <a:gd name="T15" fmla="*/ 6 h 11"/>
                    <a:gd name="T16" fmla="*/ 10 w 33"/>
                    <a:gd name="T17" fmla="*/ 10 h 11"/>
                    <a:gd name="T18" fmla="*/ 15 w 33"/>
                    <a:gd name="T19" fmla="*/ 5 h 11"/>
                    <a:gd name="T20" fmla="*/ 16 w 33"/>
                    <a:gd name="T21" fmla="*/ 4 h 11"/>
                    <a:gd name="T22" fmla="*/ 18 w 33"/>
                    <a:gd name="T23" fmla="*/ 5 h 11"/>
                    <a:gd name="T24" fmla="*/ 23 w 33"/>
                    <a:gd name="T25" fmla="*/ 10 h 11"/>
                    <a:gd name="T26" fmla="*/ 31 w 33"/>
                    <a:gd name="T27" fmla="*/ 6 h 11"/>
                    <a:gd name="T28" fmla="*/ 32 w 33"/>
                    <a:gd name="T29" fmla="*/ 4 h 11"/>
                    <a:gd name="T30" fmla="*/ 32 w 33"/>
                    <a:gd name="T31" fmla="*/ 2 h 11"/>
                    <a:gd name="T32" fmla="*/ 32 w 33"/>
                    <a:gd name="T33" fmla="*/ 1 h 11"/>
                    <a:gd name="T34" fmla="*/ 12 w 33"/>
                    <a:gd name="T35" fmla="*/ 8 h 11"/>
                    <a:gd name="T36" fmla="*/ 7 w 33"/>
                    <a:gd name="T37" fmla="*/ 10 h 11"/>
                    <a:gd name="T38" fmla="*/ 3 w 33"/>
                    <a:gd name="T39" fmla="*/ 4 h 11"/>
                    <a:gd name="T40" fmla="*/ 9 w 33"/>
                    <a:gd name="T41" fmla="*/ 2 h 11"/>
                    <a:gd name="T42" fmla="*/ 13 w 33"/>
                    <a:gd name="T43" fmla="*/ 3 h 11"/>
                    <a:gd name="T44" fmla="*/ 12 w 33"/>
                    <a:gd name="T45" fmla="*/ 8 h 11"/>
                    <a:gd name="T46" fmla="*/ 26 w 33"/>
                    <a:gd name="T47" fmla="*/ 10 h 11"/>
                    <a:gd name="T48" fmla="*/ 20 w 33"/>
                    <a:gd name="T49" fmla="*/ 8 h 11"/>
                    <a:gd name="T50" fmla="*/ 20 w 33"/>
                    <a:gd name="T51" fmla="*/ 3 h 11"/>
                    <a:gd name="T52" fmla="*/ 24 w 33"/>
                    <a:gd name="T53" fmla="*/ 2 h 11"/>
                    <a:gd name="T54" fmla="*/ 30 w 33"/>
                    <a:gd name="T55" fmla="*/ 4 h 11"/>
                    <a:gd name="T56" fmla="*/ 26 w 33"/>
                    <a:gd name="T5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11">
                      <a:moveTo>
                        <a:pt x="32" y="1"/>
                      </a:moveTo>
                      <a:cubicBezTo>
                        <a:pt x="32" y="1"/>
                        <a:pt x="28" y="0"/>
                        <a:pt x="24" y="1"/>
                      </a:cubicBezTo>
                      <a:cubicBezTo>
                        <a:pt x="21" y="1"/>
                        <a:pt x="18" y="2"/>
                        <a:pt x="16" y="2"/>
                      </a:cubicBezTo>
                      <a:cubicBezTo>
                        <a:pt x="15" y="2"/>
                        <a:pt x="12" y="1"/>
                        <a:pt x="9" y="1"/>
                      </a:cubicBezTo>
                      <a:cubicBezTo>
                        <a:pt x="5" y="0"/>
                        <a:pt x="0" y="1"/>
                        <a:pt x="0" y="1"/>
                      </a:cubicBezTo>
                      <a:cubicBezTo>
                        <a:pt x="0" y="1"/>
                        <a:pt x="0" y="2"/>
                        <a:pt x="0" y="2"/>
                      </a:cubicBezTo>
                      <a:cubicBezTo>
                        <a:pt x="0" y="3"/>
                        <a:pt x="0" y="3"/>
                        <a:pt x="1" y="4"/>
                      </a:cubicBezTo>
                      <a:cubicBezTo>
                        <a:pt x="2" y="4"/>
                        <a:pt x="2" y="6"/>
                        <a:pt x="2" y="6"/>
                      </a:cubicBezTo>
                      <a:cubicBezTo>
                        <a:pt x="3" y="10"/>
                        <a:pt x="6" y="11"/>
                        <a:pt x="10" y="10"/>
                      </a:cubicBezTo>
                      <a:cubicBezTo>
                        <a:pt x="14" y="10"/>
                        <a:pt x="15" y="5"/>
                        <a:pt x="15" y="5"/>
                      </a:cubicBezTo>
                      <a:cubicBezTo>
                        <a:pt x="16" y="4"/>
                        <a:pt x="16" y="4"/>
                        <a:pt x="16" y="4"/>
                      </a:cubicBezTo>
                      <a:cubicBezTo>
                        <a:pt x="16" y="4"/>
                        <a:pt x="17" y="4"/>
                        <a:pt x="18" y="5"/>
                      </a:cubicBezTo>
                      <a:cubicBezTo>
                        <a:pt x="18" y="5"/>
                        <a:pt x="19" y="10"/>
                        <a:pt x="23" y="10"/>
                      </a:cubicBezTo>
                      <a:cubicBezTo>
                        <a:pt x="27" y="11"/>
                        <a:pt x="30" y="10"/>
                        <a:pt x="31" y="6"/>
                      </a:cubicBezTo>
                      <a:cubicBezTo>
                        <a:pt x="31" y="6"/>
                        <a:pt x="31" y="4"/>
                        <a:pt x="32" y="4"/>
                      </a:cubicBezTo>
                      <a:cubicBezTo>
                        <a:pt x="32" y="3"/>
                        <a:pt x="32" y="3"/>
                        <a:pt x="32" y="2"/>
                      </a:cubicBezTo>
                      <a:cubicBezTo>
                        <a:pt x="33" y="2"/>
                        <a:pt x="33" y="1"/>
                        <a:pt x="32" y="1"/>
                      </a:cubicBezTo>
                      <a:close/>
                      <a:moveTo>
                        <a:pt x="12" y="8"/>
                      </a:moveTo>
                      <a:cubicBezTo>
                        <a:pt x="11" y="10"/>
                        <a:pt x="9" y="10"/>
                        <a:pt x="7" y="10"/>
                      </a:cubicBezTo>
                      <a:cubicBezTo>
                        <a:pt x="4" y="9"/>
                        <a:pt x="3" y="7"/>
                        <a:pt x="3" y="4"/>
                      </a:cubicBezTo>
                      <a:cubicBezTo>
                        <a:pt x="3" y="1"/>
                        <a:pt x="9" y="2"/>
                        <a:pt x="9" y="2"/>
                      </a:cubicBezTo>
                      <a:cubicBezTo>
                        <a:pt x="11" y="2"/>
                        <a:pt x="11" y="2"/>
                        <a:pt x="13" y="3"/>
                      </a:cubicBezTo>
                      <a:cubicBezTo>
                        <a:pt x="15" y="3"/>
                        <a:pt x="14" y="7"/>
                        <a:pt x="12" y="8"/>
                      </a:cubicBezTo>
                      <a:close/>
                      <a:moveTo>
                        <a:pt x="26" y="10"/>
                      </a:moveTo>
                      <a:cubicBezTo>
                        <a:pt x="24" y="10"/>
                        <a:pt x="22" y="10"/>
                        <a:pt x="20" y="8"/>
                      </a:cubicBezTo>
                      <a:cubicBezTo>
                        <a:pt x="19" y="7"/>
                        <a:pt x="18" y="3"/>
                        <a:pt x="20" y="3"/>
                      </a:cubicBezTo>
                      <a:cubicBezTo>
                        <a:pt x="22" y="2"/>
                        <a:pt x="22" y="2"/>
                        <a:pt x="24" y="2"/>
                      </a:cubicBezTo>
                      <a:cubicBezTo>
                        <a:pt x="24" y="2"/>
                        <a:pt x="30" y="1"/>
                        <a:pt x="30" y="4"/>
                      </a:cubicBezTo>
                      <a:cubicBezTo>
                        <a:pt x="30" y="7"/>
                        <a:pt x="29" y="9"/>
                        <a:pt x="26"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03" name="Oval 52"/>
                <p:cNvSpPr>
                  <a:spLocks noChangeArrowheads="1"/>
                </p:cNvSpPr>
                <p:nvPr/>
              </p:nvSpPr>
              <p:spPr bwMode="auto">
                <a:xfrm>
                  <a:off x="6995514" y="3252536"/>
                  <a:ext cx="5015" cy="50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04" name="Freeform 32"/>
                <p:cNvSpPr>
                  <a:spLocks/>
                </p:cNvSpPr>
                <p:nvPr/>
              </p:nvSpPr>
              <p:spPr bwMode="auto">
                <a:xfrm>
                  <a:off x="7149719" y="3438085"/>
                  <a:ext cx="209369" cy="549124"/>
                </a:xfrm>
                <a:custGeom>
                  <a:avLst/>
                  <a:gdLst>
                    <a:gd name="T0" fmla="*/ 0 w 41"/>
                    <a:gd name="T1" fmla="*/ 4 h 107"/>
                    <a:gd name="T2" fmla="*/ 16 w 41"/>
                    <a:gd name="T3" fmla="*/ 0 h 107"/>
                    <a:gd name="T4" fmla="*/ 41 w 41"/>
                    <a:gd name="T5" fmla="*/ 107 h 107"/>
                    <a:gd name="T6" fmla="*/ 25 w 41"/>
                    <a:gd name="T7" fmla="*/ 107 h 107"/>
                    <a:gd name="T8" fmla="*/ 0 w 41"/>
                    <a:gd name="T9" fmla="*/ 4 h 107"/>
                  </a:gdLst>
                  <a:ahLst/>
                  <a:cxnLst>
                    <a:cxn ang="0">
                      <a:pos x="T0" y="T1"/>
                    </a:cxn>
                    <a:cxn ang="0">
                      <a:pos x="T2" y="T3"/>
                    </a:cxn>
                    <a:cxn ang="0">
                      <a:pos x="T4" y="T5"/>
                    </a:cxn>
                    <a:cxn ang="0">
                      <a:pos x="T6" y="T7"/>
                    </a:cxn>
                    <a:cxn ang="0">
                      <a:pos x="T8" y="T9"/>
                    </a:cxn>
                  </a:cxnLst>
                  <a:rect l="0" t="0" r="r" b="b"/>
                  <a:pathLst>
                    <a:path w="41" h="107">
                      <a:moveTo>
                        <a:pt x="0" y="4"/>
                      </a:moveTo>
                      <a:cubicBezTo>
                        <a:pt x="5" y="3"/>
                        <a:pt x="11" y="1"/>
                        <a:pt x="16" y="0"/>
                      </a:cubicBezTo>
                      <a:cubicBezTo>
                        <a:pt x="32" y="34"/>
                        <a:pt x="38" y="69"/>
                        <a:pt x="41" y="107"/>
                      </a:cubicBezTo>
                      <a:cubicBezTo>
                        <a:pt x="25" y="107"/>
                        <a:pt x="25" y="107"/>
                        <a:pt x="25" y="107"/>
                      </a:cubicBezTo>
                      <a:cubicBezTo>
                        <a:pt x="21" y="71"/>
                        <a:pt x="15" y="37"/>
                        <a:pt x="0"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nvGrpSpPr>
              <p:cNvPr id="315" name="Group 314"/>
              <p:cNvGrpSpPr/>
              <p:nvPr/>
            </p:nvGrpSpPr>
            <p:grpSpPr>
              <a:xfrm>
                <a:off x="5503885" y="3189504"/>
                <a:ext cx="904327" cy="2509861"/>
                <a:chOff x="7138436" y="2914035"/>
                <a:chExt cx="641898" cy="1781518"/>
              </a:xfrm>
            </p:grpSpPr>
            <p:sp>
              <p:nvSpPr>
                <p:cNvPr id="352" name="Freeform 36"/>
                <p:cNvSpPr>
                  <a:spLocks/>
                </p:cNvSpPr>
                <p:nvPr/>
              </p:nvSpPr>
              <p:spPr bwMode="auto">
                <a:xfrm>
                  <a:off x="7287627" y="3987208"/>
                  <a:ext cx="61432" cy="66447"/>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2" y="13"/>
                        <a:pt x="6" y="13"/>
                      </a:cubicBezTo>
                      <a:cubicBezTo>
                        <a:pt x="9"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53" name="Freeform 38"/>
                <p:cNvSpPr>
                  <a:spLocks/>
                </p:cNvSpPr>
                <p:nvPr/>
              </p:nvSpPr>
              <p:spPr bwMode="auto">
                <a:xfrm>
                  <a:off x="7154734" y="3227462"/>
                  <a:ext cx="0" cy="501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54" name="Freeform 39"/>
                <p:cNvSpPr>
                  <a:spLocks/>
                </p:cNvSpPr>
                <p:nvPr/>
              </p:nvSpPr>
              <p:spPr bwMode="auto">
                <a:xfrm>
                  <a:off x="7154734" y="32274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55" name="Freeform 40"/>
                <p:cNvSpPr>
                  <a:spLocks/>
                </p:cNvSpPr>
                <p:nvPr/>
              </p:nvSpPr>
              <p:spPr bwMode="auto">
                <a:xfrm>
                  <a:off x="7149719" y="321743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56" name="Freeform 41"/>
                <p:cNvSpPr>
                  <a:spLocks/>
                </p:cNvSpPr>
                <p:nvPr/>
              </p:nvSpPr>
              <p:spPr bwMode="auto">
                <a:xfrm>
                  <a:off x="7149719" y="322244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57" name="Freeform 43"/>
                <p:cNvSpPr>
                  <a:spLocks/>
                </p:cNvSpPr>
                <p:nvPr/>
              </p:nvSpPr>
              <p:spPr bwMode="auto">
                <a:xfrm>
                  <a:off x="7154734" y="323247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58" name="Freeform 44"/>
                <p:cNvSpPr>
                  <a:spLocks/>
                </p:cNvSpPr>
                <p:nvPr/>
              </p:nvSpPr>
              <p:spPr bwMode="auto">
                <a:xfrm>
                  <a:off x="7154734" y="32374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59" name="Rectangle 45"/>
                <p:cNvSpPr>
                  <a:spLocks noChangeArrowheads="1"/>
                </p:cNvSpPr>
                <p:nvPr/>
              </p:nvSpPr>
              <p:spPr bwMode="auto">
                <a:xfrm>
                  <a:off x="7149719" y="3217432"/>
                  <a:ext cx="1254" cy="1254"/>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60" name="Oval 53"/>
                <p:cNvSpPr>
                  <a:spLocks noChangeArrowheads="1"/>
                </p:cNvSpPr>
                <p:nvPr/>
              </p:nvSpPr>
              <p:spPr bwMode="auto">
                <a:xfrm>
                  <a:off x="7149719" y="3252536"/>
                  <a:ext cx="5015" cy="50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61" name="Freeform 54"/>
                <p:cNvSpPr>
                  <a:spLocks/>
                </p:cNvSpPr>
                <p:nvPr/>
              </p:nvSpPr>
              <p:spPr bwMode="auto">
                <a:xfrm>
                  <a:off x="7390431" y="3217432"/>
                  <a:ext cx="137908" cy="147937"/>
                </a:xfrm>
                <a:custGeom>
                  <a:avLst/>
                  <a:gdLst>
                    <a:gd name="T0" fmla="*/ 0 w 110"/>
                    <a:gd name="T1" fmla="*/ 12 h 118"/>
                    <a:gd name="T2" fmla="*/ 8 w 110"/>
                    <a:gd name="T3" fmla="*/ 0 h 118"/>
                    <a:gd name="T4" fmla="*/ 98 w 110"/>
                    <a:gd name="T5" fmla="*/ 0 h 118"/>
                    <a:gd name="T6" fmla="*/ 110 w 110"/>
                    <a:gd name="T7" fmla="*/ 12 h 118"/>
                    <a:gd name="T8" fmla="*/ 82 w 110"/>
                    <a:gd name="T9" fmla="*/ 110 h 118"/>
                    <a:gd name="T10" fmla="*/ 41 w 110"/>
                    <a:gd name="T11" fmla="*/ 118 h 118"/>
                    <a:gd name="T12" fmla="*/ 4 w 110"/>
                    <a:gd name="T13" fmla="*/ 73 h 118"/>
                    <a:gd name="T14" fmla="*/ 0 w 110"/>
                    <a:gd name="T15" fmla="*/ 12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118">
                      <a:moveTo>
                        <a:pt x="0" y="12"/>
                      </a:moveTo>
                      <a:lnTo>
                        <a:pt x="8" y="0"/>
                      </a:lnTo>
                      <a:lnTo>
                        <a:pt x="98" y="0"/>
                      </a:lnTo>
                      <a:lnTo>
                        <a:pt x="110" y="12"/>
                      </a:lnTo>
                      <a:lnTo>
                        <a:pt x="82" y="110"/>
                      </a:lnTo>
                      <a:lnTo>
                        <a:pt x="41" y="118"/>
                      </a:lnTo>
                      <a:lnTo>
                        <a:pt x="4" y="73"/>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62" name="Freeform 55"/>
                <p:cNvSpPr>
                  <a:spLocks/>
                </p:cNvSpPr>
                <p:nvPr/>
              </p:nvSpPr>
              <p:spPr bwMode="auto">
                <a:xfrm>
                  <a:off x="7307686" y="4624091"/>
                  <a:ext cx="139162" cy="71462"/>
                </a:xfrm>
                <a:custGeom>
                  <a:avLst/>
                  <a:gdLst>
                    <a:gd name="T0" fmla="*/ 14 w 27"/>
                    <a:gd name="T1" fmla="*/ 0 h 14"/>
                    <a:gd name="T2" fmla="*/ 0 w 27"/>
                    <a:gd name="T3" fmla="*/ 14 h 14"/>
                    <a:gd name="T4" fmla="*/ 27 w 27"/>
                    <a:gd name="T5" fmla="*/ 14 h 14"/>
                    <a:gd name="T6" fmla="*/ 14 w 27"/>
                    <a:gd name="T7" fmla="*/ 0 h 14"/>
                  </a:gdLst>
                  <a:ahLst/>
                  <a:cxnLst>
                    <a:cxn ang="0">
                      <a:pos x="T0" y="T1"/>
                    </a:cxn>
                    <a:cxn ang="0">
                      <a:pos x="T2" y="T3"/>
                    </a:cxn>
                    <a:cxn ang="0">
                      <a:pos x="T4" y="T5"/>
                    </a:cxn>
                    <a:cxn ang="0">
                      <a:pos x="T6" y="T7"/>
                    </a:cxn>
                  </a:cxnLst>
                  <a:rect l="0" t="0" r="r" b="b"/>
                  <a:pathLst>
                    <a:path w="27" h="14">
                      <a:moveTo>
                        <a:pt x="14" y="0"/>
                      </a:moveTo>
                      <a:cubicBezTo>
                        <a:pt x="6" y="0"/>
                        <a:pt x="0" y="6"/>
                        <a:pt x="0" y="14"/>
                      </a:cubicBezTo>
                      <a:cubicBezTo>
                        <a:pt x="27" y="14"/>
                        <a:pt x="27" y="14"/>
                        <a:pt x="27" y="14"/>
                      </a:cubicBezTo>
                      <a:cubicBezTo>
                        <a:pt x="27" y="6"/>
                        <a:pt x="21" y="0"/>
                        <a:pt x="1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63" name="Freeform 56"/>
                <p:cNvSpPr>
                  <a:spLocks/>
                </p:cNvSpPr>
                <p:nvPr/>
              </p:nvSpPr>
              <p:spPr bwMode="auto">
                <a:xfrm>
                  <a:off x="7292642" y="3874375"/>
                  <a:ext cx="174266" cy="764761"/>
                </a:xfrm>
                <a:custGeom>
                  <a:avLst/>
                  <a:gdLst>
                    <a:gd name="T0" fmla="*/ 106 w 139"/>
                    <a:gd name="T1" fmla="*/ 610 h 610"/>
                    <a:gd name="T2" fmla="*/ 25 w 139"/>
                    <a:gd name="T3" fmla="*/ 610 h 610"/>
                    <a:gd name="T4" fmla="*/ 0 w 139"/>
                    <a:gd name="T5" fmla="*/ 0 h 610"/>
                    <a:gd name="T6" fmla="*/ 139 w 139"/>
                    <a:gd name="T7" fmla="*/ 0 h 610"/>
                    <a:gd name="T8" fmla="*/ 106 w 139"/>
                    <a:gd name="T9" fmla="*/ 610 h 610"/>
                  </a:gdLst>
                  <a:ahLst/>
                  <a:cxnLst>
                    <a:cxn ang="0">
                      <a:pos x="T0" y="T1"/>
                    </a:cxn>
                    <a:cxn ang="0">
                      <a:pos x="T2" y="T3"/>
                    </a:cxn>
                    <a:cxn ang="0">
                      <a:pos x="T4" y="T5"/>
                    </a:cxn>
                    <a:cxn ang="0">
                      <a:pos x="T6" y="T7"/>
                    </a:cxn>
                    <a:cxn ang="0">
                      <a:pos x="T8" y="T9"/>
                    </a:cxn>
                  </a:cxnLst>
                  <a:rect l="0" t="0" r="r" b="b"/>
                  <a:pathLst>
                    <a:path w="139" h="610">
                      <a:moveTo>
                        <a:pt x="106" y="610"/>
                      </a:moveTo>
                      <a:lnTo>
                        <a:pt x="25" y="610"/>
                      </a:lnTo>
                      <a:lnTo>
                        <a:pt x="0" y="0"/>
                      </a:lnTo>
                      <a:lnTo>
                        <a:pt x="139" y="0"/>
                      </a:lnTo>
                      <a:lnTo>
                        <a:pt x="106" y="6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64" name="Freeform 57"/>
                <p:cNvSpPr>
                  <a:spLocks/>
                </p:cNvSpPr>
                <p:nvPr/>
              </p:nvSpPr>
              <p:spPr bwMode="auto">
                <a:xfrm>
                  <a:off x="7446848" y="3874375"/>
                  <a:ext cx="174266" cy="764761"/>
                </a:xfrm>
                <a:custGeom>
                  <a:avLst/>
                  <a:gdLst>
                    <a:gd name="T0" fmla="*/ 114 w 139"/>
                    <a:gd name="T1" fmla="*/ 610 h 610"/>
                    <a:gd name="T2" fmla="*/ 33 w 139"/>
                    <a:gd name="T3" fmla="*/ 610 h 610"/>
                    <a:gd name="T4" fmla="*/ 0 w 139"/>
                    <a:gd name="T5" fmla="*/ 0 h 610"/>
                    <a:gd name="T6" fmla="*/ 139 w 139"/>
                    <a:gd name="T7" fmla="*/ 0 h 610"/>
                    <a:gd name="T8" fmla="*/ 114 w 139"/>
                    <a:gd name="T9" fmla="*/ 610 h 610"/>
                  </a:gdLst>
                  <a:ahLst/>
                  <a:cxnLst>
                    <a:cxn ang="0">
                      <a:pos x="T0" y="T1"/>
                    </a:cxn>
                    <a:cxn ang="0">
                      <a:pos x="T2" y="T3"/>
                    </a:cxn>
                    <a:cxn ang="0">
                      <a:pos x="T4" y="T5"/>
                    </a:cxn>
                    <a:cxn ang="0">
                      <a:pos x="T6" y="T7"/>
                    </a:cxn>
                    <a:cxn ang="0">
                      <a:pos x="T8" y="T9"/>
                    </a:cxn>
                  </a:cxnLst>
                  <a:rect l="0" t="0" r="r" b="b"/>
                  <a:pathLst>
                    <a:path w="139" h="610">
                      <a:moveTo>
                        <a:pt x="114" y="610"/>
                      </a:moveTo>
                      <a:lnTo>
                        <a:pt x="33" y="610"/>
                      </a:lnTo>
                      <a:lnTo>
                        <a:pt x="0" y="0"/>
                      </a:lnTo>
                      <a:lnTo>
                        <a:pt x="139" y="0"/>
                      </a:lnTo>
                      <a:lnTo>
                        <a:pt x="114" y="6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65" name="Freeform 58"/>
                <p:cNvSpPr>
                  <a:spLocks/>
                </p:cNvSpPr>
                <p:nvPr/>
              </p:nvSpPr>
              <p:spPr bwMode="auto">
                <a:xfrm>
                  <a:off x="7471922" y="4624091"/>
                  <a:ext cx="139162" cy="71462"/>
                </a:xfrm>
                <a:custGeom>
                  <a:avLst/>
                  <a:gdLst>
                    <a:gd name="T0" fmla="*/ 13 w 27"/>
                    <a:gd name="T1" fmla="*/ 0 h 14"/>
                    <a:gd name="T2" fmla="*/ 0 w 27"/>
                    <a:gd name="T3" fmla="*/ 14 h 14"/>
                    <a:gd name="T4" fmla="*/ 27 w 27"/>
                    <a:gd name="T5" fmla="*/ 14 h 14"/>
                    <a:gd name="T6" fmla="*/ 13 w 27"/>
                    <a:gd name="T7" fmla="*/ 0 h 14"/>
                  </a:gdLst>
                  <a:ahLst/>
                  <a:cxnLst>
                    <a:cxn ang="0">
                      <a:pos x="T0" y="T1"/>
                    </a:cxn>
                    <a:cxn ang="0">
                      <a:pos x="T2" y="T3"/>
                    </a:cxn>
                    <a:cxn ang="0">
                      <a:pos x="T4" y="T5"/>
                    </a:cxn>
                    <a:cxn ang="0">
                      <a:pos x="T6" y="T7"/>
                    </a:cxn>
                  </a:cxnLst>
                  <a:rect l="0" t="0" r="r" b="b"/>
                  <a:pathLst>
                    <a:path w="27" h="14">
                      <a:moveTo>
                        <a:pt x="13" y="0"/>
                      </a:moveTo>
                      <a:cubicBezTo>
                        <a:pt x="6" y="0"/>
                        <a:pt x="0" y="6"/>
                        <a:pt x="0" y="14"/>
                      </a:cubicBezTo>
                      <a:cubicBezTo>
                        <a:pt x="27" y="14"/>
                        <a:pt x="27" y="14"/>
                        <a:pt x="27" y="14"/>
                      </a:cubicBezTo>
                      <a:cubicBezTo>
                        <a:pt x="27" y="6"/>
                        <a:pt x="21"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66" name="Freeform 59"/>
                <p:cNvSpPr>
                  <a:spLocks/>
                </p:cNvSpPr>
                <p:nvPr/>
              </p:nvSpPr>
              <p:spPr bwMode="auto">
                <a:xfrm>
                  <a:off x="7375386" y="3237492"/>
                  <a:ext cx="174266" cy="462618"/>
                </a:xfrm>
                <a:custGeom>
                  <a:avLst/>
                  <a:gdLst>
                    <a:gd name="T0" fmla="*/ 139 w 139"/>
                    <a:gd name="T1" fmla="*/ 78 h 369"/>
                    <a:gd name="T2" fmla="*/ 69 w 139"/>
                    <a:gd name="T3" fmla="*/ 0 h 369"/>
                    <a:gd name="T4" fmla="*/ 0 w 139"/>
                    <a:gd name="T5" fmla="*/ 70 h 369"/>
                    <a:gd name="T6" fmla="*/ 53 w 139"/>
                    <a:gd name="T7" fmla="*/ 340 h 369"/>
                    <a:gd name="T8" fmla="*/ 65 w 139"/>
                    <a:gd name="T9" fmla="*/ 369 h 369"/>
                    <a:gd name="T10" fmla="*/ 81 w 139"/>
                    <a:gd name="T11" fmla="*/ 340 h 369"/>
                    <a:gd name="T12" fmla="*/ 139 w 139"/>
                    <a:gd name="T13" fmla="*/ 78 h 369"/>
                  </a:gdLst>
                  <a:ahLst/>
                  <a:cxnLst>
                    <a:cxn ang="0">
                      <a:pos x="T0" y="T1"/>
                    </a:cxn>
                    <a:cxn ang="0">
                      <a:pos x="T2" y="T3"/>
                    </a:cxn>
                    <a:cxn ang="0">
                      <a:pos x="T4" y="T5"/>
                    </a:cxn>
                    <a:cxn ang="0">
                      <a:pos x="T6" y="T7"/>
                    </a:cxn>
                    <a:cxn ang="0">
                      <a:pos x="T8" y="T9"/>
                    </a:cxn>
                    <a:cxn ang="0">
                      <a:pos x="T10" y="T11"/>
                    </a:cxn>
                    <a:cxn ang="0">
                      <a:pos x="T12" y="T13"/>
                    </a:cxn>
                  </a:cxnLst>
                  <a:rect l="0" t="0" r="r" b="b"/>
                  <a:pathLst>
                    <a:path w="139" h="369">
                      <a:moveTo>
                        <a:pt x="139" y="78"/>
                      </a:moveTo>
                      <a:lnTo>
                        <a:pt x="69" y="0"/>
                      </a:lnTo>
                      <a:lnTo>
                        <a:pt x="0" y="70"/>
                      </a:lnTo>
                      <a:lnTo>
                        <a:pt x="53" y="340"/>
                      </a:lnTo>
                      <a:lnTo>
                        <a:pt x="65" y="369"/>
                      </a:lnTo>
                      <a:lnTo>
                        <a:pt x="81" y="340"/>
                      </a:lnTo>
                      <a:lnTo>
                        <a:pt x="139" y="7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67" name="Freeform 60"/>
                <p:cNvSpPr>
                  <a:spLocks/>
                </p:cNvSpPr>
                <p:nvPr/>
              </p:nvSpPr>
              <p:spPr bwMode="auto">
                <a:xfrm>
                  <a:off x="7359089" y="2924065"/>
                  <a:ext cx="215638" cy="272055"/>
                </a:xfrm>
                <a:custGeom>
                  <a:avLst/>
                  <a:gdLst>
                    <a:gd name="T0" fmla="*/ 37 w 42"/>
                    <a:gd name="T1" fmla="*/ 32 h 53"/>
                    <a:gd name="T2" fmla="*/ 15 w 42"/>
                    <a:gd name="T3" fmla="*/ 49 h 53"/>
                    <a:gd name="T4" fmla="*/ 4 w 42"/>
                    <a:gd name="T5" fmla="*/ 21 h 53"/>
                    <a:gd name="T6" fmla="*/ 31 w 42"/>
                    <a:gd name="T7" fmla="*/ 3 h 53"/>
                    <a:gd name="T8" fmla="*/ 37 w 42"/>
                    <a:gd name="T9" fmla="*/ 32 h 53"/>
                  </a:gdLst>
                  <a:ahLst/>
                  <a:cxnLst>
                    <a:cxn ang="0">
                      <a:pos x="T0" y="T1"/>
                    </a:cxn>
                    <a:cxn ang="0">
                      <a:pos x="T2" y="T3"/>
                    </a:cxn>
                    <a:cxn ang="0">
                      <a:pos x="T4" y="T5"/>
                    </a:cxn>
                    <a:cxn ang="0">
                      <a:pos x="T6" y="T7"/>
                    </a:cxn>
                    <a:cxn ang="0">
                      <a:pos x="T8" y="T9"/>
                    </a:cxn>
                  </a:cxnLst>
                  <a:rect l="0" t="0" r="r" b="b"/>
                  <a:pathLst>
                    <a:path w="42" h="53">
                      <a:moveTo>
                        <a:pt x="37" y="32"/>
                      </a:moveTo>
                      <a:cubicBezTo>
                        <a:pt x="30" y="53"/>
                        <a:pt x="25" y="52"/>
                        <a:pt x="15" y="49"/>
                      </a:cubicBezTo>
                      <a:cubicBezTo>
                        <a:pt x="5" y="46"/>
                        <a:pt x="0" y="33"/>
                        <a:pt x="4" y="21"/>
                      </a:cubicBezTo>
                      <a:cubicBezTo>
                        <a:pt x="8" y="9"/>
                        <a:pt x="21" y="0"/>
                        <a:pt x="31" y="3"/>
                      </a:cubicBezTo>
                      <a:cubicBezTo>
                        <a:pt x="41" y="6"/>
                        <a:pt x="42" y="20"/>
                        <a:pt x="37"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68" name="Freeform 61"/>
                <p:cNvSpPr>
                  <a:spLocks/>
                </p:cNvSpPr>
                <p:nvPr/>
              </p:nvSpPr>
              <p:spPr bwMode="auto">
                <a:xfrm>
                  <a:off x="7318970" y="2914035"/>
                  <a:ext cx="240712" cy="297129"/>
                </a:xfrm>
                <a:custGeom>
                  <a:avLst/>
                  <a:gdLst>
                    <a:gd name="T0" fmla="*/ 41 w 47"/>
                    <a:gd name="T1" fmla="*/ 11 h 58"/>
                    <a:gd name="T2" fmla="*/ 34 w 47"/>
                    <a:gd name="T3" fmla="*/ 49 h 58"/>
                    <a:gd name="T4" fmla="*/ 14 w 47"/>
                    <a:gd name="T5" fmla="*/ 47 h 58"/>
                    <a:gd name="T6" fmla="*/ 14 w 47"/>
                    <a:gd name="T7" fmla="*/ 4 h 58"/>
                    <a:gd name="T8" fmla="*/ 41 w 47"/>
                    <a:gd name="T9" fmla="*/ 11 h 58"/>
                  </a:gdLst>
                  <a:ahLst/>
                  <a:cxnLst>
                    <a:cxn ang="0">
                      <a:pos x="T0" y="T1"/>
                    </a:cxn>
                    <a:cxn ang="0">
                      <a:pos x="T2" y="T3"/>
                    </a:cxn>
                    <a:cxn ang="0">
                      <a:pos x="T4" y="T5"/>
                    </a:cxn>
                    <a:cxn ang="0">
                      <a:pos x="T6" y="T7"/>
                    </a:cxn>
                    <a:cxn ang="0">
                      <a:pos x="T8" y="T9"/>
                    </a:cxn>
                  </a:cxnLst>
                  <a:rect l="0" t="0" r="r" b="b"/>
                  <a:pathLst>
                    <a:path w="47" h="58">
                      <a:moveTo>
                        <a:pt x="41" y="11"/>
                      </a:moveTo>
                      <a:cubicBezTo>
                        <a:pt x="47" y="22"/>
                        <a:pt x="43" y="44"/>
                        <a:pt x="34" y="49"/>
                      </a:cubicBezTo>
                      <a:cubicBezTo>
                        <a:pt x="26" y="53"/>
                        <a:pt x="20" y="58"/>
                        <a:pt x="14" y="47"/>
                      </a:cubicBezTo>
                      <a:cubicBezTo>
                        <a:pt x="8" y="37"/>
                        <a:pt x="0" y="10"/>
                        <a:pt x="14" y="4"/>
                      </a:cubicBezTo>
                      <a:cubicBezTo>
                        <a:pt x="22" y="0"/>
                        <a:pt x="35" y="1"/>
                        <a:pt x="41"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69" name="Freeform 62"/>
                <p:cNvSpPr>
                  <a:spLocks/>
                </p:cNvSpPr>
                <p:nvPr/>
              </p:nvSpPr>
              <p:spPr bwMode="auto">
                <a:xfrm>
                  <a:off x="7400460" y="3129673"/>
                  <a:ext cx="112834" cy="132893"/>
                </a:xfrm>
                <a:custGeom>
                  <a:avLst/>
                  <a:gdLst>
                    <a:gd name="T0" fmla="*/ 90 w 90"/>
                    <a:gd name="T1" fmla="*/ 70 h 106"/>
                    <a:gd name="T2" fmla="*/ 45 w 90"/>
                    <a:gd name="T3" fmla="*/ 106 h 106"/>
                    <a:gd name="T4" fmla="*/ 0 w 90"/>
                    <a:gd name="T5" fmla="*/ 70 h 106"/>
                    <a:gd name="T6" fmla="*/ 0 w 90"/>
                    <a:gd name="T7" fmla="*/ 0 h 106"/>
                    <a:gd name="T8" fmla="*/ 90 w 90"/>
                    <a:gd name="T9" fmla="*/ 0 h 106"/>
                    <a:gd name="T10" fmla="*/ 90 w 90"/>
                    <a:gd name="T11" fmla="*/ 70 h 106"/>
                  </a:gdLst>
                  <a:ahLst/>
                  <a:cxnLst>
                    <a:cxn ang="0">
                      <a:pos x="T0" y="T1"/>
                    </a:cxn>
                    <a:cxn ang="0">
                      <a:pos x="T2" y="T3"/>
                    </a:cxn>
                    <a:cxn ang="0">
                      <a:pos x="T4" y="T5"/>
                    </a:cxn>
                    <a:cxn ang="0">
                      <a:pos x="T6" y="T7"/>
                    </a:cxn>
                    <a:cxn ang="0">
                      <a:pos x="T8" y="T9"/>
                    </a:cxn>
                    <a:cxn ang="0">
                      <a:pos x="T10" y="T11"/>
                    </a:cxn>
                  </a:cxnLst>
                  <a:rect l="0" t="0" r="r" b="b"/>
                  <a:pathLst>
                    <a:path w="90" h="106">
                      <a:moveTo>
                        <a:pt x="90" y="70"/>
                      </a:moveTo>
                      <a:lnTo>
                        <a:pt x="45" y="106"/>
                      </a:lnTo>
                      <a:lnTo>
                        <a:pt x="0" y="70"/>
                      </a:lnTo>
                      <a:lnTo>
                        <a:pt x="0" y="0"/>
                      </a:lnTo>
                      <a:lnTo>
                        <a:pt x="90" y="0"/>
                      </a:lnTo>
                      <a:lnTo>
                        <a:pt x="90" y="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70" name="Freeform 63"/>
                <p:cNvSpPr>
                  <a:spLocks/>
                </p:cNvSpPr>
                <p:nvPr/>
              </p:nvSpPr>
              <p:spPr bwMode="auto">
                <a:xfrm>
                  <a:off x="7138436" y="3252536"/>
                  <a:ext cx="236951" cy="616824"/>
                </a:xfrm>
                <a:custGeom>
                  <a:avLst/>
                  <a:gdLst>
                    <a:gd name="T0" fmla="*/ 46 w 46"/>
                    <a:gd name="T1" fmla="*/ 5 h 120"/>
                    <a:gd name="T2" fmla="*/ 28 w 46"/>
                    <a:gd name="T3" fmla="*/ 0 h 120"/>
                    <a:gd name="T4" fmla="*/ 0 w 46"/>
                    <a:gd name="T5" fmla="*/ 120 h 120"/>
                    <a:gd name="T6" fmla="*/ 19 w 46"/>
                    <a:gd name="T7" fmla="*/ 120 h 120"/>
                    <a:gd name="T8" fmla="*/ 46 w 46"/>
                    <a:gd name="T9" fmla="*/ 5 h 120"/>
                  </a:gdLst>
                  <a:ahLst/>
                  <a:cxnLst>
                    <a:cxn ang="0">
                      <a:pos x="T0" y="T1"/>
                    </a:cxn>
                    <a:cxn ang="0">
                      <a:pos x="T2" y="T3"/>
                    </a:cxn>
                    <a:cxn ang="0">
                      <a:pos x="T4" y="T5"/>
                    </a:cxn>
                    <a:cxn ang="0">
                      <a:pos x="T6" y="T7"/>
                    </a:cxn>
                    <a:cxn ang="0">
                      <a:pos x="T8" y="T9"/>
                    </a:cxn>
                  </a:cxnLst>
                  <a:rect l="0" t="0" r="r" b="b"/>
                  <a:pathLst>
                    <a:path w="46" h="120">
                      <a:moveTo>
                        <a:pt x="46" y="5"/>
                      </a:moveTo>
                      <a:cubicBezTo>
                        <a:pt x="40" y="3"/>
                        <a:pt x="34" y="2"/>
                        <a:pt x="28" y="0"/>
                      </a:cubicBezTo>
                      <a:cubicBezTo>
                        <a:pt x="10" y="39"/>
                        <a:pt x="4" y="77"/>
                        <a:pt x="0" y="120"/>
                      </a:cubicBezTo>
                      <a:cubicBezTo>
                        <a:pt x="19" y="120"/>
                        <a:pt x="19" y="120"/>
                        <a:pt x="19" y="120"/>
                      </a:cubicBezTo>
                      <a:cubicBezTo>
                        <a:pt x="23" y="79"/>
                        <a:pt x="29" y="42"/>
                        <a:pt x="46"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71" name="Freeform 65"/>
                <p:cNvSpPr>
                  <a:spLocks/>
                </p:cNvSpPr>
                <p:nvPr/>
              </p:nvSpPr>
              <p:spPr bwMode="auto">
                <a:xfrm>
                  <a:off x="7149719" y="3869360"/>
                  <a:ext cx="71462" cy="76477"/>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72" name="Freeform 67"/>
                <p:cNvSpPr>
                  <a:spLocks/>
                </p:cNvSpPr>
                <p:nvPr/>
              </p:nvSpPr>
              <p:spPr bwMode="auto">
                <a:xfrm>
                  <a:off x="7277597" y="3232477"/>
                  <a:ext cx="358560" cy="620585"/>
                </a:xfrm>
                <a:custGeom>
                  <a:avLst/>
                  <a:gdLst>
                    <a:gd name="T0" fmla="*/ 200 w 286"/>
                    <a:gd name="T1" fmla="*/ 0 h 495"/>
                    <a:gd name="T2" fmla="*/ 143 w 286"/>
                    <a:gd name="T3" fmla="*/ 94 h 495"/>
                    <a:gd name="T4" fmla="*/ 90 w 286"/>
                    <a:gd name="T5" fmla="*/ 0 h 495"/>
                    <a:gd name="T6" fmla="*/ 0 w 286"/>
                    <a:gd name="T7" fmla="*/ 16 h 495"/>
                    <a:gd name="T8" fmla="*/ 8 w 286"/>
                    <a:gd name="T9" fmla="*/ 495 h 495"/>
                    <a:gd name="T10" fmla="*/ 282 w 286"/>
                    <a:gd name="T11" fmla="*/ 495 h 495"/>
                    <a:gd name="T12" fmla="*/ 286 w 286"/>
                    <a:gd name="T13" fmla="*/ 16 h 495"/>
                    <a:gd name="T14" fmla="*/ 200 w 286"/>
                    <a:gd name="T15" fmla="*/ 0 h 4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6" h="495">
                      <a:moveTo>
                        <a:pt x="200" y="0"/>
                      </a:moveTo>
                      <a:lnTo>
                        <a:pt x="143" y="94"/>
                      </a:lnTo>
                      <a:lnTo>
                        <a:pt x="90" y="0"/>
                      </a:lnTo>
                      <a:lnTo>
                        <a:pt x="0" y="16"/>
                      </a:lnTo>
                      <a:lnTo>
                        <a:pt x="8" y="495"/>
                      </a:lnTo>
                      <a:lnTo>
                        <a:pt x="282" y="495"/>
                      </a:lnTo>
                      <a:lnTo>
                        <a:pt x="286" y="16"/>
                      </a:lnTo>
                      <a:lnTo>
                        <a:pt x="20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73" name="Freeform 72"/>
                <p:cNvSpPr>
                  <a:spLocks/>
                </p:cNvSpPr>
                <p:nvPr/>
              </p:nvSpPr>
              <p:spPr bwMode="auto">
                <a:xfrm>
                  <a:off x="7369118" y="300681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74" name="Freeform 76"/>
                <p:cNvSpPr>
                  <a:spLocks/>
                </p:cNvSpPr>
                <p:nvPr/>
              </p:nvSpPr>
              <p:spPr bwMode="auto">
                <a:xfrm>
                  <a:off x="7364103" y="3021854"/>
                  <a:ext cx="0" cy="501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75" name="Freeform 77"/>
                <p:cNvSpPr>
                  <a:spLocks/>
                </p:cNvSpPr>
                <p:nvPr/>
              </p:nvSpPr>
              <p:spPr bwMode="auto">
                <a:xfrm>
                  <a:off x="7364103" y="30168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76" name="Freeform 78"/>
                <p:cNvSpPr>
                  <a:spLocks/>
                </p:cNvSpPr>
                <p:nvPr/>
              </p:nvSpPr>
              <p:spPr bwMode="auto">
                <a:xfrm>
                  <a:off x="7364103" y="301182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77" name="Freeform 79"/>
                <p:cNvSpPr>
                  <a:spLocks/>
                </p:cNvSpPr>
                <p:nvPr/>
              </p:nvSpPr>
              <p:spPr bwMode="auto">
                <a:xfrm>
                  <a:off x="7364103" y="3016839"/>
                  <a:ext cx="0" cy="501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78" name="Freeform 80"/>
                <p:cNvSpPr>
                  <a:spLocks/>
                </p:cNvSpPr>
                <p:nvPr/>
              </p:nvSpPr>
              <p:spPr bwMode="auto">
                <a:xfrm>
                  <a:off x="7344044" y="2995526"/>
                  <a:ext cx="220652" cy="195578"/>
                </a:xfrm>
                <a:custGeom>
                  <a:avLst/>
                  <a:gdLst>
                    <a:gd name="T0" fmla="*/ 41 w 43"/>
                    <a:gd name="T1" fmla="*/ 9 h 38"/>
                    <a:gd name="T2" fmla="*/ 40 w 43"/>
                    <a:gd name="T3" fmla="*/ 9 h 38"/>
                    <a:gd name="T4" fmla="*/ 40 w 43"/>
                    <a:gd name="T5" fmla="*/ 6 h 38"/>
                    <a:gd name="T6" fmla="*/ 40 w 43"/>
                    <a:gd name="T7" fmla="*/ 6 h 38"/>
                    <a:gd name="T8" fmla="*/ 40 w 43"/>
                    <a:gd name="T9" fmla="*/ 5 h 38"/>
                    <a:gd name="T10" fmla="*/ 40 w 43"/>
                    <a:gd name="T11" fmla="*/ 5 h 38"/>
                    <a:gd name="T12" fmla="*/ 40 w 43"/>
                    <a:gd name="T13" fmla="*/ 5 h 38"/>
                    <a:gd name="T14" fmla="*/ 40 w 43"/>
                    <a:gd name="T15" fmla="*/ 4 h 38"/>
                    <a:gd name="T16" fmla="*/ 40 w 43"/>
                    <a:gd name="T17" fmla="*/ 4 h 38"/>
                    <a:gd name="T18" fmla="*/ 40 w 43"/>
                    <a:gd name="T19" fmla="*/ 3 h 38"/>
                    <a:gd name="T20" fmla="*/ 39 w 43"/>
                    <a:gd name="T21" fmla="*/ 3 h 38"/>
                    <a:gd name="T22" fmla="*/ 39 w 43"/>
                    <a:gd name="T23" fmla="*/ 2 h 38"/>
                    <a:gd name="T24" fmla="*/ 39 w 43"/>
                    <a:gd name="T25" fmla="*/ 2 h 38"/>
                    <a:gd name="T26" fmla="*/ 39 w 43"/>
                    <a:gd name="T27" fmla="*/ 2 h 38"/>
                    <a:gd name="T28" fmla="*/ 39 w 43"/>
                    <a:gd name="T29" fmla="*/ 1 h 38"/>
                    <a:gd name="T30" fmla="*/ 39 w 43"/>
                    <a:gd name="T31" fmla="*/ 1 h 38"/>
                    <a:gd name="T32" fmla="*/ 35 w 43"/>
                    <a:gd name="T33" fmla="*/ 2 h 38"/>
                    <a:gd name="T34" fmla="*/ 29 w 43"/>
                    <a:gd name="T35" fmla="*/ 0 h 38"/>
                    <a:gd name="T36" fmla="*/ 18 w 43"/>
                    <a:gd name="T37" fmla="*/ 2 h 38"/>
                    <a:gd name="T38" fmla="*/ 6 w 43"/>
                    <a:gd name="T39" fmla="*/ 0 h 38"/>
                    <a:gd name="T40" fmla="*/ 5 w 43"/>
                    <a:gd name="T41" fmla="*/ 2 h 38"/>
                    <a:gd name="T42" fmla="*/ 5 w 43"/>
                    <a:gd name="T43" fmla="*/ 2 h 38"/>
                    <a:gd name="T44" fmla="*/ 4 w 43"/>
                    <a:gd name="T45" fmla="*/ 3 h 38"/>
                    <a:gd name="T46" fmla="*/ 4 w 43"/>
                    <a:gd name="T47" fmla="*/ 3 h 38"/>
                    <a:gd name="T48" fmla="*/ 4 w 43"/>
                    <a:gd name="T49" fmla="*/ 4 h 38"/>
                    <a:gd name="T50" fmla="*/ 4 w 43"/>
                    <a:gd name="T51" fmla="*/ 4 h 38"/>
                    <a:gd name="T52" fmla="*/ 4 w 43"/>
                    <a:gd name="T53" fmla="*/ 4 h 38"/>
                    <a:gd name="T54" fmla="*/ 4 w 43"/>
                    <a:gd name="T55" fmla="*/ 5 h 38"/>
                    <a:gd name="T56" fmla="*/ 4 w 43"/>
                    <a:gd name="T57" fmla="*/ 5 h 38"/>
                    <a:gd name="T58" fmla="*/ 4 w 43"/>
                    <a:gd name="T59" fmla="*/ 6 h 38"/>
                    <a:gd name="T60" fmla="*/ 4 w 43"/>
                    <a:gd name="T61" fmla="*/ 6 h 38"/>
                    <a:gd name="T62" fmla="*/ 4 w 43"/>
                    <a:gd name="T63" fmla="*/ 9 h 38"/>
                    <a:gd name="T64" fmla="*/ 3 w 43"/>
                    <a:gd name="T65" fmla="*/ 9 h 38"/>
                    <a:gd name="T66" fmla="*/ 0 w 43"/>
                    <a:gd name="T67" fmla="*/ 12 h 38"/>
                    <a:gd name="T68" fmla="*/ 0 w 43"/>
                    <a:gd name="T69" fmla="*/ 19 h 38"/>
                    <a:gd name="T70" fmla="*/ 4 w 43"/>
                    <a:gd name="T71" fmla="*/ 22 h 38"/>
                    <a:gd name="T72" fmla="*/ 14 w 43"/>
                    <a:gd name="T73" fmla="*/ 38 h 38"/>
                    <a:gd name="T74" fmla="*/ 30 w 43"/>
                    <a:gd name="T75" fmla="*/ 38 h 38"/>
                    <a:gd name="T76" fmla="*/ 40 w 43"/>
                    <a:gd name="T77" fmla="*/ 22 h 38"/>
                    <a:gd name="T78" fmla="*/ 43 w 43"/>
                    <a:gd name="T79" fmla="*/ 19 h 38"/>
                    <a:gd name="T80" fmla="*/ 43 w 43"/>
                    <a:gd name="T81" fmla="*/ 12 h 38"/>
                    <a:gd name="T82" fmla="*/ 41 w 43"/>
                    <a:gd name="T83"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 h="38">
                      <a:moveTo>
                        <a:pt x="41" y="9"/>
                      </a:moveTo>
                      <a:cubicBezTo>
                        <a:pt x="41" y="9"/>
                        <a:pt x="41" y="9"/>
                        <a:pt x="40" y="9"/>
                      </a:cubicBezTo>
                      <a:cubicBezTo>
                        <a:pt x="40" y="6"/>
                        <a:pt x="40" y="6"/>
                        <a:pt x="40" y="6"/>
                      </a:cubicBezTo>
                      <a:cubicBezTo>
                        <a:pt x="40" y="6"/>
                        <a:pt x="40" y="6"/>
                        <a:pt x="40" y="6"/>
                      </a:cubicBezTo>
                      <a:cubicBezTo>
                        <a:pt x="40" y="6"/>
                        <a:pt x="40" y="5"/>
                        <a:pt x="40" y="5"/>
                      </a:cubicBezTo>
                      <a:cubicBezTo>
                        <a:pt x="40" y="5"/>
                        <a:pt x="40" y="5"/>
                        <a:pt x="40" y="5"/>
                      </a:cubicBezTo>
                      <a:cubicBezTo>
                        <a:pt x="40" y="5"/>
                        <a:pt x="40" y="5"/>
                        <a:pt x="40" y="5"/>
                      </a:cubicBezTo>
                      <a:cubicBezTo>
                        <a:pt x="40" y="4"/>
                        <a:pt x="40" y="4"/>
                        <a:pt x="40" y="4"/>
                      </a:cubicBezTo>
                      <a:cubicBezTo>
                        <a:pt x="40" y="4"/>
                        <a:pt x="40" y="4"/>
                        <a:pt x="40" y="4"/>
                      </a:cubicBezTo>
                      <a:cubicBezTo>
                        <a:pt x="40" y="4"/>
                        <a:pt x="40" y="4"/>
                        <a:pt x="40" y="3"/>
                      </a:cubicBezTo>
                      <a:cubicBezTo>
                        <a:pt x="40" y="3"/>
                        <a:pt x="39" y="3"/>
                        <a:pt x="39" y="3"/>
                      </a:cubicBezTo>
                      <a:cubicBezTo>
                        <a:pt x="39" y="3"/>
                        <a:pt x="39" y="2"/>
                        <a:pt x="39" y="2"/>
                      </a:cubicBezTo>
                      <a:cubicBezTo>
                        <a:pt x="39" y="2"/>
                        <a:pt x="39" y="2"/>
                        <a:pt x="39" y="2"/>
                      </a:cubicBezTo>
                      <a:cubicBezTo>
                        <a:pt x="39" y="2"/>
                        <a:pt x="39" y="2"/>
                        <a:pt x="39" y="2"/>
                      </a:cubicBezTo>
                      <a:cubicBezTo>
                        <a:pt x="39" y="2"/>
                        <a:pt x="39" y="1"/>
                        <a:pt x="39" y="1"/>
                      </a:cubicBezTo>
                      <a:cubicBezTo>
                        <a:pt x="39" y="1"/>
                        <a:pt x="39" y="1"/>
                        <a:pt x="39" y="1"/>
                      </a:cubicBezTo>
                      <a:cubicBezTo>
                        <a:pt x="38" y="2"/>
                        <a:pt x="36" y="2"/>
                        <a:pt x="35" y="2"/>
                      </a:cubicBezTo>
                      <a:cubicBezTo>
                        <a:pt x="33" y="2"/>
                        <a:pt x="30" y="1"/>
                        <a:pt x="29" y="0"/>
                      </a:cubicBezTo>
                      <a:cubicBezTo>
                        <a:pt x="26" y="1"/>
                        <a:pt x="22" y="2"/>
                        <a:pt x="18" y="2"/>
                      </a:cubicBezTo>
                      <a:cubicBezTo>
                        <a:pt x="13" y="2"/>
                        <a:pt x="9" y="1"/>
                        <a:pt x="6" y="0"/>
                      </a:cubicBezTo>
                      <a:cubicBezTo>
                        <a:pt x="6" y="1"/>
                        <a:pt x="5" y="1"/>
                        <a:pt x="5" y="2"/>
                      </a:cubicBezTo>
                      <a:cubicBezTo>
                        <a:pt x="5" y="2"/>
                        <a:pt x="5" y="2"/>
                        <a:pt x="5" y="2"/>
                      </a:cubicBezTo>
                      <a:cubicBezTo>
                        <a:pt x="5" y="2"/>
                        <a:pt x="5" y="3"/>
                        <a:pt x="4" y="3"/>
                      </a:cubicBezTo>
                      <a:cubicBezTo>
                        <a:pt x="4" y="3"/>
                        <a:pt x="4" y="3"/>
                        <a:pt x="4" y="3"/>
                      </a:cubicBezTo>
                      <a:cubicBezTo>
                        <a:pt x="4" y="3"/>
                        <a:pt x="4" y="3"/>
                        <a:pt x="4" y="4"/>
                      </a:cubicBezTo>
                      <a:cubicBezTo>
                        <a:pt x="4" y="4"/>
                        <a:pt x="4" y="4"/>
                        <a:pt x="4" y="4"/>
                      </a:cubicBezTo>
                      <a:cubicBezTo>
                        <a:pt x="4" y="4"/>
                        <a:pt x="4" y="4"/>
                        <a:pt x="4" y="4"/>
                      </a:cubicBezTo>
                      <a:cubicBezTo>
                        <a:pt x="4" y="5"/>
                        <a:pt x="4" y="5"/>
                        <a:pt x="4" y="5"/>
                      </a:cubicBezTo>
                      <a:cubicBezTo>
                        <a:pt x="4" y="5"/>
                        <a:pt x="4" y="5"/>
                        <a:pt x="4" y="5"/>
                      </a:cubicBezTo>
                      <a:cubicBezTo>
                        <a:pt x="4" y="5"/>
                        <a:pt x="4" y="5"/>
                        <a:pt x="4" y="6"/>
                      </a:cubicBezTo>
                      <a:cubicBezTo>
                        <a:pt x="4" y="6"/>
                        <a:pt x="4" y="6"/>
                        <a:pt x="4" y="6"/>
                      </a:cubicBezTo>
                      <a:cubicBezTo>
                        <a:pt x="4" y="9"/>
                        <a:pt x="4" y="9"/>
                        <a:pt x="4" y="9"/>
                      </a:cubicBezTo>
                      <a:cubicBezTo>
                        <a:pt x="3" y="9"/>
                        <a:pt x="3" y="9"/>
                        <a:pt x="3" y="9"/>
                      </a:cubicBezTo>
                      <a:cubicBezTo>
                        <a:pt x="2" y="9"/>
                        <a:pt x="0" y="11"/>
                        <a:pt x="0" y="12"/>
                      </a:cubicBezTo>
                      <a:cubicBezTo>
                        <a:pt x="0" y="19"/>
                        <a:pt x="0" y="19"/>
                        <a:pt x="0" y="19"/>
                      </a:cubicBezTo>
                      <a:cubicBezTo>
                        <a:pt x="0" y="21"/>
                        <a:pt x="2" y="22"/>
                        <a:pt x="4" y="22"/>
                      </a:cubicBezTo>
                      <a:cubicBezTo>
                        <a:pt x="4" y="22"/>
                        <a:pt x="9" y="38"/>
                        <a:pt x="14" y="38"/>
                      </a:cubicBezTo>
                      <a:cubicBezTo>
                        <a:pt x="30" y="38"/>
                        <a:pt x="30" y="38"/>
                        <a:pt x="30" y="38"/>
                      </a:cubicBezTo>
                      <a:cubicBezTo>
                        <a:pt x="35" y="38"/>
                        <a:pt x="40" y="22"/>
                        <a:pt x="40" y="22"/>
                      </a:cubicBezTo>
                      <a:cubicBezTo>
                        <a:pt x="42" y="22"/>
                        <a:pt x="43" y="21"/>
                        <a:pt x="43" y="19"/>
                      </a:cubicBezTo>
                      <a:cubicBezTo>
                        <a:pt x="43" y="12"/>
                        <a:pt x="43" y="12"/>
                        <a:pt x="43" y="12"/>
                      </a:cubicBezTo>
                      <a:cubicBezTo>
                        <a:pt x="43" y="11"/>
                        <a:pt x="43" y="10"/>
                        <a:pt x="41" y="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79" name="Rectangle 81"/>
                <p:cNvSpPr>
                  <a:spLocks noChangeArrowheads="1"/>
                </p:cNvSpPr>
                <p:nvPr/>
              </p:nvSpPr>
              <p:spPr bwMode="auto">
                <a:xfrm>
                  <a:off x="7287627" y="3853061"/>
                  <a:ext cx="343516" cy="263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80" name="Rectangle 82"/>
                <p:cNvSpPr>
                  <a:spLocks noChangeArrowheads="1"/>
                </p:cNvSpPr>
                <p:nvPr/>
              </p:nvSpPr>
              <p:spPr bwMode="auto">
                <a:xfrm>
                  <a:off x="7425535" y="3853061"/>
                  <a:ext cx="62685" cy="2632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81" name="Oval 83"/>
                <p:cNvSpPr>
                  <a:spLocks noChangeArrowheads="1"/>
                </p:cNvSpPr>
                <p:nvPr/>
              </p:nvSpPr>
              <p:spPr bwMode="auto">
                <a:xfrm>
                  <a:off x="7451863" y="3283878"/>
                  <a:ext cx="10030" cy="1003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82" name="Oval 84"/>
                <p:cNvSpPr>
                  <a:spLocks noChangeArrowheads="1"/>
                </p:cNvSpPr>
                <p:nvPr/>
              </p:nvSpPr>
              <p:spPr bwMode="auto">
                <a:xfrm>
                  <a:off x="7451863" y="3318982"/>
                  <a:ext cx="10030" cy="16299"/>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83" name="Freeform 64"/>
                <p:cNvSpPr>
                  <a:spLocks/>
                </p:cNvSpPr>
                <p:nvPr/>
              </p:nvSpPr>
              <p:spPr bwMode="auto">
                <a:xfrm>
                  <a:off x="7544637" y="3252536"/>
                  <a:ext cx="235697" cy="616824"/>
                </a:xfrm>
                <a:custGeom>
                  <a:avLst/>
                  <a:gdLst>
                    <a:gd name="T0" fmla="*/ 0 w 46"/>
                    <a:gd name="T1" fmla="*/ 5 h 120"/>
                    <a:gd name="T2" fmla="*/ 18 w 46"/>
                    <a:gd name="T3" fmla="*/ 0 h 120"/>
                    <a:gd name="T4" fmla="*/ 46 w 46"/>
                    <a:gd name="T5" fmla="*/ 120 h 120"/>
                    <a:gd name="T6" fmla="*/ 27 w 46"/>
                    <a:gd name="T7" fmla="*/ 120 h 120"/>
                    <a:gd name="T8" fmla="*/ 0 w 46"/>
                    <a:gd name="T9" fmla="*/ 5 h 120"/>
                  </a:gdLst>
                  <a:ahLst/>
                  <a:cxnLst>
                    <a:cxn ang="0">
                      <a:pos x="T0" y="T1"/>
                    </a:cxn>
                    <a:cxn ang="0">
                      <a:pos x="T2" y="T3"/>
                    </a:cxn>
                    <a:cxn ang="0">
                      <a:pos x="T4" y="T5"/>
                    </a:cxn>
                    <a:cxn ang="0">
                      <a:pos x="T6" y="T7"/>
                    </a:cxn>
                    <a:cxn ang="0">
                      <a:pos x="T8" y="T9"/>
                    </a:cxn>
                  </a:cxnLst>
                  <a:rect l="0" t="0" r="r" b="b"/>
                  <a:pathLst>
                    <a:path w="46" h="120">
                      <a:moveTo>
                        <a:pt x="0" y="5"/>
                      </a:moveTo>
                      <a:cubicBezTo>
                        <a:pt x="6" y="3"/>
                        <a:pt x="12" y="2"/>
                        <a:pt x="18" y="0"/>
                      </a:cubicBezTo>
                      <a:cubicBezTo>
                        <a:pt x="36" y="39"/>
                        <a:pt x="42" y="77"/>
                        <a:pt x="46" y="120"/>
                      </a:cubicBezTo>
                      <a:cubicBezTo>
                        <a:pt x="27" y="120"/>
                        <a:pt x="27" y="120"/>
                        <a:pt x="27" y="120"/>
                      </a:cubicBezTo>
                      <a:cubicBezTo>
                        <a:pt x="23" y="79"/>
                        <a:pt x="17" y="42"/>
                        <a:pt x="0"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nvGrpSpPr>
              <p:cNvPr id="316" name="Group 315"/>
              <p:cNvGrpSpPr/>
              <p:nvPr/>
            </p:nvGrpSpPr>
            <p:grpSpPr>
              <a:xfrm>
                <a:off x="6062441" y="2871293"/>
                <a:ext cx="1081647" cy="2828072"/>
                <a:chOff x="7544637" y="2749799"/>
                <a:chExt cx="738434" cy="1930710"/>
              </a:xfrm>
            </p:grpSpPr>
            <p:sp>
              <p:nvSpPr>
                <p:cNvPr id="317" name="Freeform 94"/>
                <p:cNvSpPr>
                  <a:spLocks/>
                </p:cNvSpPr>
                <p:nvPr/>
              </p:nvSpPr>
              <p:spPr bwMode="auto">
                <a:xfrm>
                  <a:off x="7559682" y="3144717"/>
                  <a:ext cx="267040" cy="693300"/>
                </a:xfrm>
                <a:custGeom>
                  <a:avLst/>
                  <a:gdLst>
                    <a:gd name="T0" fmla="*/ 52 w 52"/>
                    <a:gd name="T1" fmla="*/ 6 h 135"/>
                    <a:gd name="T2" fmla="*/ 32 w 52"/>
                    <a:gd name="T3" fmla="*/ 0 h 135"/>
                    <a:gd name="T4" fmla="*/ 0 w 52"/>
                    <a:gd name="T5" fmla="*/ 135 h 135"/>
                    <a:gd name="T6" fmla="*/ 21 w 52"/>
                    <a:gd name="T7" fmla="*/ 135 h 135"/>
                    <a:gd name="T8" fmla="*/ 52 w 52"/>
                    <a:gd name="T9" fmla="*/ 6 h 135"/>
                  </a:gdLst>
                  <a:ahLst/>
                  <a:cxnLst>
                    <a:cxn ang="0">
                      <a:pos x="T0" y="T1"/>
                    </a:cxn>
                    <a:cxn ang="0">
                      <a:pos x="T2" y="T3"/>
                    </a:cxn>
                    <a:cxn ang="0">
                      <a:pos x="T4" y="T5"/>
                    </a:cxn>
                    <a:cxn ang="0">
                      <a:pos x="T6" y="T7"/>
                    </a:cxn>
                    <a:cxn ang="0">
                      <a:pos x="T8" y="T9"/>
                    </a:cxn>
                  </a:cxnLst>
                  <a:rect l="0" t="0" r="r" b="b"/>
                  <a:pathLst>
                    <a:path w="52" h="135">
                      <a:moveTo>
                        <a:pt x="52" y="6"/>
                      </a:moveTo>
                      <a:cubicBezTo>
                        <a:pt x="45" y="4"/>
                        <a:pt x="38" y="2"/>
                        <a:pt x="32" y="0"/>
                      </a:cubicBezTo>
                      <a:cubicBezTo>
                        <a:pt x="11" y="44"/>
                        <a:pt x="5" y="87"/>
                        <a:pt x="0" y="135"/>
                      </a:cubicBezTo>
                      <a:cubicBezTo>
                        <a:pt x="21" y="135"/>
                        <a:pt x="21" y="135"/>
                        <a:pt x="21" y="135"/>
                      </a:cubicBezTo>
                      <a:cubicBezTo>
                        <a:pt x="26" y="89"/>
                        <a:pt x="33" y="47"/>
                        <a:pt x="52" y="6"/>
                      </a:cubicBezTo>
                      <a:close/>
                    </a:path>
                  </a:pathLst>
                </a:custGeom>
                <a:solidFill>
                  <a:srgbClr val="ADD4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nvGrpSpPr>
                <p:cNvPr id="318" name="Group 317"/>
                <p:cNvGrpSpPr/>
                <p:nvPr/>
              </p:nvGrpSpPr>
              <p:grpSpPr>
                <a:xfrm>
                  <a:off x="7544637" y="2749799"/>
                  <a:ext cx="738434" cy="1930710"/>
                  <a:chOff x="7544637" y="2749799"/>
                  <a:chExt cx="738434" cy="1930710"/>
                </a:xfrm>
              </p:grpSpPr>
              <p:sp>
                <p:nvSpPr>
                  <p:cNvPr id="319" name="Freeform 66"/>
                  <p:cNvSpPr>
                    <a:spLocks/>
                  </p:cNvSpPr>
                  <p:nvPr/>
                </p:nvSpPr>
                <p:spPr bwMode="auto">
                  <a:xfrm>
                    <a:off x="7697589" y="3869360"/>
                    <a:ext cx="72715" cy="76477"/>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20" name="Freeform 68"/>
                  <p:cNvSpPr>
                    <a:spLocks/>
                  </p:cNvSpPr>
                  <p:nvPr/>
                </p:nvSpPr>
                <p:spPr bwMode="auto">
                  <a:xfrm>
                    <a:off x="7549652" y="3016839"/>
                    <a:ext cx="0" cy="501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21" name="Freeform 69"/>
                  <p:cNvSpPr>
                    <a:spLocks/>
                  </p:cNvSpPr>
                  <p:nvPr/>
                </p:nvSpPr>
                <p:spPr bwMode="auto">
                  <a:xfrm>
                    <a:off x="7549652" y="3011824"/>
                    <a:ext cx="0" cy="501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22" name="Freeform 70"/>
                  <p:cNvSpPr>
                    <a:spLocks/>
                  </p:cNvSpPr>
                  <p:nvPr/>
                </p:nvSpPr>
                <p:spPr bwMode="auto">
                  <a:xfrm>
                    <a:off x="7544637" y="300681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23" name="Freeform 71"/>
                  <p:cNvSpPr>
                    <a:spLocks/>
                  </p:cNvSpPr>
                  <p:nvPr/>
                </p:nvSpPr>
                <p:spPr bwMode="auto">
                  <a:xfrm>
                    <a:off x="7544637" y="3006810"/>
                    <a:ext cx="0" cy="501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24" name="Freeform 73"/>
                  <p:cNvSpPr>
                    <a:spLocks/>
                  </p:cNvSpPr>
                  <p:nvPr/>
                </p:nvSpPr>
                <p:spPr bwMode="auto">
                  <a:xfrm>
                    <a:off x="7549652" y="302185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25" name="Freeform 74"/>
                  <p:cNvSpPr>
                    <a:spLocks/>
                  </p:cNvSpPr>
                  <p:nvPr/>
                </p:nvSpPr>
                <p:spPr bwMode="auto">
                  <a:xfrm>
                    <a:off x="7549652" y="302686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26" name="Rectangle 75"/>
                  <p:cNvSpPr>
                    <a:spLocks noChangeArrowheads="1"/>
                  </p:cNvSpPr>
                  <p:nvPr/>
                </p:nvSpPr>
                <p:spPr bwMode="auto">
                  <a:xfrm>
                    <a:off x="7544637" y="3000541"/>
                    <a:ext cx="1254" cy="1254"/>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27" name="Freeform 87"/>
                  <p:cNvSpPr>
                    <a:spLocks/>
                  </p:cNvSpPr>
                  <p:nvPr/>
                </p:nvSpPr>
                <p:spPr bwMode="auto">
                  <a:xfrm>
                    <a:off x="7756806" y="4604032"/>
                    <a:ext cx="154206" cy="76477"/>
                  </a:xfrm>
                  <a:custGeom>
                    <a:avLst/>
                    <a:gdLst>
                      <a:gd name="T0" fmla="*/ 15 w 30"/>
                      <a:gd name="T1" fmla="*/ 0 h 15"/>
                      <a:gd name="T2" fmla="*/ 0 w 30"/>
                      <a:gd name="T3" fmla="*/ 15 h 15"/>
                      <a:gd name="T4" fmla="*/ 30 w 30"/>
                      <a:gd name="T5" fmla="*/ 15 h 15"/>
                      <a:gd name="T6" fmla="*/ 15 w 30"/>
                      <a:gd name="T7" fmla="*/ 0 h 15"/>
                    </a:gdLst>
                    <a:ahLst/>
                    <a:cxnLst>
                      <a:cxn ang="0">
                        <a:pos x="T0" y="T1"/>
                      </a:cxn>
                      <a:cxn ang="0">
                        <a:pos x="T2" y="T3"/>
                      </a:cxn>
                      <a:cxn ang="0">
                        <a:pos x="T4" y="T5"/>
                      </a:cxn>
                      <a:cxn ang="0">
                        <a:pos x="T6" y="T7"/>
                      </a:cxn>
                    </a:cxnLst>
                    <a:rect l="0" t="0" r="r" b="b"/>
                    <a:pathLst>
                      <a:path w="30" h="15">
                        <a:moveTo>
                          <a:pt x="15" y="0"/>
                        </a:moveTo>
                        <a:cubicBezTo>
                          <a:pt x="7" y="0"/>
                          <a:pt x="0" y="7"/>
                          <a:pt x="0" y="15"/>
                        </a:cubicBezTo>
                        <a:cubicBezTo>
                          <a:pt x="30" y="15"/>
                          <a:pt x="30" y="15"/>
                          <a:pt x="30" y="15"/>
                        </a:cubicBezTo>
                        <a:cubicBezTo>
                          <a:pt x="30"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28" name="Freeform 88"/>
                  <p:cNvSpPr>
                    <a:spLocks/>
                  </p:cNvSpPr>
                  <p:nvPr/>
                </p:nvSpPr>
                <p:spPr bwMode="auto">
                  <a:xfrm>
                    <a:off x="7933677" y="4604032"/>
                    <a:ext cx="149191" cy="76477"/>
                  </a:xfrm>
                  <a:custGeom>
                    <a:avLst/>
                    <a:gdLst>
                      <a:gd name="T0" fmla="*/ 15 w 29"/>
                      <a:gd name="T1" fmla="*/ 0 h 15"/>
                      <a:gd name="T2" fmla="*/ 0 w 29"/>
                      <a:gd name="T3" fmla="*/ 15 h 15"/>
                      <a:gd name="T4" fmla="*/ 29 w 29"/>
                      <a:gd name="T5" fmla="*/ 15 h 15"/>
                      <a:gd name="T6" fmla="*/ 15 w 29"/>
                      <a:gd name="T7" fmla="*/ 0 h 15"/>
                    </a:gdLst>
                    <a:ahLst/>
                    <a:cxnLst>
                      <a:cxn ang="0">
                        <a:pos x="T0" y="T1"/>
                      </a:cxn>
                      <a:cxn ang="0">
                        <a:pos x="T2" y="T3"/>
                      </a:cxn>
                      <a:cxn ang="0">
                        <a:pos x="T4" y="T5"/>
                      </a:cxn>
                      <a:cxn ang="0">
                        <a:pos x="T6" y="T7"/>
                      </a:cxn>
                    </a:cxnLst>
                    <a:rect l="0" t="0" r="r" b="b"/>
                    <a:pathLst>
                      <a:path w="29" h="15">
                        <a:moveTo>
                          <a:pt x="15" y="0"/>
                        </a:moveTo>
                        <a:cubicBezTo>
                          <a:pt x="7" y="0"/>
                          <a:pt x="0" y="7"/>
                          <a:pt x="0" y="15"/>
                        </a:cubicBezTo>
                        <a:cubicBezTo>
                          <a:pt x="29" y="15"/>
                          <a:pt x="29" y="15"/>
                          <a:pt x="29" y="15"/>
                        </a:cubicBezTo>
                        <a:cubicBezTo>
                          <a:pt x="29"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29" name="Rectangle 89"/>
                  <p:cNvSpPr>
                    <a:spLocks noChangeArrowheads="1"/>
                  </p:cNvSpPr>
                  <p:nvPr/>
                </p:nvSpPr>
                <p:spPr bwMode="auto">
                  <a:xfrm>
                    <a:off x="7856810" y="3108359"/>
                    <a:ext cx="122863" cy="36984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30" name="Freeform 90"/>
                  <p:cNvSpPr>
                    <a:spLocks/>
                  </p:cNvSpPr>
                  <p:nvPr/>
                </p:nvSpPr>
                <p:spPr bwMode="auto">
                  <a:xfrm>
                    <a:off x="7810423" y="2784903"/>
                    <a:ext cx="241966" cy="293367"/>
                  </a:xfrm>
                  <a:custGeom>
                    <a:avLst/>
                    <a:gdLst>
                      <a:gd name="T0" fmla="*/ 42 w 47"/>
                      <a:gd name="T1" fmla="*/ 32 h 57"/>
                      <a:gd name="T2" fmla="*/ 16 w 47"/>
                      <a:gd name="T3" fmla="*/ 53 h 57"/>
                      <a:gd name="T4" fmla="*/ 4 w 47"/>
                      <a:gd name="T5" fmla="*/ 22 h 57"/>
                      <a:gd name="T6" fmla="*/ 33 w 47"/>
                      <a:gd name="T7" fmla="*/ 3 h 57"/>
                      <a:gd name="T8" fmla="*/ 42 w 47"/>
                      <a:gd name="T9" fmla="*/ 32 h 57"/>
                    </a:gdLst>
                    <a:ahLst/>
                    <a:cxnLst>
                      <a:cxn ang="0">
                        <a:pos x="T0" y="T1"/>
                      </a:cxn>
                      <a:cxn ang="0">
                        <a:pos x="T2" y="T3"/>
                      </a:cxn>
                      <a:cxn ang="0">
                        <a:pos x="T4" y="T5"/>
                      </a:cxn>
                      <a:cxn ang="0">
                        <a:pos x="T6" y="T7"/>
                      </a:cxn>
                      <a:cxn ang="0">
                        <a:pos x="T8" y="T9"/>
                      </a:cxn>
                    </a:cxnLst>
                    <a:rect l="0" t="0" r="r" b="b"/>
                    <a:pathLst>
                      <a:path w="47" h="57">
                        <a:moveTo>
                          <a:pt x="42" y="32"/>
                        </a:moveTo>
                        <a:cubicBezTo>
                          <a:pt x="38" y="46"/>
                          <a:pt x="28" y="57"/>
                          <a:pt x="16" y="53"/>
                        </a:cubicBezTo>
                        <a:cubicBezTo>
                          <a:pt x="5" y="50"/>
                          <a:pt x="0" y="35"/>
                          <a:pt x="4" y="22"/>
                        </a:cubicBezTo>
                        <a:cubicBezTo>
                          <a:pt x="9" y="8"/>
                          <a:pt x="22" y="0"/>
                          <a:pt x="33" y="3"/>
                        </a:cubicBezTo>
                        <a:cubicBezTo>
                          <a:pt x="44" y="7"/>
                          <a:pt x="47" y="18"/>
                          <a:pt x="42" y="3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31" name="Freeform 91"/>
                  <p:cNvSpPr>
                    <a:spLocks/>
                  </p:cNvSpPr>
                  <p:nvPr/>
                </p:nvSpPr>
                <p:spPr bwMode="auto">
                  <a:xfrm>
                    <a:off x="7775319" y="2749799"/>
                    <a:ext cx="240712" cy="277070"/>
                  </a:xfrm>
                  <a:custGeom>
                    <a:avLst/>
                    <a:gdLst>
                      <a:gd name="T0" fmla="*/ 41 w 47"/>
                      <a:gd name="T1" fmla="*/ 17 h 54"/>
                      <a:gd name="T2" fmla="*/ 36 w 47"/>
                      <a:gd name="T3" fmla="*/ 49 h 54"/>
                      <a:gd name="T4" fmla="*/ 7 w 47"/>
                      <a:gd name="T5" fmla="*/ 37 h 54"/>
                      <a:gd name="T6" fmla="*/ 11 w 47"/>
                      <a:gd name="T7" fmla="*/ 6 h 54"/>
                      <a:gd name="T8" fmla="*/ 41 w 47"/>
                      <a:gd name="T9" fmla="*/ 17 h 54"/>
                    </a:gdLst>
                    <a:ahLst/>
                    <a:cxnLst>
                      <a:cxn ang="0">
                        <a:pos x="T0" y="T1"/>
                      </a:cxn>
                      <a:cxn ang="0">
                        <a:pos x="T2" y="T3"/>
                      </a:cxn>
                      <a:cxn ang="0">
                        <a:pos x="T4" y="T5"/>
                      </a:cxn>
                      <a:cxn ang="0">
                        <a:pos x="T6" y="T7"/>
                      </a:cxn>
                      <a:cxn ang="0">
                        <a:pos x="T8" y="T9"/>
                      </a:cxn>
                    </a:cxnLst>
                    <a:rect l="0" t="0" r="r" b="b"/>
                    <a:pathLst>
                      <a:path w="47" h="54">
                        <a:moveTo>
                          <a:pt x="41" y="17"/>
                        </a:moveTo>
                        <a:cubicBezTo>
                          <a:pt x="47" y="29"/>
                          <a:pt x="46" y="43"/>
                          <a:pt x="36" y="49"/>
                        </a:cubicBezTo>
                        <a:cubicBezTo>
                          <a:pt x="27" y="54"/>
                          <a:pt x="14" y="49"/>
                          <a:pt x="7" y="37"/>
                        </a:cubicBezTo>
                        <a:cubicBezTo>
                          <a:pt x="0" y="25"/>
                          <a:pt x="2" y="11"/>
                          <a:pt x="11" y="6"/>
                        </a:cubicBezTo>
                        <a:cubicBezTo>
                          <a:pt x="20" y="0"/>
                          <a:pt x="34" y="6"/>
                          <a:pt x="41" y="17"/>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32" name="Freeform 92"/>
                  <p:cNvSpPr>
                    <a:spLocks/>
                  </p:cNvSpPr>
                  <p:nvPr/>
                </p:nvSpPr>
                <p:spPr bwMode="auto">
                  <a:xfrm>
                    <a:off x="7856810" y="3006810"/>
                    <a:ext cx="122863" cy="132893"/>
                  </a:xfrm>
                  <a:custGeom>
                    <a:avLst/>
                    <a:gdLst>
                      <a:gd name="T0" fmla="*/ 98 w 98"/>
                      <a:gd name="T1" fmla="*/ 81 h 106"/>
                      <a:gd name="T2" fmla="*/ 49 w 98"/>
                      <a:gd name="T3" fmla="*/ 106 h 106"/>
                      <a:gd name="T4" fmla="*/ 0 w 98"/>
                      <a:gd name="T5" fmla="*/ 81 h 106"/>
                      <a:gd name="T6" fmla="*/ 0 w 98"/>
                      <a:gd name="T7" fmla="*/ 0 h 106"/>
                      <a:gd name="T8" fmla="*/ 98 w 98"/>
                      <a:gd name="T9" fmla="*/ 0 h 106"/>
                      <a:gd name="T10" fmla="*/ 98 w 98"/>
                      <a:gd name="T11" fmla="*/ 81 h 106"/>
                    </a:gdLst>
                    <a:ahLst/>
                    <a:cxnLst>
                      <a:cxn ang="0">
                        <a:pos x="T0" y="T1"/>
                      </a:cxn>
                      <a:cxn ang="0">
                        <a:pos x="T2" y="T3"/>
                      </a:cxn>
                      <a:cxn ang="0">
                        <a:pos x="T4" y="T5"/>
                      </a:cxn>
                      <a:cxn ang="0">
                        <a:pos x="T6" y="T7"/>
                      </a:cxn>
                      <a:cxn ang="0">
                        <a:pos x="T8" y="T9"/>
                      </a:cxn>
                      <a:cxn ang="0">
                        <a:pos x="T10" y="T11"/>
                      </a:cxn>
                    </a:cxnLst>
                    <a:rect l="0" t="0" r="r" b="b"/>
                    <a:pathLst>
                      <a:path w="98" h="106">
                        <a:moveTo>
                          <a:pt x="98" y="81"/>
                        </a:moveTo>
                        <a:lnTo>
                          <a:pt x="49" y="106"/>
                        </a:lnTo>
                        <a:lnTo>
                          <a:pt x="0" y="81"/>
                        </a:lnTo>
                        <a:lnTo>
                          <a:pt x="0" y="0"/>
                        </a:lnTo>
                        <a:lnTo>
                          <a:pt x="98" y="0"/>
                        </a:lnTo>
                        <a:lnTo>
                          <a:pt x="98" y="8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33" name="Freeform 95"/>
                  <p:cNvSpPr>
                    <a:spLocks/>
                  </p:cNvSpPr>
                  <p:nvPr/>
                </p:nvSpPr>
                <p:spPr bwMode="auto">
                  <a:xfrm>
                    <a:off x="8016031" y="3144717"/>
                    <a:ext cx="267040" cy="693300"/>
                  </a:xfrm>
                  <a:custGeom>
                    <a:avLst/>
                    <a:gdLst>
                      <a:gd name="T0" fmla="*/ 0 w 52"/>
                      <a:gd name="T1" fmla="*/ 6 h 135"/>
                      <a:gd name="T2" fmla="*/ 21 w 52"/>
                      <a:gd name="T3" fmla="*/ 0 h 135"/>
                      <a:gd name="T4" fmla="*/ 52 w 52"/>
                      <a:gd name="T5" fmla="*/ 135 h 135"/>
                      <a:gd name="T6" fmla="*/ 31 w 52"/>
                      <a:gd name="T7" fmla="*/ 135 h 135"/>
                      <a:gd name="T8" fmla="*/ 0 w 52"/>
                      <a:gd name="T9" fmla="*/ 6 h 135"/>
                    </a:gdLst>
                    <a:ahLst/>
                    <a:cxnLst>
                      <a:cxn ang="0">
                        <a:pos x="T0" y="T1"/>
                      </a:cxn>
                      <a:cxn ang="0">
                        <a:pos x="T2" y="T3"/>
                      </a:cxn>
                      <a:cxn ang="0">
                        <a:pos x="T4" y="T5"/>
                      </a:cxn>
                      <a:cxn ang="0">
                        <a:pos x="T6" y="T7"/>
                      </a:cxn>
                      <a:cxn ang="0">
                        <a:pos x="T8" y="T9"/>
                      </a:cxn>
                    </a:cxnLst>
                    <a:rect l="0" t="0" r="r" b="b"/>
                    <a:pathLst>
                      <a:path w="52" h="135">
                        <a:moveTo>
                          <a:pt x="0" y="6"/>
                        </a:moveTo>
                        <a:cubicBezTo>
                          <a:pt x="7" y="4"/>
                          <a:pt x="14" y="2"/>
                          <a:pt x="21" y="0"/>
                        </a:cubicBezTo>
                        <a:cubicBezTo>
                          <a:pt x="41" y="44"/>
                          <a:pt x="48" y="87"/>
                          <a:pt x="52" y="135"/>
                        </a:cubicBezTo>
                        <a:cubicBezTo>
                          <a:pt x="31" y="135"/>
                          <a:pt x="31" y="135"/>
                          <a:pt x="31" y="135"/>
                        </a:cubicBezTo>
                        <a:cubicBezTo>
                          <a:pt x="26" y="89"/>
                          <a:pt x="19" y="47"/>
                          <a:pt x="0" y="6"/>
                        </a:cubicBezTo>
                        <a:close/>
                      </a:path>
                    </a:pathLst>
                  </a:custGeom>
                  <a:solidFill>
                    <a:srgbClr val="ADD4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34" name="Freeform 96"/>
                  <p:cNvSpPr>
                    <a:spLocks/>
                  </p:cNvSpPr>
                  <p:nvPr/>
                </p:nvSpPr>
                <p:spPr bwMode="auto">
                  <a:xfrm>
                    <a:off x="7754006" y="3899449"/>
                    <a:ext cx="159221" cy="729657"/>
                  </a:xfrm>
                  <a:custGeom>
                    <a:avLst/>
                    <a:gdLst>
                      <a:gd name="T0" fmla="*/ 107 w 127"/>
                      <a:gd name="T1" fmla="*/ 582 h 582"/>
                      <a:gd name="T2" fmla="*/ 17 w 127"/>
                      <a:gd name="T3" fmla="*/ 582 h 582"/>
                      <a:gd name="T4" fmla="*/ 0 w 127"/>
                      <a:gd name="T5" fmla="*/ 0 h 582"/>
                      <a:gd name="T6" fmla="*/ 127 w 127"/>
                      <a:gd name="T7" fmla="*/ 0 h 582"/>
                      <a:gd name="T8" fmla="*/ 107 w 127"/>
                      <a:gd name="T9" fmla="*/ 582 h 582"/>
                    </a:gdLst>
                    <a:ahLst/>
                    <a:cxnLst>
                      <a:cxn ang="0">
                        <a:pos x="T0" y="T1"/>
                      </a:cxn>
                      <a:cxn ang="0">
                        <a:pos x="T2" y="T3"/>
                      </a:cxn>
                      <a:cxn ang="0">
                        <a:pos x="T4" y="T5"/>
                      </a:cxn>
                      <a:cxn ang="0">
                        <a:pos x="T6" y="T7"/>
                      </a:cxn>
                      <a:cxn ang="0">
                        <a:pos x="T8" y="T9"/>
                      </a:cxn>
                    </a:cxnLst>
                    <a:rect l="0" t="0" r="r" b="b"/>
                    <a:pathLst>
                      <a:path w="127" h="582">
                        <a:moveTo>
                          <a:pt x="107" y="582"/>
                        </a:moveTo>
                        <a:lnTo>
                          <a:pt x="17" y="582"/>
                        </a:lnTo>
                        <a:lnTo>
                          <a:pt x="0" y="0"/>
                        </a:lnTo>
                        <a:lnTo>
                          <a:pt x="127" y="0"/>
                        </a:lnTo>
                        <a:lnTo>
                          <a:pt x="107" y="5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35" name="Freeform 97"/>
                  <p:cNvSpPr>
                    <a:spLocks/>
                  </p:cNvSpPr>
                  <p:nvPr/>
                </p:nvSpPr>
                <p:spPr bwMode="auto">
                  <a:xfrm>
                    <a:off x="7923256" y="3899449"/>
                    <a:ext cx="159221" cy="729657"/>
                  </a:xfrm>
                  <a:custGeom>
                    <a:avLst/>
                    <a:gdLst>
                      <a:gd name="T0" fmla="*/ 111 w 127"/>
                      <a:gd name="T1" fmla="*/ 582 h 582"/>
                      <a:gd name="T2" fmla="*/ 21 w 127"/>
                      <a:gd name="T3" fmla="*/ 582 h 582"/>
                      <a:gd name="T4" fmla="*/ 0 w 127"/>
                      <a:gd name="T5" fmla="*/ 0 h 582"/>
                      <a:gd name="T6" fmla="*/ 127 w 127"/>
                      <a:gd name="T7" fmla="*/ 0 h 582"/>
                      <a:gd name="T8" fmla="*/ 111 w 127"/>
                      <a:gd name="T9" fmla="*/ 582 h 582"/>
                    </a:gdLst>
                    <a:ahLst/>
                    <a:cxnLst>
                      <a:cxn ang="0">
                        <a:pos x="T0" y="T1"/>
                      </a:cxn>
                      <a:cxn ang="0">
                        <a:pos x="T2" y="T3"/>
                      </a:cxn>
                      <a:cxn ang="0">
                        <a:pos x="T4" y="T5"/>
                      </a:cxn>
                      <a:cxn ang="0">
                        <a:pos x="T6" y="T7"/>
                      </a:cxn>
                      <a:cxn ang="0">
                        <a:pos x="T8" y="T9"/>
                      </a:cxn>
                    </a:cxnLst>
                    <a:rect l="0" t="0" r="r" b="b"/>
                    <a:pathLst>
                      <a:path w="127" h="582">
                        <a:moveTo>
                          <a:pt x="111" y="582"/>
                        </a:moveTo>
                        <a:lnTo>
                          <a:pt x="21" y="582"/>
                        </a:lnTo>
                        <a:lnTo>
                          <a:pt x="0" y="0"/>
                        </a:lnTo>
                        <a:lnTo>
                          <a:pt x="127" y="0"/>
                        </a:lnTo>
                        <a:lnTo>
                          <a:pt x="111" y="5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36" name="Freeform 98"/>
                  <p:cNvSpPr>
                    <a:spLocks/>
                  </p:cNvSpPr>
                  <p:nvPr/>
                </p:nvSpPr>
                <p:spPr bwMode="auto">
                  <a:xfrm>
                    <a:off x="7574726" y="3838017"/>
                    <a:ext cx="82745" cy="87759"/>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3" y="17"/>
                          <a:pt x="8" y="17"/>
                        </a:cubicBezTo>
                        <a:cubicBezTo>
                          <a:pt x="12"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37" name="Freeform 99"/>
                  <p:cNvSpPr>
                    <a:spLocks/>
                  </p:cNvSpPr>
                  <p:nvPr/>
                </p:nvSpPr>
                <p:spPr bwMode="auto">
                  <a:xfrm>
                    <a:off x="8185281" y="3838017"/>
                    <a:ext cx="81491" cy="87759"/>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4" y="17"/>
                          <a:pt x="8" y="17"/>
                        </a:cubicBezTo>
                        <a:cubicBezTo>
                          <a:pt x="13"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38" name="Freeform 100"/>
                  <p:cNvSpPr>
                    <a:spLocks/>
                  </p:cNvSpPr>
                  <p:nvPr/>
                </p:nvSpPr>
                <p:spPr bwMode="auto">
                  <a:xfrm>
                    <a:off x="7718902" y="3108359"/>
                    <a:ext cx="399933" cy="791089"/>
                  </a:xfrm>
                  <a:custGeom>
                    <a:avLst/>
                    <a:gdLst>
                      <a:gd name="T0" fmla="*/ 208 w 319"/>
                      <a:gd name="T1" fmla="*/ 0 h 631"/>
                      <a:gd name="T2" fmla="*/ 159 w 319"/>
                      <a:gd name="T3" fmla="*/ 394 h 631"/>
                      <a:gd name="T4" fmla="*/ 110 w 319"/>
                      <a:gd name="T5" fmla="*/ 0 h 631"/>
                      <a:gd name="T6" fmla="*/ 0 w 319"/>
                      <a:gd name="T7" fmla="*/ 29 h 631"/>
                      <a:gd name="T8" fmla="*/ 4 w 319"/>
                      <a:gd name="T9" fmla="*/ 631 h 631"/>
                      <a:gd name="T10" fmla="*/ 315 w 319"/>
                      <a:gd name="T11" fmla="*/ 631 h 631"/>
                      <a:gd name="T12" fmla="*/ 319 w 319"/>
                      <a:gd name="T13" fmla="*/ 29 h 631"/>
                      <a:gd name="T14" fmla="*/ 208 w 319"/>
                      <a:gd name="T15" fmla="*/ 0 h 6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631">
                        <a:moveTo>
                          <a:pt x="208" y="0"/>
                        </a:moveTo>
                        <a:lnTo>
                          <a:pt x="159" y="394"/>
                        </a:lnTo>
                        <a:lnTo>
                          <a:pt x="110" y="0"/>
                        </a:lnTo>
                        <a:lnTo>
                          <a:pt x="0" y="29"/>
                        </a:lnTo>
                        <a:lnTo>
                          <a:pt x="4" y="631"/>
                        </a:lnTo>
                        <a:lnTo>
                          <a:pt x="315" y="631"/>
                        </a:lnTo>
                        <a:lnTo>
                          <a:pt x="319" y="29"/>
                        </a:lnTo>
                        <a:lnTo>
                          <a:pt x="208" y="0"/>
                        </a:lnTo>
                        <a:close/>
                      </a:path>
                    </a:pathLst>
                  </a:custGeom>
                  <a:solidFill>
                    <a:srgbClr val="ADD4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39" name="Freeform 101"/>
                  <p:cNvSpPr>
                    <a:spLocks/>
                  </p:cNvSpPr>
                  <p:nvPr/>
                </p:nvSpPr>
                <p:spPr bwMode="auto">
                  <a:xfrm>
                    <a:off x="8021046" y="2877677"/>
                    <a:ext cx="0" cy="501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40" name="Freeform 102"/>
                  <p:cNvSpPr>
                    <a:spLocks/>
                  </p:cNvSpPr>
                  <p:nvPr/>
                </p:nvSpPr>
                <p:spPr bwMode="auto">
                  <a:xfrm>
                    <a:off x="8021046" y="287767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41" name="Freeform 103"/>
                  <p:cNvSpPr>
                    <a:spLocks/>
                  </p:cNvSpPr>
                  <p:nvPr/>
                </p:nvSpPr>
                <p:spPr bwMode="auto">
                  <a:xfrm>
                    <a:off x="8016031" y="286764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42" name="Freeform 104"/>
                  <p:cNvSpPr>
                    <a:spLocks/>
                  </p:cNvSpPr>
                  <p:nvPr/>
                </p:nvSpPr>
                <p:spPr bwMode="auto">
                  <a:xfrm>
                    <a:off x="8016031" y="28726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43" name="Freeform 105"/>
                  <p:cNvSpPr>
                    <a:spLocks/>
                  </p:cNvSpPr>
                  <p:nvPr/>
                </p:nvSpPr>
                <p:spPr bwMode="auto">
                  <a:xfrm>
                    <a:off x="7820453" y="286764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44" name="Freeform 106"/>
                  <p:cNvSpPr>
                    <a:spLocks/>
                  </p:cNvSpPr>
                  <p:nvPr/>
                </p:nvSpPr>
                <p:spPr bwMode="auto">
                  <a:xfrm>
                    <a:off x="8021046" y="2882692"/>
                    <a:ext cx="0" cy="501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45" name="Freeform 107"/>
                  <p:cNvSpPr>
                    <a:spLocks/>
                  </p:cNvSpPr>
                  <p:nvPr/>
                </p:nvSpPr>
                <p:spPr bwMode="auto">
                  <a:xfrm>
                    <a:off x="8021046" y="2887707"/>
                    <a:ext cx="0" cy="501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46" name="Rectangle 108"/>
                  <p:cNvSpPr>
                    <a:spLocks noChangeArrowheads="1"/>
                  </p:cNvSpPr>
                  <p:nvPr/>
                </p:nvSpPr>
                <p:spPr bwMode="auto">
                  <a:xfrm>
                    <a:off x="8016031" y="2862633"/>
                    <a:ext cx="1254" cy="1254"/>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47" name="Freeform 109"/>
                  <p:cNvSpPr>
                    <a:spLocks/>
                  </p:cNvSpPr>
                  <p:nvPr/>
                </p:nvSpPr>
                <p:spPr bwMode="auto">
                  <a:xfrm>
                    <a:off x="7810423" y="288770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48" name="Freeform 110"/>
                  <p:cNvSpPr>
                    <a:spLocks/>
                  </p:cNvSpPr>
                  <p:nvPr/>
                </p:nvSpPr>
                <p:spPr bwMode="auto">
                  <a:xfrm>
                    <a:off x="7815438" y="287767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49" name="Freeform 111"/>
                  <p:cNvSpPr>
                    <a:spLocks/>
                  </p:cNvSpPr>
                  <p:nvPr/>
                </p:nvSpPr>
                <p:spPr bwMode="auto">
                  <a:xfrm>
                    <a:off x="7815438" y="28726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50" name="Freeform 112"/>
                  <p:cNvSpPr>
                    <a:spLocks/>
                  </p:cNvSpPr>
                  <p:nvPr/>
                </p:nvSpPr>
                <p:spPr bwMode="auto">
                  <a:xfrm>
                    <a:off x="7810423" y="2882692"/>
                    <a:ext cx="5015"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51" name="Freeform 113"/>
                  <p:cNvSpPr>
                    <a:spLocks/>
                  </p:cNvSpPr>
                  <p:nvPr/>
                </p:nvSpPr>
                <p:spPr bwMode="auto">
                  <a:xfrm>
                    <a:off x="7795378" y="2857618"/>
                    <a:ext cx="245726" cy="220652"/>
                  </a:xfrm>
                  <a:custGeom>
                    <a:avLst/>
                    <a:gdLst>
                      <a:gd name="T0" fmla="*/ 46 w 48"/>
                      <a:gd name="T1" fmla="*/ 10 h 43"/>
                      <a:gd name="T2" fmla="*/ 44 w 48"/>
                      <a:gd name="T3" fmla="*/ 10 h 43"/>
                      <a:gd name="T4" fmla="*/ 44 w 48"/>
                      <a:gd name="T5" fmla="*/ 7 h 43"/>
                      <a:gd name="T6" fmla="*/ 44 w 48"/>
                      <a:gd name="T7" fmla="*/ 6 h 43"/>
                      <a:gd name="T8" fmla="*/ 44 w 48"/>
                      <a:gd name="T9" fmla="*/ 6 h 43"/>
                      <a:gd name="T10" fmla="*/ 44 w 48"/>
                      <a:gd name="T11" fmla="*/ 5 h 43"/>
                      <a:gd name="T12" fmla="*/ 44 w 48"/>
                      <a:gd name="T13" fmla="*/ 5 h 43"/>
                      <a:gd name="T14" fmla="*/ 44 w 48"/>
                      <a:gd name="T15" fmla="*/ 4 h 43"/>
                      <a:gd name="T16" fmla="*/ 44 w 48"/>
                      <a:gd name="T17" fmla="*/ 4 h 43"/>
                      <a:gd name="T18" fmla="*/ 44 w 48"/>
                      <a:gd name="T19" fmla="*/ 4 h 43"/>
                      <a:gd name="T20" fmla="*/ 43 w 48"/>
                      <a:gd name="T21" fmla="*/ 3 h 43"/>
                      <a:gd name="T22" fmla="*/ 43 w 48"/>
                      <a:gd name="T23" fmla="*/ 3 h 43"/>
                      <a:gd name="T24" fmla="*/ 43 w 48"/>
                      <a:gd name="T25" fmla="*/ 2 h 43"/>
                      <a:gd name="T26" fmla="*/ 43 w 48"/>
                      <a:gd name="T27" fmla="*/ 2 h 43"/>
                      <a:gd name="T28" fmla="*/ 43 w 48"/>
                      <a:gd name="T29" fmla="*/ 1 h 43"/>
                      <a:gd name="T30" fmla="*/ 43 w 48"/>
                      <a:gd name="T31" fmla="*/ 1 h 43"/>
                      <a:gd name="T32" fmla="*/ 39 w 48"/>
                      <a:gd name="T33" fmla="*/ 2 h 43"/>
                      <a:gd name="T34" fmla="*/ 32 w 48"/>
                      <a:gd name="T35" fmla="*/ 0 h 43"/>
                      <a:gd name="T36" fmla="*/ 19 w 48"/>
                      <a:gd name="T37" fmla="*/ 2 h 43"/>
                      <a:gd name="T38" fmla="*/ 6 w 48"/>
                      <a:gd name="T39" fmla="*/ 0 h 43"/>
                      <a:gd name="T40" fmla="*/ 5 w 48"/>
                      <a:gd name="T41" fmla="*/ 2 h 43"/>
                      <a:gd name="T42" fmla="*/ 5 w 48"/>
                      <a:gd name="T43" fmla="*/ 2 h 43"/>
                      <a:gd name="T44" fmla="*/ 4 w 48"/>
                      <a:gd name="T45" fmla="*/ 3 h 43"/>
                      <a:gd name="T46" fmla="*/ 4 w 48"/>
                      <a:gd name="T47" fmla="*/ 3 h 43"/>
                      <a:gd name="T48" fmla="*/ 4 w 48"/>
                      <a:gd name="T49" fmla="*/ 4 h 43"/>
                      <a:gd name="T50" fmla="*/ 4 w 48"/>
                      <a:gd name="T51" fmla="*/ 4 h 43"/>
                      <a:gd name="T52" fmla="*/ 4 w 48"/>
                      <a:gd name="T53" fmla="*/ 5 h 43"/>
                      <a:gd name="T54" fmla="*/ 3 w 48"/>
                      <a:gd name="T55" fmla="*/ 5 h 43"/>
                      <a:gd name="T56" fmla="*/ 3 w 48"/>
                      <a:gd name="T57" fmla="*/ 6 h 43"/>
                      <a:gd name="T58" fmla="*/ 3 w 48"/>
                      <a:gd name="T59" fmla="*/ 6 h 43"/>
                      <a:gd name="T60" fmla="*/ 3 w 48"/>
                      <a:gd name="T61" fmla="*/ 7 h 43"/>
                      <a:gd name="T62" fmla="*/ 3 w 48"/>
                      <a:gd name="T63" fmla="*/ 10 h 43"/>
                      <a:gd name="T64" fmla="*/ 3 w 48"/>
                      <a:gd name="T65" fmla="*/ 10 h 43"/>
                      <a:gd name="T66" fmla="*/ 0 w 48"/>
                      <a:gd name="T67" fmla="*/ 14 h 43"/>
                      <a:gd name="T68" fmla="*/ 0 w 48"/>
                      <a:gd name="T69" fmla="*/ 21 h 43"/>
                      <a:gd name="T70" fmla="*/ 3 w 48"/>
                      <a:gd name="T71" fmla="*/ 25 h 43"/>
                      <a:gd name="T72" fmla="*/ 15 w 48"/>
                      <a:gd name="T73" fmla="*/ 43 h 43"/>
                      <a:gd name="T74" fmla="*/ 33 w 48"/>
                      <a:gd name="T75" fmla="*/ 43 h 43"/>
                      <a:gd name="T76" fmla="*/ 44 w 48"/>
                      <a:gd name="T77" fmla="*/ 25 h 43"/>
                      <a:gd name="T78" fmla="*/ 48 w 48"/>
                      <a:gd name="T79" fmla="*/ 21 h 43"/>
                      <a:gd name="T80" fmla="*/ 48 w 48"/>
                      <a:gd name="T81" fmla="*/ 14 h 43"/>
                      <a:gd name="T82" fmla="*/ 46 w 48"/>
                      <a:gd name="T83" fmla="*/ 1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 h="43">
                        <a:moveTo>
                          <a:pt x="46" y="10"/>
                        </a:moveTo>
                        <a:cubicBezTo>
                          <a:pt x="45" y="10"/>
                          <a:pt x="45" y="10"/>
                          <a:pt x="44" y="10"/>
                        </a:cubicBezTo>
                        <a:cubicBezTo>
                          <a:pt x="44" y="7"/>
                          <a:pt x="44" y="7"/>
                          <a:pt x="44" y="7"/>
                        </a:cubicBezTo>
                        <a:cubicBezTo>
                          <a:pt x="44" y="7"/>
                          <a:pt x="44" y="6"/>
                          <a:pt x="44" y="6"/>
                        </a:cubicBezTo>
                        <a:cubicBezTo>
                          <a:pt x="44" y="6"/>
                          <a:pt x="44" y="6"/>
                          <a:pt x="44" y="6"/>
                        </a:cubicBezTo>
                        <a:cubicBezTo>
                          <a:pt x="44" y="6"/>
                          <a:pt x="44" y="5"/>
                          <a:pt x="44" y="5"/>
                        </a:cubicBezTo>
                        <a:cubicBezTo>
                          <a:pt x="44" y="5"/>
                          <a:pt x="44" y="5"/>
                          <a:pt x="44" y="5"/>
                        </a:cubicBezTo>
                        <a:cubicBezTo>
                          <a:pt x="44" y="5"/>
                          <a:pt x="44" y="5"/>
                          <a:pt x="44" y="4"/>
                        </a:cubicBezTo>
                        <a:cubicBezTo>
                          <a:pt x="44" y="4"/>
                          <a:pt x="44" y="4"/>
                          <a:pt x="44" y="4"/>
                        </a:cubicBezTo>
                        <a:cubicBezTo>
                          <a:pt x="44" y="4"/>
                          <a:pt x="44" y="4"/>
                          <a:pt x="44" y="4"/>
                        </a:cubicBezTo>
                        <a:cubicBezTo>
                          <a:pt x="44" y="3"/>
                          <a:pt x="44" y="3"/>
                          <a:pt x="43" y="3"/>
                        </a:cubicBezTo>
                        <a:cubicBezTo>
                          <a:pt x="43" y="3"/>
                          <a:pt x="43" y="3"/>
                          <a:pt x="43" y="3"/>
                        </a:cubicBezTo>
                        <a:cubicBezTo>
                          <a:pt x="43" y="2"/>
                          <a:pt x="43" y="2"/>
                          <a:pt x="43" y="2"/>
                        </a:cubicBezTo>
                        <a:cubicBezTo>
                          <a:pt x="43" y="2"/>
                          <a:pt x="43" y="2"/>
                          <a:pt x="43" y="2"/>
                        </a:cubicBezTo>
                        <a:cubicBezTo>
                          <a:pt x="43" y="2"/>
                          <a:pt x="43" y="1"/>
                          <a:pt x="43" y="1"/>
                        </a:cubicBezTo>
                        <a:cubicBezTo>
                          <a:pt x="43" y="1"/>
                          <a:pt x="43" y="1"/>
                          <a:pt x="43" y="1"/>
                        </a:cubicBezTo>
                        <a:cubicBezTo>
                          <a:pt x="41" y="2"/>
                          <a:pt x="40" y="2"/>
                          <a:pt x="39" y="2"/>
                        </a:cubicBezTo>
                        <a:cubicBezTo>
                          <a:pt x="36" y="2"/>
                          <a:pt x="33" y="1"/>
                          <a:pt x="32" y="0"/>
                        </a:cubicBezTo>
                        <a:cubicBezTo>
                          <a:pt x="29" y="1"/>
                          <a:pt x="24" y="2"/>
                          <a:pt x="19" y="2"/>
                        </a:cubicBezTo>
                        <a:cubicBezTo>
                          <a:pt x="14" y="2"/>
                          <a:pt x="9" y="1"/>
                          <a:pt x="6" y="0"/>
                        </a:cubicBezTo>
                        <a:cubicBezTo>
                          <a:pt x="6" y="1"/>
                          <a:pt x="5" y="1"/>
                          <a:pt x="5" y="2"/>
                        </a:cubicBezTo>
                        <a:cubicBezTo>
                          <a:pt x="5" y="2"/>
                          <a:pt x="5" y="2"/>
                          <a:pt x="5" y="2"/>
                        </a:cubicBezTo>
                        <a:cubicBezTo>
                          <a:pt x="4" y="2"/>
                          <a:pt x="4" y="3"/>
                          <a:pt x="4" y="3"/>
                        </a:cubicBezTo>
                        <a:cubicBezTo>
                          <a:pt x="4" y="3"/>
                          <a:pt x="4" y="3"/>
                          <a:pt x="4" y="3"/>
                        </a:cubicBezTo>
                        <a:cubicBezTo>
                          <a:pt x="4" y="3"/>
                          <a:pt x="4" y="4"/>
                          <a:pt x="4" y="4"/>
                        </a:cubicBezTo>
                        <a:cubicBezTo>
                          <a:pt x="4" y="4"/>
                          <a:pt x="4" y="4"/>
                          <a:pt x="4" y="4"/>
                        </a:cubicBezTo>
                        <a:cubicBezTo>
                          <a:pt x="4" y="4"/>
                          <a:pt x="4" y="5"/>
                          <a:pt x="4" y="5"/>
                        </a:cubicBezTo>
                        <a:cubicBezTo>
                          <a:pt x="4" y="5"/>
                          <a:pt x="3" y="5"/>
                          <a:pt x="3" y="5"/>
                        </a:cubicBezTo>
                        <a:cubicBezTo>
                          <a:pt x="3" y="5"/>
                          <a:pt x="3" y="6"/>
                          <a:pt x="3" y="6"/>
                        </a:cubicBezTo>
                        <a:cubicBezTo>
                          <a:pt x="3" y="6"/>
                          <a:pt x="3" y="6"/>
                          <a:pt x="3" y="6"/>
                        </a:cubicBezTo>
                        <a:cubicBezTo>
                          <a:pt x="3" y="6"/>
                          <a:pt x="3" y="7"/>
                          <a:pt x="3" y="7"/>
                        </a:cubicBezTo>
                        <a:cubicBezTo>
                          <a:pt x="3" y="10"/>
                          <a:pt x="3" y="10"/>
                          <a:pt x="3" y="10"/>
                        </a:cubicBezTo>
                        <a:cubicBezTo>
                          <a:pt x="3" y="10"/>
                          <a:pt x="3" y="10"/>
                          <a:pt x="3" y="10"/>
                        </a:cubicBezTo>
                        <a:cubicBezTo>
                          <a:pt x="1" y="10"/>
                          <a:pt x="0" y="12"/>
                          <a:pt x="0" y="14"/>
                        </a:cubicBezTo>
                        <a:cubicBezTo>
                          <a:pt x="0" y="21"/>
                          <a:pt x="0" y="21"/>
                          <a:pt x="0" y="21"/>
                        </a:cubicBezTo>
                        <a:cubicBezTo>
                          <a:pt x="0" y="23"/>
                          <a:pt x="1" y="25"/>
                          <a:pt x="3" y="25"/>
                        </a:cubicBezTo>
                        <a:cubicBezTo>
                          <a:pt x="3" y="25"/>
                          <a:pt x="9" y="43"/>
                          <a:pt x="15" y="43"/>
                        </a:cubicBezTo>
                        <a:cubicBezTo>
                          <a:pt x="33" y="43"/>
                          <a:pt x="33" y="43"/>
                          <a:pt x="33" y="43"/>
                        </a:cubicBezTo>
                        <a:cubicBezTo>
                          <a:pt x="38" y="43"/>
                          <a:pt x="44" y="25"/>
                          <a:pt x="44" y="25"/>
                        </a:cubicBezTo>
                        <a:cubicBezTo>
                          <a:pt x="46" y="25"/>
                          <a:pt x="48" y="23"/>
                          <a:pt x="48" y="21"/>
                        </a:cubicBezTo>
                        <a:cubicBezTo>
                          <a:pt x="48" y="14"/>
                          <a:pt x="48" y="14"/>
                          <a:pt x="48" y="14"/>
                        </a:cubicBezTo>
                        <a:cubicBezTo>
                          <a:pt x="48" y="12"/>
                          <a:pt x="47" y="11"/>
                          <a:pt x="46" y="1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grpSp>
        <p:grpSp>
          <p:nvGrpSpPr>
            <p:cNvPr id="53" name="Group 52"/>
            <p:cNvGrpSpPr/>
            <p:nvPr/>
          </p:nvGrpSpPr>
          <p:grpSpPr>
            <a:xfrm flipH="1">
              <a:off x="7242557" y="5645082"/>
              <a:ext cx="845793" cy="440186"/>
              <a:chOff x="7242557" y="5645082"/>
              <a:chExt cx="845793" cy="440186"/>
            </a:xfrm>
          </p:grpSpPr>
          <p:sp>
            <p:nvSpPr>
              <p:cNvPr id="90" name="Freeform 118"/>
              <p:cNvSpPr>
                <a:spLocks/>
              </p:cNvSpPr>
              <p:nvPr/>
            </p:nvSpPr>
            <p:spPr bwMode="auto">
              <a:xfrm>
                <a:off x="7242557" y="5645082"/>
                <a:ext cx="669668" cy="440186"/>
              </a:xfrm>
              <a:custGeom>
                <a:avLst/>
                <a:gdLst>
                  <a:gd name="T0" fmla="*/ 132 w 157"/>
                  <a:gd name="T1" fmla="*/ 45 h 103"/>
                  <a:gd name="T2" fmla="*/ 132 w 157"/>
                  <a:gd name="T3" fmla="*/ 43 h 103"/>
                  <a:gd name="T4" fmla="*/ 88 w 157"/>
                  <a:gd name="T5" fmla="*/ 0 h 103"/>
                  <a:gd name="T6" fmla="*/ 52 w 157"/>
                  <a:gd name="T7" fmla="*/ 19 h 103"/>
                  <a:gd name="T8" fmla="*/ 41 w 157"/>
                  <a:gd name="T9" fmla="*/ 16 h 103"/>
                  <a:gd name="T10" fmla="*/ 27 w 157"/>
                  <a:gd name="T11" fmla="*/ 20 h 103"/>
                  <a:gd name="T12" fmla="*/ 15 w 157"/>
                  <a:gd name="T13" fmla="*/ 40 h 103"/>
                  <a:gd name="T14" fmla="*/ 0 w 157"/>
                  <a:gd name="T15" fmla="*/ 69 h 103"/>
                  <a:gd name="T16" fmla="*/ 30 w 157"/>
                  <a:gd name="T17" fmla="*/ 103 h 103"/>
                  <a:gd name="T18" fmla="*/ 34 w 157"/>
                  <a:gd name="T19" fmla="*/ 103 h 103"/>
                  <a:gd name="T20" fmla="*/ 37 w 157"/>
                  <a:gd name="T21" fmla="*/ 103 h 103"/>
                  <a:gd name="T22" fmla="*/ 108 w 157"/>
                  <a:gd name="T23" fmla="*/ 103 h 103"/>
                  <a:gd name="T24" fmla="*/ 109 w 157"/>
                  <a:gd name="T25" fmla="*/ 103 h 103"/>
                  <a:gd name="T26" fmla="*/ 111 w 157"/>
                  <a:gd name="T27" fmla="*/ 103 h 103"/>
                  <a:gd name="T28" fmla="*/ 116 w 157"/>
                  <a:gd name="T29" fmla="*/ 103 h 103"/>
                  <a:gd name="T30" fmla="*/ 128 w 157"/>
                  <a:gd name="T31" fmla="*/ 103 h 103"/>
                  <a:gd name="T32" fmla="*/ 157 w 157"/>
                  <a:gd name="T33" fmla="*/ 74 h 103"/>
                  <a:gd name="T34" fmla="*/ 132 w 157"/>
                  <a:gd name="T35" fmla="*/ 4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103">
                    <a:moveTo>
                      <a:pt x="132" y="45"/>
                    </a:moveTo>
                    <a:cubicBezTo>
                      <a:pt x="132" y="44"/>
                      <a:pt x="132" y="44"/>
                      <a:pt x="132" y="43"/>
                    </a:cubicBezTo>
                    <a:cubicBezTo>
                      <a:pt x="132" y="19"/>
                      <a:pt x="112" y="0"/>
                      <a:pt x="88" y="0"/>
                    </a:cubicBezTo>
                    <a:cubicBezTo>
                      <a:pt x="73" y="0"/>
                      <a:pt x="60" y="8"/>
                      <a:pt x="52" y="19"/>
                    </a:cubicBezTo>
                    <a:cubicBezTo>
                      <a:pt x="49" y="17"/>
                      <a:pt x="45" y="16"/>
                      <a:pt x="41" y="16"/>
                    </a:cubicBezTo>
                    <a:cubicBezTo>
                      <a:pt x="35" y="16"/>
                      <a:pt x="31" y="18"/>
                      <a:pt x="27" y="20"/>
                    </a:cubicBezTo>
                    <a:cubicBezTo>
                      <a:pt x="20" y="25"/>
                      <a:pt x="16" y="32"/>
                      <a:pt x="15" y="40"/>
                    </a:cubicBezTo>
                    <a:cubicBezTo>
                      <a:pt x="6" y="46"/>
                      <a:pt x="0" y="57"/>
                      <a:pt x="0" y="69"/>
                    </a:cubicBezTo>
                    <a:cubicBezTo>
                      <a:pt x="0" y="87"/>
                      <a:pt x="13" y="101"/>
                      <a:pt x="30" y="103"/>
                    </a:cubicBezTo>
                    <a:cubicBezTo>
                      <a:pt x="31" y="103"/>
                      <a:pt x="33" y="103"/>
                      <a:pt x="34" y="103"/>
                    </a:cubicBezTo>
                    <a:cubicBezTo>
                      <a:pt x="35" y="103"/>
                      <a:pt x="36" y="103"/>
                      <a:pt x="37" y="103"/>
                    </a:cubicBezTo>
                    <a:cubicBezTo>
                      <a:pt x="53" y="103"/>
                      <a:pt x="90" y="103"/>
                      <a:pt x="108" y="103"/>
                    </a:cubicBezTo>
                    <a:cubicBezTo>
                      <a:pt x="109" y="103"/>
                      <a:pt x="109" y="103"/>
                      <a:pt x="109" y="103"/>
                    </a:cubicBezTo>
                    <a:cubicBezTo>
                      <a:pt x="111" y="103"/>
                      <a:pt x="111" y="103"/>
                      <a:pt x="111" y="103"/>
                    </a:cubicBezTo>
                    <a:cubicBezTo>
                      <a:pt x="112" y="103"/>
                      <a:pt x="115" y="103"/>
                      <a:pt x="116" y="103"/>
                    </a:cubicBezTo>
                    <a:cubicBezTo>
                      <a:pt x="128" y="103"/>
                      <a:pt x="128" y="103"/>
                      <a:pt x="128" y="103"/>
                    </a:cubicBezTo>
                    <a:cubicBezTo>
                      <a:pt x="144" y="103"/>
                      <a:pt x="157" y="90"/>
                      <a:pt x="157" y="74"/>
                    </a:cubicBezTo>
                    <a:cubicBezTo>
                      <a:pt x="157" y="59"/>
                      <a:pt x="146" y="47"/>
                      <a:pt x="132" y="45"/>
                    </a:cubicBezTo>
                    <a:close/>
                  </a:path>
                </a:pathLst>
              </a:custGeom>
              <a:solidFill>
                <a:schemeClr val="accent6">
                  <a:lumMod val="40000"/>
                  <a:lumOff val="6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93" name="Freeform 5"/>
              <p:cNvSpPr>
                <a:spLocks/>
              </p:cNvSpPr>
              <p:nvPr/>
            </p:nvSpPr>
            <p:spPr bwMode="auto">
              <a:xfrm>
                <a:off x="7803436" y="5777768"/>
                <a:ext cx="284914" cy="187557"/>
              </a:xfrm>
              <a:custGeom>
                <a:avLst/>
                <a:gdLst>
                  <a:gd name="T0" fmla="*/ 34 w 213"/>
                  <a:gd name="T1" fmla="*/ 62 h 140"/>
                  <a:gd name="T2" fmla="*/ 34 w 213"/>
                  <a:gd name="T3" fmla="*/ 59 h 140"/>
                  <a:gd name="T4" fmla="*/ 92 w 213"/>
                  <a:gd name="T5" fmla="*/ 0 h 140"/>
                  <a:gd name="T6" fmla="*/ 141 w 213"/>
                  <a:gd name="T7" fmla="*/ 27 h 140"/>
                  <a:gd name="T8" fmla="*/ 157 w 213"/>
                  <a:gd name="T9" fmla="*/ 22 h 140"/>
                  <a:gd name="T10" fmla="*/ 176 w 213"/>
                  <a:gd name="T11" fmla="*/ 28 h 140"/>
                  <a:gd name="T12" fmla="*/ 192 w 213"/>
                  <a:gd name="T13" fmla="*/ 55 h 140"/>
                  <a:gd name="T14" fmla="*/ 213 w 213"/>
                  <a:gd name="T15" fmla="*/ 94 h 140"/>
                  <a:gd name="T16" fmla="*/ 172 w 213"/>
                  <a:gd name="T17" fmla="*/ 140 h 140"/>
                  <a:gd name="T18" fmla="*/ 166 w 213"/>
                  <a:gd name="T19" fmla="*/ 140 h 140"/>
                  <a:gd name="T20" fmla="*/ 162 w 213"/>
                  <a:gd name="T21" fmla="*/ 140 h 140"/>
                  <a:gd name="T22" fmla="*/ 66 w 213"/>
                  <a:gd name="T23" fmla="*/ 140 h 140"/>
                  <a:gd name="T24" fmla="*/ 64 w 213"/>
                  <a:gd name="T25" fmla="*/ 140 h 140"/>
                  <a:gd name="T26" fmla="*/ 61 w 213"/>
                  <a:gd name="T27" fmla="*/ 140 h 140"/>
                  <a:gd name="T28" fmla="*/ 54 w 213"/>
                  <a:gd name="T29" fmla="*/ 140 h 140"/>
                  <a:gd name="T30" fmla="*/ 39 w 213"/>
                  <a:gd name="T31" fmla="*/ 140 h 140"/>
                  <a:gd name="T32" fmla="*/ 0 w 213"/>
                  <a:gd name="T33" fmla="*/ 101 h 140"/>
                  <a:gd name="T34" fmla="*/ 34 w 213"/>
                  <a:gd name="T35" fmla="*/ 6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3" h="140">
                    <a:moveTo>
                      <a:pt x="34" y="62"/>
                    </a:moveTo>
                    <a:cubicBezTo>
                      <a:pt x="34" y="61"/>
                      <a:pt x="34" y="60"/>
                      <a:pt x="34" y="59"/>
                    </a:cubicBezTo>
                    <a:cubicBezTo>
                      <a:pt x="34" y="27"/>
                      <a:pt x="60" y="0"/>
                      <a:pt x="92" y="0"/>
                    </a:cubicBezTo>
                    <a:cubicBezTo>
                      <a:pt x="113" y="0"/>
                      <a:pt x="131" y="11"/>
                      <a:pt x="141" y="27"/>
                    </a:cubicBezTo>
                    <a:cubicBezTo>
                      <a:pt x="146" y="24"/>
                      <a:pt x="152" y="22"/>
                      <a:pt x="157" y="22"/>
                    </a:cubicBezTo>
                    <a:cubicBezTo>
                      <a:pt x="165" y="22"/>
                      <a:pt x="171" y="24"/>
                      <a:pt x="176" y="28"/>
                    </a:cubicBezTo>
                    <a:cubicBezTo>
                      <a:pt x="185" y="34"/>
                      <a:pt x="191" y="44"/>
                      <a:pt x="192" y="55"/>
                    </a:cubicBezTo>
                    <a:cubicBezTo>
                      <a:pt x="204" y="64"/>
                      <a:pt x="213" y="78"/>
                      <a:pt x="213" y="94"/>
                    </a:cubicBezTo>
                    <a:cubicBezTo>
                      <a:pt x="213" y="118"/>
                      <a:pt x="195" y="137"/>
                      <a:pt x="172" y="140"/>
                    </a:cubicBezTo>
                    <a:cubicBezTo>
                      <a:pt x="170" y="140"/>
                      <a:pt x="168" y="140"/>
                      <a:pt x="166" y="140"/>
                    </a:cubicBezTo>
                    <a:cubicBezTo>
                      <a:pt x="165" y="140"/>
                      <a:pt x="163" y="140"/>
                      <a:pt x="162" y="140"/>
                    </a:cubicBezTo>
                    <a:cubicBezTo>
                      <a:pt x="140" y="140"/>
                      <a:pt x="90" y="140"/>
                      <a:pt x="66" y="140"/>
                    </a:cubicBezTo>
                    <a:cubicBezTo>
                      <a:pt x="65" y="140"/>
                      <a:pt x="64" y="140"/>
                      <a:pt x="64" y="140"/>
                    </a:cubicBezTo>
                    <a:cubicBezTo>
                      <a:pt x="61" y="140"/>
                      <a:pt x="61" y="140"/>
                      <a:pt x="61" y="140"/>
                    </a:cubicBezTo>
                    <a:cubicBezTo>
                      <a:pt x="60" y="140"/>
                      <a:pt x="57" y="140"/>
                      <a:pt x="54" y="140"/>
                    </a:cubicBezTo>
                    <a:cubicBezTo>
                      <a:pt x="39" y="140"/>
                      <a:pt x="39" y="140"/>
                      <a:pt x="39" y="140"/>
                    </a:cubicBezTo>
                    <a:cubicBezTo>
                      <a:pt x="17" y="139"/>
                      <a:pt x="0" y="122"/>
                      <a:pt x="0" y="101"/>
                    </a:cubicBezTo>
                    <a:cubicBezTo>
                      <a:pt x="0" y="81"/>
                      <a:pt x="14" y="64"/>
                      <a:pt x="34" y="62"/>
                    </a:cubicBez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nvGrpSpPr>
            <p:cNvPr id="99" name="Group 98"/>
            <p:cNvGrpSpPr/>
            <p:nvPr/>
          </p:nvGrpSpPr>
          <p:grpSpPr>
            <a:xfrm>
              <a:off x="3953415" y="6232702"/>
              <a:ext cx="988330" cy="724582"/>
              <a:chOff x="5119260" y="2527486"/>
              <a:chExt cx="3932536" cy="2883090"/>
            </a:xfrm>
          </p:grpSpPr>
          <p:sp>
            <p:nvSpPr>
              <p:cNvPr id="100" name="Freeform 5"/>
              <p:cNvSpPr>
                <a:spLocks/>
              </p:cNvSpPr>
              <p:nvPr/>
            </p:nvSpPr>
            <p:spPr bwMode="auto">
              <a:xfrm>
                <a:off x="5119260" y="3006079"/>
                <a:ext cx="1060977" cy="2394888"/>
              </a:xfrm>
              <a:custGeom>
                <a:avLst/>
                <a:gdLst>
                  <a:gd name="T0" fmla="*/ 183 w 233"/>
                  <a:gd name="T1" fmla="*/ 95 h 526"/>
                  <a:gd name="T2" fmla="*/ 182 w 233"/>
                  <a:gd name="T3" fmla="*/ 95 h 526"/>
                  <a:gd name="T4" fmla="*/ 182 w 233"/>
                  <a:gd name="T5" fmla="*/ 95 h 526"/>
                  <a:gd name="T6" fmla="*/ 132 w 233"/>
                  <a:gd name="T7" fmla="*/ 91 h 526"/>
                  <a:gd name="T8" fmla="*/ 132 w 233"/>
                  <a:gd name="T9" fmla="*/ 83 h 526"/>
                  <a:gd name="T10" fmla="*/ 143 w 233"/>
                  <a:gd name="T11" fmla="*/ 70 h 526"/>
                  <a:gd name="T12" fmla="*/ 143 w 233"/>
                  <a:gd name="T13" fmla="*/ 59 h 526"/>
                  <a:gd name="T14" fmla="*/ 148 w 233"/>
                  <a:gd name="T15" fmla="*/ 54 h 526"/>
                  <a:gd name="T16" fmla="*/ 148 w 233"/>
                  <a:gd name="T17" fmla="*/ 44 h 526"/>
                  <a:gd name="T18" fmla="*/ 145 w 233"/>
                  <a:gd name="T19" fmla="*/ 40 h 526"/>
                  <a:gd name="T20" fmla="*/ 151 w 233"/>
                  <a:gd name="T21" fmla="*/ 26 h 526"/>
                  <a:gd name="T22" fmla="*/ 132 w 233"/>
                  <a:gd name="T23" fmla="*/ 7 h 526"/>
                  <a:gd name="T24" fmla="*/ 131 w 233"/>
                  <a:gd name="T25" fmla="*/ 7 h 526"/>
                  <a:gd name="T26" fmla="*/ 110 w 233"/>
                  <a:gd name="T27" fmla="*/ 0 h 526"/>
                  <a:gd name="T28" fmla="*/ 81 w 233"/>
                  <a:gd name="T29" fmla="*/ 25 h 526"/>
                  <a:gd name="T30" fmla="*/ 87 w 233"/>
                  <a:gd name="T31" fmla="*/ 39 h 526"/>
                  <a:gd name="T32" fmla="*/ 83 w 233"/>
                  <a:gd name="T33" fmla="*/ 44 h 526"/>
                  <a:gd name="T34" fmla="*/ 83 w 233"/>
                  <a:gd name="T35" fmla="*/ 54 h 526"/>
                  <a:gd name="T36" fmla="*/ 88 w 233"/>
                  <a:gd name="T37" fmla="*/ 59 h 526"/>
                  <a:gd name="T38" fmla="*/ 88 w 233"/>
                  <a:gd name="T39" fmla="*/ 70 h 526"/>
                  <a:gd name="T40" fmla="*/ 99 w 233"/>
                  <a:gd name="T41" fmla="*/ 83 h 526"/>
                  <a:gd name="T42" fmla="*/ 99 w 233"/>
                  <a:gd name="T43" fmla="*/ 91 h 526"/>
                  <a:gd name="T44" fmla="*/ 49 w 233"/>
                  <a:gd name="T45" fmla="*/ 95 h 526"/>
                  <a:gd name="T46" fmla="*/ 49 w 233"/>
                  <a:gd name="T47" fmla="*/ 97 h 526"/>
                  <a:gd name="T48" fmla="*/ 0 w 233"/>
                  <a:gd name="T49" fmla="*/ 276 h 526"/>
                  <a:gd name="T50" fmla="*/ 3 w 233"/>
                  <a:gd name="T51" fmla="*/ 276 h 526"/>
                  <a:gd name="T52" fmla="*/ 3 w 233"/>
                  <a:gd name="T53" fmla="*/ 289 h 526"/>
                  <a:gd name="T54" fmla="*/ 14 w 233"/>
                  <a:gd name="T55" fmla="*/ 299 h 526"/>
                  <a:gd name="T56" fmla="*/ 25 w 233"/>
                  <a:gd name="T57" fmla="*/ 289 h 526"/>
                  <a:gd name="T58" fmla="*/ 25 w 233"/>
                  <a:gd name="T59" fmla="*/ 276 h 526"/>
                  <a:gd name="T60" fmla="*/ 28 w 233"/>
                  <a:gd name="T61" fmla="*/ 276 h 526"/>
                  <a:gd name="T62" fmla="*/ 49 w 233"/>
                  <a:gd name="T63" fmla="*/ 176 h 526"/>
                  <a:gd name="T64" fmla="*/ 49 w 233"/>
                  <a:gd name="T65" fmla="*/ 319 h 526"/>
                  <a:gd name="T66" fmla="*/ 67 w 233"/>
                  <a:gd name="T67" fmla="*/ 319 h 526"/>
                  <a:gd name="T68" fmla="*/ 73 w 233"/>
                  <a:gd name="T69" fmla="*/ 509 h 526"/>
                  <a:gd name="T70" fmla="*/ 79 w 233"/>
                  <a:gd name="T71" fmla="*/ 509 h 526"/>
                  <a:gd name="T72" fmla="*/ 70 w 233"/>
                  <a:gd name="T73" fmla="*/ 526 h 526"/>
                  <a:gd name="T74" fmla="*/ 111 w 233"/>
                  <a:gd name="T75" fmla="*/ 526 h 526"/>
                  <a:gd name="T76" fmla="*/ 102 w 233"/>
                  <a:gd name="T77" fmla="*/ 509 h 526"/>
                  <a:gd name="T78" fmla="*/ 108 w 233"/>
                  <a:gd name="T79" fmla="*/ 509 h 526"/>
                  <a:gd name="T80" fmla="*/ 115 w 233"/>
                  <a:gd name="T81" fmla="*/ 319 h 526"/>
                  <a:gd name="T82" fmla="*/ 117 w 233"/>
                  <a:gd name="T83" fmla="*/ 319 h 526"/>
                  <a:gd name="T84" fmla="*/ 123 w 233"/>
                  <a:gd name="T85" fmla="*/ 509 h 526"/>
                  <a:gd name="T86" fmla="*/ 129 w 233"/>
                  <a:gd name="T87" fmla="*/ 509 h 526"/>
                  <a:gd name="T88" fmla="*/ 120 w 233"/>
                  <a:gd name="T89" fmla="*/ 526 h 526"/>
                  <a:gd name="T90" fmla="*/ 161 w 233"/>
                  <a:gd name="T91" fmla="*/ 526 h 526"/>
                  <a:gd name="T92" fmla="*/ 153 w 233"/>
                  <a:gd name="T93" fmla="*/ 509 h 526"/>
                  <a:gd name="T94" fmla="*/ 158 w 233"/>
                  <a:gd name="T95" fmla="*/ 509 h 526"/>
                  <a:gd name="T96" fmla="*/ 165 w 233"/>
                  <a:gd name="T97" fmla="*/ 319 h 526"/>
                  <a:gd name="T98" fmla="*/ 182 w 233"/>
                  <a:gd name="T99" fmla="*/ 319 h 526"/>
                  <a:gd name="T100" fmla="*/ 182 w 233"/>
                  <a:gd name="T101" fmla="*/ 173 h 526"/>
                  <a:gd name="T102" fmla="*/ 204 w 233"/>
                  <a:gd name="T103" fmla="*/ 276 h 526"/>
                  <a:gd name="T104" fmla="*/ 208 w 233"/>
                  <a:gd name="T105" fmla="*/ 276 h 526"/>
                  <a:gd name="T106" fmla="*/ 208 w 233"/>
                  <a:gd name="T107" fmla="*/ 289 h 526"/>
                  <a:gd name="T108" fmla="*/ 218 w 233"/>
                  <a:gd name="T109" fmla="*/ 299 h 526"/>
                  <a:gd name="T110" fmla="*/ 229 w 233"/>
                  <a:gd name="T111" fmla="*/ 289 h 526"/>
                  <a:gd name="T112" fmla="*/ 229 w 233"/>
                  <a:gd name="T113" fmla="*/ 276 h 526"/>
                  <a:gd name="T114" fmla="*/ 233 w 233"/>
                  <a:gd name="T115" fmla="*/ 276 h 526"/>
                  <a:gd name="T116" fmla="*/ 183 w 233"/>
                  <a:gd name="T117" fmla="*/ 9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 h="526">
                    <a:moveTo>
                      <a:pt x="183" y="95"/>
                    </a:moveTo>
                    <a:cubicBezTo>
                      <a:pt x="182" y="95"/>
                      <a:pt x="182" y="95"/>
                      <a:pt x="182" y="95"/>
                    </a:cubicBezTo>
                    <a:cubicBezTo>
                      <a:pt x="182" y="95"/>
                      <a:pt x="182" y="95"/>
                      <a:pt x="182" y="95"/>
                    </a:cubicBezTo>
                    <a:cubicBezTo>
                      <a:pt x="132" y="91"/>
                      <a:pt x="132" y="91"/>
                      <a:pt x="132" y="91"/>
                    </a:cubicBezTo>
                    <a:cubicBezTo>
                      <a:pt x="132" y="83"/>
                      <a:pt x="132" y="83"/>
                      <a:pt x="132" y="83"/>
                    </a:cubicBezTo>
                    <a:cubicBezTo>
                      <a:pt x="138" y="82"/>
                      <a:pt x="143" y="77"/>
                      <a:pt x="143" y="70"/>
                    </a:cubicBezTo>
                    <a:cubicBezTo>
                      <a:pt x="143" y="59"/>
                      <a:pt x="143" y="59"/>
                      <a:pt x="143" y="59"/>
                    </a:cubicBezTo>
                    <a:cubicBezTo>
                      <a:pt x="146" y="59"/>
                      <a:pt x="148" y="57"/>
                      <a:pt x="148" y="54"/>
                    </a:cubicBezTo>
                    <a:cubicBezTo>
                      <a:pt x="148" y="44"/>
                      <a:pt x="148" y="44"/>
                      <a:pt x="148" y="44"/>
                    </a:cubicBezTo>
                    <a:cubicBezTo>
                      <a:pt x="148" y="42"/>
                      <a:pt x="146" y="40"/>
                      <a:pt x="145" y="40"/>
                    </a:cubicBezTo>
                    <a:cubicBezTo>
                      <a:pt x="148" y="36"/>
                      <a:pt x="151" y="31"/>
                      <a:pt x="151" y="26"/>
                    </a:cubicBezTo>
                    <a:cubicBezTo>
                      <a:pt x="151" y="16"/>
                      <a:pt x="142" y="7"/>
                      <a:pt x="132" y="7"/>
                    </a:cubicBezTo>
                    <a:cubicBezTo>
                      <a:pt x="131" y="7"/>
                      <a:pt x="131" y="7"/>
                      <a:pt x="131" y="7"/>
                    </a:cubicBezTo>
                    <a:cubicBezTo>
                      <a:pt x="126" y="3"/>
                      <a:pt x="118" y="0"/>
                      <a:pt x="110" y="0"/>
                    </a:cubicBezTo>
                    <a:cubicBezTo>
                      <a:pt x="94" y="0"/>
                      <a:pt x="81" y="11"/>
                      <a:pt x="81" y="25"/>
                    </a:cubicBezTo>
                    <a:cubicBezTo>
                      <a:pt x="81" y="30"/>
                      <a:pt x="83" y="35"/>
                      <a:pt x="87" y="39"/>
                    </a:cubicBezTo>
                    <a:cubicBezTo>
                      <a:pt x="85" y="40"/>
                      <a:pt x="83" y="42"/>
                      <a:pt x="83" y="44"/>
                    </a:cubicBezTo>
                    <a:cubicBezTo>
                      <a:pt x="83" y="54"/>
                      <a:pt x="83" y="54"/>
                      <a:pt x="83" y="54"/>
                    </a:cubicBezTo>
                    <a:cubicBezTo>
                      <a:pt x="83" y="57"/>
                      <a:pt x="85" y="59"/>
                      <a:pt x="88" y="59"/>
                    </a:cubicBezTo>
                    <a:cubicBezTo>
                      <a:pt x="88" y="70"/>
                      <a:pt x="88" y="70"/>
                      <a:pt x="88" y="70"/>
                    </a:cubicBezTo>
                    <a:cubicBezTo>
                      <a:pt x="88" y="77"/>
                      <a:pt x="93" y="83"/>
                      <a:pt x="99" y="83"/>
                    </a:cubicBezTo>
                    <a:cubicBezTo>
                      <a:pt x="99" y="91"/>
                      <a:pt x="99" y="91"/>
                      <a:pt x="99" y="91"/>
                    </a:cubicBezTo>
                    <a:cubicBezTo>
                      <a:pt x="49" y="95"/>
                      <a:pt x="49" y="95"/>
                      <a:pt x="49" y="95"/>
                    </a:cubicBezTo>
                    <a:cubicBezTo>
                      <a:pt x="49" y="97"/>
                      <a:pt x="49" y="97"/>
                      <a:pt x="49" y="97"/>
                    </a:cubicBezTo>
                    <a:cubicBezTo>
                      <a:pt x="23" y="155"/>
                      <a:pt x="6" y="213"/>
                      <a:pt x="0" y="276"/>
                    </a:cubicBezTo>
                    <a:cubicBezTo>
                      <a:pt x="3" y="276"/>
                      <a:pt x="3" y="276"/>
                      <a:pt x="3" y="276"/>
                    </a:cubicBezTo>
                    <a:cubicBezTo>
                      <a:pt x="3" y="289"/>
                      <a:pt x="3" y="289"/>
                      <a:pt x="3" y="289"/>
                    </a:cubicBezTo>
                    <a:cubicBezTo>
                      <a:pt x="3" y="295"/>
                      <a:pt x="8" y="299"/>
                      <a:pt x="14" y="299"/>
                    </a:cubicBezTo>
                    <a:cubicBezTo>
                      <a:pt x="20" y="299"/>
                      <a:pt x="25" y="295"/>
                      <a:pt x="25" y="289"/>
                    </a:cubicBezTo>
                    <a:cubicBezTo>
                      <a:pt x="25" y="276"/>
                      <a:pt x="25" y="276"/>
                      <a:pt x="25" y="276"/>
                    </a:cubicBezTo>
                    <a:cubicBezTo>
                      <a:pt x="28" y="276"/>
                      <a:pt x="28" y="276"/>
                      <a:pt x="28" y="276"/>
                    </a:cubicBezTo>
                    <a:cubicBezTo>
                      <a:pt x="32" y="241"/>
                      <a:pt x="39" y="208"/>
                      <a:pt x="49" y="176"/>
                    </a:cubicBezTo>
                    <a:cubicBezTo>
                      <a:pt x="49" y="319"/>
                      <a:pt x="49" y="319"/>
                      <a:pt x="49" y="319"/>
                    </a:cubicBezTo>
                    <a:cubicBezTo>
                      <a:pt x="67" y="319"/>
                      <a:pt x="67" y="319"/>
                      <a:pt x="67" y="319"/>
                    </a:cubicBezTo>
                    <a:cubicBezTo>
                      <a:pt x="73" y="509"/>
                      <a:pt x="73" y="509"/>
                      <a:pt x="73" y="509"/>
                    </a:cubicBezTo>
                    <a:cubicBezTo>
                      <a:pt x="79" y="509"/>
                      <a:pt x="79" y="509"/>
                      <a:pt x="79" y="509"/>
                    </a:cubicBezTo>
                    <a:cubicBezTo>
                      <a:pt x="74" y="513"/>
                      <a:pt x="70" y="519"/>
                      <a:pt x="70" y="526"/>
                    </a:cubicBezTo>
                    <a:cubicBezTo>
                      <a:pt x="111" y="526"/>
                      <a:pt x="111" y="526"/>
                      <a:pt x="111" y="526"/>
                    </a:cubicBezTo>
                    <a:cubicBezTo>
                      <a:pt x="111" y="519"/>
                      <a:pt x="108" y="513"/>
                      <a:pt x="102" y="509"/>
                    </a:cubicBezTo>
                    <a:cubicBezTo>
                      <a:pt x="108" y="509"/>
                      <a:pt x="108" y="509"/>
                      <a:pt x="108" y="509"/>
                    </a:cubicBezTo>
                    <a:cubicBezTo>
                      <a:pt x="115" y="319"/>
                      <a:pt x="115" y="319"/>
                      <a:pt x="115" y="319"/>
                    </a:cubicBezTo>
                    <a:cubicBezTo>
                      <a:pt x="117" y="319"/>
                      <a:pt x="117" y="319"/>
                      <a:pt x="117" y="319"/>
                    </a:cubicBezTo>
                    <a:cubicBezTo>
                      <a:pt x="123" y="509"/>
                      <a:pt x="123" y="509"/>
                      <a:pt x="123" y="509"/>
                    </a:cubicBezTo>
                    <a:cubicBezTo>
                      <a:pt x="129" y="509"/>
                      <a:pt x="129" y="509"/>
                      <a:pt x="129" y="509"/>
                    </a:cubicBezTo>
                    <a:cubicBezTo>
                      <a:pt x="124" y="513"/>
                      <a:pt x="120" y="519"/>
                      <a:pt x="120" y="526"/>
                    </a:cubicBezTo>
                    <a:cubicBezTo>
                      <a:pt x="161" y="526"/>
                      <a:pt x="161" y="526"/>
                      <a:pt x="161" y="526"/>
                    </a:cubicBezTo>
                    <a:cubicBezTo>
                      <a:pt x="161" y="519"/>
                      <a:pt x="158" y="513"/>
                      <a:pt x="153" y="509"/>
                    </a:cubicBezTo>
                    <a:cubicBezTo>
                      <a:pt x="158" y="509"/>
                      <a:pt x="158" y="509"/>
                      <a:pt x="158" y="509"/>
                    </a:cubicBezTo>
                    <a:cubicBezTo>
                      <a:pt x="165" y="319"/>
                      <a:pt x="165" y="319"/>
                      <a:pt x="165" y="319"/>
                    </a:cubicBezTo>
                    <a:cubicBezTo>
                      <a:pt x="182" y="319"/>
                      <a:pt x="182" y="319"/>
                      <a:pt x="182" y="319"/>
                    </a:cubicBezTo>
                    <a:cubicBezTo>
                      <a:pt x="182" y="173"/>
                      <a:pt x="182" y="173"/>
                      <a:pt x="182" y="173"/>
                    </a:cubicBezTo>
                    <a:cubicBezTo>
                      <a:pt x="193" y="206"/>
                      <a:pt x="200" y="240"/>
                      <a:pt x="204" y="276"/>
                    </a:cubicBezTo>
                    <a:cubicBezTo>
                      <a:pt x="208" y="276"/>
                      <a:pt x="208" y="276"/>
                      <a:pt x="208" y="276"/>
                    </a:cubicBezTo>
                    <a:cubicBezTo>
                      <a:pt x="208" y="289"/>
                      <a:pt x="208" y="289"/>
                      <a:pt x="208" y="289"/>
                    </a:cubicBezTo>
                    <a:cubicBezTo>
                      <a:pt x="208" y="295"/>
                      <a:pt x="212" y="299"/>
                      <a:pt x="218" y="299"/>
                    </a:cubicBezTo>
                    <a:cubicBezTo>
                      <a:pt x="224" y="299"/>
                      <a:pt x="229" y="295"/>
                      <a:pt x="229" y="289"/>
                    </a:cubicBezTo>
                    <a:cubicBezTo>
                      <a:pt x="229" y="276"/>
                      <a:pt x="229" y="276"/>
                      <a:pt x="229" y="276"/>
                    </a:cubicBezTo>
                    <a:cubicBezTo>
                      <a:pt x="233" y="276"/>
                      <a:pt x="233" y="276"/>
                      <a:pt x="233" y="276"/>
                    </a:cubicBezTo>
                    <a:cubicBezTo>
                      <a:pt x="227" y="212"/>
                      <a:pt x="210" y="154"/>
                      <a:pt x="183" y="95"/>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01" name="Freeform 6"/>
              <p:cNvSpPr>
                <a:spLocks/>
              </p:cNvSpPr>
              <p:nvPr/>
            </p:nvSpPr>
            <p:spPr bwMode="auto">
              <a:xfrm>
                <a:off x="6093744" y="3132935"/>
                <a:ext cx="761136" cy="2268032"/>
              </a:xfrm>
              <a:custGeom>
                <a:avLst/>
                <a:gdLst>
                  <a:gd name="T0" fmla="*/ 137 w 167"/>
                  <a:gd name="T1" fmla="*/ 101 h 498"/>
                  <a:gd name="T2" fmla="*/ 99 w 167"/>
                  <a:gd name="T3" fmla="*/ 97 h 498"/>
                  <a:gd name="T4" fmla="*/ 95 w 167"/>
                  <a:gd name="T5" fmla="*/ 93 h 498"/>
                  <a:gd name="T6" fmla="*/ 125 w 167"/>
                  <a:gd name="T7" fmla="*/ 79 h 498"/>
                  <a:gd name="T8" fmla="*/ 113 w 167"/>
                  <a:gd name="T9" fmla="*/ 73 h 498"/>
                  <a:gd name="T10" fmla="*/ 118 w 167"/>
                  <a:gd name="T11" fmla="*/ 58 h 498"/>
                  <a:gd name="T12" fmla="*/ 118 w 167"/>
                  <a:gd name="T13" fmla="*/ 57 h 498"/>
                  <a:gd name="T14" fmla="*/ 102 w 167"/>
                  <a:gd name="T15" fmla="*/ 14 h 498"/>
                  <a:gd name="T16" fmla="*/ 48 w 167"/>
                  <a:gd name="T17" fmla="*/ 38 h 498"/>
                  <a:gd name="T18" fmla="*/ 52 w 167"/>
                  <a:gd name="T19" fmla="*/ 57 h 498"/>
                  <a:gd name="T20" fmla="*/ 50 w 167"/>
                  <a:gd name="T21" fmla="*/ 73 h 498"/>
                  <a:gd name="T22" fmla="*/ 58 w 167"/>
                  <a:gd name="T23" fmla="*/ 92 h 498"/>
                  <a:gd name="T24" fmla="*/ 73 w 167"/>
                  <a:gd name="T25" fmla="*/ 97 h 498"/>
                  <a:gd name="T26" fmla="*/ 30 w 167"/>
                  <a:gd name="T27" fmla="*/ 101 h 498"/>
                  <a:gd name="T28" fmla="*/ 30 w 167"/>
                  <a:gd name="T29" fmla="*/ 101 h 498"/>
                  <a:gd name="T30" fmla="*/ 3 w 167"/>
                  <a:gd name="T31" fmla="*/ 229 h 498"/>
                  <a:gd name="T32" fmla="*/ 11 w 167"/>
                  <a:gd name="T33" fmla="*/ 246 h 498"/>
                  <a:gd name="T34" fmla="*/ 18 w 167"/>
                  <a:gd name="T35" fmla="*/ 229 h 498"/>
                  <a:gd name="T36" fmla="*/ 33 w 167"/>
                  <a:gd name="T37" fmla="*/ 154 h 498"/>
                  <a:gd name="T38" fmla="*/ 39 w 167"/>
                  <a:gd name="T39" fmla="*/ 376 h 498"/>
                  <a:gd name="T40" fmla="*/ 57 w 167"/>
                  <a:gd name="T41" fmla="*/ 490 h 498"/>
                  <a:gd name="T42" fmla="*/ 57 w 167"/>
                  <a:gd name="T43" fmla="*/ 498 h 498"/>
                  <a:gd name="T44" fmla="*/ 82 w 167"/>
                  <a:gd name="T45" fmla="*/ 498 h 498"/>
                  <a:gd name="T46" fmla="*/ 82 w 167"/>
                  <a:gd name="T47" fmla="*/ 376 h 498"/>
                  <a:gd name="T48" fmla="*/ 91 w 167"/>
                  <a:gd name="T49" fmla="*/ 490 h 498"/>
                  <a:gd name="T50" fmla="*/ 92 w 167"/>
                  <a:gd name="T51" fmla="*/ 498 h 498"/>
                  <a:gd name="T52" fmla="*/ 116 w 167"/>
                  <a:gd name="T53" fmla="*/ 498 h 498"/>
                  <a:gd name="T54" fmla="*/ 116 w 167"/>
                  <a:gd name="T55" fmla="*/ 376 h 498"/>
                  <a:gd name="T56" fmla="*/ 129 w 167"/>
                  <a:gd name="T57" fmla="*/ 262 h 498"/>
                  <a:gd name="T58" fmla="*/ 146 w 167"/>
                  <a:gd name="T59" fmla="*/ 229 h 498"/>
                  <a:gd name="T60" fmla="*/ 149 w 167"/>
                  <a:gd name="T61" fmla="*/ 238 h 498"/>
                  <a:gd name="T62" fmla="*/ 164 w 167"/>
                  <a:gd name="T63" fmla="*/ 238 h 498"/>
                  <a:gd name="T64" fmla="*/ 167 w 167"/>
                  <a:gd name="T65" fmla="*/ 229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498">
                    <a:moveTo>
                      <a:pt x="137" y="101"/>
                    </a:moveTo>
                    <a:cubicBezTo>
                      <a:pt x="137" y="101"/>
                      <a:pt x="137" y="101"/>
                      <a:pt x="137" y="101"/>
                    </a:cubicBezTo>
                    <a:cubicBezTo>
                      <a:pt x="99" y="97"/>
                      <a:pt x="99" y="97"/>
                      <a:pt x="99" y="97"/>
                    </a:cubicBezTo>
                    <a:cubicBezTo>
                      <a:pt x="99" y="97"/>
                      <a:pt x="99" y="97"/>
                      <a:pt x="99" y="97"/>
                    </a:cubicBezTo>
                    <a:cubicBezTo>
                      <a:pt x="95" y="97"/>
                      <a:pt x="95" y="97"/>
                      <a:pt x="95" y="97"/>
                    </a:cubicBezTo>
                    <a:cubicBezTo>
                      <a:pt x="95" y="93"/>
                      <a:pt x="95" y="93"/>
                      <a:pt x="95" y="93"/>
                    </a:cubicBezTo>
                    <a:cubicBezTo>
                      <a:pt x="100" y="93"/>
                      <a:pt x="105" y="93"/>
                      <a:pt x="112" y="92"/>
                    </a:cubicBezTo>
                    <a:cubicBezTo>
                      <a:pt x="123" y="90"/>
                      <a:pt x="124" y="83"/>
                      <a:pt x="125" y="79"/>
                    </a:cubicBezTo>
                    <a:cubicBezTo>
                      <a:pt x="125" y="75"/>
                      <a:pt x="122" y="68"/>
                      <a:pt x="120" y="73"/>
                    </a:cubicBezTo>
                    <a:cubicBezTo>
                      <a:pt x="119" y="79"/>
                      <a:pt x="114" y="77"/>
                      <a:pt x="113" y="73"/>
                    </a:cubicBezTo>
                    <a:cubicBezTo>
                      <a:pt x="112" y="71"/>
                      <a:pt x="114" y="66"/>
                      <a:pt x="116" y="62"/>
                    </a:cubicBezTo>
                    <a:cubicBezTo>
                      <a:pt x="116" y="60"/>
                      <a:pt x="117" y="59"/>
                      <a:pt x="118" y="58"/>
                    </a:cubicBezTo>
                    <a:cubicBezTo>
                      <a:pt x="118" y="57"/>
                      <a:pt x="118" y="57"/>
                      <a:pt x="118" y="57"/>
                    </a:cubicBezTo>
                    <a:cubicBezTo>
                      <a:pt x="118" y="57"/>
                      <a:pt x="118" y="57"/>
                      <a:pt x="118" y="57"/>
                    </a:cubicBezTo>
                    <a:cubicBezTo>
                      <a:pt x="119" y="53"/>
                      <a:pt x="120" y="49"/>
                      <a:pt x="120" y="44"/>
                    </a:cubicBezTo>
                    <a:cubicBezTo>
                      <a:pt x="120" y="30"/>
                      <a:pt x="113" y="18"/>
                      <a:pt x="102" y="14"/>
                    </a:cubicBezTo>
                    <a:cubicBezTo>
                      <a:pt x="97" y="5"/>
                      <a:pt x="88" y="0"/>
                      <a:pt x="79" y="0"/>
                    </a:cubicBezTo>
                    <a:cubicBezTo>
                      <a:pt x="62" y="0"/>
                      <a:pt x="48" y="17"/>
                      <a:pt x="48" y="38"/>
                    </a:cubicBezTo>
                    <a:cubicBezTo>
                      <a:pt x="48" y="45"/>
                      <a:pt x="50" y="52"/>
                      <a:pt x="52" y="57"/>
                    </a:cubicBezTo>
                    <a:cubicBezTo>
                      <a:pt x="52" y="57"/>
                      <a:pt x="52" y="57"/>
                      <a:pt x="52" y="57"/>
                    </a:cubicBezTo>
                    <a:cubicBezTo>
                      <a:pt x="52" y="57"/>
                      <a:pt x="59" y="70"/>
                      <a:pt x="57" y="73"/>
                    </a:cubicBezTo>
                    <a:cubicBezTo>
                      <a:pt x="56" y="77"/>
                      <a:pt x="51" y="79"/>
                      <a:pt x="50" y="73"/>
                    </a:cubicBezTo>
                    <a:cubicBezTo>
                      <a:pt x="48" y="68"/>
                      <a:pt x="45" y="75"/>
                      <a:pt x="45" y="79"/>
                    </a:cubicBezTo>
                    <a:cubicBezTo>
                      <a:pt x="46" y="83"/>
                      <a:pt x="47" y="90"/>
                      <a:pt x="58" y="92"/>
                    </a:cubicBezTo>
                    <a:cubicBezTo>
                      <a:pt x="64" y="92"/>
                      <a:pt x="68" y="93"/>
                      <a:pt x="72" y="93"/>
                    </a:cubicBezTo>
                    <a:cubicBezTo>
                      <a:pt x="73" y="97"/>
                      <a:pt x="73" y="97"/>
                      <a:pt x="73" y="97"/>
                    </a:cubicBezTo>
                    <a:cubicBezTo>
                      <a:pt x="69" y="97"/>
                      <a:pt x="69" y="97"/>
                      <a:pt x="69" y="97"/>
                    </a:cubicBezTo>
                    <a:cubicBezTo>
                      <a:pt x="30" y="101"/>
                      <a:pt x="30" y="101"/>
                      <a:pt x="30" y="101"/>
                    </a:cubicBezTo>
                    <a:cubicBezTo>
                      <a:pt x="30" y="101"/>
                      <a:pt x="30" y="101"/>
                      <a:pt x="30" y="101"/>
                    </a:cubicBezTo>
                    <a:cubicBezTo>
                      <a:pt x="30" y="101"/>
                      <a:pt x="30" y="101"/>
                      <a:pt x="30" y="101"/>
                    </a:cubicBezTo>
                    <a:cubicBezTo>
                      <a:pt x="10" y="142"/>
                      <a:pt x="4" y="183"/>
                      <a:pt x="0" y="229"/>
                    </a:cubicBezTo>
                    <a:cubicBezTo>
                      <a:pt x="3" y="229"/>
                      <a:pt x="3" y="229"/>
                      <a:pt x="3" y="229"/>
                    </a:cubicBezTo>
                    <a:cubicBezTo>
                      <a:pt x="3" y="238"/>
                      <a:pt x="3" y="238"/>
                      <a:pt x="3" y="238"/>
                    </a:cubicBezTo>
                    <a:cubicBezTo>
                      <a:pt x="3" y="242"/>
                      <a:pt x="6" y="246"/>
                      <a:pt x="11" y="246"/>
                    </a:cubicBezTo>
                    <a:cubicBezTo>
                      <a:pt x="15" y="246"/>
                      <a:pt x="18" y="242"/>
                      <a:pt x="18" y="238"/>
                    </a:cubicBezTo>
                    <a:cubicBezTo>
                      <a:pt x="18" y="229"/>
                      <a:pt x="18" y="229"/>
                      <a:pt x="18" y="229"/>
                    </a:cubicBezTo>
                    <a:cubicBezTo>
                      <a:pt x="21" y="229"/>
                      <a:pt x="21" y="229"/>
                      <a:pt x="21" y="229"/>
                    </a:cubicBezTo>
                    <a:cubicBezTo>
                      <a:pt x="24" y="203"/>
                      <a:pt x="27" y="178"/>
                      <a:pt x="33" y="154"/>
                    </a:cubicBezTo>
                    <a:cubicBezTo>
                      <a:pt x="39" y="262"/>
                      <a:pt x="39" y="262"/>
                      <a:pt x="39" y="262"/>
                    </a:cubicBezTo>
                    <a:cubicBezTo>
                      <a:pt x="39" y="376"/>
                      <a:pt x="39" y="376"/>
                      <a:pt x="39" y="376"/>
                    </a:cubicBezTo>
                    <a:cubicBezTo>
                      <a:pt x="54" y="376"/>
                      <a:pt x="54" y="376"/>
                      <a:pt x="54" y="376"/>
                    </a:cubicBezTo>
                    <a:cubicBezTo>
                      <a:pt x="57" y="490"/>
                      <a:pt x="57" y="490"/>
                      <a:pt x="57" y="490"/>
                    </a:cubicBezTo>
                    <a:cubicBezTo>
                      <a:pt x="56" y="492"/>
                      <a:pt x="55" y="495"/>
                      <a:pt x="55" y="498"/>
                    </a:cubicBezTo>
                    <a:cubicBezTo>
                      <a:pt x="57" y="498"/>
                      <a:pt x="57" y="498"/>
                      <a:pt x="57" y="498"/>
                    </a:cubicBezTo>
                    <a:cubicBezTo>
                      <a:pt x="79" y="498"/>
                      <a:pt x="79" y="498"/>
                      <a:pt x="79" y="498"/>
                    </a:cubicBezTo>
                    <a:cubicBezTo>
                      <a:pt x="82" y="498"/>
                      <a:pt x="82" y="498"/>
                      <a:pt x="82" y="498"/>
                    </a:cubicBezTo>
                    <a:cubicBezTo>
                      <a:pt x="82" y="495"/>
                      <a:pt x="81" y="492"/>
                      <a:pt x="79" y="490"/>
                    </a:cubicBezTo>
                    <a:cubicBezTo>
                      <a:pt x="82" y="376"/>
                      <a:pt x="82" y="376"/>
                      <a:pt x="82" y="376"/>
                    </a:cubicBezTo>
                    <a:cubicBezTo>
                      <a:pt x="89" y="376"/>
                      <a:pt x="89" y="376"/>
                      <a:pt x="89" y="376"/>
                    </a:cubicBezTo>
                    <a:cubicBezTo>
                      <a:pt x="91" y="490"/>
                      <a:pt x="91" y="490"/>
                      <a:pt x="91" y="490"/>
                    </a:cubicBezTo>
                    <a:cubicBezTo>
                      <a:pt x="90" y="492"/>
                      <a:pt x="89" y="495"/>
                      <a:pt x="89" y="498"/>
                    </a:cubicBezTo>
                    <a:cubicBezTo>
                      <a:pt x="92" y="498"/>
                      <a:pt x="92" y="498"/>
                      <a:pt x="92" y="498"/>
                    </a:cubicBezTo>
                    <a:cubicBezTo>
                      <a:pt x="113" y="498"/>
                      <a:pt x="113" y="498"/>
                      <a:pt x="113" y="498"/>
                    </a:cubicBezTo>
                    <a:cubicBezTo>
                      <a:pt x="116" y="498"/>
                      <a:pt x="116" y="498"/>
                      <a:pt x="116" y="498"/>
                    </a:cubicBezTo>
                    <a:cubicBezTo>
                      <a:pt x="116" y="495"/>
                      <a:pt x="115" y="492"/>
                      <a:pt x="113" y="490"/>
                    </a:cubicBezTo>
                    <a:cubicBezTo>
                      <a:pt x="116" y="376"/>
                      <a:pt x="116" y="376"/>
                      <a:pt x="116" y="376"/>
                    </a:cubicBezTo>
                    <a:cubicBezTo>
                      <a:pt x="129" y="376"/>
                      <a:pt x="129" y="376"/>
                      <a:pt x="129" y="376"/>
                    </a:cubicBezTo>
                    <a:cubicBezTo>
                      <a:pt x="129" y="262"/>
                      <a:pt x="129" y="262"/>
                      <a:pt x="129" y="262"/>
                    </a:cubicBezTo>
                    <a:cubicBezTo>
                      <a:pt x="134" y="155"/>
                      <a:pt x="134" y="155"/>
                      <a:pt x="134" y="155"/>
                    </a:cubicBezTo>
                    <a:cubicBezTo>
                      <a:pt x="140" y="179"/>
                      <a:pt x="143" y="203"/>
                      <a:pt x="146" y="229"/>
                    </a:cubicBezTo>
                    <a:cubicBezTo>
                      <a:pt x="149" y="229"/>
                      <a:pt x="149" y="229"/>
                      <a:pt x="149" y="229"/>
                    </a:cubicBezTo>
                    <a:cubicBezTo>
                      <a:pt x="149" y="238"/>
                      <a:pt x="149" y="238"/>
                      <a:pt x="149" y="238"/>
                    </a:cubicBezTo>
                    <a:cubicBezTo>
                      <a:pt x="149" y="242"/>
                      <a:pt x="152" y="246"/>
                      <a:pt x="156" y="246"/>
                    </a:cubicBezTo>
                    <a:cubicBezTo>
                      <a:pt x="160" y="246"/>
                      <a:pt x="164" y="242"/>
                      <a:pt x="164" y="238"/>
                    </a:cubicBezTo>
                    <a:cubicBezTo>
                      <a:pt x="164" y="229"/>
                      <a:pt x="164" y="229"/>
                      <a:pt x="164" y="229"/>
                    </a:cubicBezTo>
                    <a:cubicBezTo>
                      <a:pt x="167" y="229"/>
                      <a:pt x="167" y="229"/>
                      <a:pt x="167" y="229"/>
                    </a:cubicBezTo>
                    <a:cubicBezTo>
                      <a:pt x="162" y="183"/>
                      <a:pt x="156" y="142"/>
                      <a:pt x="137" y="101"/>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02" name="Freeform 7"/>
              <p:cNvSpPr>
                <a:spLocks/>
              </p:cNvSpPr>
              <p:nvPr/>
            </p:nvSpPr>
            <p:spPr bwMode="auto">
              <a:xfrm>
                <a:off x="8292581" y="3132935"/>
                <a:ext cx="759215" cy="2268032"/>
              </a:xfrm>
              <a:custGeom>
                <a:avLst/>
                <a:gdLst>
                  <a:gd name="T0" fmla="*/ 137 w 167"/>
                  <a:gd name="T1" fmla="*/ 101 h 498"/>
                  <a:gd name="T2" fmla="*/ 99 w 167"/>
                  <a:gd name="T3" fmla="*/ 97 h 498"/>
                  <a:gd name="T4" fmla="*/ 95 w 167"/>
                  <a:gd name="T5" fmla="*/ 93 h 498"/>
                  <a:gd name="T6" fmla="*/ 125 w 167"/>
                  <a:gd name="T7" fmla="*/ 79 h 498"/>
                  <a:gd name="T8" fmla="*/ 113 w 167"/>
                  <a:gd name="T9" fmla="*/ 73 h 498"/>
                  <a:gd name="T10" fmla="*/ 118 w 167"/>
                  <a:gd name="T11" fmla="*/ 58 h 498"/>
                  <a:gd name="T12" fmla="*/ 118 w 167"/>
                  <a:gd name="T13" fmla="*/ 57 h 498"/>
                  <a:gd name="T14" fmla="*/ 102 w 167"/>
                  <a:gd name="T15" fmla="*/ 14 h 498"/>
                  <a:gd name="T16" fmla="*/ 48 w 167"/>
                  <a:gd name="T17" fmla="*/ 38 h 498"/>
                  <a:gd name="T18" fmla="*/ 52 w 167"/>
                  <a:gd name="T19" fmla="*/ 57 h 498"/>
                  <a:gd name="T20" fmla="*/ 50 w 167"/>
                  <a:gd name="T21" fmla="*/ 73 h 498"/>
                  <a:gd name="T22" fmla="*/ 58 w 167"/>
                  <a:gd name="T23" fmla="*/ 92 h 498"/>
                  <a:gd name="T24" fmla="*/ 73 w 167"/>
                  <a:gd name="T25" fmla="*/ 97 h 498"/>
                  <a:gd name="T26" fmla="*/ 31 w 167"/>
                  <a:gd name="T27" fmla="*/ 101 h 498"/>
                  <a:gd name="T28" fmla="*/ 30 w 167"/>
                  <a:gd name="T29" fmla="*/ 101 h 498"/>
                  <a:gd name="T30" fmla="*/ 3 w 167"/>
                  <a:gd name="T31" fmla="*/ 229 h 498"/>
                  <a:gd name="T32" fmla="*/ 11 w 167"/>
                  <a:gd name="T33" fmla="*/ 246 h 498"/>
                  <a:gd name="T34" fmla="*/ 18 w 167"/>
                  <a:gd name="T35" fmla="*/ 229 h 498"/>
                  <a:gd name="T36" fmla="*/ 33 w 167"/>
                  <a:gd name="T37" fmla="*/ 154 h 498"/>
                  <a:gd name="T38" fmla="*/ 39 w 167"/>
                  <a:gd name="T39" fmla="*/ 376 h 498"/>
                  <a:gd name="T40" fmla="*/ 57 w 167"/>
                  <a:gd name="T41" fmla="*/ 490 h 498"/>
                  <a:gd name="T42" fmla="*/ 58 w 167"/>
                  <a:gd name="T43" fmla="*/ 498 h 498"/>
                  <a:gd name="T44" fmla="*/ 82 w 167"/>
                  <a:gd name="T45" fmla="*/ 498 h 498"/>
                  <a:gd name="T46" fmla="*/ 82 w 167"/>
                  <a:gd name="T47" fmla="*/ 376 h 498"/>
                  <a:gd name="T48" fmla="*/ 92 w 167"/>
                  <a:gd name="T49" fmla="*/ 490 h 498"/>
                  <a:gd name="T50" fmla="*/ 92 w 167"/>
                  <a:gd name="T51" fmla="*/ 498 h 498"/>
                  <a:gd name="T52" fmla="*/ 116 w 167"/>
                  <a:gd name="T53" fmla="*/ 498 h 498"/>
                  <a:gd name="T54" fmla="*/ 117 w 167"/>
                  <a:gd name="T55" fmla="*/ 376 h 498"/>
                  <a:gd name="T56" fmla="*/ 129 w 167"/>
                  <a:gd name="T57" fmla="*/ 262 h 498"/>
                  <a:gd name="T58" fmla="*/ 146 w 167"/>
                  <a:gd name="T59" fmla="*/ 229 h 498"/>
                  <a:gd name="T60" fmla="*/ 149 w 167"/>
                  <a:gd name="T61" fmla="*/ 238 h 498"/>
                  <a:gd name="T62" fmla="*/ 164 w 167"/>
                  <a:gd name="T63" fmla="*/ 238 h 498"/>
                  <a:gd name="T64" fmla="*/ 167 w 167"/>
                  <a:gd name="T65" fmla="*/ 229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7" h="498">
                    <a:moveTo>
                      <a:pt x="137" y="101"/>
                    </a:moveTo>
                    <a:cubicBezTo>
                      <a:pt x="137" y="101"/>
                      <a:pt x="137" y="101"/>
                      <a:pt x="137" y="101"/>
                    </a:cubicBezTo>
                    <a:cubicBezTo>
                      <a:pt x="99" y="97"/>
                      <a:pt x="99" y="97"/>
                      <a:pt x="99" y="97"/>
                    </a:cubicBezTo>
                    <a:cubicBezTo>
                      <a:pt x="99" y="97"/>
                      <a:pt x="99" y="97"/>
                      <a:pt x="99" y="97"/>
                    </a:cubicBezTo>
                    <a:cubicBezTo>
                      <a:pt x="95" y="97"/>
                      <a:pt x="95" y="97"/>
                      <a:pt x="95" y="97"/>
                    </a:cubicBezTo>
                    <a:cubicBezTo>
                      <a:pt x="95" y="93"/>
                      <a:pt x="95" y="93"/>
                      <a:pt x="95" y="93"/>
                    </a:cubicBezTo>
                    <a:cubicBezTo>
                      <a:pt x="100" y="93"/>
                      <a:pt x="105" y="93"/>
                      <a:pt x="112" y="92"/>
                    </a:cubicBezTo>
                    <a:cubicBezTo>
                      <a:pt x="123" y="90"/>
                      <a:pt x="124" y="83"/>
                      <a:pt x="125" y="79"/>
                    </a:cubicBezTo>
                    <a:cubicBezTo>
                      <a:pt x="125" y="75"/>
                      <a:pt x="122" y="68"/>
                      <a:pt x="121" y="73"/>
                    </a:cubicBezTo>
                    <a:cubicBezTo>
                      <a:pt x="119" y="79"/>
                      <a:pt x="114" y="77"/>
                      <a:pt x="113" y="73"/>
                    </a:cubicBezTo>
                    <a:cubicBezTo>
                      <a:pt x="112" y="71"/>
                      <a:pt x="114" y="66"/>
                      <a:pt x="116" y="62"/>
                    </a:cubicBezTo>
                    <a:cubicBezTo>
                      <a:pt x="117" y="60"/>
                      <a:pt x="117" y="59"/>
                      <a:pt x="118" y="58"/>
                    </a:cubicBezTo>
                    <a:cubicBezTo>
                      <a:pt x="118" y="57"/>
                      <a:pt x="118" y="57"/>
                      <a:pt x="118" y="57"/>
                    </a:cubicBezTo>
                    <a:cubicBezTo>
                      <a:pt x="118" y="57"/>
                      <a:pt x="118" y="57"/>
                      <a:pt x="118" y="57"/>
                    </a:cubicBezTo>
                    <a:cubicBezTo>
                      <a:pt x="119" y="53"/>
                      <a:pt x="120" y="49"/>
                      <a:pt x="120" y="44"/>
                    </a:cubicBezTo>
                    <a:cubicBezTo>
                      <a:pt x="120" y="30"/>
                      <a:pt x="113" y="18"/>
                      <a:pt x="102" y="14"/>
                    </a:cubicBezTo>
                    <a:cubicBezTo>
                      <a:pt x="97" y="5"/>
                      <a:pt x="88" y="0"/>
                      <a:pt x="79" y="0"/>
                    </a:cubicBezTo>
                    <a:cubicBezTo>
                      <a:pt x="62" y="0"/>
                      <a:pt x="48" y="17"/>
                      <a:pt x="48" y="38"/>
                    </a:cubicBezTo>
                    <a:cubicBezTo>
                      <a:pt x="48" y="45"/>
                      <a:pt x="50" y="52"/>
                      <a:pt x="52" y="57"/>
                    </a:cubicBezTo>
                    <a:cubicBezTo>
                      <a:pt x="52" y="57"/>
                      <a:pt x="52" y="57"/>
                      <a:pt x="52" y="57"/>
                    </a:cubicBezTo>
                    <a:cubicBezTo>
                      <a:pt x="52" y="57"/>
                      <a:pt x="59" y="70"/>
                      <a:pt x="57" y="73"/>
                    </a:cubicBezTo>
                    <a:cubicBezTo>
                      <a:pt x="56" y="77"/>
                      <a:pt x="52" y="79"/>
                      <a:pt x="50" y="73"/>
                    </a:cubicBezTo>
                    <a:cubicBezTo>
                      <a:pt x="48" y="68"/>
                      <a:pt x="45" y="75"/>
                      <a:pt x="45" y="79"/>
                    </a:cubicBezTo>
                    <a:cubicBezTo>
                      <a:pt x="46" y="83"/>
                      <a:pt x="47" y="90"/>
                      <a:pt x="58" y="92"/>
                    </a:cubicBezTo>
                    <a:cubicBezTo>
                      <a:pt x="64" y="92"/>
                      <a:pt x="68" y="93"/>
                      <a:pt x="72" y="93"/>
                    </a:cubicBezTo>
                    <a:cubicBezTo>
                      <a:pt x="73" y="97"/>
                      <a:pt x="73" y="97"/>
                      <a:pt x="73" y="97"/>
                    </a:cubicBezTo>
                    <a:cubicBezTo>
                      <a:pt x="69" y="97"/>
                      <a:pt x="69" y="97"/>
                      <a:pt x="69" y="97"/>
                    </a:cubicBezTo>
                    <a:cubicBezTo>
                      <a:pt x="31" y="101"/>
                      <a:pt x="31" y="101"/>
                      <a:pt x="31" y="101"/>
                    </a:cubicBezTo>
                    <a:cubicBezTo>
                      <a:pt x="31" y="101"/>
                      <a:pt x="31" y="101"/>
                      <a:pt x="31" y="101"/>
                    </a:cubicBezTo>
                    <a:cubicBezTo>
                      <a:pt x="31" y="101"/>
                      <a:pt x="30" y="101"/>
                      <a:pt x="30" y="101"/>
                    </a:cubicBezTo>
                    <a:cubicBezTo>
                      <a:pt x="11" y="142"/>
                      <a:pt x="5" y="183"/>
                      <a:pt x="0" y="229"/>
                    </a:cubicBezTo>
                    <a:cubicBezTo>
                      <a:pt x="3" y="229"/>
                      <a:pt x="3" y="229"/>
                      <a:pt x="3" y="229"/>
                    </a:cubicBezTo>
                    <a:cubicBezTo>
                      <a:pt x="3" y="238"/>
                      <a:pt x="3" y="238"/>
                      <a:pt x="3" y="238"/>
                    </a:cubicBezTo>
                    <a:cubicBezTo>
                      <a:pt x="3" y="242"/>
                      <a:pt x="6" y="246"/>
                      <a:pt x="11" y="246"/>
                    </a:cubicBezTo>
                    <a:cubicBezTo>
                      <a:pt x="15" y="246"/>
                      <a:pt x="18" y="242"/>
                      <a:pt x="18" y="238"/>
                    </a:cubicBezTo>
                    <a:cubicBezTo>
                      <a:pt x="18" y="229"/>
                      <a:pt x="18" y="229"/>
                      <a:pt x="18" y="229"/>
                    </a:cubicBezTo>
                    <a:cubicBezTo>
                      <a:pt x="21" y="229"/>
                      <a:pt x="21" y="229"/>
                      <a:pt x="21" y="229"/>
                    </a:cubicBezTo>
                    <a:cubicBezTo>
                      <a:pt x="24" y="203"/>
                      <a:pt x="27" y="178"/>
                      <a:pt x="33" y="154"/>
                    </a:cubicBezTo>
                    <a:cubicBezTo>
                      <a:pt x="39" y="262"/>
                      <a:pt x="39" y="262"/>
                      <a:pt x="39" y="262"/>
                    </a:cubicBezTo>
                    <a:cubicBezTo>
                      <a:pt x="39" y="376"/>
                      <a:pt x="39" y="376"/>
                      <a:pt x="39" y="376"/>
                    </a:cubicBezTo>
                    <a:cubicBezTo>
                      <a:pt x="55" y="376"/>
                      <a:pt x="55" y="376"/>
                      <a:pt x="55" y="376"/>
                    </a:cubicBezTo>
                    <a:cubicBezTo>
                      <a:pt x="57" y="490"/>
                      <a:pt x="57" y="490"/>
                      <a:pt x="57" y="490"/>
                    </a:cubicBezTo>
                    <a:cubicBezTo>
                      <a:pt x="56" y="492"/>
                      <a:pt x="55" y="495"/>
                      <a:pt x="55" y="498"/>
                    </a:cubicBezTo>
                    <a:cubicBezTo>
                      <a:pt x="58" y="498"/>
                      <a:pt x="58" y="498"/>
                      <a:pt x="58" y="498"/>
                    </a:cubicBezTo>
                    <a:cubicBezTo>
                      <a:pt x="79" y="498"/>
                      <a:pt x="79" y="498"/>
                      <a:pt x="79" y="498"/>
                    </a:cubicBezTo>
                    <a:cubicBezTo>
                      <a:pt x="82" y="498"/>
                      <a:pt x="82" y="498"/>
                      <a:pt x="82" y="498"/>
                    </a:cubicBezTo>
                    <a:cubicBezTo>
                      <a:pt x="82" y="495"/>
                      <a:pt x="81" y="492"/>
                      <a:pt x="79" y="490"/>
                    </a:cubicBezTo>
                    <a:cubicBezTo>
                      <a:pt x="82" y="376"/>
                      <a:pt x="82" y="376"/>
                      <a:pt x="82" y="376"/>
                    </a:cubicBezTo>
                    <a:cubicBezTo>
                      <a:pt x="89" y="376"/>
                      <a:pt x="89" y="376"/>
                      <a:pt x="89" y="376"/>
                    </a:cubicBezTo>
                    <a:cubicBezTo>
                      <a:pt x="92" y="490"/>
                      <a:pt x="92" y="490"/>
                      <a:pt x="92" y="490"/>
                    </a:cubicBezTo>
                    <a:cubicBezTo>
                      <a:pt x="90" y="492"/>
                      <a:pt x="89" y="495"/>
                      <a:pt x="89" y="498"/>
                    </a:cubicBezTo>
                    <a:cubicBezTo>
                      <a:pt x="92" y="498"/>
                      <a:pt x="92" y="498"/>
                      <a:pt x="92" y="498"/>
                    </a:cubicBezTo>
                    <a:cubicBezTo>
                      <a:pt x="113" y="498"/>
                      <a:pt x="113" y="498"/>
                      <a:pt x="113" y="498"/>
                    </a:cubicBezTo>
                    <a:cubicBezTo>
                      <a:pt x="116" y="498"/>
                      <a:pt x="116" y="498"/>
                      <a:pt x="116" y="498"/>
                    </a:cubicBezTo>
                    <a:cubicBezTo>
                      <a:pt x="116" y="495"/>
                      <a:pt x="115" y="492"/>
                      <a:pt x="114" y="490"/>
                    </a:cubicBezTo>
                    <a:cubicBezTo>
                      <a:pt x="117" y="376"/>
                      <a:pt x="117" y="376"/>
                      <a:pt x="117" y="376"/>
                    </a:cubicBezTo>
                    <a:cubicBezTo>
                      <a:pt x="129" y="376"/>
                      <a:pt x="129" y="376"/>
                      <a:pt x="129" y="376"/>
                    </a:cubicBezTo>
                    <a:cubicBezTo>
                      <a:pt x="129" y="262"/>
                      <a:pt x="129" y="262"/>
                      <a:pt x="129" y="262"/>
                    </a:cubicBezTo>
                    <a:cubicBezTo>
                      <a:pt x="134" y="155"/>
                      <a:pt x="134" y="155"/>
                      <a:pt x="134" y="155"/>
                    </a:cubicBezTo>
                    <a:cubicBezTo>
                      <a:pt x="140" y="179"/>
                      <a:pt x="144" y="203"/>
                      <a:pt x="146" y="229"/>
                    </a:cubicBezTo>
                    <a:cubicBezTo>
                      <a:pt x="149" y="229"/>
                      <a:pt x="149" y="229"/>
                      <a:pt x="149" y="229"/>
                    </a:cubicBezTo>
                    <a:cubicBezTo>
                      <a:pt x="149" y="238"/>
                      <a:pt x="149" y="238"/>
                      <a:pt x="149" y="238"/>
                    </a:cubicBezTo>
                    <a:cubicBezTo>
                      <a:pt x="149" y="242"/>
                      <a:pt x="152" y="246"/>
                      <a:pt x="156" y="246"/>
                    </a:cubicBezTo>
                    <a:cubicBezTo>
                      <a:pt x="161" y="246"/>
                      <a:pt x="164" y="242"/>
                      <a:pt x="164" y="238"/>
                    </a:cubicBezTo>
                    <a:cubicBezTo>
                      <a:pt x="164" y="229"/>
                      <a:pt x="164" y="229"/>
                      <a:pt x="164" y="229"/>
                    </a:cubicBezTo>
                    <a:cubicBezTo>
                      <a:pt x="167" y="229"/>
                      <a:pt x="167" y="229"/>
                      <a:pt x="167" y="229"/>
                    </a:cubicBezTo>
                    <a:cubicBezTo>
                      <a:pt x="162" y="183"/>
                      <a:pt x="157" y="142"/>
                      <a:pt x="137" y="101"/>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03" name="Freeform 8"/>
              <p:cNvSpPr>
                <a:spLocks/>
              </p:cNvSpPr>
              <p:nvPr/>
            </p:nvSpPr>
            <p:spPr bwMode="auto">
              <a:xfrm>
                <a:off x="7064385" y="3098337"/>
                <a:ext cx="1059056" cy="2302629"/>
              </a:xfrm>
              <a:custGeom>
                <a:avLst/>
                <a:gdLst>
                  <a:gd name="T0" fmla="*/ 183 w 233"/>
                  <a:gd name="T1" fmla="*/ 95 h 506"/>
                  <a:gd name="T2" fmla="*/ 182 w 233"/>
                  <a:gd name="T3" fmla="*/ 95 h 506"/>
                  <a:gd name="T4" fmla="*/ 182 w 233"/>
                  <a:gd name="T5" fmla="*/ 95 h 506"/>
                  <a:gd name="T6" fmla="*/ 132 w 233"/>
                  <a:gd name="T7" fmla="*/ 91 h 506"/>
                  <a:gd name="T8" fmla="*/ 132 w 233"/>
                  <a:gd name="T9" fmla="*/ 91 h 506"/>
                  <a:gd name="T10" fmla="*/ 132 w 233"/>
                  <a:gd name="T11" fmla="*/ 91 h 506"/>
                  <a:gd name="T12" fmla="*/ 132 w 233"/>
                  <a:gd name="T13" fmla="*/ 91 h 506"/>
                  <a:gd name="T14" fmla="*/ 132 w 233"/>
                  <a:gd name="T15" fmla="*/ 83 h 506"/>
                  <a:gd name="T16" fmla="*/ 143 w 233"/>
                  <a:gd name="T17" fmla="*/ 70 h 506"/>
                  <a:gd name="T18" fmla="*/ 143 w 233"/>
                  <a:gd name="T19" fmla="*/ 59 h 506"/>
                  <a:gd name="T20" fmla="*/ 148 w 233"/>
                  <a:gd name="T21" fmla="*/ 54 h 506"/>
                  <a:gd name="T22" fmla="*/ 148 w 233"/>
                  <a:gd name="T23" fmla="*/ 44 h 506"/>
                  <a:gd name="T24" fmla="*/ 145 w 233"/>
                  <a:gd name="T25" fmla="*/ 40 h 506"/>
                  <a:gd name="T26" fmla="*/ 151 w 233"/>
                  <a:gd name="T27" fmla="*/ 26 h 506"/>
                  <a:gd name="T28" fmla="*/ 132 w 233"/>
                  <a:gd name="T29" fmla="*/ 7 h 506"/>
                  <a:gd name="T30" fmla="*/ 131 w 233"/>
                  <a:gd name="T31" fmla="*/ 7 h 506"/>
                  <a:gd name="T32" fmla="*/ 110 w 233"/>
                  <a:gd name="T33" fmla="*/ 0 h 506"/>
                  <a:gd name="T34" fmla="*/ 81 w 233"/>
                  <a:gd name="T35" fmla="*/ 25 h 506"/>
                  <a:gd name="T36" fmla="*/ 87 w 233"/>
                  <a:gd name="T37" fmla="*/ 39 h 506"/>
                  <a:gd name="T38" fmla="*/ 83 w 233"/>
                  <a:gd name="T39" fmla="*/ 44 h 506"/>
                  <a:gd name="T40" fmla="*/ 83 w 233"/>
                  <a:gd name="T41" fmla="*/ 54 h 506"/>
                  <a:gd name="T42" fmla="*/ 88 w 233"/>
                  <a:gd name="T43" fmla="*/ 59 h 506"/>
                  <a:gd name="T44" fmla="*/ 88 w 233"/>
                  <a:gd name="T45" fmla="*/ 70 h 506"/>
                  <a:gd name="T46" fmla="*/ 99 w 233"/>
                  <a:gd name="T47" fmla="*/ 83 h 506"/>
                  <a:gd name="T48" fmla="*/ 99 w 233"/>
                  <a:gd name="T49" fmla="*/ 91 h 506"/>
                  <a:gd name="T50" fmla="*/ 49 w 233"/>
                  <a:gd name="T51" fmla="*/ 95 h 506"/>
                  <a:gd name="T52" fmla="*/ 49 w 233"/>
                  <a:gd name="T53" fmla="*/ 97 h 506"/>
                  <a:gd name="T54" fmla="*/ 0 w 233"/>
                  <a:gd name="T55" fmla="*/ 276 h 506"/>
                  <a:gd name="T56" fmla="*/ 3 w 233"/>
                  <a:gd name="T57" fmla="*/ 276 h 506"/>
                  <a:gd name="T58" fmla="*/ 3 w 233"/>
                  <a:gd name="T59" fmla="*/ 289 h 506"/>
                  <a:gd name="T60" fmla="*/ 14 w 233"/>
                  <a:gd name="T61" fmla="*/ 299 h 506"/>
                  <a:gd name="T62" fmla="*/ 25 w 233"/>
                  <a:gd name="T63" fmla="*/ 289 h 506"/>
                  <a:gd name="T64" fmla="*/ 25 w 233"/>
                  <a:gd name="T65" fmla="*/ 276 h 506"/>
                  <a:gd name="T66" fmla="*/ 28 w 233"/>
                  <a:gd name="T67" fmla="*/ 276 h 506"/>
                  <a:gd name="T68" fmla="*/ 49 w 233"/>
                  <a:gd name="T69" fmla="*/ 176 h 506"/>
                  <a:gd name="T70" fmla="*/ 49 w 233"/>
                  <a:gd name="T71" fmla="*/ 318 h 506"/>
                  <a:gd name="T72" fmla="*/ 67 w 233"/>
                  <a:gd name="T73" fmla="*/ 318 h 506"/>
                  <a:gd name="T74" fmla="*/ 73 w 233"/>
                  <a:gd name="T75" fmla="*/ 489 h 506"/>
                  <a:gd name="T76" fmla="*/ 79 w 233"/>
                  <a:gd name="T77" fmla="*/ 489 h 506"/>
                  <a:gd name="T78" fmla="*/ 70 w 233"/>
                  <a:gd name="T79" fmla="*/ 506 h 506"/>
                  <a:gd name="T80" fmla="*/ 111 w 233"/>
                  <a:gd name="T81" fmla="*/ 506 h 506"/>
                  <a:gd name="T82" fmla="*/ 102 w 233"/>
                  <a:gd name="T83" fmla="*/ 489 h 506"/>
                  <a:gd name="T84" fmla="*/ 108 w 233"/>
                  <a:gd name="T85" fmla="*/ 489 h 506"/>
                  <a:gd name="T86" fmla="*/ 115 w 233"/>
                  <a:gd name="T87" fmla="*/ 318 h 506"/>
                  <a:gd name="T88" fmla="*/ 117 w 233"/>
                  <a:gd name="T89" fmla="*/ 318 h 506"/>
                  <a:gd name="T90" fmla="*/ 123 w 233"/>
                  <a:gd name="T91" fmla="*/ 489 h 506"/>
                  <a:gd name="T92" fmla="*/ 129 w 233"/>
                  <a:gd name="T93" fmla="*/ 489 h 506"/>
                  <a:gd name="T94" fmla="*/ 120 w 233"/>
                  <a:gd name="T95" fmla="*/ 506 h 506"/>
                  <a:gd name="T96" fmla="*/ 161 w 233"/>
                  <a:gd name="T97" fmla="*/ 506 h 506"/>
                  <a:gd name="T98" fmla="*/ 153 w 233"/>
                  <a:gd name="T99" fmla="*/ 489 h 506"/>
                  <a:gd name="T100" fmla="*/ 158 w 233"/>
                  <a:gd name="T101" fmla="*/ 489 h 506"/>
                  <a:gd name="T102" fmla="*/ 165 w 233"/>
                  <a:gd name="T103" fmla="*/ 318 h 506"/>
                  <a:gd name="T104" fmla="*/ 182 w 233"/>
                  <a:gd name="T105" fmla="*/ 318 h 506"/>
                  <a:gd name="T106" fmla="*/ 182 w 233"/>
                  <a:gd name="T107" fmla="*/ 173 h 506"/>
                  <a:gd name="T108" fmla="*/ 204 w 233"/>
                  <a:gd name="T109" fmla="*/ 276 h 506"/>
                  <a:gd name="T110" fmla="*/ 208 w 233"/>
                  <a:gd name="T111" fmla="*/ 276 h 506"/>
                  <a:gd name="T112" fmla="*/ 208 w 233"/>
                  <a:gd name="T113" fmla="*/ 289 h 506"/>
                  <a:gd name="T114" fmla="*/ 218 w 233"/>
                  <a:gd name="T115" fmla="*/ 299 h 506"/>
                  <a:gd name="T116" fmla="*/ 229 w 233"/>
                  <a:gd name="T117" fmla="*/ 289 h 506"/>
                  <a:gd name="T118" fmla="*/ 229 w 233"/>
                  <a:gd name="T119" fmla="*/ 276 h 506"/>
                  <a:gd name="T120" fmla="*/ 233 w 233"/>
                  <a:gd name="T121" fmla="*/ 276 h 506"/>
                  <a:gd name="T122" fmla="*/ 183 w 233"/>
                  <a:gd name="T123" fmla="*/ 95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 h="506">
                    <a:moveTo>
                      <a:pt x="183" y="95"/>
                    </a:moveTo>
                    <a:cubicBezTo>
                      <a:pt x="182" y="95"/>
                      <a:pt x="182" y="95"/>
                      <a:pt x="182" y="95"/>
                    </a:cubicBezTo>
                    <a:cubicBezTo>
                      <a:pt x="182" y="95"/>
                      <a:pt x="182" y="95"/>
                      <a:pt x="182" y="95"/>
                    </a:cubicBezTo>
                    <a:cubicBezTo>
                      <a:pt x="132" y="91"/>
                      <a:pt x="132" y="91"/>
                      <a:pt x="132" y="91"/>
                    </a:cubicBezTo>
                    <a:cubicBezTo>
                      <a:pt x="132" y="91"/>
                      <a:pt x="132" y="91"/>
                      <a:pt x="132" y="91"/>
                    </a:cubicBezTo>
                    <a:cubicBezTo>
                      <a:pt x="132" y="91"/>
                      <a:pt x="132" y="91"/>
                      <a:pt x="132" y="91"/>
                    </a:cubicBezTo>
                    <a:cubicBezTo>
                      <a:pt x="132" y="91"/>
                      <a:pt x="132" y="91"/>
                      <a:pt x="132" y="91"/>
                    </a:cubicBezTo>
                    <a:cubicBezTo>
                      <a:pt x="132" y="83"/>
                      <a:pt x="132" y="83"/>
                      <a:pt x="132" y="83"/>
                    </a:cubicBezTo>
                    <a:cubicBezTo>
                      <a:pt x="138" y="82"/>
                      <a:pt x="143" y="76"/>
                      <a:pt x="143" y="70"/>
                    </a:cubicBezTo>
                    <a:cubicBezTo>
                      <a:pt x="143" y="59"/>
                      <a:pt x="143" y="59"/>
                      <a:pt x="143" y="59"/>
                    </a:cubicBezTo>
                    <a:cubicBezTo>
                      <a:pt x="146" y="59"/>
                      <a:pt x="148" y="57"/>
                      <a:pt x="148" y="54"/>
                    </a:cubicBezTo>
                    <a:cubicBezTo>
                      <a:pt x="148" y="44"/>
                      <a:pt x="148" y="44"/>
                      <a:pt x="148" y="44"/>
                    </a:cubicBezTo>
                    <a:cubicBezTo>
                      <a:pt x="148" y="42"/>
                      <a:pt x="146" y="40"/>
                      <a:pt x="145" y="40"/>
                    </a:cubicBezTo>
                    <a:cubicBezTo>
                      <a:pt x="148" y="36"/>
                      <a:pt x="151" y="31"/>
                      <a:pt x="151" y="26"/>
                    </a:cubicBezTo>
                    <a:cubicBezTo>
                      <a:pt x="151" y="16"/>
                      <a:pt x="142" y="7"/>
                      <a:pt x="132" y="7"/>
                    </a:cubicBezTo>
                    <a:cubicBezTo>
                      <a:pt x="131" y="7"/>
                      <a:pt x="131" y="7"/>
                      <a:pt x="131" y="7"/>
                    </a:cubicBezTo>
                    <a:cubicBezTo>
                      <a:pt x="126" y="3"/>
                      <a:pt x="118" y="0"/>
                      <a:pt x="110" y="0"/>
                    </a:cubicBezTo>
                    <a:cubicBezTo>
                      <a:pt x="94" y="0"/>
                      <a:pt x="81" y="11"/>
                      <a:pt x="81" y="25"/>
                    </a:cubicBezTo>
                    <a:cubicBezTo>
                      <a:pt x="81" y="30"/>
                      <a:pt x="83" y="35"/>
                      <a:pt x="87" y="39"/>
                    </a:cubicBezTo>
                    <a:cubicBezTo>
                      <a:pt x="85" y="40"/>
                      <a:pt x="83" y="42"/>
                      <a:pt x="83" y="44"/>
                    </a:cubicBezTo>
                    <a:cubicBezTo>
                      <a:pt x="83" y="54"/>
                      <a:pt x="83" y="54"/>
                      <a:pt x="83" y="54"/>
                    </a:cubicBezTo>
                    <a:cubicBezTo>
                      <a:pt x="83" y="57"/>
                      <a:pt x="85" y="59"/>
                      <a:pt x="88" y="59"/>
                    </a:cubicBezTo>
                    <a:cubicBezTo>
                      <a:pt x="88" y="70"/>
                      <a:pt x="88" y="70"/>
                      <a:pt x="88" y="70"/>
                    </a:cubicBezTo>
                    <a:cubicBezTo>
                      <a:pt x="88" y="77"/>
                      <a:pt x="93" y="82"/>
                      <a:pt x="99" y="83"/>
                    </a:cubicBezTo>
                    <a:cubicBezTo>
                      <a:pt x="99" y="91"/>
                      <a:pt x="99" y="91"/>
                      <a:pt x="99" y="91"/>
                    </a:cubicBezTo>
                    <a:cubicBezTo>
                      <a:pt x="49" y="95"/>
                      <a:pt x="49" y="95"/>
                      <a:pt x="49" y="95"/>
                    </a:cubicBezTo>
                    <a:cubicBezTo>
                      <a:pt x="49" y="97"/>
                      <a:pt x="49" y="97"/>
                      <a:pt x="49" y="97"/>
                    </a:cubicBezTo>
                    <a:cubicBezTo>
                      <a:pt x="23" y="155"/>
                      <a:pt x="6" y="213"/>
                      <a:pt x="0" y="276"/>
                    </a:cubicBezTo>
                    <a:cubicBezTo>
                      <a:pt x="3" y="276"/>
                      <a:pt x="3" y="276"/>
                      <a:pt x="3" y="276"/>
                    </a:cubicBezTo>
                    <a:cubicBezTo>
                      <a:pt x="3" y="289"/>
                      <a:pt x="3" y="289"/>
                      <a:pt x="3" y="289"/>
                    </a:cubicBezTo>
                    <a:cubicBezTo>
                      <a:pt x="3" y="295"/>
                      <a:pt x="8" y="299"/>
                      <a:pt x="14" y="299"/>
                    </a:cubicBezTo>
                    <a:cubicBezTo>
                      <a:pt x="20" y="299"/>
                      <a:pt x="25" y="295"/>
                      <a:pt x="25" y="289"/>
                    </a:cubicBezTo>
                    <a:cubicBezTo>
                      <a:pt x="25" y="276"/>
                      <a:pt x="25" y="276"/>
                      <a:pt x="25" y="276"/>
                    </a:cubicBezTo>
                    <a:cubicBezTo>
                      <a:pt x="28" y="276"/>
                      <a:pt x="28" y="276"/>
                      <a:pt x="28" y="276"/>
                    </a:cubicBezTo>
                    <a:cubicBezTo>
                      <a:pt x="32" y="241"/>
                      <a:pt x="39" y="208"/>
                      <a:pt x="49" y="176"/>
                    </a:cubicBezTo>
                    <a:cubicBezTo>
                      <a:pt x="49" y="318"/>
                      <a:pt x="49" y="318"/>
                      <a:pt x="49" y="318"/>
                    </a:cubicBezTo>
                    <a:cubicBezTo>
                      <a:pt x="67" y="318"/>
                      <a:pt x="67" y="318"/>
                      <a:pt x="67" y="318"/>
                    </a:cubicBezTo>
                    <a:cubicBezTo>
                      <a:pt x="73" y="489"/>
                      <a:pt x="73" y="489"/>
                      <a:pt x="73" y="489"/>
                    </a:cubicBezTo>
                    <a:cubicBezTo>
                      <a:pt x="79" y="489"/>
                      <a:pt x="79" y="489"/>
                      <a:pt x="79" y="489"/>
                    </a:cubicBezTo>
                    <a:cubicBezTo>
                      <a:pt x="74" y="493"/>
                      <a:pt x="70" y="499"/>
                      <a:pt x="70" y="506"/>
                    </a:cubicBezTo>
                    <a:cubicBezTo>
                      <a:pt x="111" y="506"/>
                      <a:pt x="111" y="506"/>
                      <a:pt x="111" y="506"/>
                    </a:cubicBezTo>
                    <a:cubicBezTo>
                      <a:pt x="111" y="499"/>
                      <a:pt x="108" y="493"/>
                      <a:pt x="102" y="489"/>
                    </a:cubicBezTo>
                    <a:cubicBezTo>
                      <a:pt x="108" y="489"/>
                      <a:pt x="108" y="489"/>
                      <a:pt x="108" y="489"/>
                    </a:cubicBezTo>
                    <a:cubicBezTo>
                      <a:pt x="115" y="318"/>
                      <a:pt x="115" y="318"/>
                      <a:pt x="115" y="318"/>
                    </a:cubicBezTo>
                    <a:cubicBezTo>
                      <a:pt x="117" y="318"/>
                      <a:pt x="117" y="318"/>
                      <a:pt x="117" y="318"/>
                    </a:cubicBezTo>
                    <a:cubicBezTo>
                      <a:pt x="123" y="489"/>
                      <a:pt x="123" y="489"/>
                      <a:pt x="123" y="489"/>
                    </a:cubicBezTo>
                    <a:cubicBezTo>
                      <a:pt x="129" y="489"/>
                      <a:pt x="129" y="489"/>
                      <a:pt x="129" y="489"/>
                    </a:cubicBezTo>
                    <a:cubicBezTo>
                      <a:pt x="124" y="493"/>
                      <a:pt x="120" y="499"/>
                      <a:pt x="120" y="506"/>
                    </a:cubicBezTo>
                    <a:cubicBezTo>
                      <a:pt x="161" y="506"/>
                      <a:pt x="161" y="506"/>
                      <a:pt x="161" y="506"/>
                    </a:cubicBezTo>
                    <a:cubicBezTo>
                      <a:pt x="161" y="499"/>
                      <a:pt x="158" y="493"/>
                      <a:pt x="153" y="489"/>
                    </a:cubicBezTo>
                    <a:cubicBezTo>
                      <a:pt x="158" y="489"/>
                      <a:pt x="158" y="489"/>
                      <a:pt x="158" y="489"/>
                    </a:cubicBezTo>
                    <a:cubicBezTo>
                      <a:pt x="165" y="318"/>
                      <a:pt x="165" y="318"/>
                      <a:pt x="165" y="318"/>
                    </a:cubicBezTo>
                    <a:cubicBezTo>
                      <a:pt x="182" y="318"/>
                      <a:pt x="182" y="318"/>
                      <a:pt x="182" y="318"/>
                    </a:cubicBezTo>
                    <a:cubicBezTo>
                      <a:pt x="182" y="173"/>
                      <a:pt x="182" y="173"/>
                      <a:pt x="182" y="173"/>
                    </a:cubicBezTo>
                    <a:cubicBezTo>
                      <a:pt x="193" y="206"/>
                      <a:pt x="200" y="240"/>
                      <a:pt x="204" y="276"/>
                    </a:cubicBezTo>
                    <a:cubicBezTo>
                      <a:pt x="208" y="276"/>
                      <a:pt x="208" y="276"/>
                      <a:pt x="208" y="276"/>
                    </a:cubicBezTo>
                    <a:cubicBezTo>
                      <a:pt x="208" y="289"/>
                      <a:pt x="208" y="289"/>
                      <a:pt x="208" y="289"/>
                    </a:cubicBezTo>
                    <a:cubicBezTo>
                      <a:pt x="208" y="295"/>
                      <a:pt x="212" y="299"/>
                      <a:pt x="218" y="299"/>
                    </a:cubicBezTo>
                    <a:cubicBezTo>
                      <a:pt x="224" y="299"/>
                      <a:pt x="229" y="295"/>
                      <a:pt x="229" y="289"/>
                    </a:cubicBezTo>
                    <a:cubicBezTo>
                      <a:pt x="229" y="276"/>
                      <a:pt x="229" y="276"/>
                      <a:pt x="229" y="276"/>
                    </a:cubicBezTo>
                    <a:cubicBezTo>
                      <a:pt x="233" y="276"/>
                      <a:pt x="233" y="276"/>
                      <a:pt x="233" y="276"/>
                    </a:cubicBezTo>
                    <a:cubicBezTo>
                      <a:pt x="227" y="212"/>
                      <a:pt x="210" y="153"/>
                      <a:pt x="183" y="95"/>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nvGrpSpPr>
              <p:cNvPr id="105" name="Group 104"/>
              <p:cNvGrpSpPr/>
              <p:nvPr/>
            </p:nvGrpSpPr>
            <p:grpSpPr>
              <a:xfrm>
                <a:off x="5501749" y="2623589"/>
                <a:ext cx="1037915" cy="2786987"/>
                <a:chOff x="5501749" y="2623589"/>
                <a:chExt cx="1037915" cy="2786987"/>
              </a:xfrm>
            </p:grpSpPr>
            <p:sp>
              <p:nvSpPr>
                <p:cNvPr id="166" name="Rectangle 34"/>
                <p:cNvSpPr>
                  <a:spLocks noChangeArrowheads="1"/>
                </p:cNvSpPr>
                <p:nvPr/>
              </p:nvSpPr>
              <p:spPr bwMode="auto">
                <a:xfrm>
                  <a:off x="5930370" y="3132935"/>
                  <a:ext cx="182596" cy="53817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67" name="Freeform 35"/>
                <p:cNvSpPr>
                  <a:spLocks/>
                </p:cNvSpPr>
                <p:nvPr/>
              </p:nvSpPr>
              <p:spPr bwMode="auto">
                <a:xfrm>
                  <a:off x="5780449" y="5297175"/>
                  <a:ext cx="226803" cy="113401"/>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1" y="0"/>
                        <a:pt x="0" y="11"/>
                        <a:pt x="0" y="25"/>
                      </a:cubicBezTo>
                      <a:cubicBezTo>
                        <a:pt x="50" y="25"/>
                        <a:pt x="50" y="25"/>
                        <a:pt x="50" y="25"/>
                      </a:cubicBezTo>
                      <a:cubicBezTo>
                        <a:pt x="50" y="11"/>
                        <a:pt x="39" y="0"/>
                        <a:pt x="2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68" name="Freeform 36"/>
                <p:cNvSpPr>
                  <a:spLocks/>
                </p:cNvSpPr>
                <p:nvPr/>
              </p:nvSpPr>
              <p:spPr bwMode="auto">
                <a:xfrm>
                  <a:off x="6030317" y="5297175"/>
                  <a:ext cx="226803" cy="113401"/>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1" y="0"/>
                        <a:pt x="0" y="11"/>
                        <a:pt x="0" y="25"/>
                      </a:cubicBezTo>
                      <a:cubicBezTo>
                        <a:pt x="50" y="25"/>
                        <a:pt x="50" y="25"/>
                        <a:pt x="50" y="25"/>
                      </a:cubicBezTo>
                      <a:cubicBezTo>
                        <a:pt x="50" y="11"/>
                        <a:pt x="39" y="0"/>
                        <a:pt x="2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69" name="Freeform 37"/>
                <p:cNvSpPr>
                  <a:spLocks/>
                </p:cNvSpPr>
                <p:nvPr/>
              </p:nvSpPr>
              <p:spPr bwMode="auto">
                <a:xfrm>
                  <a:off x="5861175" y="2669718"/>
                  <a:ext cx="351738" cy="422853"/>
                </a:xfrm>
                <a:custGeom>
                  <a:avLst/>
                  <a:gdLst>
                    <a:gd name="T0" fmla="*/ 69 w 77"/>
                    <a:gd name="T1" fmla="*/ 53 h 93"/>
                    <a:gd name="T2" fmla="*/ 27 w 77"/>
                    <a:gd name="T3" fmla="*/ 87 h 93"/>
                    <a:gd name="T4" fmla="*/ 7 w 77"/>
                    <a:gd name="T5" fmla="*/ 36 h 93"/>
                    <a:gd name="T6" fmla="*/ 54 w 77"/>
                    <a:gd name="T7" fmla="*/ 6 h 93"/>
                    <a:gd name="T8" fmla="*/ 69 w 77"/>
                    <a:gd name="T9" fmla="*/ 53 h 93"/>
                  </a:gdLst>
                  <a:ahLst/>
                  <a:cxnLst>
                    <a:cxn ang="0">
                      <a:pos x="T0" y="T1"/>
                    </a:cxn>
                    <a:cxn ang="0">
                      <a:pos x="T2" y="T3"/>
                    </a:cxn>
                    <a:cxn ang="0">
                      <a:pos x="T4" y="T5"/>
                    </a:cxn>
                    <a:cxn ang="0">
                      <a:pos x="T6" y="T7"/>
                    </a:cxn>
                    <a:cxn ang="0">
                      <a:pos x="T8" y="T9"/>
                    </a:cxn>
                  </a:cxnLst>
                  <a:rect l="0" t="0" r="r" b="b"/>
                  <a:pathLst>
                    <a:path w="77" h="93">
                      <a:moveTo>
                        <a:pt x="69" y="53"/>
                      </a:moveTo>
                      <a:cubicBezTo>
                        <a:pt x="62" y="75"/>
                        <a:pt x="45" y="93"/>
                        <a:pt x="27" y="87"/>
                      </a:cubicBezTo>
                      <a:cubicBezTo>
                        <a:pt x="9" y="81"/>
                        <a:pt x="0" y="58"/>
                        <a:pt x="7" y="36"/>
                      </a:cubicBezTo>
                      <a:cubicBezTo>
                        <a:pt x="15" y="14"/>
                        <a:pt x="35" y="0"/>
                        <a:pt x="54" y="6"/>
                      </a:cubicBezTo>
                      <a:cubicBezTo>
                        <a:pt x="72" y="12"/>
                        <a:pt x="77" y="31"/>
                        <a:pt x="69" y="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70" name="Freeform 38"/>
                <p:cNvSpPr>
                  <a:spLocks/>
                </p:cNvSpPr>
                <p:nvPr/>
              </p:nvSpPr>
              <p:spPr bwMode="auto">
                <a:xfrm>
                  <a:off x="5816967" y="2623589"/>
                  <a:ext cx="345971" cy="395945"/>
                </a:xfrm>
                <a:custGeom>
                  <a:avLst/>
                  <a:gdLst>
                    <a:gd name="T0" fmla="*/ 65 w 76"/>
                    <a:gd name="T1" fmla="*/ 28 h 87"/>
                    <a:gd name="T2" fmla="*/ 58 w 76"/>
                    <a:gd name="T3" fmla="*/ 78 h 87"/>
                    <a:gd name="T4" fmla="*/ 11 w 76"/>
                    <a:gd name="T5" fmla="*/ 60 h 87"/>
                    <a:gd name="T6" fmla="*/ 17 w 76"/>
                    <a:gd name="T7" fmla="*/ 9 h 87"/>
                    <a:gd name="T8" fmla="*/ 65 w 76"/>
                    <a:gd name="T9" fmla="*/ 28 h 87"/>
                  </a:gdLst>
                  <a:ahLst/>
                  <a:cxnLst>
                    <a:cxn ang="0">
                      <a:pos x="T0" y="T1"/>
                    </a:cxn>
                    <a:cxn ang="0">
                      <a:pos x="T2" y="T3"/>
                    </a:cxn>
                    <a:cxn ang="0">
                      <a:pos x="T4" y="T5"/>
                    </a:cxn>
                    <a:cxn ang="0">
                      <a:pos x="T6" y="T7"/>
                    </a:cxn>
                    <a:cxn ang="0">
                      <a:pos x="T8" y="T9"/>
                    </a:cxn>
                  </a:cxnLst>
                  <a:rect l="0" t="0" r="r" b="b"/>
                  <a:pathLst>
                    <a:path w="76" h="87">
                      <a:moveTo>
                        <a:pt x="65" y="28"/>
                      </a:moveTo>
                      <a:cubicBezTo>
                        <a:pt x="76" y="47"/>
                        <a:pt x="73" y="69"/>
                        <a:pt x="58" y="78"/>
                      </a:cubicBezTo>
                      <a:cubicBezTo>
                        <a:pt x="43" y="87"/>
                        <a:pt x="22" y="79"/>
                        <a:pt x="11" y="60"/>
                      </a:cubicBezTo>
                      <a:cubicBezTo>
                        <a:pt x="0" y="40"/>
                        <a:pt x="3" y="18"/>
                        <a:pt x="17" y="9"/>
                      </a:cubicBezTo>
                      <a:cubicBezTo>
                        <a:pt x="32" y="0"/>
                        <a:pt x="53" y="9"/>
                        <a:pt x="65" y="2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71" name="Freeform 39"/>
                <p:cNvSpPr>
                  <a:spLocks/>
                </p:cNvSpPr>
                <p:nvPr/>
              </p:nvSpPr>
              <p:spPr bwMode="auto">
                <a:xfrm>
                  <a:off x="5930370" y="2988781"/>
                  <a:ext cx="182596" cy="190283"/>
                </a:xfrm>
                <a:custGeom>
                  <a:avLst/>
                  <a:gdLst>
                    <a:gd name="T0" fmla="*/ 95 w 95"/>
                    <a:gd name="T1" fmla="*/ 75 h 99"/>
                    <a:gd name="T2" fmla="*/ 47 w 95"/>
                    <a:gd name="T3" fmla="*/ 99 h 99"/>
                    <a:gd name="T4" fmla="*/ 0 w 95"/>
                    <a:gd name="T5" fmla="*/ 75 h 99"/>
                    <a:gd name="T6" fmla="*/ 0 w 95"/>
                    <a:gd name="T7" fmla="*/ 0 h 99"/>
                    <a:gd name="T8" fmla="*/ 95 w 95"/>
                    <a:gd name="T9" fmla="*/ 0 h 99"/>
                    <a:gd name="T10" fmla="*/ 95 w 95"/>
                    <a:gd name="T11" fmla="*/ 75 h 99"/>
                  </a:gdLst>
                  <a:ahLst/>
                  <a:cxnLst>
                    <a:cxn ang="0">
                      <a:pos x="T0" y="T1"/>
                    </a:cxn>
                    <a:cxn ang="0">
                      <a:pos x="T2" y="T3"/>
                    </a:cxn>
                    <a:cxn ang="0">
                      <a:pos x="T4" y="T5"/>
                    </a:cxn>
                    <a:cxn ang="0">
                      <a:pos x="T6" y="T7"/>
                    </a:cxn>
                    <a:cxn ang="0">
                      <a:pos x="T8" y="T9"/>
                    </a:cxn>
                    <a:cxn ang="0">
                      <a:pos x="T10" y="T11"/>
                    </a:cxn>
                  </a:cxnLst>
                  <a:rect l="0" t="0" r="r" b="b"/>
                  <a:pathLst>
                    <a:path w="95" h="99">
                      <a:moveTo>
                        <a:pt x="95" y="75"/>
                      </a:moveTo>
                      <a:lnTo>
                        <a:pt x="47" y="99"/>
                      </a:lnTo>
                      <a:lnTo>
                        <a:pt x="0" y="75"/>
                      </a:lnTo>
                      <a:lnTo>
                        <a:pt x="0" y="0"/>
                      </a:lnTo>
                      <a:lnTo>
                        <a:pt x="95" y="0"/>
                      </a:lnTo>
                      <a:lnTo>
                        <a:pt x="95" y="7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72" name="Freeform 41"/>
                <p:cNvSpPr>
                  <a:spLocks/>
                </p:cNvSpPr>
                <p:nvPr/>
              </p:nvSpPr>
              <p:spPr bwMode="auto">
                <a:xfrm>
                  <a:off x="5501749" y="3188675"/>
                  <a:ext cx="388256" cy="991783"/>
                </a:xfrm>
                <a:custGeom>
                  <a:avLst/>
                  <a:gdLst>
                    <a:gd name="T0" fmla="*/ 85 w 85"/>
                    <a:gd name="T1" fmla="*/ 9 h 218"/>
                    <a:gd name="T2" fmla="*/ 51 w 85"/>
                    <a:gd name="T3" fmla="*/ 0 h 218"/>
                    <a:gd name="T4" fmla="*/ 0 w 85"/>
                    <a:gd name="T5" fmla="*/ 218 h 218"/>
                    <a:gd name="T6" fmla="*/ 35 w 85"/>
                    <a:gd name="T7" fmla="*/ 218 h 218"/>
                    <a:gd name="T8" fmla="*/ 85 w 85"/>
                    <a:gd name="T9" fmla="*/ 9 h 218"/>
                  </a:gdLst>
                  <a:ahLst/>
                  <a:cxnLst>
                    <a:cxn ang="0">
                      <a:pos x="T0" y="T1"/>
                    </a:cxn>
                    <a:cxn ang="0">
                      <a:pos x="T2" y="T3"/>
                    </a:cxn>
                    <a:cxn ang="0">
                      <a:pos x="T4" y="T5"/>
                    </a:cxn>
                    <a:cxn ang="0">
                      <a:pos x="T6" y="T7"/>
                    </a:cxn>
                    <a:cxn ang="0">
                      <a:pos x="T8" y="T9"/>
                    </a:cxn>
                  </a:cxnLst>
                  <a:rect l="0" t="0" r="r" b="b"/>
                  <a:pathLst>
                    <a:path w="85" h="218">
                      <a:moveTo>
                        <a:pt x="85" y="9"/>
                      </a:moveTo>
                      <a:cubicBezTo>
                        <a:pt x="74" y="6"/>
                        <a:pt x="62" y="3"/>
                        <a:pt x="51" y="0"/>
                      </a:cubicBezTo>
                      <a:cubicBezTo>
                        <a:pt x="19" y="71"/>
                        <a:pt x="8" y="141"/>
                        <a:pt x="0" y="218"/>
                      </a:cubicBezTo>
                      <a:cubicBezTo>
                        <a:pt x="35" y="218"/>
                        <a:pt x="35" y="218"/>
                        <a:pt x="35" y="218"/>
                      </a:cubicBezTo>
                      <a:cubicBezTo>
                        <a:pt x="43" y="144"/>
                        <a:pt x="53" y="77"/>
                        <a:pt x="85"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73" name="Freeform 42"/>
                <p:cNvSpPr>
                  <a:spLocks/>
                </p:cNvSpPr>
                <p:nvPr/>
              </p:nvSpPr>
              <p:spPr bwMode="auto">
                <a:xfrm>
                  <a:off x="6157173" y="3188675"/>
                  <a:ext cx="382491" cy="991783"/>
                </a:xfrm>
                <a:custGeom>
                  <a:avLst/>
                  <a:gdLst>
                    <a:gd name="T0" fmla="*/ 0 w 84"/>
                    <a:gd name="T1" fmla="*/ 9 h 218"/>
                    <a:gd name="T2" fmla="*/ 33 w 84"/>
                    <a:gd name="T3" fmla="*/ 0 h 218"/>
                    <a:gd name="T4" fmla="*/ 84 w 84"/>
                    <a:gd name="T5" fmla="*/ 218 h 218"/>
                    <a:gd name="T6" fmla="*/ 50 w 84"/>
                    <a:gd name="T7" fmla="*/ 218 h 218"/>
                    <a:gd name="T8" fmla="*/ 0 w 84"/>
                    <a:gd name="T9" fmla="*/ 9 h 218"/>
                  </a:gdLst>
                  <a:ahLst/>
                  <a:cxnLst>
                    <a:cxn ang="0">
                      <a:pos x="T0" y="T1"/>
                    </a:cxn>
                    <a:cxn ang="0">
                      <a:pos x="T2" y="T3"/>
                    </a:cxn>
                    <a:cxn ang="0">
                      <a:pos x="T4" y="T5"/>
                    </a:cxn>
                    <a:cxn ang="0">
                      <a:pos x="T6" y="T7"/>
                    </a:cxn>
                    <a:cxn ang="0">
                      <a:pos x="T8" y="T9"/>
                    </a:cxn>
                  </a:cxnLst>
                  <a:rect l="0" t="0" r="r" b="b"/>
                  <a:pathLst>
                    <a:path w="84" h="218">
                      <a:moveTo>
                        <a:pt x="0" y="9"/>
                      </a:moveTo>
                      <a:cubicBezTo>
                        <a:pt x="11" y="6"/>
                        <a:pt x="22" y="3"/>
                        <a:pt x="33" y="0"/>
                      </a:cubicBezTo>
                      <a:cubicBezTo>
                        <a:pt x="66" y="71"/>
                        <a:pt x="77" y="141"/>
                        <a:pt x="84" y="218"/>
                      </a:cubicBezTo>
                      <a:cubicBezTo>
                        <a:pt x="50" y="218"/>
                        <a:pt x="50" y="218"/>
                        <a:pt x="50" y="218"/>
                      </a:cubicBezTo>
                      <a:cubicBezTo>
                        <a:pt x="42" y="144"/>
                        <a:pt x="31" y="77"/>
                        <a:pt x="0"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74" name="Freeform 43"/>
                <p:cNvSpPr>
                  <a:spLocks/>
                </p:cNvSpPr>
                <p:nvPr/>
              </p:nvSpPr>
              <p:spPr bwMode="auto">
                <a:xfrm>
                  <a:off x="5784293" y="4272717"/>
                  <a:ext cx="226803" cy="1047523"/>
                </a:xfrm>
                <a:custGeom>
                  <a:avLst/>
                  <a:gdLst>
                    <a:gd name="T0" fmla="*/ 100 w 118"/>
                    <a:gd name="T1" fmla="*/ 545 h 545"/>
                    <a:gd name="T2" fmla="*/ 14 w 118"/>
                    <a:gd name="T3" fmla="*/ 545 h 545"/>
                    <a:gd name="T4" fmla="*/ 0 w 118"/>
                    <a:gd name="T5" fmla="*/ 0 h 545"/>
                    <a:gd name="T6" fmla="*/ 118 w 118"/>
                    <a:gd name="T7" fmla="*/ 0 h 545"/>
                    <a:gd name="T8" fmla="*/ 100 w 118"/>
                    <a:gd name="T9" fmla="*/ 545 h 545"/>
                  </a:gdLst>
                  <a:ahLst/>
                  <a:cxnLst>
                    <a:cxn ang="0">
                      <a:pos x="T0" y="T1"/>
                    </a:cxn>
                    <a:cxn ang="0">
                      <a:pos x="T2" y="T3"/>
                    </a:cxn>
                    <a:cxn ang="0">
                      <a:pos x="T4" y="T5"/>
                    </a:cxn>
                    <a:cxn ang="0">
                      <a:pos x="T6" y="T7"/>
                    </a:cxn>
                    <a:cxn ang="0">
                      <a:pos x="T8" y="T9"/>
                    </a:cxn>
                  </a:cxnLst>
                  <a:rect l="0" t="0" r="r" b="b"/>
                  <a:pathLst>
                    <a:path w="118" h="545">
                      <a:moveTo>
                        <a:pt x="100" y="545"/>
                      </a:moveTo>
                      <a:lnTo>
                        <a:pt x="14" y="545"/>
                      </a:lnTo>
                      <a:lnTo>
                        <a:pt x="0" y="0"/>
                      </a:lnTo>
                      <a:lnTo>
                        <a:pt x="118" y="0"/>
                      </a:lnTo>
                      <a:lnTo>
                        <a:pt x="100" y="54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75" name="Freeform 44"/>
                <p:cNvSpPr>
                  <a:spLocks/>
                </p:cNvSpPr>
                <p:nvPr/>
              </p:nvSpPr>
              <p:spPr bwMode="auto">
                <a:xfrm>
                  <a:off x="6020706" y="4272717"/>
                  <a:ext cx="232570" cy="1047523"/>
                </a:xfrm>
                <a:custGeom>
                  <a:avLst/>
                  <a:gdLst>
                    <a:gd name="T0" fmla="*/ 107 w 121"/>
                    <a:gd name="T1" fmla="*/ 545 h 545"/>
                    <a:gd name="T2" fmla="*/ 22 w 121"/>
                    <a:gd name="T3" fmla="*/ 545 h 545"/>
                    <a:gd name="T4" fmla="*/ 0 w 121"/>
                    <a:gd name="T5" fmla="*/ 0 h 545"/>
                    <a:gd name="T6" fmla="*/ 121 w 121"/>
                    <a:gd name="T7" fmla="*/ 0 h 545"/>
                    <a:gd name="T8" fmla="*/ 107 w 121"/>
                    <a:gd name="T9" fmla="*/ 545 h 545"/>
                  </a:gdLst>
                  <a:ahLst/>
                  <a:cxnLst>
                    <a:cxn ang="0">
                      <a:pos x="T0" y="T1"/>
                    </a:cxn>
                    <a:cxn ang="0">
                      <a:pos x="T2" y="T3"/>
                    </a:cxn>
                    <a:cxn ang="0">
                      <a:pos x="T4" y="T5"/>
                    </a:cxn>
                    <a:cxn ang="0">
                      <a:pos x="T6" y="T7"/>
                    </a:cxn>
                    <a:cxn ang="0">
                      <a:pos x="T8" y="T9"/>
                    </a:cxn>
                  </a:cxnLst>
                  <a:rect l="0" t="0" r="r" b="b"/>
                  <a:pathLst>
                    <a:path w="121" h="545">
                      <a:moveTo>
                        <a:pt x="107" y="545"/>
                      </a:moveTo>
                      <a:lnTo>
                        <a:pt x="22" y="545"/>
                      </a:lnTo>
                      <a:lnTo>
                        <a:pt x="0" y="0"/>
                      </a:lnTo>
                      <a:lnTo>
                        <a:pt x="121" y="0"/>
                      </a:lnTo>
                      <a:lnTo>
                        <a:pt x="107" y="54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76" name="Freeform 45"/>
                <p:cNvSpPr>
                  <a:spLocks/>
                </p:cNvSpPr>
                <p:nvPr/>
              </p:nvSpPr>
              <p:spPr bwMode="auto">
                <a:xfrm>
                  <a:off x="5524814" y="4180458"/>
                  <a:ext cx="113402" cy="128777"/>
                </a:xfrm>
                <a:custGeom>
                  <a:avLst/>
                  <a:gdLst>
                    <a:gd name="T0" fmla="*/ 0 w 25"/>
                    <a:gd name="T1" fmla="*/ 0 h 28"/>
                    <a:gd name="T2" fmla="*/ 0 w 25"/>
                    <a:gd name="T3" fmla="*/ 15 h 28"/>
                    <a:gd name="T4" fmla="*/ 13 w 25"/>
                    <a:gd name="T5" fmla="*/ 28 h 28"/>
                    <a:gd name="T6" fmla="*/ 25 w 25"/>
                    <a:gd name="T7" fmla="*/ 15 h 28"/>
                    <a:gd name="T8" fmla="*/ 25 w 25"/>
                    <a:gd name="T9" fmla="*/ 0 h 28"/>
                    <a:gd name="T10" fmla="*/ 0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0" y="0"/>
                      </a:moveTo>
                      <a:cubicBezTo>
                        <a:pt x="0" y="15"/>
                        <a:pt x="0" y="15"/>
                        <a:pt x="0" y="15"/>
                      </a:cubicBezTo>
                      <a:cubicBezTo>
                        <a:pt x="0" y="22"/>
                        <a:pt x="6" y="28"/>
                        <a:pt x="13" y="28"/>
                      </a:cubicBezTo>
                      <a:cubicBezTo>
                        <a:pt x="20" y="28"/>
                        <a:pt x="25" y="22"/>
                        <a:pt x="25" y="15"/>
                      </a:cubicBezTo>
                      <a:cubicBezTo>
                        <a:pt x="25" y="0"/>
                        <a:pt x="25" y="0"/>
                        <a:pt x="25"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77" name="Freeform 46"/>
                <p:cNvSpPr>
                  <a:spLocks/>
                </p:cNvSpPr>
                <p:nvPr/>
              </p:nvSpPr>
              <p:spPr bwMode="auto">
                <a:xfrm>
                  <a:off x="6403196" y="4180458"/>
                  <a:ext cx="119168" cy="128777"/>
                </a:xfrm>
                <a:custGeom>
                  <a:avLst/>
                  <a:gdLst>
                    <a:gd name="T0" fmla="*/ 0 w 26"/>
                    <a:gd name="T1" fmla="*/ 0 h 28"/>
                    <a:gd name="T2" fmla="*/ 0 w 26"/>
                    <a:gd name="T3" fmla="*/ 15 h 28"/>
                    <a:gd name="T4" fmla="*/ 13 w 26"/>
                    <a:gd name="T5" fmla="*/ 28 h 28"/>
                    <a:gd name="T6" fmla="*/ 26 w 26"/>
                    <a:gd name="T7" fmla="*/ 15 h 28"/>
                    <a:gd name="T8" fmla="*/ 26 w 26"/>
                    <a:gd name="T9" fmla="*/ 0 h 28"/>
                    <a:gd name="T10" fmla="*/ 0 w 26"/>
                    <a:gd name="T11" fmla="*/ 0 h 28"/>
                  </a:gdLst>
                  <a:ahLst/>
                  <a:cxnLst>
                    <a:cxn ang="0">
                      <a:pos x="T0" y="T1"/>
                    </a:cxn>
                    <a:cxn ang="0">
                      <a:pos x="T2" y="T3"/>
                    </a:cxn>
                    <a:cxn ang="0">
                      <a:pos x="T4" y="T5"/>
                    </a:cxn>
                    <a:cxn ang="0">
                      <a:pos x="T6" y="T7"/>
                    </a:cxn>
                    <a:cxn ang="0">
                      <a:pos x="T8" y="T9"/>
                    </a:cxn>
                    <a:cxn ang="0">
                      <a:pos x="T10" y="T11"/>
                    </a:cxn>
                  </a:cxnLst>
                  <a:rect l="0" t="0" r="r" b="b"/>
                  <a:pathLst>
                    <a:path w="26" h="28">
                      <a:moveTo>
                        <a:pt x="0" y="0"/>
                      </a:moveTo>
                      <a:cubicBezTo>
                        <a:pt x="0" y="15"/>
                        <a:pt x="0" y="15"/>
                        <a:pt x="0" y="15"/>
                      </a:cubicBezTo>
                      <a:cubicBezTo>
                        <a:pt x="0" y="22"/>
                        <a:pt x="6" y="28"/>
                        <a:pt x="13" y="28"/>
                      </a:cubicBezTo>
                      <a:cubicBezTo>
                        <a:pt x="20" y="28"/>
                        <a:pt x="26" y="22"/>
                        <a:pt x="26" y="15"/>
                      </a:cubicBezTo>
                      <a:cubicBezTo>
                        <a:pt x="26" y="0"/>
                        <a:pt x="26" y="0"/>
                        <a:pt x="2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78" name="Freeform 47"/>
                <p:cNvSpPr>
                  <a:spLocks/>
                </p:cNvSpPr>
                <p:nvPr/>
              </p:nvSpPr>
              <p:spPr bwMode="auto">
                <a:xfrm>
                  <a:off x="5730475" y="3132935"/>
                  <a:ext cx="576618" cy="1139781"/>
                </a:xfrm>
                <a:custGeom>
                  <a:avLst/>
                  <a:gdLst>
                    <a:gd name="T0" fmla="*/ 199 w 300"/>
                    <a:gd name="T1" fmla="*/ 0 h 593"/>
                    <a:gd name="T2" fmla="*/ 151 w 300"/>
                    <a:gd name="T3" fmla="*/ 370 h 593"/>
                    <a:gd name="T4" fmla="*/ 104 w 300"/>
                    <a:gd name="T5" fmla="*/ 0 h 593"/>
                    <a:gd name="T6" fmla="*/ 0 w 300"/>
                    <a:gd name="T7" fmla="*/ 29 h 593"/>
                    <a:gd name="T8" fmla="*/ 7 w 300"/>
                    <a:gd name="T9" fmla="*/ 593 h 593"/>
                    <a:gd name="T10" fmla="*/ 296 w 300"/>
                    <a:gd name="T11" fmla="*/ 593 h 593"/>
                    <a:gd name="T12" fmla="*/ 300 w 300"/>
                    <a:gd name="T13" fmla="*/ 29 h 593"/>
                    <a:gd name="T14" fmla="*/ 199 w 300"/>
                    <a:gd name="T15" fmla="*/ 0 h 5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593">
                      <a:moveTo>
                        <a:pt x="199" y="0"/>
                      </a:moveTo>
                      <a:lnTo>
                        <a:pt x="151" y="370"/>
                      </a:lnTo>
                      <a:lnTo>
                        <a:pt x="104" y="0"/>
                      </a:lnTo>
                      <a:lnTo>
                        <a:pt x="0" y="29"/>
                      </a:lnTo>
                      <a:lnTo>
                        <a:pt x="7" y="593"/>
                      </a:lnTo>
                      <a:lnTo>
                        <a:pt x="296" y="593"/>
                      </a:lnTo>
                      <a:lnTo>
                        <a:pt x="300" y="29"/>
                      </a:lnTo>
                      <a:lnTo>
                        <a:pt x="19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79" name="Freeform 48"/>
                <p:cNvSpPr>
                  <a:spLocks/>
                </p:cNvSpPr>
                <p:nvPr/>
              </p:nvSpPr>
              <p:spPr bwMode="auto">
                <a:xfrm>
                  <a:off x="6166782" y="2810028"/>
                  <a:ext cx="0" cy="5766"/>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80" name="Freeform 49"/>
                <p:cNvSpPr>
                  <a:spLocks/>
                </p:cNvSpPr>
                <p:nvPr/>
              </p:nvSpPr>
              <p:spPr bwMode="auto">
                <a:xfrm>
                  <a:off x="6166782" y="280618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81" name="Freeform 50"/>
                <p:cNvSpPr>
                  <a:spLocks/>
                </p:cNvSpPr>
                <p:nvPr/>
              </p:nvSpPr>
              <p:spPr bwMode="auto">
                <a:xfrm>
                  <a:off x="6157173" y="279273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82" name="Freeform 51"/>
                <p:cNvSpPr>
                  <a:spLocks/>
                </p:cNvSpPr>
                <p:nvPr/>
              </p:nvSpPr>
              <p:spPr bwMode="auto">
                <a:xfrm>
                  <a:off x="6162938" y="279657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83" name="Freeform 52"/>
                <p:cNvSpPr>
                  <a:spLocks/>
                </p:cNvSpPr>
                <p:nvPr/>
              </p:nvSpPr>
              <p:spPr bwMode="auto">
                <a:xfrm>
                  <a:off x="5874629" y="279273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84" name="Freeform 53"/>
                <p:cNvSpPr>
                  <a:spLocks/>
                </p:cNvSpPr>
                <p:nvPr/>
              </p:nvSpPr>
              <p:spPr bwMode="auto">
                <a:xfrm>
                  <a:off x="6166782" y="2815795"/>
                  <a:ext cx="0" cy="384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85" name="Freeform 54"/>
                <p:cNvSpPr>
                  <a:spLocks/>
                </p:cNvSpPr>
                <p:nvPr/>
              </p:nvSpPr>
              <p:spPr bwMode="auto">
                <a:xfrm>
                  <a:off x="6166782" y="2823483"/>
                  <a:ext cx="0" cy="5766"/>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86" name="Rectangle 55"/>
                <p:cNvSpPr>
                  <a:spLocks noChangeArrowheads="1"/>
                </p:cNvSpPr>
                <p:nvPr/>
              </p:nvSpPr>
              <p:spPr bwMode="auto">
                <a:xfrm>
                  <a:off x="6153329" y="2786964"/>
                  <a:ext cx="1923" cy="192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87" name="Freeform 56"/>
                <p:cNvSpPr>
                  <a:spLocks/>
                </p:cNvSpPr>
                <p:nvPr/>
              </p:nvSpPr>
              <p:spPr bwMode="auto">
                <a:xfrm>
                  <a:off x="5866941" y="28196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88" name="Freeform 57"/>
                <p:cNvSpPr>
                  <a:spLocks/>
                </p:cNvSpPr>
                <p:nvPr/>
              </p:nvSpPr>
              <p:spPr bwMode="auto">
                <a:xfrm>
                  <a:off x="5870785" y="280618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89" name="Freeform 58"/>
                <p:cNvSpPr>
                  <a:spLocks/>
                </p:cNvSpPr>
                <p:nvPr/>
              </p:nvSpPr>
              <p:spPr bwMode="auto">
                <a:xfrm>
                  <a:off x="5870785" y="2796575"/>
                  <a:ext cx="0" cy="5766"/>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90" name="Freeform 59"/>
                <p:cNvSpPr>
                  <a:spLocks/>
                </p:cNvSpPr>
                <p:nvPr/>
              </p:nvSpPr>
              <p:spPr bwMode="auto">
                <a:xfrm>
                  <a:off x="5866941" y="2810028"/>
                  <a:ext cx="0" cy="5766"/>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91" name="Freeform 60"/>
                <p:cNvSpPr>
                  <a:spLocks/>
                </p:cNvSpPr>
                <p:nvPr/>
              </p:nvSpPr>
              <p:spPr bwMode="auto">
                <a:xfrm>
                  <a:off x="5840032" y="2773510"/>
                  <a:ext cx="353659" cy="319062"/>
                </a:xfrm>
                <a:custGeom>
                  <a:avLst/>
                  <a:gdLst>
                    <a:gd name="T0" fmla="*/ 74 w 78"/>
                    <a:gd name="T1" fmla="*/ 17 h 70"/>
                    <a:gd name="T2" fmla="*/ 72 w 78"/>
                    <a:gd name="T3" fmla="*/ 17 h 70"/>
                    <a:gd name="T4" fmla="*/ 72 w 78"/>
                    <a:gd name="T5" fmla="*/ 12 h 70"/>
                    <a:gd name="T6" fmla="*/ 72 w 78"/>
                    <a:gd name="T7" fmla="*/ 11 h 70"/>
                    <a:gd name="T8" fmla="*/ 72 w 78"/>
                    <a:gd name="T9" fmla="*/ 10 h 70"/>
                    <a:gd name="T10" fmla="*/ 72 w 78"/>
                    <a:gd name="T11" fmla="*/ 9 h 70"/>
                    <a:gd name="T12" fmla="*/ 72 w 78"/>
                    <a:gd name="T13" fmla="*/ 9 h 70"/>
                    <a:gd name="T14" fmla="*/ 72 w 78"/>
                    <a:gd name="T15" fmla="*/ 8 h 70"/>
                    <a:gd name="T16" fmla="*/ 72 w 78"/>
                    <a:gd name="T17" fmla="*/ 7 h 70"/>
                    <a:gd name="T18" fmla="*/ 72 w 78"/>
                    <a:gd name="T19" fmla="*/ 7 h 70"/>
                    <a:gd name="T20" fmla="*/ 71 w 78"/>
                    <a:gd name="T21" fmla="*/ 5 h 70"/>
                    <a:gd name="T22" fmla="*/ 71 w 78"/>
                    <a:gd name="T23" fmla="*/ 5 h 70"/>
                    <a:gd name="T24" fmla="*/ 70 w 78"/>
                    <a:gd name="T25" fmla="*/ 4 h 70"/>
                    <a:gd name="T26" fmla="*/ 70 w 78"/>
                    <a:gd name="T27" fmla="*/ 4 h 70"/>
                    <a:gd name="T28" fmla="*/ 69 w 78"/>
                    <a:gd name="T29" fmla="*/ 3 h 70"/>
                    <a:gd name="T30" fmla="*/ 69 w 78"/>
                    <a:gd name="T31" fmla="*/ 3 h 70"/>
                    <a:gd name="T32" fmla="*/ 63 w 78"/>
                    <a:gd name="T33" fmla="*/ 3 h 70"/>
                    <a:gd name="T34" fmla="*/ 52 w 78"/>
                    <a:gd name="T35" fmla="*/ 1 h 70"/>
                    <a:gd name="T36" fmla="*/ 32 w 78"/>
                    <a:gd name="T37" fmla="*/ 3 h 70"/>
                    <a:gd name="T38" fmla="*/ 11 w 78"/>
                    <a:gd name="T39" fmla="*/ 0 h 70"/>
                    <a:gd name="T40" fmla="*/ 8 w 78"/>
                    <a:gd name="T41" fmla="*/ 4 h 70"/>
                    <a:gd name="T42" fmla="*/ 8 w 78"/>
                    <a:gd name="T43" fmla="*/ 4 h 70"/>
                    <a:gd name="T44" fmla="*/ 7 w 78"/>
                    <a:gd name="T45" fmla="*/ 5 h 70"/>
                    <a:gd name="T46" fmla="*/ 7 w 78"/>
                    <a:gd name="T47" fmla="*/ 6 h 70"/>
                    <a:gd name="T48" fmla="*/ 7 w 78"/>
                    <a:gd name="T49" fmla="*/ 7 h 70"/>
                    <a:gd name="T50" fmla="*/ 7 w 78"/>
                    <a:gd name="T51" fmla="*/ 7 h 70"/>
                    <a:gd name="T52" fmla="*/ 6 w 78"/>
                    <a:gd name="T53" fmla="*/ 8 h 70"/>
                    <a:gd name="T54" fmla="*/ 6 w 78"/>
                    <a:gd name="T55" fmla="*/ 9 h 70"/>
                    <a:gd name="T56" fmla="*/ 6 w 78"/>
                    <a:gd name="T57" fmla="*/ 10 h 70"/>
                    <a:gd name="T58" fmla="*/ 6 w 78"/>
                    <a:gd name="T59" fmla="*/ 10 h 70"/>
                    <a:gd name="T60" fmla="*/ 6 w 78"/>
                    <a:gd name="T61" fmla="*/ 12 h 70"/>
                    <a:gd name="T62" fmla="*/ 6 w 78"/>
                    <a:gd name="T63" fmla="*/ 17 h 70"/>
                    <a:gd name="T64" fmla="*/ 5 w 78"/>
                    <a:gd name="T65" fmla="*/ 17 h 70"/>
                    <a:gd name="T66" fmla="*/ 0 w 78"/>
                    <a:gd name="T67" fmla="*/ 22 h 70"/>
                    <a:gd name="T68" fmla="*/ 0 w 78"/>
                    <a:gd name="T69" fmla="*/ 35 h 70"/>
                    <a:gd name="T70" fmla="*/ 6 w 78"/>
                    <a:gd name="T71" fmla="*/ 40 h 70"/>
                    <a:gd name="T72" fmla="*/ 24 w 78"/>
                    <a:gd name="T73" fmla="*/ 70 h 70"/>
                    <a:gd name="T74" fmla="*/ 54 w 78"/>
                    <a:gd name="T75" fmla="*/ 70 h 70"/>
                    <a:gd name="T76" fmla="*/ 72 w 78"/>
                    <a:gd name="T77" fmla="*/ 40 h 70"/>
                    <a:gd name="T78" fmla="*/ 78 w 78"/>
                    <a:gd name="T79" fmla="*/ 35 h 70"/>
                    <a:gd name="T80" fmla="*/ 78 w 78"/>
                    <a:gd name="T81" fmla="*/ 22 h 70"/>
                    <a:gd name="T82" fmla="*/ 74 w 78"/>
                    <a:gd name="T83" fmla="*/ 1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8" h="70">
                      <a:moveTo>
                        <a:pt x="74" y="17"/>
                      </a:moveTo>
                      <a:cubicBezTo>
                        <a:pt x="74" y="17"/>
                        <a:pt x="73" y="17"/>
                        <a:pt x="72" y="17"/>
                      </a:cubicBezTo>
                      <a:cubicBezTo>
                        <a:pt x="72" y="12"/>
                        <a:pt x="72" y="12"/>
                        <a:pt x="72" y="12"/>
                      </a:cubicBezTo>
                      <a:cubicBezTo>
                        <a:pt x="72" y="12"/>
                        <a:pt x="72" y="11"/>
                        <a:pt x="72" y="11"/>
                      </a:cubicBezTo>
                      <a:cubicBezTo>
                        <a:pt x="72" y="10"/>
                        <a:pt x="72" y="10"/>
                        <a:pt x="72" y="10"/>
                      </a:cubicBezTo>
                      <a:cubicBezTo>
                        <a:pt x="72" y="10"/>
                        <a:pt x="72" y="9"/>
                        <a:pt x="72" y="9"/>
                      </a:cubicBezTo>
                      <a:cubicBezTo>
                        <a:pt x="72" y="9"/>
                        <a:pt x="72" y="9"/>
                        <a:pt x="72" y="9"/>
                      </a:cubicBezTo>
                      <a:cubicBezTo>
                        <a:pt x="72" y="8"/>
                        <a:pt x="72" y="8"/>
                        <a:pt x="72" y="8"/>
                      </a:cubicBezTo>
                      <a:cubicBezTo>
                        <a:pt x="72" y="8"/>
                        <a:pt x="72" y="7"/>
                        <a:pt x="72" y="7"/>
                      </a:cubicBezTo>
                      <a:cubicBezTo>
                        <a:pt x="72" y="7"/>
                        <a:pt x="72" y="7"/>
                        <a:pt x="72" y="7"/>
                      </a:cubicBezTo>
                      <a:cubicBezTo>
                        <a:pt x="71" y="6"/>
                        <a:pt x="71" y="6"/>
                        <a:pt x="71" y="5"/>
                      </a:cubicBezTo>
                      <a:cubicBezTo>
                        <a:pt x="71" y="5"/>
                        <a:pt x="71" y="5"/>
                        <a:pt x="71" y="5"/>
                      </a:cubicBezTo>
                      <a:cubicBezTo>
                        <a:pt x="71" y="4"/>
                        <a:pt x="70" y="4"/>
                        <a:pt x="70" y="4"/>
                      </a:cubicBezTo>
                      <a:cubicBezTo>
                        <a:pt x="70" y="4"/>
                        <a:pt x="70" y="4"/>
                        <a:pt x="70" y="4"/>
                      </a:cubicBezTo>
                      <a:cubicBezTo>
                        <a:pt x="70" y="3"/>
                        <a:pt x="70" y="3"/>
                        <a:pt x="69" y="3"/>
                      </a:cubicBezTo>
                      <a:cubicBezTo>
                        <a:pt x="69" y="3"/>
                        <a:pt x="69" y="3"/>
                        <a:pt x="69" y="3"/>
                      </a:cubicBezTo>
                      <a:cubicBezTo>
                        <a:pt x="68" y="3"/>
                        <a:pt x="66" y="3"/>
                        <a:pt x="63" y="3"/>
                      </a:cubicBezTo>
                      <a:cubicBezTo>
                        <a:pt x="59" y="3"/>
                        <a:pt x="55" y="2"/>
                        <a:pt x="52" y="1"/>
                      </a:cubicBezTo>
                      <a:cubicBezTo>
                        <a:pt x="47" y="2"/>
                        <a:pt x="40" y="3"/>
                        <a:pt x="32" y="3"/>
                      </a:cubicBezTo>
                      <a:cubicBezTo>
                        <a:pt x="24" y="3"/>
                        <a:pt x="16" y="2"/>
                        <a:pt x="11" y="0"/>
                      </a:cubicBezTo>
                      <a:cubicBezTo>
                        <a:pt x="10" y="1"/>
                        <a:pt x="9" y="3"/>
                        <a:pt x="8" y="4"/>
                      </a:cubicBezTo>
                      <a:cubicBezTo>
                        <a:pt x="8" y="4"/>
                        <a:pt x="8" y="4"/>
                        <a:pt x="8" y="4"/>
                      </a:cubicBezTo>
                      <a:cubicBezTo>
                        <a:pt x="8" y="5"/>
                        <a:pt x="8" y="5"/>
                        <a:pt x="7" y="5"/>
                      </a:cubicBezTo>
                      <a:cubicBezTo>
                        <a:pt x="7" y="6"/>
                        <a:pt x="7" y="6"/>
                        <a:pt x="7" y="6"/>
                      </a:cubicBezTo>
                      <a:cubicBezTo>
                        <a:pt x="7" y="6"/>
                        <a:pt x="7" y="6"/>
                        <a:pt x="7" y="7"/>
                      </a:cubicBezTo>
                      <a:cubicBezTo>
                        <a:pt x="7" y="7"/>
                        <a:pt x="7" y="7"/>
                        <a:pt x="7" y="7"/>
                      </a:cubicBezTo>
                      <a:cubicBezTo>
                        <a:pt x="7" y="8"/>
                        <a:pt x="6" y="8"/>
                        <a:pt x="6" y="8"/>
                      </a:cubicBezTo>
                      <a:cubicBezTo>
                        <a:pt x="6" y="8"/>
                        <a:pt x="6" y="9"/>
                        <a:pt x="6" y="9"/>
                      </a:cubicBezTo>
                      <a:cubicBezTo>
                        <a:pt x="6" y="9"/>
                        <a:pt x="6" y="10"/>
                        <a:pt x="6" y="10"/>
                      </a:cubicBezTo>
                      <a:cubicBezTo>
                        <a:pt x="6" y="10"/>
                        <a:pt x="6" y="10"/>
                        <a:pt x="6" y="10"/>
                      </a:cubicBezTo>
                      <a:cubicBezTo>
                        <a:pt x="6" y="11"/>
                        <a:pt x="6" y="11"/>
                        <a:pt x="6" y="12"/>
                      </a:cubicBezTo>
                      <a:cubicBezTo>
                        <a:pt x="6" y="17"/>
                        <a:pt x="6" y="17"/>
                        <a:pt x="6" y="17"/>
                      </a:cubicBezTo>
                      <a:cubicBezTo>
                        <a:pt x="6" y="17"/>
                        <a:pt x="5" y="17"/>
                        <a:pt x="5" y="17"/>
                      </a:cubicBezTo>
                      <a:cubicBezTo>
                        <a:pt x="2" y="17"/>
                        <a:pt x="0" y="20"/>
                        <a:pt x="0" y="22"/>
                      </a:cubicBezTo>
                      <a:cubicBezTo>
                        <a:pt x="0" y="35"/>
                        <a:pt x="0" y="35"/>
                        <a:pt x="0" y="35"/>
                      </a:cubicBezTo>
                      <a:cubicBezTo>
                        <a:pt x="0" y="38"/>
                        <a:pt x="3" y="40"/>
                        <a:pt x="6" y="40"/>
                      </a:cubicBezTo>
                      <a:cubicBezTo>
                        <a:pt x="6" y="40"/>
                        <a:pt x="16" y="70"/>
                        <a:pt x="24" y="70"/>
                      </a:cubicBezTo>
                      <a:cubicBezTo>
                        <a:pt x="54" y="70"/>
                        <a:pt x="54" y="70"/>
                        <a:pt x="54" y="70"/>
                      </a:cubicBezTo>
                      <a:cubicBezTo>
                        <a:pt x="63" y="70"/>
                        <a:pt x="72" y="40"/>
                        <a:pt x="72" y="40"/>
                      </a:cubicBezTo>
                      <a:cubicBezTo>
                        <a:pt x="76" y="40"/>
                        <a:pt x="78" y="38"/>
                        <a:pt x="78" y="35"/>
                      </a:cubicBezTo>
                      <a:cubicBezTo>
                        <a:pt x="78" y="22"/>
                        <a:pt x="78" y="22"/>
                        <a:pt x="78" y="22"/>
                      </a:cubicBezTo>
                      <a:cubicBezTo>
                        <a:pt x="78" y="20"/>
                        <a:pt x="77" y="18"/>
                        <a:pt x="74" y="1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92" name="Freeform 61"/>
                <p:cNvSpPr>
                  <a:spLocks noEditPoints="1"/>
                </p:cNvSpPr>
                <p:nvPr/>
              </p:nvSpPr>
              <p:spPr bwMode="auto">
                <a:xfrm>
                  <a:off x="5870785" y="2836937"/>
                  <a:ext cx="305608" cy="101869"/>
                </a:xfrm>
                <a:custGeom>
                  <a:avLst/>
                  <a:gdLst>
                    <a:gd name="T0" fmla="*/ 66 w 67"/>
                    <a:gd name="T1" fmla="*/ 2 h 22"/>
                    <a:gd name="T2" fmla="*/ 49 w 67"/>
                    <a:gd name="T3" fmla="*/ 1 h 22"/>
                    <a:gd name="T4" fmla="*/ 33 w 67"/>
                    <a:gd name="T5" fmla="*/ 5 h 22"/>
                    <a:gd name="T6" fmla="*/ 17 w 67"/>
                    <a:gd name="T7" fmla="*/ 1 h 22"/>
                    <a:gd name="T8" fmla="*/ 0 w 67"/>
                    <a:gd name="T9" fmla="*/ 2 h 22"/>
                    <a:gd name="T10" fmla="*/ 0 w 67"/>
                    <a:gd name="T11" fmla="*/ 4 h 22"/>
                    <a:gd name="T12" fmla="*/ 2 w 67"/>
                    <a:gd name="T13" fmla="*/ 7 h 22"/>
                    <a:gd name="T14" fmla="*/ 4 w 67"/>
                    <a:gd name="T15" fmla="*/ 12 h 22"/>
                    <a:gd name="T16" fmla="*/ 20 w 67"/>
                    <a:gd name="T17" fmla="*/ 21 h 22"/>
                    <a:gd name="T18" fmla="*/ 31 w 67"/>
                    <a:gd name="T19" fmla="*/ 9 h 22"/>
                    <a:gd name="T20" fmla="*/ 33 w 67"/>
                    <a:gd name="T21" fmla="*/ 8 h 22"/>
                    <a:gd name="T22" fmla="*/ 36 w 67"/>
                    <a:gd name="T23" fmla="*/ 9 h 22"/>
                    <a:gd name="T24" fmla="*/ 47 w 67"/>
                    <a:gd name="T25" fmla="*/ 21 h 22"/>
                    <a:gd name="T26" fmla="*/ 62 w 67"/>
                    <a:gd name="T27" fmla="*/ 12 h 22"/>
                    <a:gd name="T28" fmla="*/ 64 w 67"/>
                    <a:gd name="T29" fmla="*/ 7 h 22"/>
                    <a:gd name="T30" fmla="*/ 66 w 67"/>
                    <a:gd name="T31" fmla="*/ 4 h 22"/>
                    <a:gd name="T32" fmla="*/ 66 w 67"/>
                    <a:gd name="T33" fmla="*/ 2 h 22"/>
                    <a:gd name="T34" fmla="*/ 25 w 67"/>
                    <a:gd name="T35" fmla="*/ 16 h 22"/>
                    <a:gd name="T36" fmla="*/ 13 w 67"/>
                    <a:gd name="T37" fmla="*/ 19 h 22"/>
                    <a:gd name="T38" fmla="*/ 6 w 67"/>
                    <a:gd name="T39" fmla="*/ 8 h 22"/>
                    <a:gd name="T40" fmla="*/ 18 w 67"/>
                    <a:gd name="T41" fmla="*/ 3 h 22"/>
                    <a:gd name="T42" fmla="*/ 26 w 67"/>
                    <a:gd name="T43" fmla="*/ 5 h 22"/>
                    <a:gd name="T44" fmla="*/ 25 w 67"/>
                    <a:gd name="T45" fmla="*/ 16 h 22"/>
                    <a:gd name="T46" fmla="*/ 53 w 67"/>
                    <a:gd name="T47" fmla="*/ 19 h 22"/>
                    <a:gd name="T48" fmla="*/ 41 w 67"/>
                    <a:gd name="T49" fmla="*/ 16 h 22"/>
                    <a:gd name="T50" fmla="*/ 41 w 67"/>
                    <a:gd name="T51" fmla="*/ 5 h 22"/>
                    <a:gd name="T52" fmla="*/ 49 w 67"/>
                    <a:gd name="T53" fmla="*/ 3 h 22"/>
                    <a:gd name="T54" fmla="*/ 61 w 67"/>
                    <a:gd name="T55" fmla="*/ 8 h 22"/>
                    <a:gd name="T56" fmla="*/ 53 w 67"/>
                    <a:gd name="T5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22">
                      <a:moveTo>
                        <a:pt x="66" y="2"/>
                      </a:moveTo>
                      <a:cubicBezTo>
                        <a:pt x="66" y="2"/>
                        <a:pt x="56" y="0"/>
                        <a:pt x="49" y="1"/>
                      </a:cubicBezTo>
                      <a:cubicBezTo>
                        <a:pt x="42" y="2"/>
                        <a:pt x="37" y="5"/>
                        <a:pt x="33" y="5"/>
                      </a:cubicBezTo>
                      <a:cubicBezTo>
                        <a:pt x="30" y="5"/>
                        <a:pt x="24" y="2"/>
                        <a:pt x="17" y="1"/>
                      </a:cubicBezTo>
                      <a:cubicBezTo>
                        <a:pt x="10" y="0"/>
                        <a:pt x="0" y="2"/>
                        <a:pt x="0" y="2"/>
                      </a:cubicBezTo>
                      <a:cubicBezTo>
                        <a:pt x="0" y="2"/>
                        <a:pt x="0" y="3"/>
                        <a:pt x="0" y="4"/>
                      </a:cubicBezTo>
                      <a:cubicBezTo>
                        <a:pt x="1" y="5"/>
                        <a:pt x="1" y="6"/>
                        <a:pt x="2" y="7"/>
                      </a:cubicBezTo>
                      <a:cubicBezTo>
                        <a:pt x="4" y="8"/>
                        <a:pt x="4" y="12"/>
                        <a:pt x="4" y="12"/>
                      </a:cubicBezTo>
                      <a:cubicBezTo>
                        <a:pt x="6" y="20"/>
                        <a:pt x="12" y="22"/>
                        <a:pt x="20" y="21"/>
                      </a:cubicBezTo>
                      <a:cubicBezTo>
                        <a:pt x="28" y="19"/>
                        <a:pt x="30" y="11"/>
                        <a:pt x="31" y="9"/>
                      </a:cubicBezTo>
                      <a:cubicBezTo>
                        <a:pt x="32" y="8"/>
                        <a:pt x="33" y="8"/>
                        <a:pt x="33" y="8"/>
                      </a:cubicBezTo>
                      <a:cubicBezTo>
                        <a:pt x="33" y="8"/>
                        <a:pt x="35" y="8"/>
                        <a:pt x="36" y="9"/>
                      </a:cubicBezTo>
                      <a:cubicBezTo>
                        <a:pt x="37" y="11"/>
                        <a:pt x="39" y="19"/>
                        <a:pt x="47" y="21"/>
                      </a:cubicBezTo>
                      <a:cubicBezTo>
                        <a:pt x="55" y="22"/>
                        <a:pt x="61" y="20"/>
                        <a:pt x="62" y="12"/>
                      </a:cubicBezTo>
                      <a:cubicBezTo>
                        <a:pt x="62" y="12"/>
                        <a:pt x="62" y="8"/>
                        <a:pt x="64" y="7"/>
                      </a:cubicBezTo>
                      <a:cubicBezTo>
                        <a:pt x="66" y="6"/>
                        <a:pt x="66" y="5"/>
                        <a:pt x="66" y="4"/>
                      </a:cubicBezTo>
                      <a:cubicBezTo>
                        <a:pt x="66" y="3"/>
                        <a:pt x="67" y="2"/>
                        <a:pt x="66" y="2"/>
                      </a:cubicBezTo>
                      <a:close/>
                      <a:moveTo>
                        <a:pt x="25" y="16"/>
                      </a:moveTo>
                      <a:cubicBezTo>
                        <a:pt x="23" y="19"/>
                        <a:pt x="19" y="20"/>
                        <a:pt x="13" y="19"/>
                      </a:cubicBezTo>
                      <a:cubicBezTo>
                        <a:pt x="8" y="18"/>
                        <a:pt x="6" y="14"/>
                        <a:pt x="6" y="8"/>
                      </a:cubicBezTo>
                      <a:cubicBezTo>
                        <a:pt x="6" y="1"/>
                        <a:pt x="18" y="3"/>
                        <a:pt x="18" y="3"/>
                      </a:cubicBezTo>
                      <a:cubicBezTo>
                        <a:pt x="22" y="4"/>
                        <a:pt x="22" y="4"/>
                        <a:pt x="26" y="5"/>
                      </a:cubicBezTo>
                      <a:cubicBezTo>
                        <a:pt x="30" y="6"/>
                        <a:pt x="27" y="13"/>
                        <a:pt x="25" y="16"/>
                      </a:cubicBezTo>
                      <a:close/>
                      <a:moveTo>
                        <a:pt x="53" y="19"/>
                      </a:moveTo>
                      <a:cubicBezTo>
                        <a:pt x="48" y="20"/>
                        <a:pt x="44" y="19"/>
                        <a:pt x="41" y="16"/>
                      </a:cubicBezTo>
                      <a:cubicBezTo>
                        <a:pt x="39" y="13"/>
                        <a:pt x="37" y="6"/>
                        <a:pt x="41" y="5"/>
                      </a:cubicBezTo>
                      <a:cubicBezTo>
                        <a:pt x="44" y="4"/>
                        <a:pt x="44" y="4"/>
                        <a:pt x="49" y="3"/>
                      </a:cubicBezTo>
                      <a:cubicBezTo>
                        <a:pt x="49" y="3"/>
                        <a:pt x="61" y="1"/>
                        <a:pt x="61" y="8"/>
                      </a:cubicBezTo>
                      <a:cubicBezTo>
                        <a:pt x="61" y="14"/>
                        <a:pt x="59" y="18"/>
                        <a:pt x="53" y="1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93" name="Oval 62"/>
                <p:cNvSpPr>
                  <a:spLocks noChangeArrowheads="1"/>
                </p:cNvSpPr>
                <p:nvPr/>
              </p:nvSpPr>
              <p:spPr bwMode="auto">
                <a:xfrm>
                  <a:off x="5874629" y="2852314"/>
                  <a:ext cx="9611" cy="76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94" name="Oval 63"/>
                <p:cNvSpPr>
                  <a:spLocks noChangeArrowheads="1"/>
                </p:cNvSpPr>
                <p:nvPr/>
              </p:nvSpPr>
              <p:spPr bwMode="auto">
                <a:xfrm>
                  <a:off x="6157173" y="2852314"/>
                  <a:ext cx="9611" cy="76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nvGrpSpPr>
              <p:cNvPr id="106" name="Group 105"/>
              <p:cNvGrpSpPr/>
              <p:nvPr/>
            </p:nvGrpSpPr>
            <p:grpSpPr>
              <a:xfrm>
                <a:off x="7690977" y="2669718"/>
                <a:ext cx="914901" cy="2731249"/>
                <a:chOff x="7690977" y="2669718"/>
                <a:chExt cx="914901" cy="2731249"/>
              </a:xfrm>
            </p:grpSpPr>
            <p:sp>
              <p:nvSpPr>
                <p:cNvPr id="139" name="Freeform 9"/>
                <p:cNvSpPr>
                  <a:spLocks/>
                </p:cNvSpPr>
                <p:nvPr/>
              </p:nvSpPr>
              <p:spPr bwMode="auto">
                <a:xfrm>
                  <a:off x="7937001" y="2669718"/>
                  <a:ext cx="442074" cy="509346"/>
                </a:xfrm>
                <a:custGeom>
                  <a:avLst/>
                  <a:gdLst>
                    <a:gd name="T0" fmla="*/ 91 w 97"/>
                    <a:gd name="T1" fmla="*/ 88 h 112"/>
                    <a:gd name="T2" fmla="*/ 82 w 97"/>
                    <a:gd name="T3" fmla="*/ 88 h 112"/>
                    <a:gd name="T4" fmla="*/ 85 w 97"/>
                    <a:gd name="T5" fmla="*/ 74 h 112"/>
                    <a:gd name="T6" fmla="*/ 88 w 97"/>
                    <a:gd name="T7" fmla="*/ 69 h 112"/>
                    <a:gd name="T8" fmla="*/ 88 w 97"/>
                    <a:gd name="T9" fmla="*/ 69 h 112"/>
                    <a:gd name="T10" fmla="*/ 88 w 97"/>
                    <a:gd name="T11" fmla="*/ 69 h 112"/>
                    <a:gd name="T12" fmla="*/ 91 w 97"/>
                    <a:gd name="T13" fmla="*/ 53 h 112"/>
                    <a:gd name="T14" fmla="*/ 69 w 97"/>
                    <a:gd name="T15" fmla="*/ 17 h 112"/>
                    <a:gd name="T16" fmla="*/ 40 w 97"/>
                    <a:gd name="T17" fmla="*/ 0 h 112"/>
                    <a:gd name="T18" fmla="*/ 4 w 97"/>
                    <a:gd name="T19" fmla="*/ 46 h 112"/>
                    <a:gd name="T20" fmla="*/ 9 w 97"/>
                    <a:gd name="T21" fmla="*/ 69 h 112"/>
                    <a:gd name="T22" fmla="*/ 9 w 97"/>
                    <a:gd name="T23" fmla="*/ 69 h 112"/>
                    <a:gd name="T24" fmla="*/ 15 w 97"/>
                    <a:gd name="T25" fmla="*/ 88 h 112"/>
                    <a:gd name="T26" fmla="*/ 6 w 97"/>
                    <a:gd name="T27" fmla="*/ 88 h 112"/>
                    <a:gd name="T28" fmla="*/ 0 w 97"/>
                    <a:gd name="T29" fmla="*/ 95 h 112"/>
                    <a:gd name="T30" fmla="*/ 16 w 97"/>
                    <a:gd name="T31" fmla="*/ 110 h 112"/>
                    <a:gd name="T32" fmla="*/ 42 w 97"/>
                    <a:gd name="T33" fmla="*/ 112 h 112"/>
                    <a:gd name="T34" fmla="*/ 44 w 97"/>
                    <a:gd name="T35" fmla="*/ 112 h 112"/>
                    <a:gd name="T36" fmla="*/ 44 w 97"/>
                    <a:gd name="T37" fmla="*/ 112 h 112"/>
                    <a:gd name="T38" fmla="*/ 47 w 97"/>
                    <a:gd name="T39" fmla="*/ 112 h 112"/>
                    <a:gd name="T40" fmla="*/ 48 w 97"/>
                    <a:gd name="T41" fmla="*/ 112 h 112"/>
                    <a:gd name="T42" fmla="*/ 49 w 97"/>
                    <a:gd name="T43" fmla="*/ 112 h 112"/>
                    <a:gd name="T44" fmla="*/ 53 w 97"/>
                    <a:gd name="T45" fmla="*/ 112 h 112"/>
                    <a:gd name="T46" fmla="*/ 53 w 97"/>
                    <a:gd name="T47" fmla="*/ 112 h 112"/>
                    <a:gd name="T48" fmla="*/ 54 w 97"/>
                    <a:gd name="T49" fmla="*/ 112 h 112"/>
                    <a:gd name="T50" fmla="*/ 81 w 97"/>
                    <a:gd name="T51" fmla="*/ 110 h 112"/>
                    <a:gd name="T52" fmla="*/ 96 w 97"/>
                    <a:gd name="T53" fmla="*/ 95 h 112"/>
                    <a:gd name="T54" fmla="*/ 91 w 97"/>
                    <a:gd name="T55" fmla="*/ 8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7" h="112">
                      <a:moveTo>
                        <a:pt x="91" y="88"/>
                      </a:moveTo>
                      <a:cubicBezTo>
                        <a:pt x="89" y="95"/>
                        <a:pt x="83" y="93"/>
                        <a:pt x="82" y="88"/>
                      </a:cubicBezTo>
                      <a:cubicBezTo>
                        <a:pt x="81" y="86"/>
                        <a:pt x="83" y="79"/>
                        <a:pt x="85" y="74"/>
                      </a:cubicBezTo>
                      <a:cubicBezTo>
                        <a:pt x="86" y="73"/>
                        <a:pt x="87" y="71"/>
                        <a:pt x="88" y="69"/>
                      </a:cubicBezTo>
                      <a:cubicBezTo>
                        <a:pt x="88" y="69"/>
                        <a:pt x="88" y="69"/>
                        <a:pt x="88" y="69"/>
                      </a:cubicBezTo>
                      <a:cubicBezTo>
                        <a:pt x="88" y="69"/>
                        <a:pt x="88" y="69"/>
                        <a:pt x="88" y="69"/>
                      </a:cubicBezTo>
                      <a:cubicBezTo>
                        <a:pt x="90" y="64"/>
                        <a:pt x="91" y="59"/>
                        <a:pt x="91" y="53"/>
                      </a:cubicBezTo>
                      <a:cubicBezTo>
                        <a:pt x="91" y="36"/>
                        <a:pt x="82" y="22"/>
                        <a:pt x="69" y="17"/>
                      </a:cubicBezTo>
                      <a:cubicBezTo>
                        <a:pt x="62" y="7"/>
                        <a:pt x="52" y="0"/>
                        <a:pt x="40" y="0"/>
                      </a:cubicBezTo>
                      <a:cubicBezTo>
                        <a:pt x="20" y="0"/>
                        <a:pt x="4" y="20"/>
                        <a:pt x="4" y="46"/>
                      </a:cubicBezTo>
                      <a:cubicBezTo>
                        <a:pt x="4" y="54"/>
                        <a:pt x="6" y="62"/>
                        <a:pt x="9" y="69"/>
                      </a:cubicBezTo>
                      <a:cubicBezTo>
                        <a:pt x="9" y="69"/>
                        <a:pt x="9" y="69"/>
                        <a:pt x="9" y="69"/>
                      </a:cubicBezTo>
                      <a:cubicBezTo>
                        <a:pt x="9" y="69"/>
                        <a:pt x="17" y="84"/>
                        <a:pt x="15" y="88"/>
                      </a:cubicBezTo>
                      <a:cubicBezTo>
                        <a:pt x="13" y="93"/>
                        <a:pt x="8" y="95"/>
                        <a:pt x="6" y="88"/>
                      </a:cubicBezTo>
                      <a:cubicBezTo>
                        <a:pt x="3" y="82"/>
                        <a:pt x="0" y="90"/>
                        <a:pt x="0" y="95"/>
                      </a:cubicBezTo>
                      <a:cubicBezTo>
                        <a:pt x="1" y="101"/>
                        <a:pt x="2" y="108"/>
                        <a:pt x="16" y="110"/>
                      </a:cubicBezTo>
                      <a:cubicBezTo>
                        <a:pt x="27" y="112"/>
                        <a:pt x="33" y="112"/>
                        <a:pt x="42" y="112"/>
                      </a:cubicBezTo>
                      <a:cubicBezTo>
                        <a:pt x="43" y="112"/>
                        <a:pt x="44" y="112"/>
                        <a:pt x="44" y="112"/>
                      </a:cubicBezTo>
                      <a:cubicBezTo>
                        <a:pt x="44" y="112"/>
                        <a:pt x="44" y="112"/>
                        <a:pt x="44" y="112"/>
                      </a:cubicBezTo>
                      <a:cubicBezTo>
                        <a:pt x="45" y="112"/>
                        <a:pt x="46" y="112"/>
                        <a:pt x="47" y="112"/>
                      </a:cubicBezTo>
                      <a:cubicBezTo>
                        <a:pt x="48" y="112"/>
                        <a:pt x="48" y="112"/>
                        <a:pt x="48" y="112"/>
                      </a:cubicBezTo>
                      <a:cubicBezTo>
                        <a:pt x="49" y="112"/>
                        <a:pt x="49" y="112"/>
                        <a:pt x="49" y="112"/>
                      </a:cubicBezTo>
                      <a:cubicBezTo>
                        <a:pt x="50" y="112"/>
                        <a:pt x="51" y="112"/>
                        <a:pt x="53" y="112"/>
                      </a:cubicBezTo>
                      <a:cubicBezTo>
                        <a:pt x="53" y="112"/>
                        <a:pt x="53" y="112"/>
                        <a:pt x="53" y="112"/>
                      </a:cubicBezTo>
                      <a:cubicBezTo>
                        <a:pt x="53" y="112"/>
                        <a:pt x="54" y="112"/>
                        <a:pt x="54" y="112"/>
                      </a:cubicBezTo>
                      <a:cubicBezTo>
                        <a:pt x="63" y="112"/>
                        <a:pt x="69" y="112"/>
                        <a:pt x="81" y="110"/>
                      </a:cubicBezTo>
                      <a:cubicBezTo>
                        <a:pt x="94" y="108"/>
                        <a:pt x="96" y="101"/>
                        <a:pt x="96" y="95"/>
                      </a:cubicBezTo>
                      <a:cubicBezTo>
                        <a:pt x="97" y="90"/>
                        <a:pt x="93" y="82"/>
                        <a:pt x="91" y="8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0" name="Freeform 11"/>
                <p:cNvSpPr>
                  <a:spLocks/>
                </p:cNvSpPr>
                <p:nvPr/>
              </p:nvSpPr>
              <p:spPr bwMode="auto">
                <a:xfrm>
                  <a:off x="8332945" y="3219428"/>
                  <a:ext cx="272933" cy="707318"/>
                </a:xfrm>
                <a:custGeom>
                  <a:avLst/>
                  <a:gdLst>
                    <a:gd name="T0" fmla="*/ 0 w 60"/>
                    <a:gd name="T1" fmla="*/ 7 h 155"/>
                    <a:gd name="T2" fmla="*/ 24 w 60"/>
                    <a:gd name="T3" fmla="*/ 0 h 155"/>
                    <a:gd name="T4" fmla="*/ 60 w 60"/>
                    <a:gd name="T5" fmla="*/ 155 h 155"/>
                    <a:gd name="T6" fmla="*/ 35 w 60"/>
                    <a:gd name="T7" fmla="*/ 155 h 155"/>
                    <a:gd name="T8" fmla="*/ 0 w 60"/>
                    <a:gd name="T9" fmla="*/ 7 h 155"/>
                  </a:gdLst>
                  <a:ahLst/>
                  <a:cxnLst>
                    <a:cxn ang="0">
                      <a:pos x="T0" y="T1"/>
                    </a:cxn>
                    <a:cxn ang="0">
                      <a:pos x="T2" y="T3"/>
                    </a:cxn>
                    <a:cxn ang="0">
                      <a:pos x="T4" y="T5"/>
                    </a:cxn>
                    <a:cxn ang="0">
                      <a:pos x="T6" y="T7"/>
                    </a:cxn>
                    <a:cxn ang="0">
                      <a:pos x="T8" y="T9"/>
                    </a:cxn>
                  </a:cxnLst>
                  <a:rect l="0" t="0" r="r" b="b"/>
                  <a:pathLst>
                    <a:path w="60" h="155">
                      <a:moveTo>
                        <a:pt x="0" y="7"/>
                      </a:moveTo>
                      <a:cubicBezTo>
                        <a:pt x="8" y="5"/>
                        <a:pt x="16" y="3"/>
                        <a:pt x="24" y="0"/>
                      </a:cubicBezTo>
                      <a:cubicBezTo>
                        <a:pt x="47" y="51"/>
                        <a:pt x="54" y="100"/>
                        <a:pt x="60" y="155"/>
                      </a:cubicBezTo>
                      <a:cubicBezTo>
                        <a:pt x="35" y="155"/>
                        <a:pt x="35" y="155"/>
                        <a:pt x="35" y="155"/>
                      </a:cubicBezTo>
                      <a:cubicBezTo>
                        <a:pt x="29" y="102"/>
                        <a:pt x="23" y="55"/>
                        <a:pt x="0" y="7"/>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1" name="Freeform 12"/>
                <p:cNvSpPr>
                  <a:spLocks/>
                </p:cNvSpPr>
                <p:nvPr/>
              </p:nvSpPr>
              <p:spPr bwMode="auto">
                <a:xfrm>
                  <a:off x="7983130" y="4555260"/>
                  <a:ext cx="163376" cy="845707"/>
                </a:xfrm>
                <a:custGeom>
                  <a:avLst/>
                  <a:gdLst>
                    <a:gd name="T0" fmla="*/ 73 w 85"/>
                    <a:gd name="T1" fmla="*/ 440 h 440"/>
                    <a:gd name="T2" fmla="*/ 12 w 85"/>
                    <a:gd name="T3" fmla="*/ 440 h 440"/>
                    <a:gd name="T4" fmla="*/ 0 w 85"/>
                    <a:gd name="T5" fmla="*/ 0 h 440"/>
                    <a:gd name="T6" fmla="*/ 85 w 85"/>
                    <a:gd name="T7" fmla="*/ 0 h 440"/>
                    <a:gd name="T8" fmla="*/ 73 w 85"/>
                    <a:gd name="T9" fmla="*/ 440 h 440"/>
                  </a:gdLst>
                  <a:ahLst/>
                  <a:cxnLst>
                    <a:cxn ang="0">
                      <a:pos x="T0" y="T1"/>
                    </a:cxn>
                    <a:cxn ang="0">
                      <a:pos x="T2" y="T3"/>
                    </a:cxn>
                    <a:cxn ang="0">
                      <a:pos x="T4" y="T5"/>
                    </a:cxn>
                    <a:cxn ang="0">
                      <a:pos x="T6" y="T7"/>
                    </a:cxn>
                    <a:cxn ang="0">
                      <a:pos x="T8" y="T9"/>
                    </a:cxn>
                  </a:cxnLst>
                  <a:rect l="0" t="0" r="r" b="b"/>
                  <a:pathLst>
                    <a:path w="85" h="440">
                      <a:moveTo>
                        <a:pt x="73" y="440"/>
                      </a:moveTo>
                      <a:lnTo>
                        <a:pt x="12" y="440"/>
                      </a:lnTo>
                      <a:lnTo>
                        <a:pt x="0" y="0"/>
                      </a:lnTo>
                      <a:lnTo>
                        <a:pt x="85" y="0"/>
                      </a:lnTo>
                      <a:lnTo>
                        <a:pt x="73" y="44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2" name="Freeform 13"/>
                <p:cNvSpPr>
                  <a:spLocks/>
                </p:cNvSpPr>
                <p:nvPr/>
              </p:nvSpPr>
              <p:spPr bwMode="auto">
                <a:xfrm>
                  <a:off x="7992740" y="5327928"/>
                  <a:ext cx="149921" cy="73038"/>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7" y="0"/>
                        <a:pt x="0" y="7"/>
                        <a:pt x="0" y="16"/>
                      </a:cubicBezTo>
                      <a:cubicBezTo>
                        <a:pt x="33" y="16"/>
                        <a:pt x="33" y="16"/>
                        <a:pt x="33" y="16"/>
                      </a:cubicBezTo>
                      <a:cubicBezTo>
                        <a:pt x="33" y="7"/>
                        <a:pt x="25" y="0"/>
                        <a:pt x="16"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3" name="Freeform 14"/>
                <p:cNvSpPr>
                  <a:spLocks/>
                </p:cNvSpPr>
                <p:nvPr/>
              </p:nvSpPr>
              <p:spPr bwMode="auto">
                <a:xfrm>
                  <a:off x="8173414" y="4555260"/>
                  <a:ext cx="159532" cy="845707"/>
                </a:xfrm>
                <a:custGeom>
                  <a:avLst/>
                  <a:gdLst>
                    <a:gd name="T0" fmla="*/ 10 w 83"/>
                    <a:gd name="T1" fmla="*/ 440 h 440"/>
                    <a:gd name="T2" fmla="*/ 71 w 83"/>
                    <a:gd name="T3" fmla="*/ 440 h 440"/>
                    <a:gd name="T4" fmla="*/ 83 w 83"/>
                    <a:gd name="T5" fmla="*/ 0 h 440"/>
                    <a:gd name="T6" fmla="*/ 0 w 83"/>
                    <a:gd name="T7" fmla="*/ 0 h 440"/>
                    <a:gd name="T8" fmla="*/ 10 w 83"/>
                    <a:gd name="T9" fmla="*/ 440 h 440"/>
                  </a:gdLst>
                  <a:ahLst/>
                  <a:cxnLst>
                    <a:cxn ang="0">
                      <a:pos x="T0" y="T1"/>
                    </a:cxn>
                    <a:cxn ang="0">
                      <a:pos x="T2" y="T3"/>
                    </a:cxn>
                    <a:cxn ang="0">
                      <a:pos x="T4" y="T5"/>
                    </a:cxn>
                    <a:cxn ang="0">
                      <a:pos x="T6" y="T7"/>
                    </a:cxn>
                    <a:cxn ang="0">
                      <a:pos x="T8" y="T9"/>
                    </a:cxn>
                  </a:cxnLst>
                  <a:rect l="0" t="0" r="r" b="b"/>
                  <a:pathLst>
                    <a:path w="83" h="440">
                      <a:moveTo>
                        <a:pt x="10" y="440"/>
                      </a:moveTo>
                      <a:lnTo>
                        <a:pt x="71" y="440"/>
                      </a:lnTo>
                      <a:lnTo>
                        <a:pt x="83" y="0"/>
                      </a:lnTo>
                      <a:lnTo>
                        <a:pt x="0" y="0"/>
                      </a:lnTo>
                      <a:lnTo>
                        <a:pt x="10" y="44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4" name="Freeform 15"/>
                <p:cNvSpPr>
                  <a:spLocks/>
                </p:cNvSpPr>
                <p:nvPr/>
              </p:nvSpPr>
              <p:spPr bwMode="auto">
                <a:xfrm>
                  <a:off x="8179180" y="5327928"/>
                  <a:ext cx="149921" cy="73038"/>
                </a:xfrm>
                <a:custGeom>
                  <a:avLst/>
                  <a:gdLst>
                    <a:gd name="T0" fmla="*/ 16 w 33"/>
                    <a:gd name="T1" fmla="*/ 0 h 16"/>
                    <a:gd name="T2" fmla="*/ 33 w 33"/>
                    <a:gd name="T3" fmla="*/ 16 h 16"/>
                    <a:gd name="T4" fmla="*/ 0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25" y="0"/>
                        <a:pt x="33" y="7"/>
                        <a:pt x="33" y="16"/>
                      </a:cubicBezTo>
                      <a:cubicBezTo>
                        <a:pt x="0" y="16"/>
                        <a:pt x="0" y="16"/>
                        <a:pt x="0" y="16"/>
                      </a:cubicBezTo>
                      <a:cubicBezTo>
                        <a:pt x="0" y="7"/>
                        <a:pt x="7" y="0"/>
                        <a:pt x="16"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5" name="Freeform 16"/>
                <p:cNvSpPr>
                  <a:spLocks/>
                </p:cNvSpPr>
                <p:nvPr/>
              </p:nvSpPr>
              <p:spPr bwMode="auto">
                <a:xfrm>
                  <a:off x="8505931" y="3926746"/>
                  <a:ext cx="82649" cy="90336"/>
                </a:xfrm>
                <a:custGeom>
                  <a:avLst/>
                  <a:gdLst>
                    <a:gd name="T0" fmla="*/ 0 w 18"/>
                    <a:gd name="T1" fmla="*/ 0 h 20"/>
                    <a:gd name="T2" fmla="*/ 0 w 18"/>
                    <a:gd name="T3" fmla="*/ 11 h 20"/>
                    <a:gd name="T4" fmla="*/ 9 w 18"/>
                    <a:gd name="T5" fmla="*/ 20 h 20"/>
                    <a:gd name="T6" fmla="*/ 18 w 18"/>
                    <a:gd name="T7" fmla="*/ 11 h 20"/>
                    <a:gd name="T8" fmla="*/ 18 w 18"/>
                    <a:gd name="T9" fmla="*/ 0 h 20"/>
                    <a:gd name="T10" fmla="*/ 0 w 18"/>
                    <a:gd name="T11" fmla="*/ 0 h 20"/>
                  </a:gdLst>
                  <a:ahLst/>
                  <a:cxnLst>
                    <a:cxn ang="0">
                      <a:pos x="T0" y="T1"/>
                    </a:cxn>
                    <a:cxn ang="0">
                      <a:pos x="T2" y="T3"/>
                    </a:cxn>
                    <a:cxn ang="0">
                      <a:pos x="T4" y="T5"/>
                    </a:cxn>
                    <a:cxn ang="0">
                      <a:pos x="T6" y="T7"/>
                    </a:cxn>
                    <a:cxn ang="0">
                      <a:pos x="T8" y="T9"/>
                    </a:cxn>
                    <a:cxn ang="0">
                      <a:pos x="T10" y="T11"/>
                    </a:cxn>
                  </a:cxnLst>
                  <a:rect l="0" t="0" r="r" b="b"/>
                  <a:pathLst>
                    <a:path w="18" h="20">
                      <a:moveTo>
                        <a:pt x="0" y="0"/>
                      </a:moveTo>
                      <a:cubicBezTo>
                        <a:pt x="0" y="11"/>
                        <a:pt x="0" y="11"/>
                        <a:pt x="0" y="11"/>
                      </a:cubicBezTo>
                      <a:cubicBezTo>
                        <a:pt x="0" y="16"/>
                        <a:pt x="4" y="20"/>
                        <a:pt x="9" y="20"/>
                      </a:cubicBezTo>
                      <a:cubicBezTo>
                        <a:pt x="14" y="20"/>
                        <a:pt x="18" y="16"/>
                        <a:pt x="18" y="11"/>
                      </a:cubicBezTo>
                      <a:cubicBezTo>
                        <a:pt x="18" y="0"/>
                        <a:pt x="18" y="0"/>
                        <a:pt x="18"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6" name="Freeform 17"/>
                <p:cNvSpPr>
                  <a:spLocks/>
                </p:cNvSpPr>
                <p:nvPr/>
              </p:nvSpPr>
              <p:spPr bwMode="auto">
                <a:xfrm>
                  <a:off x="7690977" y="3219428"/>
                  <a:ext cx="278699" cy="707318"/>
                </a:xfrm>
                <a:custGeom>
                  <a:avLst/>
                  <a:gdLst>
                    <a:gd name="T0" fmla="*/ 61 w 61"/>
                    <a:gd name="T1" fmla="*/ 7 h 155"/>
                    <a:gd name="T2" fmla="*/ 36 w 61"/>
                    <a:gd name="T3" fmla="*/ 0 h 155"/>
                    <a:gd name="T4" fmla="*/ 0 w 61"/>
                    <a:gd name="T5" fmla="*/ 155 h 155"/>
                    <a:gd name="T6" fmla="*/ 25 w 61"/>
                    <a:gd name="T7" fmla="*/ 155 h 155"/>
                    <a:gd name="T8" fmla="*/ 61 w 61"/>
                    <a:gd name="T9" fmla="*/ 7 h 155"/>
                  </a:gdLst>
                  <a:ahLst/>
                  <a:cxnLst>
                    <a:cxn ang="0">
                      <a:pos x="T0" y="T1"/>
                    </a:cxn>
                    <a:cxn ang="0">
                      <a:pos x="T2" y="T3"/>
                    </a:cxn>
                    <a:cxn ang="0">
                      <a:pos x="T4" y="T5"/>
                    </a:cxn>
                    <a:cxn ang="0">
                      <a:pos x="T6" y="T7"/>
                    </a:cxn>
                    <a:cxn ang="0">
                      <a:pos x="T8" y="T9"/>
                    </a:cxn>
                  </a:cxnLst>
                  <a:rect l="0" t="0" r="r" b="b"/>
                  <a:pathLst>
                    <a:path w="61" h="155">
                      <a:moveTo>
                        <a:pt x="61" y="7"/>
                      </a:moveTo>
                      <a:cubicBezTo>
                        <a:pt x="53" y="5"/>
                        <a:pt x="44" y="3"/>
                        <a:pt x="36" y="0"/>
                      </a:cubicBezTo>
                      <a:cubicBezTo>
                        <a:pt x="12" y="51"/>
                        <a:pt x="5" y="100"/>
                        <a:pt x="0" y="155"/>
                      </a:cubicBezTo>
                      <a:cubicBezTo>
                        <a:pt x="25" y="155"/>
                        <a:pt x="25" y="155"/>
                        <a:pt x="25" y="155"/>
                      </a:cubicBezTo>
                      <a:cubicBezTo>
                        <a:pt x="31" y="102"/>
                        <a:pt x="38" y="55"/>
                        <a:pt x="61" y="7"/>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7" name="Freeform 18"/>
                <p:cNvSpPr>
                  <a:spLocks/>
                </p:cNvSpPr>
                <p:nvPr/>
              </p:nvSpPr>
              <p:spPr bwMode="auto">
                <a:xfrm>
                  <a:off x="7704431" y="3926746"/>
                  <a:ext cx="86493" cy="90336"/>
                </a:xfrm>
                <a:custGeom>
                  <a:avLst/>
                  <a:gdLst>
                    <a:gd name="T0" fmla="*/ 19 w 19"/>
                    <a:gd name="T1" fmla="*/ 0 h 20"/>
                    <a:gd name="T2" fmla="*/ 19 w 19"/>
                    <a:gd name="T3" fmla="*/ 11 h 20"/>
                    <a:gd name="T4" fmla="*/ 10 w 19"/>
                    <a:gd name="T5" fmla="*/ 20 h 20"/>
                    <a:gd name="T6" fmla="*/ 0 w 19"/>
                    <a:gd name="T7" fmla="*/ 11 h 20"/>
                    <a:gd name="T8" fmla="*/ 0 w 19"/>
                    <a:gd name="T9" fmla="*/ 0 h 20"/>
                    <a:gd name="T10" fmla="*/ 19 w 19"/>
                    <a:gd name="T11" fmla="*/ 0 h 20"/>
                  </a:gdLst>
                  <a:ahLst/>
                  <a:cxnLst>
                    <a:cxn ang="0">
                      <a:pos x="T0" y="T1"/>
                    </a:cxn>
                    <a:cxn ang="0">
                      <a:pos x="T2" y="T3"/>
                    </a:cxn>
                    <a:cxn ang="0">
                      <a:pos x="T4" y="T5"/>
                    </a:cxn>
                    <a:cxn ang="0">
                      <a:pos x="T6" y="T7"/>
                    </a:cxn>
                    <a:cxn ang="0">
                      <a:pos x="T8" y="T9"/>
                    </a:cxn>
                    <a:cxn ang="0">
                      <a:pos x="T10" y="T11"/>
                    </a:cxn>
                  </a:cxnLst>
                  <a:rect l="0" t="0" r="r" b="b"/>
                  <a:pathLst>
                    <a:path w="19" h="20">
                      <a:moveTo>
                        <a:pt x="19" y="0"/>
                      </a:moveTo>
                      <a:cubicBezTo>
                        <a:pt x="19" y="11"/>
                        <a:pt x="19" y="11"/>
                        <a:pt x="19" y="11"/>
                      </a:cubicBezTo>
                      <a:cubicBezTo>
                        <a:pt x="19" y="16"/>
                        <a:pt x="15" y="20"/>
                        <a:pt x="10" y="20"/>
                      </a:cubicBezTo>
                      <a:cubicBezTo>
                        <a:pt x="4" y="20"/>
                        <a:pt x="0" y="16"/>
                        <a:pt x="0" y="11"/>
                      </a:cubicBezTo>
                      <a:cubicBezTo>
                        <a:pt x="0" y="0"/>
                        <a:pt x="0" y="0"/>
                        <a:pt x="0" y="0"/>
                      </a:cubicBezTo>
                      <a:lnTo>
                        <a:pt x="19"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8" name="Freeform 19"/>
                <p:cNvSpPr>
                  <a:spLocks/>
                </p:cNvSpPr>
                <p:nvPr/>
              </p:nvSpPr>
              <p:spPr bwMode="auto">
                <a:xfrm>
                  <a:off x="7860118" y="3202129"/>
                  <a:ext cx="582385" cy="901446"/>
                </a:xfrm>
                <a:custGeom>
                  <a:avLst/>
                  <a:gdLst>
                    <a:gd name="T0" fmla="*/ 194 w 303"/>
                    <a:gd name="T1" fmla="*/ 0 h 469"/>
                    <a:gd name="T2" fmla="*/ 151 w 303"/>
                    <a:gd name="T3" fmla="*/ 341 h 469"/>
                    <a:gd name="T4" fmla="*/ 109 w 303"/>
                    <a:gd name="T5" fmla="*/ 0 h 469"/>
                    <a:gd name="T6" fmla="*/ 0 w 303"/>
                    <a:gd name="T7" fmla="*/ 9 h 469"/>
                    <a:gd name="T8" fmla="*/ 21 w 303"/>
                    <a:gd name="T9" fmla="*/ 469 h 469"/>
                    <a:gd name="T10" fmla="*/ 279 w 303"/>
                    <a:gd name="T11" fmla="*/ 469 h 469"/>
                    <a:gd name="T12" fmla="*/ 303 w 303"/>
                    <a:gd name="T13" fmla="*/ 9 h 469"/>
                    <a:gd name="T14" fmla="*/ 194 w 303"/>
                    <a:gd name="T15" fmla="*/ 0 h 4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3" h="469">
                      <a:moveTo>
                        <a:pt x="194" y="0"/>
                      </a:moveTo>
                      <a:lnTo>
                        <a:pt x="151" y="341"/>
                      </a:lnTo>
                      <a:lnTo>
                        <a:pt x="109" y="0"/>
                      </a:lnTo>
                      <a:lnTo>
                        <a:pt x="0" y="9"/>
                      </a:lnTo>
                      <a:lnTo>
                        <a:pt x="21" y="469"/>
                      </a:lnTo>
                      <a:lnTo>
                        <a:pt x="279" y="469"/>
                      </a:lnTo>
                      <a:lnTo>
                        <a:pt x="303" y="9"/>
                      </a:lnTo>
                      <a:lnTo>
                        <a:pt x="194" y="0"/>
                      </a:lnTo>
                      <a:close/>
                    </a:path>
                  </a:pathLst>
                </a:custGeom>
                <a:solidFill>
                  <a:srgbClr val="ADD4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49" name="Freeform 20"/>
                <p:cNvSpPr>
                  <a:spLocks/>
                </p:cNvSpPr>
                <p:nvPr/>
              </p:nvSpPr>
              <p:spPr bwMode="auto">
                <a:xfrm>
                  <a:off x="8282972" y="2879223"/>
                  <a:ext cx="5767"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50" name="Freeform 21"/>
                <p:cNvSpPr>
                  <a:spLocks/>
                </p:cNvSpPr>
                <p:nvPr/>
              </p:nvSpPr>
              <p:spPr bwMode="auto">
                <a:xfrm>
                  <a:off x="8282972" y="287345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51" name="Freeform 22"/>
                <p:cNvSpPr>
                  <a:spLocks/>
                </p:cNvSpPr>
                <p:nvPr/>
              </p:nvSpPr>
              <p:spPr bwMode="auto">
                <a:xfrm>
                  <a:off x="8279128" y="286000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52" name="Freeform 23"/>
                <p:cNvSpPr>
                  <a:spLocks/>
                </p:cNvSpPr>
                <p:nvPr/>
              </p:nvSpPr>
              <p:spPr bwMode="auto">
                <a:xfrm>
                  <a:off x="8279128" y="286576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53" name="Freeform 24"/>
                <p:cNvSpPr>
                  <a:spLocks/>
                </p:cNvSpPr>
                <p:nvPr/>
              </p:nvSpPr>
              <p:spPr bwMode="auto">
                <a:xfrm>
                  <a:off x="8013883" y="286000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54" name="Freeform 25"/>
                <p:cNvSpPr>
                  <a:spLocks/>
                </p:cNvSpPr>
                <p:nvPr/>
              </p:nvSpPr>
              <p:spPr bwMode="auto">
                <a:xfrm>
                  <a:off x="8288737" y="2883067"/>
                  <a:ext cx="0" cy="5766"/>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55" name="Freeform 26"/>
                <p:cNvSpPr>
                  <a:spLocks/>
                </p:cNvSpPr>
                <p:nvPr/>
              </p:nvSpPr>
              <p:spPr bwMode="auto">
                <a:xfrm>
                  <a:off x="8288737" y="2888833"/>
                  <a:ext cx="0" cy="76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56" name="Freeform 27"/>
                <p:cNvSpPr>
                  <a:spLocks/>
                </p:cNvSpPr>
                <p:nvPr/>
              </p:nvSpPr>
              <p:spPr bwMode="auto">
                <a:xfrm>
                  <a:off x="8273361" y="285615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57" name="Freeform 28"/>
                <p:cNvSpPr>
                  <a:spLocks/>
                </p:cNvSpPr>
                <p:nvPr/>
              </p:nvSpPr>
              <p:spPr bwMode="auto">
                <a:xfrm>
                  <a:off x="8010039" y="288883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58" name="Freeform 29"/>
                <p:cNvSpPr>
                  <a:spLocks/>
                </p:cNvSpPr>
                <p:nvPr/>
              </p:nvSpPr>
              <p:spPr bwMode="auto">
                <a:xfrm>
                  <a:off x="8010039" y="287345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59" name="Freeform 30"/>
                <p:cNvSpPr>
                  <a:spLocks/>
                </p:cNvSpPr>
                <p:nvPr/>
              </p:nvSpPr>
              <p:spPr bwMode="auto">
                <a:xfrm>
                  <a:off x="8013883" y="28696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60" name="Freeform 31"/>
                <p:cNvSpPr>
                  <a:spLocks/>
                </p:cNvSpPr>
                <p:nvPr/>
              </p:nvSpPr>
              <p:spPr bwMode="auto">
                <a:xfrm>
                  <a:off x="8010039" y="2879223"/>
                  <a:ext cx="0" cy="3844"/>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61" name="Freeform 32"/>
                <p:cNvSpPr>
                  <a:spLocks/>
                </p:cNvSpPr>
                <p:nvPr/>
              </p:nvSpPr>
              <p:spPr bwMode="auto">
                <a:xfrm>
                  <a:off x="7983130" y="2846548"/>
                  <a:ext cx="326750" cy="395945"/>
                </a:xfrm>
                <a:custGeom>
                  <a:avLst/>
                  <a:gdLst>
                    <a:gd name="T0" fmla="*/ 69 w 72"/>
                    <a:gd name="T1" fmla="*/ 15 h 87"/>
                    <a:gd name="T2" fmla="*/ 67 w 72"/>
                    <a:gd name="T3" fmla="*/ 15 h 87"/>
                    <a:gd name="T4" fmla="*/ 67 w 72"/>
                    <a:gd name="T5" fmla="*/ 11 h 87"/>
                    <a:gd name="T6" fmla="*/ 67 w 72"/>
                    <a:gd name="T7" fmla="*/ 9 h 87"/>
                    <a:gd name="T8" fmla="*/ 67 w 72"/>
                    <a:gd name="T9" fmla="*/ 9 h 87"/>
                    <a:gd name="T10" fmla="*/ 67 w 72"/>
                    <a:gd name="T11" fmla="*/ 8 h 87"/>
                    <a:gd name="T12" fmla="*/ 67 w 72"/>
                    <a:gd name="T13" fmla="*/ 7 h 87"/>
                    <a:gd name="T14" fmla="*/ 66 w 72"/>
                    <a:gd name="T15" fmla="*/ 7 h 87"/>
                    <a:gd name="T16" fmla="*/ 66 w 72"/>
                    <a:gd name="T17" fmla="*/ 6 h 87"/>
                    <a:gd name="T18" fmla="*/ 66 w 72"/>
                    <a:gd name="T19" fmla="*/ 6 h 87"/>
                    <a:gd name="T20" fmla="*/ 65 w 72"/>
                    <a:gd name="T21" fmla="*/ 4 h 87"/>
                    <a:gd name="T22" fmla="*/ 65 w 72"/>
                    <a:gd name="T23" fmla="*/ 4 h 87"/>
                    <a:gd name="T24" fmla="*/ 65 w 72"/>
                    <a:gd name="T25" fmla="*/ 3 h 87"/>
                    <a:gd name="T26" fmla="*/ 65 w 72"/>
                    <a:gd name="T27" fmla="*/ 3 h 87"/>
                    <a:gd name="T28" fmla="*/ 64 w 72"/>
                    <a:gd name="T29" fmla="*/ 2 h 87"/>
                    <a:gd name="T30" fmla="*/ 64 w 72"/>
                    <a:gd name="T31" fmla="*/ 2 h 87"/>
                    <a:gd name="T32" fmla="*/ 59 w 72"/>
                    <a:gd name="T33" fmla="*/ 3 h 87"/>
                    <a:gd name="T34" fmla="*/ 48 w 72"/>
                    <a:gd name="T35" fmla="*/ 0 h 87"/>
                    <a:gd name="T36" fmla="*/ 30 w 72"/>
                    <a:gd name="T37" fmla="*/ 3 h 87"/>
                    <a:gd name="T38" fmla="*/ 10 w 72"/>
                    <a:gd name="T39" fmla="*/ 0 h 87"/>
                    <a:gd name="T40" fmla="*/ 7 w 72"/>
                    <a:gd name="T41" fmla="*/ 3 h 87"/>
                    <a:gd name="T42" fmla="*/ 7 w 72"/>
                    <a:gd name="T43" fmla="*/ 3 h 87"/>
                    <a:gd name="T44" fmla="*/ 7 w 72"/>
                    <a:gd name="T45" fmla="*/ 5 h 87"/>
                    <a:gd name="T46" fmla="*/ 7 w 72"/>
                    <a:gd name="T47" fmla="*/ 5 h 87"/>
                    <a:gd name="T48" fmla="*/ 6 w 72"/>
                    <a:gd name="T49" fmla="*/ 6 h 87"/>
                    <a:gd name="T50" fmla="*/ 6 w 72"/>
                    <a:gd name="T51" fmla="*/ 6 h 87"/>
                    <a:gd name="T52" fmla="*/ 6 w 72"/>
                    <a:gd name="T53" fmla="*/ 7 h 87"/>
                    <a:gd name="T54" fmla="*/ 6 w 72"/>
                    <a:gd name="T55" fmla="*/ 8 h 87"/>
                    <a:gd name="T56" fmla="*/ 6 w 72"/>
                    <a:gd name="T57" fmla="*/ 9 h 87"/>
                    <a:gd name="T58" fmla="*/ 6 w 72"/>
                    <a:gd name="T59" fmla="*/ 9 h 87"/>
                    <a:gd name="T60" fmla="*/ 6 w 72"/>
                    <a:gd name="T61" fmla="*/ 11 h 87"/>
                    <a:gd name="T62" fmla="*/ 6 w 72"/>
                    <a:gd name="T63" fmla="*/ 15 h 87"/>
                    <a:gd name="T64" fmla="*/ 5 w 72"/>
                    <a:gd name="T65" fmla="*/ 15 h 87"/>
                    <a:gd name="T66" fmla="*/ 0 w 72"/>
                    <a:gd name="T67" fmla="*/ 20 h 87"/>
                    <a:gd name="T68" fmla="*/ 0 w 72"/>
                    <a:gd name="T69" fmla="*/ 32 h 87"/>
                    <a:gd name="T70" fmla="*/ 6 w 72"/>
                    <a:gd name="T71" fmla="*/ 37 h 87"/>
                    <a:gd name="T72" fmla="*/ 10 w 72"/>
                    <a:gd name="T73" fmla="*/ 49 h 87"/>
                    <a:gd name="T74" fmla="*/ 22 w 72"/>
                    <a:gd name="T75" fmla="*/ 64 h 87"/>
                    <a:gd name="T76" fmla="*/ 24 w 72"/>
                    <a:gd name="T77" fmla="*/ 78 h 87"/>
                    <a:gd name="T78" fmla="*/ 37 w 72"/>
                    <a:gd name="T79" fmla="*/ 87 h 87"/>
                    <a:gd name="T80" fmla="*/ 50 w 72"/>
                    <a:gd name="T81" fmla="*/ 78 h 87"/>
                    <a:gd name="T82" fmla="*/ 52 w 72"/>
                    <a:gd name="T83" fmla="*/ 63 h 87"/>
                    <a:gd name="T84" fmla="*/ 62 w 72"/>
                    <a:gd name="T85" fmla="*/ 49 h 87"/>
                    <a:gd name="T86" fmla="*/ 67 w 72"/>
                    <a:gd name="T87" fmla="*/ 37 h 87"/>
                    <a:gd name="T88" fmla="*/ 72 w 72"/>
                    <a:gd name="T89" fmla="*/ 32 h 87"/>
                    <a:gd name="T90" fmla="*/ 72 w 72"/>
                    <a:gd name="T91" fmla="*/ 20 h 87"/>
                    <a:gd name="T92" fmla="*/ 69 w 72"/>
                    <a:gd name="T93" fmla="*/ 1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2" h="87">
                      <a:moveTo>
                        <a:pt x="69" y="15"/>
                      </a:moveTo>
                      <a:cubicBezTo>
                        <a:pt x="68" y="15"/>
                        <a:pt x="68" y="15"/>
                        <a:pt x="67" y="15"/>
                      </a:cubicBezTo>
                      <a:cubicBezTo>
                        <a:pt x="67" y="11"/>
                        <a:pt x="67" y="11"/>
                        <a:pt x="67" y="11"/>
                      </a:cubicBezTo>
                      <a:cubicBezTo>
                        <a:pt x="67" y="10"/>
                        <a:pt x="67" y="10"/>
                        <a:pt x="67" y="9"/>
                      </a:cubicBezTo>
                      <a:cubicBezTo>
                        <a:pt x="67" y="9"/>
                        <a:pt x="67" y="9"/>
                        <a:pt x="67" y="9"/>
                      </a:cubicBezTo>
                      <a:cubicBezTo>
                        <a:pt x="67" y="9"/>
                        <a:pt x="67" y="8"/>
                        <a:pt x="67" y="8"/>
                      </a:cubicBezTo>
                      <a:cubicBezTo>
                        <a:pt x="67" y="8"/>
                        <a:pt x="67" y="8"/>
                        <a:pt x="67" y="7"/>
                      </a:cubicBezTo>
                      <a:cubicBezTo>
                        <a:pt x="67" y="7"/>
                        <a:pt x="66" y="7"/>
                        <a:pt x="66" y="7"/>
                      </a:cubicBezTo>
                      <a:cubicBezTo>
                        <a:pt x="66" y="7"/>
                        <a:pt x="66" y="6"/>
                        <a:pt x="66" y="6"/>
                      </a:cubicBezTo>
                      <a:cubicBezTo>
                        <a:pt x="66" y="6"/>
                        <a:pt x="66" y="6"/>
                        <a:pt x="66" y="6"/>
                      </a:cubicBezTo>
                      <a:cubicBezTo>
                        <a:pt x="66" y="5"/>
                        <a:pt x="66" y="5"/>
                        <a:pt x="65" y="4"/>
                      </a:cubicBezTo>
                      <a:cubicBezTo>
                        <a:pt x="65" y="4"/>
                        <a:pt x="65" y="4"/>
                        <a:pt x="65" y="4"/>
                      </a:cubicBezTo>
                      <a:cubicBezTo>
                        <a:pt x="65" y="4"/>
                        <a:pt x="65" y="3"/>
                        <a:pt x="65" y="3"/>
                      </a:cubicBezTo>
                      <a:cubicBezTo>
                        <a:pt x="65" y="3"/>
                        <a:pt x="65" y="3"/>
                        <a:pt x="65" y="3"/>
                      </a:cubicBezTo>
                      <a:cubicBezTo>
                        <a:pt x="65" y="3"/>
                        <a:pt x="64" y="2"/>
                        <a:pt x="64" y="2"/>
                      </a:cubicBezTo>
                      <a:cubicBezTo>
                        <a:pt x="64" y="2"/>
                        <a:pt x="64" y="2"/>
                        <a:pt x="64" y="2"/>
                      </a:cubicBezTo>
                      <a:cubicBezTo>
                        <a:pt x="62" y="2"/>
                        <a:pt x="61" y="3"/>
                        <a:pt x="59" y="3"/>
                      </a:cubicBezTo>
                      <a:cubicBezTo>
                        <a:pt x="54" y="3"/>
                        <a:pt x="51" y="2"/>
                        <a:pt x="48" y="0"/>
                      </a:cubicBezTo>
                      <a:cubicBezTo>
                        <a:pt x="44" y="2"/>
                        <a:pt x="37" y="3"/>
                        <a:pt x="30" y="3"/>
                      </a:cubicBezTo>
                      <a:cubicBezTo>
                        <a:pt x="22" y="3"/>
                        <a:pt x="15" y="2"/>
                        <a:pt x="10" y="0"/>
                      </a:cubicBezTo>
                      <a:cubicBezTo>
                        <a:pt x="9" y="1"/>
                        <a:pt x="8" y="2"/>
                        <a:pt x="7" y="3"/>
                      </a:cubicBezTo>
                      <a:cubicBezTo>
                        <a:pt x="7" y="3"/>
                        <a:pt x="7" y="3"/>
                        <a:pt x="7" y="3"/>
                      </a:cubicBezTo>
                      <a:cubicBezTo>
                        <a:pt x="7" y="4"/>
                        <a:pt x="7" y="4"/>
                        <a:pt x="7" y="5"/>
                      </a:cubicBezTo>
                      <a:cubicBezTo>
                        <a:pt x="7" y="5"/>
                        <a:pt x="7" y="5"/>
                        <a:pt x="7" y="5"/>
                      </a:cubicBezTo>
                      <a:cubicBezTo>
                        <a:pt x="7" y="5"/>
                        <a:pt x="6" y="6"/>
                        <a:pt x="6" y="6"/>
                      </a:cubicBezTo>
                      <a:cubicBezTo>
                        <a:pt x="6" y="6"/>
                        <a:pt x="6" y="6"/>
                        <a:pt x="6" y="6"/>
                      </a:cubicBezTo>
                      <a:cubicBezTo>
                        <a:pt x="6" y="7"/>
                        <a:pt x="6" y="7"/>
                        <a:pt x="6" y="7"/>
                      </a:cubicBezTo>
                      <a:cubicBezTo>
                        <a:pt x="6" y="7"/>
                        <a:pt x="6" y="8"/>
                        <a:pt x="6" y="8"/>
                      </a:cubicBezTo>
                      <a:cubicBezTo>
                        <a:pt x="6" y="8"/>
                        <a:pt x="6" y="8"/>
                        <a:pt x="6" y="9"/>
                      </a:cubicBezTo>
                      <a:cubicBezTo>
                        <a:pt x="6" y="9"/>
                        <a:pt x="6" y="9"/>
                        <a:pt x="6" y="9"/>
                      </a:cubicBezTo>
                      <a:cubicBezTo>
                        <a:pt x="6" y="10"/>
                        <a:pt x="6" y="10"/>
                        <a:pt x="6" y="11"/>
                      </a:cubicBezTo>
                      <a:cubicBezTo>
                        <a:pt x="6" y="15"/>
                        <a:pt x="6" y="15"/>
                        <a:pt x="6" y="15"/>
                      </a:cubicBezTo>
                      <a:cubicBezTo>
                        <a:pt x="5" y="15"/>
                        <a:pt x="5" y="15"/>
                        <a:pt x="5" y="15"/>
                      </a:cubicBezTo>
                      <a:cubicBezTo>
                        <a:pt x="2" y="16"/>
                        <a:pt x="0" y="18"/>
                        <a:pt x="0" y="20"/>
                      </a:cubicBezTo>
                      <a:cubicBezTo>
                        <a:pt x="0" y="32"/>
                        <a:pt x="0" y="32"/>
                        <a:pt x="0" y="32"/>
                      </a:cubicBezTo>
                      <a:cubicBezTo>
                        <a:pt x="0" y="34"/>
                        <a:pt x="3" y="37"/>
                        <a:pt x="6" y="37"/>
                      </a:cubicBezTo>
                      <a:cubicBezTo>
                        <a:pt x="10" y="49"/>
                        <a:pt x="10" y="49"/>
                        <a:pt x="10" y="49"/>
                      </a:cubicBezTo>
                      <a:cubicBezTo>
                        <a:pt x="13" y="57"/>
                        <a:pt x="16" y="62"/>
                        <a:pt x="22" y="64"/>
                      </a:cubicBezTo>
                      <a:cubicBezTo>
                        <a:pt x="24" y="78"/>
                        <a:pt x="24" y="78"/>
                        <a:pt x="24" y="78"/>
                      </a:cubicBezTo>
                      <a:cubicBezTo>
                        <a:pt x="37" y="87"/>
                        <a:pt x="37" y="87"/>
                        <a:pt x="37" y="87"/>
                      </a:cubicBezTo>
                      <a:cubicBezTo>
                        <a:pt x="50" y="78"/>
                        <a:pt x="50" y="78"/>
                        <a:pt x="50" y="78"/>
                      </a:cubicBezTo>
                      <a:cubicBezTo>
                        <a:pt x="52" y="63"/>
                        <a:pt x="52" y="63"/>
                        <a:pt x="52" y="63"/>
                      </a:cubicBezTo>
                      <a:cubicBezTo>
                        <a:pt x="57" y="62"/>
                        <a:pt x="59" y="57"/>
                        <a:pt x="62" y="49"/>
                      </a:cubicBezTo>
                      <a:cubicBezTo>
                        <a:pt x="67" y="37"/>
                        <a:pt x="67" y="37"/>
                        <a:pt x="67" y="37"/>
                      </a:cubicBezTo>
                      <a:cubicBezTo>
                        <a:pt x="70" y="37"/>
                        <a:pt x="72" y="34"/>
                        <a:pt x="72" y="32"/>
                      </a:cubicBezTo>
                      <a:cubicBezTo>
                        <a:pt x="72" y="20"/>
                        <a:pt x="72" y="20"/>
                        <a:pt x="72" y="20"/>
                      </a:cubicBezTo>
                      <a:cubicBezTo>
                        <a:pt x="72" y="18"/>
                        <a:pt x="71" y="16"/>
                        <a:pt x="69"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62" name="Freeform 33"/>
                <p:cNvSpPr>
                  <a:spLocks/>
                </p:cNvSpPr>
                <p:nvPr/>
              </p:nvSpPr>
              <p:spPr bwMode="auto">
                <a:xfrm>
                  <a:off x="7900481" y="4103576"/>
                  <a:ext cx="495892" cy="542021"/>
                </a:xfrm>
                <a:custGeom>
                  <a:avLst/>
                  <a:gdLst>
                    <a:gd name="T0" fmla="*/ 247 w 258"/>
                    <a:gd name="T1" fmla="*/ 282 h 282"/>
                    <a:gd name="T2" fmla="*/ 12 w 258"/>
                    <a:gd name="T3" fmla="*/ 282 h 282"/>
                    <a:gd name="T4" fmla="*/ 0 w 258"/>
                    <a:gd name="T5" fmla="*/ 0 h 282"/>
                    <a:gd name="T6" fmla="*/ 258 w 258"/>
                    <a:gd name="T7" fmla="*/ 0 h 282"/>
                    <a:gd name="T8" fmla="*/ 247 w 258"/>
                    <a:gd name="T9" fmla="*/ 282 h 282"/>
                  </a:gdLst>
                  <a:ahLst/>
                  <a:cxnLst>
                    <a:cxn ang="0">
                      <a:pos x="T0" y="T1"/>
                    </a:cxn>
                    <a:cxn ang="0">
                      <a:pos x="T2" y="T3"/>
                    </a:cxn>
                    <a:cxn ang="0">
                      <a:pos x="T4" y="T5"/>
                    </a:cxn>
                    <a:cxn ang="0">
                      <a:pos x="T6" y="T7"/>
                    </a:cxn>
                    <a:cxn ang="0">
                      <a:pos x="T8" y="T9"/>
                    </a:cxn>
                  </a:cxnLst>
                  <a:rect l="0" t="0" r="r" b="b"/>
                  <a:pathLst>
                    <a:path w="258" h="282">
                      <a:moveTo>
                        <a:pt x="247" y="282"/>
                      </a:moveTo>
                      <a:lnTo>
                        <a:pt x="12" y="282"/>
                      </a:lnTo>
                      <a:lnTo>
                        <a:pt x="0" y="0"/>
                      </a:lnTo>
                      <a:lnTo>
                        <a:pt x="258" y="0"/>
                      </a:lnTo>
                      <a:lnTo>
                        <a:pt x="247" y="28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63" name="Freeform 64"/>
                <p:cNvSpPr>
                  <a:spLocks noEditPoints="1"/>
                </p:cNvSpPr>
                <p:nvPr/>
              </p:nvSpPr>
              <p:spPr bwMode="auto">
                <a:xfrm>
                  <a:off x="7996584" y="2906131"/>
                  <a:ext cx="305608" cy="96103"/>
                </a:xfrm>
                <a:custGeom>
                  <a:avLst/>
                  <a:gdLst>
                    <a:gd name="T0" fmla="*/ 66 w 67"/>
                    <a:gd name="T1" fmla="*/ 1 h 21"/>
                    <a:gd name="T2" fmla="*/ 50 w 67"/>
                    <a:gd name="T3" fmla="*/ 0 h 21"/>
                    <a:gd name="T4" fmla="*/ 34 w 67"/>
                    <a:gd name="T5" fmla="*/ 4 h 21"/>
                    <a:gd name="T6" fmla="*/ 18 w 67"/>
                    <a:gd name="T7" fmla="*/ 0 h 21"/>
                    <a:gd name="T8" fmla="*/ 1 w 67"/>
                    <a:gd name="T9" fmla="*/ 1 h 21"/>
                    <a:gd name="T10" fmla="*/ 1 w 67"/>
                    <a:gd name="T11" fmla="*/ 3 h 21"/>
                    <a:gd name="T12" fmla="*/ 3 w 67"/>
                    <a:gd name="T13" fmla="*/ 6 h 21"/>
                    <a:gd name="T14" fmla="*/ 5 w 67"/>
                    <a:gd name="T15" fmla="*/ 11 h 21"/>
                    <a:gd name="T16" fmla="*/ 20 w 67"/>
                    <a:gd name="T17" fmla="*/ 20 h 21"/>
                    <a:gd name="T18" fmla="*/ 31 w 67"/>
                    <a:gd name="T19" fmla="*/ 8 h 21"/>
                    <a:gd name="T20" fmla="*/ 34 w 67"/>
                    <a:gd name="T21" fmla="*/ 7 h 21"/>
                    <a:gd name="T22" fmla="*/ 36 w 67"/>
                    <a:gd name="T23" fmla="*/ 8 h 21"/>
                    <a:gd name="T24" fmla="*/ 47 w 67"/>
                    <a:gd name="T25" fmla="*/ 20 h 21"/>
                    <a:gd name="T26" fmla="*/ 62 w 67"/>
                    <a:gd name="T27" fmla="*/ 11 h 21"/>
                    <a:gd name="T28" fmla="*/ 64 w 67"/>
                    <a:gd name="T29" fmla="*/ 6 h 21"/>
                    <a:gd name="T30" fmla="*/ 66 w 67"/>
                    <a:gd name="T31" fmla="*/ 3 h 21"/>
                    <a:gd name="T32" fmla="*/ 66 w 67"/>
                    <a:gd name="T33" fmla="*/ 1 h 21"/>
                    <a:gd name="T34" fmla="*/ 26 w 67"/>
                    <a:gd name="T35" fmla="*/ 15 h 21"/>
                    <a:gd name="T36" fmla="*/ 14 w 67"/>
                    <a:gd name="T37" fmla="*/ 18 h 21"/>
                    <a:gd name="T38" fmla="*/ 6 w 67"/>
                    <a:gd name="T39" fmla="*/ 7 h 21"/>
                    <a:gd name="T40" fmla="*/ 18 w 67"/>
                    <a:gd name="T41" fmla="*/ 2 h 21"/>
                    <a:gd name="T42" fmla="*/ 26 w 67"/>
                    <a:gd name="T43" fmla="*/ 4 h 21"/>
                    <a:gd name="T44" fmla="*/ 26 w 67"/>
                    <a:gd name="T45" fmla="*/ 15 h 21"/>
                    <a:gd name="T46" fmla="*/ 54 w 67"/>
                    <a:gd name="T47" fmla="*/ 18 h 21"/>
                    <a:gd name="T48" fmla="*/ 42 w 67"/>
                    <a:gd name="T49" fmla="*/ 15 h 21"/>
                    <a:gd name="T50" fmla="*/ 41 w 67"/>
                    <a:gd name="T51" fmla="*/ 4 h 21"/>
                    <a:gd name="T52" fmla="*/ 49 w 67"/>
                    <a:gd name="T53" fmla="*/ 2 h 21"/>
                    <a:gd name="T54" fmla="*/ 61 w 67"/>
                    <a:gd name="T55" fmla="*/ 7 h 21"/>
                    <a:gd name="T56" fmla="*/ 54 w 67"/>
                    <a:gd name="T57"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21">
                      <a:moveTo>
                        <a:pt x="66" y="1"/>
                      </a:moveTo>
                      <a:cubicBezTo>
                        <a:pt x="66" y="1"/>
                        <a:pt x="57" y="0"/>
                        <a:pt x="50" y="0"/>
                      </a:cubicBezTo>
                      <a:cubicBezTo>
                        <a:pt x="43" y="1"/>
                        <a:pt x="37" y="4"/>
                        <a:pt x="34" y="4"/>
                      </a:cubicBezTo>
                      <a:cubicBezTo>
                        <a:pt x="30" y="4"/>
                        <a:pt x="25" y="1"/>
                        <a:pt x="18" y="0"/>
                      </a:cubicBezTo>
                      <a:cubicBezTo>
                        <a:pt x="11" y="0"/>
                        <a:pt x="1" y="1"/>
                        <a:pt x="1" y="1"/>
                      </a:cubicBezTo>
                      <a:cubicBezTo>
                        <a:pt x="0" y="1"/>
                        <a:pt x="0" y="2"/>
                        <a:pt x="1" y="3"/>
                      </a:cubicBezTo>
                      <a:cubicBezTo>
                        <a:pt x="1" y="5"/>
                        <a:pt x="1" y="5"/>
                        <a:pt x="3" y="6"/>
                      </a:cubicBezTo>
                      <a:cubicBezTo>
                        <a:pt x="4" y="7"/>
                        <a:pt x="5" y="11"/>
                        <a:pt x="5" y="11"/>
                      </a:cubicBezTo>
                      <a:cubicBezTo>
                        <a:pt x="6" y="19"/>
                        <a:pt x="12" y="21"/>
                        <a:pt x="20" y="20"/>
                      </a:cubicBezTo>
                      <a:cubicBezTo>
                        <a:pt x="28" y="19"/>
                        <a:pt x="30" y="10"/>
                        <a:pt x="31" y="8"/>
                      </a:cubicBezTo>
                      <a:cubicBezTo>
                        <a:pt x="32" y="7"/>
                        <a:pt x="34" y="7"/>
                        <a:pt x="34" y="7"/>
                      </a:cubicBezTo>
                      <a:cubicBezTo>
                        <a:pt x="34" y="7"/>
                        <a:pt x="35" y="7"/>
                        <a:pt x="36" y="8"/>
                      </a:cubicBezTo>
                      <a:cubicBezTo>
                        <a:pt x="37" y="10"/>
                        <a:pt x="39" y="19"/>
                        <a:pt x="47" y="20"/>
                      </a:cubicBezTo>
                      <a:cubicBezTo>
                        <a:pt x="55" y="21"/>
                        <a:pt x="61" y="19"/>
                        <a:pt x="62" y="11"/>
                      </a:cubicBezTo>
                      <a:cubicBezTo>
                        <a:pt x="62" y="11"/>
                        <a:pt x="63" y="7"/>
                        <a:pt x="64" y="6"/>
                      </a:cubicBezTo>
                      <a:cubicBezTo>
                        <a:pt x="66" y="5"/>
                        <a:pt x="66" y="5"/>
                        <a:pt x="66" y="3"/>
                      </a:cubicBezTo>
                      <a:cubicBezTo>
                        <a:pt x="67" y="2"/>
                        <a:pt x="67" y="1"/>
                        <a:pt x="66" y="1"/>
                      </a:cubicBezTo>
                      <a:close/>
                      <a:moveTo>
                        <a:pt x="26" y="15"/>
                      </a:moveTo>
                      <a:cubicBezTo>
                        <a:pt x="23" y="18"/>
                        <a:pt x="19" y="19"/>
                        <a:pt x="14" y="18"/>
                      </a:cubicBezTo>
                      <a:cubicBezTo>
                        <a:pt x="8" y="18"/>
                        <a:pt x="6" y="14"/>
                        <a:pt x="6" y="7"/>
                      </a:cubicBezTo>
                      <a:cubicBezTo>
                        <a:pt x="6" y="0"/>
                        <a:pt x="18" y="2"/>
                        <a:pt x="18" y="2"/>
                      </a:cubicBezTo>
                      <a:cubicBezTo>
                        <a:pt x="23" y="3"/>
                        <a:pt x="23" y="3"/>
                        <a:pt x="26" y="4"/>
                      </a:cubicBezTo>
                      <a:cubicBezTo>
                        <a:pt x="30" y="5"/>
                        <a:pt x="28" y="12"/>
                        <a:pt x="26" y="15"/>
                      </a:cubicBezTo>
                      <a:close/>
                      <a:moveTo>
                        <a:pt x="54" y="18"/>
                      </a:moveTo>
                      <a:cubicBezTo>
                        <a:pt x="48" y="19"/>
                        <a:pt x="44" y="18"/>
                        <a:pt x="42" y="15"/>
                      </a:cubicBezTo>
                      <a:cubicBezTo>
                        <a:pt x="40" y="12"/>
                        <a:pt x="37" y="5"/>
                        <a:pt x="41" y="4"/>
                      </a:cubicBezTo>
                      <a:cubicBezTo>
                        <a:pt x="45" y="3"/>
                        <a:pt x="45" y="3"/>
                        <a:pt x="49" y="2"/>
                      </a:cubicBezTo>
                      <a:cubicBezTo>
                        <a:pt x="49" y="2"/>
                        <a:pt x="61" y="0"/>
                        <a:pt x="61" y="7"/>
                      </a:cubicBezTo>
                      <a:cubicBezTo>
                        <a:pt x="61" y="14"/>
                        <a:pt x="59" y="18"/>
                        <a:pt x="54" y="18"/>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64" name="Oval 65"/>
                <p:cNvSpPr>
                  <a:spLocks noChangeArrowheads="1"/>
                </p:cNvSpPr>
                <p:nvPr/>
              </p:nvSpPr>
              <p:spPr bwMode="auto">
                <a:xfrm>
                  <a:off x="8006195" y="2915742"/>
                  <a:ext cx="7688" cy="7688"/>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65" name="Oval 66"/>
                <p:cNvSpPr>
                  <a:spLocks noChangeArrowheads="1"/>
                </p:cNvSpPr>
                <p:nvPr/>
              </p:nvSpPr>
              <p:spPr bwMode="auto">
                <a:xfrm>
                  <a:off x="8282972" y="2915742"/>
                  <a:ext cx="9611" cy="7688"/>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nvGrpSpPr>
              <p:cNvPr id="107" name="Group 106"/>
              <p:cNvGrpSpPr/>
              <p:nvPr/>
            </p:nvGrpSpPr>
            <p:grpSpPr>
              <a:xfrm>
                <a:off x="6608856" y="2527486"/>
                <a:ext cx="1037913" cy="2879247"/>
                <a:chOff x="6608856" y="2527486"/>
                <a:chExt cx="1037913" cy="2879247"/>
              </a:xfrm>
            </p:grpSpPr>
            <p:sp>
              <p:nvSpPr>
                <p:cNvPr id="108" name="Freeform 67"/>
                <p:cNvSpPr>
                  <a:spLocks/>
                </p:cNvSpPr>
                <p:nvPr/>
              </p:nvSpPr>
              <p:spPr bwMode="auto">
                <a:xfrm>
                  <a:off x="7012489" y="3025299"/>
                  <a:ext cx="222959" cy="240257"/>
                </a:xfrm>
                <a:custGeom>
                  <a:avLst/>
                  <a:gdLst>
                    <a:gd name="T0" fmla="*/ 0 w 116"/>
                    <a:gd name="T1" fmla="*/ 11 h 125"/>
                    <a:gd name="T2" fmla="*/ 12 w 116"/>
                    <a:gd name="T3" fmla="*/ 0 h 125"/>
                    <a:gd name="T4" fmla="*/ 105 w 116"/>
                    <a:gd name="T5" fmla="*/ 0 h 125"/>
                    <a:gd name="T6" fmla="*/ 116 w 116"/>
                    <a:gd name="T7" fmla="*/ 11 h 125"/>
                    <a:gd name="T8" fmla="*/ 86 w 116"/>
                    <a:gd name="T9" fmla="*/ 116 h 125"/>
                    <a:gd name="T10" fmla="*/ 43 w 116"/>
                    <a:gd name="T11" fmla="*/ 125 h 125"/>
                    <a:gd name="T12" fmla="*/ 8 w 116"/>
                    <a:gd name="T13" fmla="*/ 75 h 125"/>
                    <a:gd name="T14" fmla="*/ 0 w 116"/>
                    <a:gd name="T15" fmla="*/ 11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25">
                      <a:moveTo>
                        <a:pt x="0" y="11"/>
                      </a:moveTo>
                      <a:lnTo>
                        <a:pt x="12" y="0"/>
                      </a:lnTo>
                      <a:lnTo>
                        <a:pt x="105" y="0"/>
                      </a:lnTo>
                      <a:lnTo>
                        <a:pt x="116" y="11"/>
                      </a:lnTo>
                      <a:lnTo>
                        <a:pt x="86" y="116"/>
                      </a:lnTo>
                      <a:lnTo>
                        <a:pt x="43" y="125"/>
                      </a:lnTo>
                      <a:lnTo>
                        <a:pt x="8" y="75"/>
                      </a:lnTo>
                      <a:lnTo>
                        <a:pt x="0"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09" name="Freeform 68"/>
                <p:cNvSpPr>
                  <a:spLocks/>
                </p:cNvSpPr>
                <p:nvPr/>
              </p:nvSpPr>
              <p:spPr bwMode="auto">
                <a:xfrm>
                  <a:off x="6885633" y="5291409"/>
                  <a:ext cx="222959" cy="115324"/>
                </a:xfrm>
                <a:custGeom>
                  <a:avLst/>
                  <a:gdLst>
                    <a:gd name="T0" fmla="*/ 24 w 49"/>
                    <a:gd name="T1" fmla="*/ 0 h 25"/>
                    <a:gd name="T2" fmla="*/ 0 w 49"/>
                    <a:gd name="T3" fmla="*/ 25 h 25"/>
                    <a:gd name="T4" fmla="*/ 49 w 49"/>
                    <a:gd name="T5" fmla="*/ 25 h 25"/>
                    <a:gd name="T6" fmla="*/ 24 w 49"/>
                    <a:gd name="T7" fmla="*/ 0 h 25"/>
                  </a:gdLst>
                  <a:ahLst/>
                  <a:cxnLst>
                    <a:cxn ang="0">
                      <a:pos x="T0" y="T1"/>
                    </a:cxn>
                    <a:cxn ang="0">
                      <a:pos x="T2" y="T3"/>
                    </a:cxn>
                    <a:cxn ang="0">
                      <a:pos x="T4" y="T5"/>
                    </a:cxn>
                    <a:cxn ang="0">
                      <a:pos x="T6" y="T7"/>
                    </a:cxn>
                  </a:cxnLst>
                  <a:rect l="0" t="0" r="r" b="b"/>
                  <a:pathLst>
                    <a:path w="49" h="25">
                      <a:moveTo>
                        <a:pt x="24" y="0"/>
                      </a:moveTo>
                      <a:cubicBezTo>
                        <a:pt x="11" y="0"/>
                        <a:pt x="0" y="11"/>
                        <a:pt x="0" y="25"/>
                      </a:cubicBezTo>
                      <a:cubicBezTo>
                        <a:pt x="49" y="25"/>
                        <a:pt x="49" y="25"/>
                        <a:pt x="49" y="25"/>
                      </a:cubicBezTo>
                      <a:cubicBezTo>
                        <a:pt x="49" y="11"/>
                        <a:pt x="38" y="0"/>
                        <a:pt x="2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0" name="Freeform 69"/>
                <p:cNvSpPr>
                  <a:spLocks/>
                </p:cNvSpPr>
                <p:nvPr/>
              </p:nvSpPr>
              <p:spPr bwMode="auto">
                <a:xfrm>
                  <a:off x="6854880" y="4086277"/>
                  <a:ext cx="286388" cy="1228196"/>
                </a:xfrm>
                <a:custGeom>
                  <a:avLst/>
                  <a:gdLst>
                    <a:gd name="T0" fmla="*/ 116 w 149"/>
                    <a:gd name="T1" fmla="*/ 639 h 639"/>
                    <a:gd name="T2" fmla="*/ 28 w 149"/>
                    <a:gd name="T3" fmla="*/ 639 h 639"/>
                    <a:gd name="T4" fmla="*/ 0 w 149"/>
                    <a:gd name="T5" fmla="*/ 0 h 639"/>
                    <a:gd name="T6" fmla="*/ 149 w 149"/>
                    <a:gd name="T7" fmla="*/ 0 h 639"/>
                    <a:gd name="T8" fmla="*/ 116 w 149"/>
                    <a:gd name="T9" fmla="*/ 639 h 639"/>
                  </a:gdLst>
                  <a:ahLst/>
                  <a:cxnLst>
                    <a:cxn ang="0">
                      <a:pos x="T0" y="T1"/>
                    </a:cxn>
                    <a:cxn ang="0">
                      <a:pos x="T2" y="T3"/>
                    </a:cxn>
                    <a:cxn ang="0">
                      <a:pos x="T4" y="T5"/>
                    </a:cxn>
                    <a:cxn ang="0">
                      <a:pos x="T6" y="T7"/>
                    </a:cxn>
                    <a:cxn ang="0">
                      <a:pos x="T8" y="T9"/>
                    </a:cxn>
                  </a:cxnLst>
                  <a:rect l="0" t="0" r="r" b="b"/>
                  <a:pathLst>
                    <a:path w="149" h="639">
                      <a:moveTo>
                        <a:pt x="116" y="639"/>
                      </a:moveTo>
                      <a:lnTo>
                        <a:pt x="28" y="639"/>
                      </a:lnTo>
                      <a:lnTo>
                        <a:pt x="0" y="0"/>
                      </a:lnTo>
                      <a:lnTo>
                        <a:pt x="149" y="0"/>
                      </a:lnTo>
                      <a:lnTo>
                        <a:pt x="116" y="639"/>
                      </a:lnTo>
                      <a:close/>
                    </a:path>
                  </a:pathLst>
                </a:custGeom>
                <a:solidFill>
                  <a:srgbClr val="AB00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1" name="Freeform 70"/>
                <p:cNvSpPr>
                  <a:spLocks/>
                </p:cNvSpPr>
                <p:nvPr/>
              </p:nvSpPr>
              <p:spPr bwMode="auto">
                <a:xfrm>
                  <a:off x="7104748" y="4086277"/>
                  <a:ext cx="286388" cy="1228196"/>
                </a:xfrm>
                <a:custGeom>
                  <a:avLst/>
                  <a:gdLst>
                    <a:gd name="T0" fmla="*/ 121 w 149"/>
                    <a:gd name="T1" fmla="*/ 639 h 639"/>
                    <a:gd name="T2" fmla="*/ 33 w 149"/>
                    <a:gd name="T3" fmla="*/ 639 h 639"/>
                    <a:gd name="T4" fmla="*/ 0 w 149"/>
                    <a:gd name="T5" fmla="*/ 0 h 639"/>
                    <a:gd name="T6" fmla="*/ 149 w 149"/>
                    <a:gd name="T7" fmla="*/ 0 h 639"/>
                    <a:gd name="T8" fmla="*/ 121 w 149"/>
                    <a:gd name="T9" fmla="*/ 639 h 639"/>
                  </a:gdLst>
                  <a:ahLst/>
                  <a:cxnLst>
                    <a:cxn ang="0">
                      <a:pos x="T0" y="T1"/>
                    </a:cxn>
                    <a:cxn ang="0">
                      <a:pos x="T2" y="T3"/>
                    </a:cxn>
                    <a:cxn ang="0">
                      <a:pos x="T4" y="T5"/>
                    </a:cxn>
                    <a:cxn ang="0">
                      <a:pos x="T6" y="T7"/>
                    </a:cxn>
                    <a:cxn ang="0">
                      <a:pos x="T8" y="T9"/>
                    </a:cxn>
                  </a:cxnLst>
                  <a:rect l="0" t="0" r="r" b="b"/>
                  <a:pathLst>
                    <a:path w="149" h="639">
                      <a:moveTo>
                        <a:pt x="121" y="639"/>
                      </a:moveTo>
                      <a:lnTo>
                        <a:pt x="33" y="639"/>
                      </a:lnTo>
                      <a:lnTo>
                        <a:pt x="0" y="0"/>
                      </a:lnTo>
                      <a:lnTo>
                        <a:pt x="149" y="0"/>
                      </a:lnTo>
                      <a:lnTo>
                        <a:pt x="121" y="639"/>
                      </a:lnTo>
                      <a:close/>
                    </a:path>
                  </a:pathLst>
                </a:custGeom>
                <a:solidFill>
                  <a:srgbClr val="AB00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2" name="Freeform 71"/>
                <p:cNvSpPr>
                  <a:spLocks/>
                </p:cNvSpPr>
                <p:nvPr/>
              </p:nvSpPr>
              <p:spPr bwMode="auto">
                <a:xfrm>
                  <a:off x="7145112" y="5291409"/>
                  <a:ext cx="222959" cy="115324"/>
                </a:xfrm>
                <a:custGeom>
                  <a:avLst/>
                  <a:gdLst>
                    <a:gd name="T0" fmla="*/ 25 w 49"/>
                    <a:gd name="T1" fmla="*/ 0 h 25"/>
                    <a:gd name="T2" fmla="*/ 0 w 49"/>
                    <a:gd name="T3" fmla="*/ 25 h 25"/>
                    <a:gd name="T4" fmla="*/ 49 w 49"/>
                    <a:gd name="T5" fmla="*/ 25 h 25"/>
                    <a:gd name="T6" fmla="*/ 25 w 49"/>
                    <a:gd name="T7" fmla="*/ 0 h 25"/>
                  </a:gdLst>
                  <a:ahLst/>
                  <a:cxnLst>
                    <a:cxn ang="0">
                      <a:pos x="T0" y="T1"/>
                    </a:cxn>
                    <a:cxn ang="0">
                      <a:pos x="T2" y="T3"/>
                    </a:cxn>
                    <a:cxn ang="0">
                      <a:pos x="T4" y="T5"/>
                    </a:cxn>
                    <a:cxn ang="0">
                      <a:pos x="T6" y="T7"/>
                    </a:cxn>
                  </a:cxnLst>
                  <a:rect l="0" t="0" r="r" b="b"/>
                  <a:pathLst>
                    <a:path w="49" h="25">
                      <a:moveTo>
                        <a:pt x="25" y="0"/>
                      </a:moveTo>
                      <a:cubicBezTo>
                        <a:pt x="11" y="0"/>
                        <a:pt x="0" y="11"/>
                        <a:pt x="0" y="25"/>
                      </a:cubicBezTo>
                      <a:cubicBezTo>
                        <a:pt x="49" y="25"/>
                        <a:pt x="49" y="25"/>
                        <a:pt x="49" y="25"/>
                      </a:cubicBezTo>
                      <a:cubicBezTo>
                        <a:pt x="49" y="11"/>
                        <a:pt x="38" y="0"/>
                        <a:pt x="2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3" name="Freeform 72"/>
                <p:cNvSpPr>
                  <a:spLocks/>
                </p:cNvSpPr>
                <p:nvPr/>
              </p:nvSpPr>
              <p:spPr bwMode="auto">
                <a:xfrm>
                  <a:off x="6991347" y="3052208"/>
                  <a:ext cx="276777" cy="751525"/>
                </a:xfrm>
                <a:custGeom>
                  <a:avLst/>
                  <a:gdLst>
                    <a:gd name="T0" fmla="*/ 144 w 144"/>
                    <a:gd name="T1" fmla="*/ 83 h 391"/>
                    <a:gd name="T2" fmla="*/ 73 w 144"/>
                    <a:gd name="T3" fmla="*/ 0 h 391"/>
                    <a:gd name="T4" fmla="*/ 0 w 144"/>
                    <a:gd name="T5" fmla="*/ 76 h 391"/>
                    <a:gd name="T6" fmla="*/ 54 w 144"/>
                    <a:gd name="T7" fmla="*/ 360 h 391"/>
                    <a:gd name="T8" fmla="*/ 68 w 144"/>
                    <a:gd name="T9" fmla="*/ 391 h 391"/>
                    <a:gd name="T10" fmla="*/ 85 w 144"/>
                    <a:gd name="T11" fmla="*/ 360 h 391"/>
                    <a:gd name="T12" fmla="*/ 144 w 144"/>
                    <a:gd name="T13" fmla="*/ 83 h 391"/>
                  </a:gdLst>
                  <a:ahLst/>
                  <a:cxnLst>
                    <a:cxn ang="0">
                      <a:pos x="T0" y="T1"/>
                    </a:cxn>
                    <a:cxn ang="0">
                      <a:pos x="T2" y="T3"/>
                    </a:cxn>
                    <a:cxn ang="0">
                      <a:pos x="T4" y="T5"/>
                    </a:cxn>
                    <a:cxn ang="0">
                      <a:pos x="T6" y="T7"/>
                    </a:cxn>
                    <a:cxn ang="0">
                      <a:pos x="T8" y="T9"/>
                    </a:cxn>
                    <a:cxn ang="0">
                      <a:pos x="T10" y="T11"/>
                    </a:cxn>
                    <a:cxn ang="0">
                      <a:pos x="T12" y="T13"/>
                    </a:cxn>
                  </a:cxnLst>
                  <a:rect l="0" t="0" r="r" b="b"/>
                  <a:pathLst>
                    <a:path w="144" h="391">
                      <a:moveTo>
                        <a:pt x="144" y="83"/>
                      </a:moveTo>
                      <a:lnTo>
                        <a:pt x="73" y="0"/>
                      </a:lnTo>
                      <a:lnTo>
                        <a:pt x="0" y="76"/>
                      </a:lnTo>
                      <a:lnTo>
                        <a:pt x="54" y="360"/>
                      </a:lnTo>
                      <a:lnTo>
                        <a:pt x="68" y="391"/>
                      </a:lnTo>
                      <a:lnTo>
                        <a:pt x="85" y="360"/>
                      </a:lnTo>
                      <a:lnTo>
                        <a:pt x="144" y="8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4" name="Freeform 73"/>
                <p:cNvSpPr>
                  <a:spLocks/>
                </p:cNvSpPr>
                <p:nvPr/>
              </p:nvSpPr>
              <p:spPr bwMode="auto">
                <a:xfrm>
                  <a:off x="6962516" y="2546707"/>
                  <a:ext cx="351738" cy="442074"/>
                </a:xfrm>
                <a:custGeom>
                  <a:avLst/>
                  <a:gdLst>
                    <a:gd name="T0" fmla="*/ 68 w 77"/>
                    <a:gd name="T1" fmla="*/ 59 h 97"/>
                    <a:gd name="T2" fmla="*/ 28 w 77"/>
                    <a:gd name="T3" fmla="*/ 90 h 97"/>
                    <a:gd name="T4" fmla="*/ 8 w 77"/>
                    <a:gd name="T5" fmla="*/ 39 h 97"/>
                    <a:gd name="T6" fmla="*/ 57 w 77"/>
                    <a:gd name="T7" fmla="*/ 6 h 97"/>
                    <a:gd name="T8" fmla="*/ 68 w 77"/>
                    <a:gd name="T9" fmla="*/ 59 h 97"/>
                  </a:gdLst>
                  <a:ahLst/>
                  <a:cxnLst>
                    <a:cxn ang="0">
                      <a:pos x="T0" y="T1"/>
                    </a:cxn>
                    <a:cxn ang="0">
                      <a:pos x="T2" y="T3"/>
                    </a:cxn>
                    <a:cxn ang="0">
                      <a:pos x="T4" y="T5"/>
                    </a:cxn>
                    <a:cxn ang="0">
                      <a:pos x="T6" y="T7"/>
                    </a:cxn>
                    <a:cxn ang="0">
                      <a:pos x="T8" y="T9"/>
                    </a:cxn>
                  </a:cxnLst>
                  <a:rect l="0" t="0" r="r" b="b"/>
                  <a:pathLst>
                    <a:path w="77" h="97">
                      <a:moveTo>
                        <a:pt x="68" y="59"/>
                      </a:moveTo>
                      <a:cubicBezTo>
                        <a:pt x="54" y="97"/>
                        <a:pt x="46" y="96"/>
                        <a:pt x="28" y="90"/>
                      </a:cubicBezTo>
                      <a:cubicBezTo>
                        <a:pt x="9" y="84"/>
                        <a:pt x="0" y="61"/>
                        <a:pt x="8" y="39"/>
                      </a:cubicBezTo>
                      <a:cubicBezTo>
                        <a:pt x="15" y="17"/>
                        <a:pt x="39" y="0"/>
                        <a:pt x="57" y="6"/>
                      </a:cubicBezTo>
                      <a:cubicBezTo>
                        <a:pt x="76" y="12"/>
                        <a:pt x="77" y="37"/>
                        <a:pt x="68" y="5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5" name="Freeform 74"/>
                <p:cNvSpPr>
                  <a:spLocks/>
                </p:cNvSpPr>
                <p:nvPr/>
              </p:nvSpPr>
              <p:spPr bwMode="auto">
                <a:xfrm>
                  <a:off x="6899088" y="2527486"/>
                  <a:ext cx="392100" cy="482437"/>
                </a:xfrm>
                <a:custGeom>
                  <a:avLst/>
                  <a:gdLst>
                    <a:gd name="T0" fmla="*/ 74 w 86"/>
                    <a:gd name="T1" fmla="*/ 22 h 106"/>
                    <a:gd name="T2" fmla="*/ 62 w 86"/>
                    <a:gd name="T3" fmla="*/ 90 h 106"/>
                    <a:gd name="T4" fmla="*/ 25 w 86"/>
                    <a:gd name="T5" fmla="*/ 87 h 106"/>
                    <a:gd name="T6" fmla="*/ 25 w 86"/>
                    <a:gd name="T7" fmla="*/ 8 h 106"/>
                    <a:gd name="T8" fmla="*/ 74 w 86"/>
                    <a:gd name="T9" fmla="*/ 22 h 106"/>
                  </a:gdLst>
                  <a:ahLst/>
                  <a:cxnLst>
                    <a:cxn ang="0">
                      <a:pos x="T0" y="T1"/>
                    </a:cxn>
                    <a:cxn ang="0">
                      <a:pos x="T2" y="T3"/>
                    </a:cxn>
                    <a:cxn ang="0">
                      <a:pos x="T4" y="T5"/>
                    </a:cxn>
                    <a:cxn ang="0">
                      <a:pos x="T6" y="T7"/>
                    </a:cxn>
                    <a:cxn ang="0">
                      <a:pos x="T8" y="T9"/>
                    </a:cxn>
                  </a:cxnLst>
                  <a:rect l="0" t="0" r="r" b="b"/>
                  <a:pathLst>
                    <a:path w="86" h="106">
                      <a:moveTo>
                        <a:pt x="74" y="22"/>
                      </a:moveTo>
                      <a:cubicBezTo>
                        <a:pt x="86" y="41"/>
                        <a:pt x="77" y="81"/>
                        <a:pt x="62" y="90"/>
                      </a:cubicBezTo>
                      <a:cubicBezTo>
                        <a:pt x="48" y="98"/>
                        <a:pt x="36" y="106"/>
                        <a:pt x="25" y="87"/>
                      </a:cubicBezTo>
                      <a:cubicBezTo>
                        <a:pt x="14" y="68"/>
                        <a:pt x="0" y="19"/>
                        <a:pt x="25" y="8"/>
                      </a:cubicBezTo>
                      <a:cubicBezTo>
                        <a:pt x="40" y="0"/>
                        <a:pt x="63" y="3"/>
                        <a:pt x="74" y="2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6" name="Freeform 75"/>
                <p:cNvSpPr>
                  <a:spLocks/>
                </p:cNvSpPr>
                <p:nvPr/>
              </p:nvSpPr>
              <p:spPr bwMode="auto">
                <a:xfrm>
                  <a:off x="7035554" y="2883067"/>
                  <a:ext cx="178752" cy="215271"/>
                </a:xfrm>
                <a:custGeom>
                  <a:avLst/>
                  <a:gdLst>
                    <a:gd name="T0" fmla="*/ 93 w 93"/>
                    <a:gd name="T1" fmla="*/ 74 h 112"/>
                    <a:gd name="T2" fmla="*/ 45 w 93"/>
                    <a:gd name="T3" fmla="*/ 112 h 112"/>
                    <a:gd name="T4" fmla="*/ 0 w 93"/>
                    <a:gd name="T5" fmla="*/ 74 h 112"/>
                    <a:gd name="T6" fmla="*/ 0 w 93"/>
                    <a:gd name="T7" fmla="*/ 0 h 112"/>
                    <a:gd name="T8" fmla="*/ 93 w 93"/>
                    <a:gd name="T9" fmla="*/ 0 h 112"/>
                    <a:gd name="T10" fmla="*/ 93 w 93"/>
                    <a:gd name="T11" fmla="*/ 74 h 112"/>
                  </a:gdLst>
                  <a:ahLst/>
                  <a:cxnLst>
                    <a:cxn ang="0">
                      <a:pos x="T0" y="T1"/>
                    </a:cxn>
                    <a:cxn ang="0">
                      <a:pos x="T2" y="T3"/>
                    </a:cxn>
                    <a:cxn ang="0">
                      <a:pos x="T4" y="T5"/>
                    </a:cxn>
                    <a:cxn ang="0">
                      <a:pos x="T6" y="T7"/>
                    </a:cxn>
                    <a:cxn ang="0">
                      <a:pos x="T8" y="T9"/>
                    </a:cxn>
                    <a:cxn ang="0">
                      <a:pos x="T10" y="T11"/>
                    </a:cxn>
                  </a:cxnLst>
                  <a:rect l="0" t="0" r="r" b="b"/>
                  <a:pathLst>
                    <a:path w="93" h="112">
                      <a:moveTo>
                        <a:pt x="93" y="74"/>
                      </a:moveTo>
                      <a:lnTo>
                        <a:pt x="45" y="112"/>
                      </a:lnTo>
                      <a:lnTo>
                        <a:pt x="0" y="74"/>
                      </a:lnTo>
                      <a:lnTo>
                        <a:pt x="0" y="0"/>
                      </a:lnTo>
                      <a:lnTo>
                        <a:pt x="93" y="0"/>
                      </a:lnTo>
                      <a:lnTo>
                        <a:pt x="93" y="7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7" name="Freeform 76"/>
                <p:cNvSpPr>
                  <a:spLocks/>
                </p:cNvSpPr>
                <p:nvPr/>
              </p:nvSpPr>
              <p:spPr bwMode="auto">
                <a:xfrm>
                  <a:off x="6608856" y="3079117"/>
                  <a:ext cx="382491" cy="991783"/>
                </a:xfrm>
                <a:custGeom>
                  <a:avLst/>
                  <a:gdLst>
                    <a:gd name="T0" fmla="*/ 84 w 84"/>
                    <a:gd name="T1" fmla="*/ 9 h 218"/>
                    <a:gd name="T2" fmla="*/ 51 w 84"/>
                    <a:gd name="T3" fmla="*/ 0 h 218"/>
                    <a:gd name="T4" fmla="*/ 0 w 84"/>
                    <a:gd name="T5" fmla="*/ 218 h 218"/>
                    <a:gd name="T6" fmla="*/ 34 w 84"/>
                    <a:gd name="T7" fmla="*/ 218 h 218"/>
                    <a:gd name="T8" fmla="*/ 84 w 84"/>
                    <a:gd name="T9" fmla="*/ 9 h 218"/>
                  </a:gdLst>
                  <a:ahLst/>
                  <a:cxnLst>
                    <a:cxn ang="0">
                      <a:pos x="T0" y="T1"/>
                    </a:cxn>
                    <a:cxn ang="0">
                      <a:pos x="T2" y="T3"/>
                    </a:cxn>
                    <a:cxn ang="0">
                      <a:pos x="T4" y="T5"/>
                    </a:cxn>
                    <a:cxn ang="0">
                      <a:pos x="T6" y="T7"/>
                    </a:cxn>
                    <a:cxn ang="0">
                      <a:pos x="T8" y="T9"/>
                    </a:cxn>
                  </a:cxnLst>
                  <a:rect l="0" t="0" r="r" b="b"/>
                  <a:pathLst>
                    <a:path w="84" h="218">
                      <a:moveTo>
                        <a:pt x="84" y="9"/>
                      </a:moveTo>
                      <a:cubicBezTo>
                        <a:pt x="73" y="6"/>
                        <a:pt x="62" y="3"/>
                        <a:pt x="51" y="0"/>
                      </a:cubicBezTo>
                      <a:cubicBezTo>
                        <a:pt x="18" y="71"/>
                        <a:pt x="7" y="141"/>
                        <a:pt x="0" y="218"/>
                      </a:cubicBezTo>
                      <a:cubicBezTo>
                        <a:pt x="34" y="218"/>
                        <a:pt x="34" y="218"/>
                        <a:pt x="34" y="218"/>
                      </a:cubicBezTo>
                      <a:cubicBezTo>
                        <a:pt x="42" y="144"/>
                        <a:pt x="53" y="77"/>
                        <a:pt x="84" y="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8" name="Freeform 77"/>
                <p:cNvSpPr>
                  <a:spLocks/>
                </p:cNvSpPr>
                <p:nvPr/>
              </p:nvSpPr>
              <p:spPr bwMode="auto">
                <a:xfrm>
                  <a:off x="7258513" y="3079117"/>
                  <a:ext cx="388256" cy="991783"/>
                </a:xfrm>
                <a:custGeom>
                  <a:avLst/>
                  <a:gdLst>
                    <a:gd name="T0" fmla="*/ 0 w 85"/>
                    <a:gd name="T1" fmla="*/ 9 h 218"/>
                    <a:gd name="T2" fmla="*/ 34 w 85"/>
                    <a:gd name="T3" fmla="*/ 0 h 218"/>
                    <a:gd name="T4" fmla="*/ 85 w 85"/>
                    <a:gd name="T5" fmla="*/ 218 h 218"/>
                    <a:gd name="T6" fmla="*/ 50 w 85"/>
                    <a:gd name="T7" fmla="*/ 218 h 218"/>
                    <a:gd name="T8" fmla="*/ 0 w 85"/>
                    <a:gd name="T9" fmla="*/ 9 h 218"/>
                  </a:gdLst>
                  <a:ahLst/>
                  <a:cxnLst>
                    <a:cxn ang="0">
                      <a:pos x="T0" y="T1"/>
                    </a:cxn>
                    <a:cxn ang="0">
                      <a:pos x="T2" y="T3"/>
                    </a:cxn>
                    <a:cxn ang="0">
                      <a:pos x="T4" y="T5"/>
                    </a:cxn>
                    <a:cxn ang="0">
                      <a:pos x="T6" y="T7"/>
                    </a:cxn>
                    <a:cxn ang="0">
                      <a:pos x="T8" y="T9"/>
                    </a:cxn>
                  </a:cxnLst>
                  <a:rect l="0" t="0" r="r" b="b"/>
                  <a:pathLst>
                    <a:path w="85" h="218">
                      <a:moveTo>
                        <a:pt x="0" y="9"/>
                      </a:moveTo>
                      <a:cubicBezTo>
                        <a:pt x="12" y="6"/>
                        <a:pt x="23" y="3"/>
                        <a:pt x="34" y="0"/>
                      </a:cubicBezTo>
                      <a:cubicBezTo>
                        <a:pt x="67" y="71"/>
                        <a:pt x="77" y="141"/>
                        <a:pt x="85" y="218"/>
                      </a:cubicBezTo>
                      <a:cubicBezTo>
                        <a:pt x="50" y="218"/>
                        <a:pt x="50" y="218"/>
                        <a:pt x="50" y="218"/>
                      </a:cubicBezTo>
                      <a:cubicBezTo>
                        <a:pt x="42" y="144"/>
                        <a:pt x="32" y="77"/>
                        <a:pt x="0" y="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9" name="Freeform 78"/>
                <p:cNvSpPr>
                  <a:spLocks/>
                </p:cNvSpPr>
                <p:nvPr/>
              </p:nvSpPr>
              <p:spPr bwMode="auto">
                <a:xfrm>
                  <a:off x="6626156" y="4070900"/>
                  <a:ext cx="119168" cy="128777"/>
                </a:xfrm>
                <a:custGeom>
                  <a:avLst/>
                  <a:gdLst>
                    <a:gd name="T0" fmla="*/ 0 w 26"/>
                    <a:gd name="T1" fmla="*/ 0 h 28"/>
                    <a:gd name="T2" fmla="*/ 0 w 26"/>
                    <a:gd name="T3" fmla="*/ 16 h 28"/>
                    <a:gd name="T4" fmla="*/ 13 w 26"/>
                    <a:gd name="T5" fmla="*/ 28 h 28"/>
                    <a:gd name="T6" fmla="*/ 26 w 26"/>
                    <a:gd name="T7" fmla="*/ 16 h 28"/>
                    <a:gd name="T8" fmla="*/ 26 w 26"/>
                    <a:gd name="T9" fmla="*/ 0 h 28"/>
                    <a:gd name="T10" fmla="*/ 0 w 26"/>
                    <a:gd name="T11" fmla="*/ 0 h 28"/>
                  </a:gdLst>
                  <a:ahLst/>
                  <a:cxnLst>
                    <a:cxn ang="0">
                      <a:pos x="T0" y="T1"/>
                    </a:cxn>
                    <a:cxn ang="0">
                      <a:pos x="T2" y="T3"/>
                    </a:cxn>
                    <a:cxn ang="0">
                      <a:pos x="T4" y="T5"/>
                    </a:cxn>
                    <a:cxn ang="0">
                      <a:pos x="T6" y="T7"/>
                    </a:cxn>
                    <a:cxn ang="0">
                      <a:pos x="T8" y="T9"/>
                    </a:cxn>
                    <a:cxn ang="0">
                      <a:pos x="T10" y="T11"/>
                    </a:cxn>
                  </a:cxnLst>
                  <a:rect l="0" t="0" r="r" b="b"/>
                  <a:pathLst>
                    <a:path w="26" h="28">
                      <a:moveTo>
                        <a:pt x="0" y="0"/>
                      </a:moveTo>
                      <a:cubicBezTo>
                        <a:pt x="0" y="16"/>
                        <a:pt x="0" y="16"/>
                        <a:pt x="0" y="16"/>
                      </a:cubicBezTo>
                      <a:cubicBezTo>
                        <a:pt x="0" y="23"/>
                        <a:pt x="6" y="28"/>
                        <a:pt x="13" y="28"/>
                      </a:cubicBezTo>
                      <a:cubicBezTo>
                        <a:pt x="20" y="28"/>
                        <a:pt x="26" y="23"/>
                        <a:pt x="26" y="16"/>
                      </a:cubicBezTo>
                      <a:cubicBezTo>
                        <a:pt x="26" y="0"/>
                        <a:pt x="26" y="0"/>
                        <a:pt x="2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0" name="Freeform 79"/>
                <p:cNvSpPr>
                  <a:spLocks/>
                </p:cNvSpPr>
                <p:nvPr/>
              </p:nvSpPr>
              <p:spPr bwMode="auto">
                <a:xfrm>
                  <a:off x="7510303" y="4070900"/>
                  <a:ext cx="113402" cy="128777"/>
                </a:xfrm>
                <a:custGeom>
                  <a:avLst/>
                  <a:gdLst>
                    <a:gd name="T0" fmla="*/ 0 w 25"/>
                    <a:gd name="T1" fmla="*/ 0 h 28"/>
                    <a:gd name="T2" fmla="*/ 0 w 25"/>
                    <a:gd name="T3" fmla="*/ 16 h 28"/>
                    <a:gd name="T4" fmla="*/ 12 w 25"/>
                    <a:gd name="T5" fmla="*/ 28 h 28"/>
                    <a:gd name="T6" fmla="*/ 25 w 25"/>
                    <a:gd name="T7" fmla="*/ 16 h 28"/>
                    <a:gd name="T8" fmla="*/ 25 w 25"/>
                    <a:gd name="T9" fmla="*/ 0 h 28"/>
                    <a:gd name="T10" fmla="*/ 0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0" y="0"/>
                      </a:moveTo>
                      <a:cubicBezTo>
                        <a:pt x="0" y="16"/>
                        <a:pt x="0" y="16"/>
                        <a:pt x="0" y="16"/>
                      </a:cubicBezTo>
                      <a:cubicBezTo>
                        <a:pt x="0" y="23"/>
                        <a:pt x="5" y="28"/>
                        <a:pt x="12" y="28"/>
                      </a:cubicBezTo>
                      <a:cubicBezTo>
                        <a:pt x="19" y="28"/>
                        <a:pt x="25" y="23"/>
                        <a:pt x="25" y="16"/>
                      </a:cubicBezTo>
                      <a:cubicBezTo>
                        <a:pt x="25" y="0"/>
                        <a:pt x="25" y="0"/>
                        <a:pt x="25"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1" name="Freeform 80"/>
                <p:cNvSpPr>
                  <a:spLocks/>
                </p:cNvSpPr>
                <p:nvPr/>
              </p:nvSpPr>
              <p:spPr bwMode="auto">
                <a:xfrm>
                  <a:off x="6835660" y="3046442"/>
                  <a:ext cx="578541" cy="1007160"/>
                </a:xfrm>
                <a:custGeom>
                  <a:avLst/>
                  <a:gdLst>
                    <a:gd name="T0" fmla="*/ 208 w 301"/>
                    <a:gd name="T1" fmla="*/ 0 h 524"/>
                    <a:gd name="T2" fmla="*/ 149 w 301"/>
                    <a:gd name="T3" fmla="*/ 100 h 524"/>
                    <a:gd name="T4" fmla="*/ 92 w 301"/>
                    <a:gd name="T5" fmla="*/ 0 h 524"/>
                    <a:gd name="T6" fmla="*/ 0 w 301"/>
                    <a:gd name="T7" fmla="*/ 17 h 524"/>
                    <a:gd name="T8" fmla="*/ 5 w 301"/>
                    <a:gd name="T9" fmla="*/ 524 h 524"/>
                    <a:gd name="T10" fmla="*/ 294 w 301"/>
                    <a:gd name="T11" fmla="*/ 524 h 524"/>
                    <a:gd name="T12" fmla="*/ 301 w 301"/>
                    <a:gd name="T13" fmla="*/ 17 h 524"/>
                    <a:gd name="T14" fmla="*/ 208 w 301"/>
                    <a:gd name="T15" fmla="*/ 0 h 5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524">
                      <a:moveTo>
                        <a:pt x="208" y="0"/>
                      </a:moveTo>
                      <a:lnTo>
                        <a:pt x="149" y="100"/>
                      </a:lnTo>
                      <a:lnTo>
                        <a:pt x="92" y="0"/>
                      </a:lnTo>
                      <a:lnTo>
                        <a:pt x="0" y="17"/>
                      </a:lnTo>
                      <a:lnTo>
                        <a:pt x="5" y="524"/>
                      </a:lnTo>
                      <a:lnTo>
                        <a:pt x="294" y="524"/>
                      </a:lnTo>
                      <a:lnTo>
                        <a:pt x="301" y="17"/>
                      </a:lnTo>
                      <a:lnTo>
                        <a:pt x="208"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2" name="Freeform 81"/>
                <p:cNvSpPr>
                  <a:spLocks/>
                </p:cNvSpPr>
                <p:nvPr/>
              </p:nvSpPr>
              <p:spPr bwMode="auto">
                <a:xfrm>
                  <a:off x="7268124" y="2700471"/>
                  <a:ext cx="3844" cy="5766"/>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0"/>
                        <a:pt x="0" y="0"/>
                        <a:pt x="1"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3" name="Freeform 82"/>
                <p:cNvSpPr>
                  <a:spLocks/>
                </p:cNvSpPr>
                <p:nvPr/>
              </p:nvSpPr>
              <p:spPr bwMode="auto">
                <a:xfrm>
                  <a:off x="7268124" y="269662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4" name="Freeform 83"/>
                <p:cNvSpPr>
                  <a:spLocks/>
                </p:cNvSpPr>
                <p:nvPr/>
              </p:nvSpPr>
              <p:spPr bwMode="auto">
                <a:xfrm>
                  <a:off x="7258513" y="2683172"/>
                  <a:ext cx="5767"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5" name="Freeform 84"/>
                <p:cNvSpPr>
                  <a:spLocks/>
                </p:cNvSpPr>
                <p:nvPr/>
              </p:nvSpPr>
              <p:spPr bwMode="auto">
                <a:xfrm>
                  <a:off x="7264280" y="268701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6" name="Freeform 85"/>
                <p:cNvSpPr>
                  <a:spLocks/>
                </p:cNvSpPr>
                <p:nvPr/>
              </p:nvSpPr>
              <p:spPr bwMode="auto">
                <a:xfrm>
                  <a:off x="6977892" y="268317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7" name="Freeform 86"/>
                <p:cNvSpPr>
                  <a:spLocks/>
                </p:cNvSpPr>
                <p:nvPr/>
              </p:nvSpPr>
              <p:spPr bwMode="auto">
                <a:xfrm>
                  <a:off x="7271968" y="2706237"/>
                  <a:ext cx="0" cy="384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8" name="Freeform 87"/>
                <p:cNvSpPr>
                  <a:spLocks/>
                </p:cNvSpPr>
                <p:nvPr/>
              </p:nvSpPr>
              <p:spPr bwMode="auto">
                <a:xfrm>
                  <a:off x="7271968" y="2715848"/>
                  <a:ext cx="0" cy="384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29" name="Rectangle 88"/>
                <p:cNvSpPr>
                  <a:spLocks noChangeArrowheads="1"/>
                </p:cNvSpPr>
                <p:nvPr/>
              </p:nvSpPr>
              <p:spPr bwMode="auto">
                <a:xfrm>
                  <a:off x="7258513" y="2679328"/>
                  <a:ext cx="1923" cy="1921"/>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0" name="Freeform 89"/>
                <p:cNvSpPr>
                  <a:spLocks/>
                </p:cNvSpPr>
                <p:nvPr/>
              </p:nvSpPr>
              <p:spPr bwMode="auto">
                <a:xfrm>
                  <a:off x="6968282" y="2710081"/>
                  <a:ext cx="3844"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1" name="Freeform 90"/>
                <p:cNvSpPr>
                  <a:spLocks/>
                </p:cNvSpPr>
                <p:nvPr/>
              </p:nvSpPr>
              <p:spPr bwMode="auto">
                <a:xfrm>
                  <a:off x="6972126" y="269662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2" name="Freeform 91"/>
                <p:cNvSpPr>
                  <a:spLocks/>
                </p:cNvSpPr>
                <p:nvPr/>
              </p:nvSpPr>
              <p:spPr bwMode="auto">
                <a:xfrm>
                  <a:off x="6977892" y="269278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3" name="Freeform 92"/>
                <p:cNvSpPr>
                  <a:spLocks/>
                </p:cNvSpPr>
                <p:nvPr/>
              </p:nvSpPr>
              <p:spPr bwMode="auto">
                <a:xfrm>
                  <a:off x="6972126" y="2700471"/>
                  <a:ext cx="0" cy="5766"/>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4" name="Freeform 93"/>
                <p:cNvSpPr>
                  <a:spLocks/>
                </p:cNvSpPr>
                <p:nvPr/>
              </p:nvSpPr>
              <p:spPr bwMode="auto">
                <a:xfrm>
                  <a:off x="6945218" y="2663952"/>
                  <a:ext cx="355582" cy="319062"/>
                </a:xfrm>
                <a:custGeom>
                  <a:avLst/>
                  <a:gdLst>
                    <a:gd name="T0" fmla="*/ 74 w 78"/>
                    <a:gd name="T1" fmla="*/ 17 h 70"/>
                    <a:gd name="T2" fmla="*/ 72 w 78"/>
                    <a:gd name="T3" fmla="*/ 17 h 70"/>
                    <a:gd name="T4" fmla="*/ 72 w 78"/>
                    <a:gd name="T5" fmla="*/ 12 h 70"/>
                    <a:gd name="T6" fmla="*/ 72 w 78"/>
                    <a:gd name="T7" fmla="*/ 11 h 70"/>
                    <a:gd name="T8" fmla="*/ 72 w 78"/>
                    <a:gd name="T9" fmla="*/ 10 h 70"/>
                    <a:gd name="T10" fmla="*/ 72 w 78"/>
                    <a:gd name="T11" fmla="*/ 9 h 70"/>
                    <a:gd name="T12" fmla="*/ 72 w 78"/>
                    <a:gd name="T13" fmla="*/ 9 h 70"/>
                    <a:gd name="T14" fmla="*/ 71 w 78"/>
                    <a:gd name="T15" fmla="*/ 8 h 70"/>
                    <a:gd name="T16" fmla="*/ 71 w 78"/>
                    <a:gd name="T17" fmla="*/ 7 h 70"/>
                    <a:gd name="T18" fmla="*/ 71 w 78"/>
                    <a:gd name="T19" fmla="*/ 7 h 70"/>
                    <a:gd name="T20" fmla="*/ 70 w 78"/>
                    <a:gd name="T21" fmla="*/ 5 h 70"/>
                    <a:gd name="T22" fmla="*/ 70 w 78"/>
                    <a:gd name="T23" fmla="*/ 5 h 70"/>
                    <a:gd name="T24" fmla="*/ 70 w 78"/>
                    <a:gd name="T25" fmla="*/ 4 h 70"/>
                    <a:gd name="T26" fmla="*/ 69 w 78"/>
                    <a:gd name="T27" fmla="*/ 4 h 70"/>
                    <a:gd name="T28" fmla="*/ 69 w 78"/>
                    <a:gd name="T29" fmla="*/ 3 h 70"/>
                    <a:gd name="T30" fmla="*/ 69 w 78"/>
                    <a:gd name="T31" fmla="*/ 3 h 70"/>
                    <a:gd name="T32" fmla="*/ 63 w 78"/>
                    <a:gd name="T33" fmla="*/ 3 h 70"/>
                    <a:gd name="T34" fmla="*/ 52 w 78"/>
                    <a:gd name="T35" fmla="*/ 1 h 70"/>
                    <a:gd name="T36" fmla="*/ 32 w 78"/>
                    <a:gd name="T37" fmla="*/ 3 h 70"/>
                    <a:gd name="T38" fmla="*/ 10 w 78"/>
                    <a:gd name="T39" fmla="*/ 0 h 70"/>
                    <a:gd name="T40" fmla="*/ 7 w 78"/>
                    <a:gd name="T41" fmla="*/ 4 h 70"/>
                    <a:gd name="T42" fmla="*/ 7 w 78"/>
                    <a:gd name="T43" fmla="*/ 4 h 70"/>
                    <a:gd name="T44" fmla="*/ 7 w 78"/>
                    <a:gd name="T45" fmla="*/ 6 h 70"/>
                    <a:gd name="T46" fmla="*/ 7 w 78"/>
                    <a:gd name="T47" fmla="*/ 6 h 70"/>
                    <a:gd name="T48" fmla="*/ 6 w 78"/>
                    <a:gd name="T49" fmla="*/ 7 h 70"/>
                    <a:gd name="T50" fmla="*/ 6 w 78"/>
                    <a:gd name="T51" fmla="*/ 7 h 70"/>
                    <a:gd name="T52" fmla="*/ 6 w 78"/>
                    <a:gd name="T53" fmla="*/ 8 h 70"/>
                    <a:gd name="T54" fmla="*/ 6 w 78"/>
                    <a:gd name="T55" fmla="*/ 9 h 70"/>
                    <a:gd name="T56" fmla="*/ 6 w 78"/>
                    <a:gd name="T57" fmla="*/ 10 h 70"/>
                    <a:gd name="T58" fmla="*/ 5 w 78"/>
                    <a:gd name="T59" fmla="*/ 10 h 70"/>
                    <a:gd name="T60" fmla="*/ 5 w 78"/>
                    <a:gd name="T61" fmla="*/ 12 h 70"/>
                    <a:gd name="T62" fmla="*/ 5 w 78"/>
                    <a:gd name="T63" fmla="*/ 17 h 70"/>
                    <a:gd name="T64" fmla="*/ 4 w 78"/>
                    <a:gd name="T65" fmla="*/ 17 h 70"/>
                    <a:gd name="T66" fmla="*/ 0 w 78"/>
                    <a:gd name="T67" fmla="*/ 23 h 70"/>
                    <a:gd name="T68" fmla="*/ 0 w 78"/>
                    <a:gd name="T69" fmla="*/ 35 h 70"/>
                    <a:gd name="T70" fmla="*/ 5 w 78"/>
                    <a:gd name="T71" fmla="*/ 40 h 70"/>
                    <a:gd name="T72" fmla="*/ 24 w 78"/>
                    <a:gd name="T73" fmla="*/ 70 h 70"/>
                    <a:gd name="T74" fmla="*/ 53 w 78"/>
                    <a:gd name="T75" fmla="*/ 70 h 70"/>
                    <a:gd name="T76" fmla="*/ 72 w 78"/>
                    <a:gd name="T77" fmla="*/ 40 h 70"/>
                    <a:gd name="T78" fmla="*/ 78 w 78"/>
                    <a:gd name="T79" fmla="*/ 35 h 70"/>
                    <a:gd name="T80" fmla="*/ 78 w 78"/>
                    <a:gd name="T81" fmla="*/ 23 h 70"/>
                    <a:gd name="T82" fmla="*/ 74 w 78"/>
                    <a:gd name="T83" fmla="*/ 1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8" h="70">
                      <a:moveTo>
                        <a:pt x="74" y="17"/>
                      </a:moveTo>
                      <a:cubicBezTo>
                        <a:pt x="73" y="17"/>
                        <a:pt x="73" y="17"/>
                        <a:pt x="72" y="17"/>
                      </a:cubicBezTo>
                      <a:cubicBezTo>
                        <a:pt x="72" y="12"/>
                        <a:pt x="72" y="12"/>
                        <a:pt x="72" y="12"/>
                      </a:cubicBezTo>
                      <a:cubicBezTo>
                        <a:pt x="72" y="12"/>
                        <a:pt x="72" y="11"/>
                        <a:pt x="72" y="11"/>
                      </a:cubicBezTo>
                      <a:cubicBezTo>
                        <a:pt x="72" y="10"/>
                        <a:pt x="72" y="10"/>
                        <a:pt x="72" y="10"/>
                      </a:cubicBezTo>
                      <a:cubicBezTo>
                        <a:pt x="72" y="10"/>
                        <a:pt x="72" y="9"/>
                        <a:pt x="72" y="9"/>
                      </a:cubicBezTo>
                      <a:cubicBezTo>
                        <a:pt x="72" y="9"/>
                        <a:pt x="72" y="9"/>
                        <a:pt x="72" y="9"/>
                      </a:cubicBezTo>
                      <a:cubicBezTo>
                        <a:pt x="71" y="8"/>
                        <a:pt x="71" y="8"/>
                        <a:pt x="71" y="8"/>
                      </a:cubicBezTo>
                      <a:cubicBezTo>
                        <a:pt x="71" y="8"/>
                        <a:pt x="71" y="7"/>
                        <a:pt x="71" y="7"/>
                      </a:cubicBezTo>
                      <a:cubicBezTo>
                        <a:pt x="71" y="7"/>
                        <a:pt x="71" y="7"/>
                        <a:pt x="71" y="7"/>
                      </a:cubicBezTo>
                      <a:cubicBezTo>
                        <a:pt x="71" y="6"/>
                        <a:pt x="71" y="6"/>
                        <a:pt x="70" y="5"/>
                      </a:cubicBezTo>
                      <a:cubicBezTo>
                        <a:pt x="70" y="5"/>
                        <a:pt x="70" y="5"/>
                        <a:pt x="70" y="5"/>
                      </a:cubicBezTo>
                      <a:cubicBezTo>
                        <a:pt x="70" y="4"/>
                        <a:pt x="70" y="4"/>
                        <a:pt x="70" y="4"/>
                      </a:cubicBezTo>
                      <a:cubicBezTo>
                        <a:pt x="70" y="4"/>
                        <a:pt x="70" y="4"/>
                        <a:pt x="69" y="4"/>
                      </a:cubicBezTo>
                      <a:cubicBezTo>
                        <a:pt x="69" y="3"/>
                        <a:pt x="69" y="3"/>
                        <a:pt x="69" y="3"/>
                      </a:cubicBezTo>
                      <a:cubicBezTo>
                        <a:pt x="69" y="3"/>
                        <a:pt x="69" y="3"/>
                        <a:pt x="69" y="3"/>
                      </a:cubicBezTo>
                      <a:cubicBezTo>
                        <a:pt x="67" y="3"/>
                        <a:pt x="65" y="3"/>
                        <a:pt x="63" y="3"/>
                      </a:cubicBezTo>
                      <a:cubicBezTo>
                        <a:pt x="58" y="3"/>
                        <a:pt x="54" y="2"/>
                        <a:pt x="52" y="1"/>
                      </a:cubicBezTo>
                      <a:cubicBezTo>
                        <a:pt x="47" y="2"/>
                        <a:pt x="40" y="3"/>
                        <a:pt x="32" y="3"/>
                      </a:cubicBezTo>
                      <a:cubicBezTo>
                        <a:pt x="23" y="3"/>
                        <a:pt x="15" y="2"/>
                        <a:pt x="10" y="0"/>
                      </a:cubicBezTo>
                      <a:cubicBezTo>
                        <a:pt x="9" y="2"/>
                        <a:pt x="8" y="3"/>
                        <a:pt x="7" y="4"/>
                      </a:cubicBezTo>
                      <a:cubicBezTo>
                        <a:pt x="7" y="4"/>
                        <a:pt x="7" y="4"/>
                        <a:pt x="7" y="4"/>
                      </a:cubicBezTo>
                      <a:cubicBezTo>
                        <a:pt x="7" y="5"/>
                        <a:pt x="7" y="5"/>
                        <a:pt x="7" y="6"/>
                      </a:cubicBezTo>
                      <a:cubicBezTo>
                        <a:pt x="7" y="6"/>
                        <a:pt x="7" y="6"/>
                        <a:pt x="7" y="6"/>
                      </a:cubicBezTo>
                      <a:cubicBezTo>
                        <a:pt x="7" y="6"/>
                        <a:pt x="6" y="7"/>
                        <a:pt x="6" y="7"/>
                      </a:cubicBezTo>
                      <a:cubicBezTo>
                        <a:pt x="6" y="7"/>
                        <a:pt x="6" y="7"/>
                        <a:pt x="6" y="7"/>
                      </a:cubicBezTo>
                      <a:cubicBezTo>
                        <a:pt x="6" y="8"/>
                        <a:pt x="6" y="8"/>
                        <a:pt x="6" y="8"/>
                      </a:cubicBezTo>
                      <a:cubicBezTo>
                        <a:pt x="6" y="9"/>
                        <a:pt x="6" y="9"/>
                        <a:pt x="6" y="9"/>
                      </a:cubicBezTo>
                      <a:cubicBezTo>
                        <a:pt x="6" y="9"/>
                        <a:pt x="6" y="10"/>
                        <a:pt x="6" y="10"/>
                      </a:cubicBezTo>
                      <a:cubicBezTo>
                        <a:pt x="5" y="10"/>
                        <a:pt x="5" y="10"/>
                        <a:pt x="5" y="10"/>
                      </a:cubicBezTo>
                      <a:cubicBezTo>
                        <a:pt x="5" y="11"/>
                        <a:pt x="5" y="12"/>
                        <a:pt x="5" y="12"/>
                      </a:cubicBezTo>
                      <a:cubicBezTo>
                        <a:pt x="5" y="17"/>
                        <a:pt x="5" y="17"/>
                        <a:pt x="5" y="17"/>
                      </a:cubicBezTo>
                      <a:cubicBezTo>
                        <a:pt x="5" y="17"/>
                        <a:pt x="5" y="17"/>
                        <a:pt x="4" y="17"/>
                      </a:cubicBezTo>
                      <a:cubicBezTo>
                        <a:pt x="2" y="17"/>
                        <a:pt x="0" y="20"/>
                        <a:pt x="0" y="23"/>
                      </a:cubicBezTo>
                      <a:cubicBezTo>
                        <a:pt x="0" y="35"/>
                        <a:pt x="0" y="35"/>
                        <a:pt x="0" y="35"/>
                      </a:cubicBezTo>
                      <a:cubicBezTo>
                        <a:pt x="0" y="38"/>
                        <a:pt x="2" y="40"/>
                        <a:pt x="5" y="40"/>
                      </a:cubicBezTo>
                      <a:cubicBezTo>
                        <a:pt x="5" y="40"/>
                        <a:pt x="15" y="70"/>
                        <a:pt x="24" y="70"/>
                      </a:cubicBezTo>
                      <a:cubicBezTo>
                        <a:pt x="53" y="70"/>
                        <a:pt x="53" y="70"/>
                        <a:pt x="53" y="70"/>
                      </a:cubicBezTo>
                      <a:cubicBezTo>
                        <a:pt x="62" y="70"/>
                        <a:pt x="72" y="40"/>
                        <a:pt x="72" y="40"/>
                      </a:cubicBezTo>
                      <a:cubicBezTo>
                        <a:pt x="75" y="40"/>
                        <a:pt x="78" y="38"/>
                        <a:pt x="78" y="35"/>
                      </a:cubicBezTo>
                      <a:cubicBezTo>
                        <a:pt x="78" y="23"/>
                        <a:pt x="78" y="23"/>
                        <a:pt x="78" y="23"/>
                      </a:cubicBezTo>
                      <a:cubicBezTo>
                        <a:pt x="78" y="20"/>
                        <a:pt x="76" y="18"/>
                        <a:pt x="74" y="1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5" name="Rectangle 94"/>
                <p:cNvSpPr>
                  <a:spLocks noChangeArrowheads="1"/>
                </p:cNvSpPr>
                <p:nvPr/>
              </p:nvSpPr>
              <p:spPr bwMode="auto">
                <a:xfrm>
                  <a:off x="6845270" y="4053602"/>
                  <a:ext cx="555476" cy="3651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6" name="Rectangle 95"/>
                <p:cNvSpPr>
                  <a:spLocks noChangeArrowheads="1"/>
                </p:cNvSpPr>
                <p:nvPr/>
              </p:nvSpPr>
              <p:spPr bwMode="auto">
                <a:xfrm>
                  <a:off x="7072074" y="4053602"/>
                  <a:ext cx="99947" cy="365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7" name="Oval 96"/>
                <p:cNvSpPr>
                  <a:spLocks noChangeArrowheads="1"/>
                </p:cNvSpPr>
                <p:nvPr/>
              </p:nvSpPr>
              <p:spPr bwMode="auto">
                <a:xfrm>
                  <a:off x="7114359" y="3129090"/>
                  <a:ext cx="17299" cy="19221"/>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8" name="Oval 97"/>
                <p:cNvSpPr>
                  <a:spLocks noChangeArrowheads="1"/>
                </p:cNvSpPr>
                <p:nvPr/>
              </p:nvSpPr>
              <p:spPr bwMode="auto">
                <a:xfrm>
                  <a:off x="7114359" y="3192519"/>
                  <a:ext cx="17299" cy="13454"/>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sp>
          <p:nvSpPr>
            <p:cNvPr id="196" name="Rectangle 31"/>
            <p:cNvSpPr>
              <a:spLocks noChangeArrowheads="1"/>
            </p:cNvSpPr>
            <p:nvPr/>
          </p:nvSpPr>
          <p:spPr bwMode="auto">
            <a:xfrm>
              <a:off x="-1" y="6955122"/>
              <a:ext cx="12435840" cy="39403"/>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nvGrpSpPr>
            <p:cNvPr id="197" name="Group 196"/>
            <p:cNvGrpSpPr/>
            <p:nvPr/>
          </p:nvGrpSpPr>
          <p:grpSpPr>
            <a:xfrm>
              <a:off x="9828032" y="5771098"/>
              <a:ext cx="2523100" cy="1191432"/>
              <a:chOff x="6286500" y="5048250"/>
              <a:chExt cx="3513138" cy="1658938"/>
            </a:xfrm>
          </p:grpSpPr>
          <p:sp>
            <p:nvSpPr>
              <p:cNvPr id="198" name="Freeform 56"/>
              <p:cNvSpPr>
                <a:spLocks/>
              </p:cNvSpPr>
              <p:nvPr/>
            </p:nvSpPr>
            <p:spPr bwMode="auto">
              <a:xfrm>
                <a:off x="6286500" y="5656263"/>
                <a:ext cx="1738313" cy="1050925"/>
              </a:xfrm>
              <a:custGeom>
                <a:avLst/>
                <a:gdLst>
                  <a:gd name="T0" fmla="*/ 440 w 1095"/>
                  <a:gd name="T1" fmla="*/ 112 h 662"/>
                  <a:gd name="T2" fmla="*/ 440 w 1095"/>
                  <a:gd name="T3" fmla="*/ 0 h 662"/>
                  <a:gd name="T4" fmla="*/ 159 w 1095"/>
                  <a:gd name="T5" fmla="*/ 0 h 662"/>
                  <a:gd name="T6" fmla="*/ 159 w 1095"/>
                  <a:gd name="T7" fmla="*/ 112 h 662"/>
                  <a:gd name="T8" fmla="*/ 0 w 1095"/>
                  <a:gd name="T9" fmla="*/ 112 h 662"/>
                  <a:gd name="T10" fmla="*/ 0 w 1095"/>
                  <a:gd name="T11" fmla="*/ 140 h 662"/>
                  <a:gd name="T12" fmla="*/ 38 w 1095"/>
                  <a:gd name="T13" fmla="*/ 140 h 662"/>
                  <a:gd name="T14" fmla="*/ 38 w 1095"/>
                  <a:gd name="T15" fmla="*/ 662 h 662"/>
                  <a:gd name="T16" fmla="*/ 276 w 1095"/>
                  <a:gd name="T17" fmla="*/ 662 h 662"/>
                  <a:gd name="T18" fmla="*/ 370 w 1095"/>
                  <a:gd name="T19" fmla="*/ 662 h 662"/>
                  <a:gd name="T20" fmla="*/ 440 w 1095"/>
                  <a:gd name="T21" fmla="*/ 662 h 662"/>
                  <a:gd name="T22" fmla="*/ 824 w 1095"/>
                  <a:gd name="T23" fmla="*/ 662 h 662"/>
                  <a:gd name="T24" fmla="*/ 1058 w 1095"/>
                  <a:gd name="T25" fmla="*/ 662 h 662"/>
                  <a:gd name="T26" fmla="*/ 1058 w 1095"/>
                  <a:gd name="T27" fmla="*/ 140 h 662"/>
                  <a:gd name="T28" fmla="*/ 1095 w 1095"/>
                  <a:gd name="T29" fmla="*/ 140 h 662"/>
                  <a:gd name="T30" fmla="*/ 1095 w 1095"/>
                  <a:gd name="T31" fmla="*/ 112 h 662"/>
                  <a:gd name="T32" fmla="*/ 440 w 1095"/>
                  <a:gd name="T33" fmla="*/ 112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95" h="662">
                    <a:moveTo>
                      <a:pt x="440" y="112"/>
                    </a:moveTo>
                    <a:lnTo>
                      <a:pt x="440" y="0"/>
                    </a:lnTo>
                    <a:lnTo>
                      <a:pt x="159" y="0"/>
                    </a:lnTo>
                    <a:lnTo>
                      <a:pt x="159" y="112"/>
                    </a:lnTo>
                    <a:lnTo>
                      <a:pt x="0" y="112"/>
                    </a:lnTo>
                    <a:lnTo>
                      <a:pt x="0" y="140"/>
                    </a:lnTo>
                    <a:lnTo>
                      <a:pt x="38" y="140"/>
                    </a:lnTo>
                    <a:lnTo>
                      <a:pt x="38" y="662"/>
                    </a:lnTo>
                    <a:lnTo>
                      <a:pt x="276" y="662"/>
                    </a:lnTo>
                    <a:lnTo>
                      <a:pt x="370" y="662"/>
                    </a:lnTo>
                    <a:lnTo>
                      <a:pt x="440" y="662"/>
                    </a:lnTo>
                    <a:lnTo>
                      <a:pt x="824" y="662"/>
                    </a:lnTo>
                    <a:lnTo>
                      <a:pt x="1058" y="662"/>
                    </a:lnTo>
                    <a:lnTo>
                      <a:pt x="1058" y="140"/>
                    </a:lnTo>
                    <a:lnTo>
                      <a:pt x="1095" y="140"/>
                    </a:lnTo>
                    <a:lnTo>
                      <a:pt x="1095" y="112"/>
                    </a:lnTo>
                    <a:lnTo>
                      <a:pt x="440" y="1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99" name="Freeform 57"/>
              <p:cNvSpPr>
                <a:spLocks/>
              </p:cNvSpPr>
              <p:nvPr/>
            </p:nvSpPr>
            <p:spPr bwMode="auto">
              <a:xfrm>
                <a:off x="8374063" y="5351463"/>
                <a:ext cx="1425575" cy="1355725"/>
              </a:xfrm>
              <a:custGeom>
                <a:avLst/>
                <a:gdLst>
                  <a:gd name="T0" fmla="*/ 435 w 898"/>
                  <a:gd name="T1" fmla="*/ 112 h 854"/>
                  <a:gd name="T2" fmla="*/ 435 w 898"/>
                  <a:gd name="T3" fmla="*/ 0 h 854"/>
                  <a:gd name="T4" fmla="*/ 154 w 898"/>
                  <a:gd name="T5" fmla="*/ 0 h 854"/>
                  <a:gd name="T6" fmla="*/ 154 w 898"/>
                  <a:gd name="T7" fmla="*/ 112 h 854"/>
                  <a:gd name="T8" fmla="*/ 0 w 898"/>
                  <a:gd name="T9" fmla="*/ 112 h 854"/>
                  <a:gd name="T10" fmla="*/ 0 w 898"/>
                  <a:gd name="T11" fmla="*/ 140 h 854"/>
                  <a:gd name="T12" fmla="*/ 37 w 898"/>
                  <a:gd name="T13" fmla="*/ 140 h 854"/>
                  <a:gd name="T14" fmla="*/ 37 w 898"/>
                  <a:gd name="T15" fmla="*/ 854 h 854"/>
                  <a:gd name="T16" fmla="*/ 271 w 898"/>
                  <a:gd name="T17" fmla="*/ 854 h 854"/>
                  <a:gd name="T18" fmla="*/ 365 w 898"/>
                  <a:gd name="T19" fmla="*/ 854 h 854"/>
                  <a:gd name="T20" fmla="*/ 435 w 898"/>
                  <a:gd name="T21" fmla="*/ 854 h 854"/>
                  <a:gd name="T22" fmla="*/ 627 w 898"/>
                  <a:gd name="T23" fmla="*/ 854 h 854"/>
                  <a:gd name="T24" fmla="*/ 861 w 898"/>
                  <a:gd name="T25" fmla="*/ 854 h 854"/>
                  <a:gd name="T26" fmla="*/ 861 w 898"/>
                  <a:gd name="T27" fmla="*/ 140 h 854"/>
                  <a:gd name="T28" fmla="*/ 898 w 898"/>
                  <a:gd name="T29" fmla="*/ 140 h 854"/>
                  <a:gd name="T30" fmla="*/ 898 w 898"/>
                  <a:gd name="T31" fmla="*/ 112 h 854"/>
                  <a:gd name="T32" fmla="*/ 435 w 898"/>
                  <a:gd name="T33" fmla="*/ 112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8" h="854">
                    <a:moveTo>
                      <a:pt x="435" y="112"/>
                    </a:moveTo>
                    <a:lnTo>
                      <a:pt x="435" y="0"/>
                    </a:lnTo>
                    <a:lnTo>
                      <a:pt x="154" y="0"/>
                    </a:lnTo>
                    <a:lnTo>
                      <a:pt x="154" y="112"/>
                    </a:lnTo>
                    <a:lnTo>
                      <a:pt x="0" y="112"/>
                    </a:lnTo>
                    <a:lnTo>
                      <a:pt x="0" y="140"/>
                    </a:lnTo>
                    <a:lnTo>
                      <a:pt x="37" y="140"/>
                    </a:lnTo>
                    <a:lnTo>
                      <a:pt x="37" y="854"/>
                    </a:lnTo>
                    <a:lnTo>
                      <a:pt x="271" y="854"/>
                    </a:lnTo>
                    <a:lnTo>
                      <a:pt x="365" y="854"/>
                    </a:lnTo>
                    <a:lnTo>
                      <a:pt x="435" y="854"/>
                    </a:lnTo>
                    <a:lnTo>
                      <a:pt x="627" y="854"/>
                    </a:lnTo>
                    <a:lnTo>
                      <a:pt x="861" y="854"/>
                    </a:lnTo>
                    <a:lnTo>
                      <a:pt x="861" y="140"/>
                    </a:lnTo>
                    <a:lnTo>
                      <a:pt x="898" y="140"/>
                    </a:lnTo>
                    <a:lnTo>
                      <a:pt x="898" y="112"/>
                    </a:lnTo>
                    <a:lnTo>
                      <a:pt x="435" y="1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00" name="Rectangle 58"/>
              <p:cNvSpPr>
                <a:spLocks noChangeArrowheads="1"/>
              </p:cNvSpPr>
              <p:nvPr/>
            </p:nvSpPr>
            <p:spPr bwMode="auto">
              <a:xfrm>
                <a:off x="7519988" y="5270500"/>
                <a:ext cx="1158875" cy="1436687"/>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01" name="Rectangle 59"/>
              <p:cNvSpPr>
                <a:spLocks noChangeArrowheads="1"/>
              </p:cNvSpPr>
              <p:nvPr/>
            </p:nvSpPr>
            <p:spPr bwMode="auto">
              <a:xfrm>
                <a:off x="7459663" y="5226050"/>
                <a:ext cx="1277938" cy="444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02" name="Rectangle 60"/>
              <p:cNvSpPr>
                <a:spLocks noChangeArrowheads="1"/>
              </p:cNvSpPr>
              <p:nvPr/>
            </p:nvSpPr>
            <p:spPr bwMode="auto">
              <a:xfrm>
                <a:off x="8158163" y="6418263"/>
                <a:ext cx="149225" cy="2889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03" name="Rectangle 61"/>
              <p:cNvSpPr>
                <a:spLocks noChangeArrowheads="1"/>
              </p:cNvSpPr>
              <p:nvPr/>
            </p:nvSpPr>
            <p:spPr bwMode="auto">
              <a:xfrm>
                <a:off x="7897813" y="6418263"/>
                <a:ext cx="149225" cy="2889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04" name="Rectangle 62"/>
              <p:cNvSpPr>
                <a:spLocks noChangeArrowheads="1"/>
              </p:cNvSpPr>
              <p:nvPr/>
            </p:nvSpPr>
            <p:spPr bwMode="auto">
              <a:xfrm>
                <a:off x="7631113" y="5395913"/>
                <a:ext cx="936625" cy="1555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05" name="Rectangle 63"/>
              <p:cNvSpPr>
                <a:spLocks noChangeArrowheads="1"/>
              </p:cNvSpPr>
              <p:nvPr/>
            </p:nvSpPr>
            <p:spPr bwMode="auto">
              <a:xfrm>
                <a:off x="7631113" y="5656263"/>
                <a:ext cx="936625" cy="1555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06" name="Rectangle 64"/>
              <p:cNvSpPr>
                <a:spLocks noChangeArrowheads="1"/>
              </p:cNvSpPr>
              <p:nvPr/>
            </p:nvSpPr>
            <p:spPr bwMode="auto">
              <a:xfrm>
                <a:off x="7631113" y="5915025"/>
                <a:ext cx="936625" cy="1555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07" name="Rectangle 65"/>
              <p:cNvSpPr>
                <a:spLocks noChangeArrowheads="1"/>
              </p:cNvSpPr>
              <p:nvPr/>
            </p:nvSpPr>
            <p:spPr bwMode="auto">
              <a:xfrm>
                <a:off x="7631113" y="6173788"/>
                <a:ext cx="936625" cy="1555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08" name="Rectangle 66"/>
              <p:cNvSpPr>
                <a:spLocks noChangeArrowheads="1"/>
              </p:cNvSpPr>
              <p:nvPr/>
            </p:nvSpPr>
            <p:spPr bwMode="auto">
              <a:xfrm>
                <a:off x="7712075" y="5048250"/>
                <a:ext cx="446088" cy="1778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09" name="Rectangle 85"/>
              <p:cNvSpPr>
                <a:spLocks noChangeArrowheads="1"/>
              </p:cNvSpPr>
              <p:nvPr/>
            </p:nvSpPr>
            <p:spPr bwMode="auto">
              <a:xfrm>
                <a:off x="7065963" y="6477000"/>
                <a:ext cx="68263" cy="2301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10" name="Oval 86"/>
              <p:cNvSpPr>
                <a:spLocks noChangeArrowheads="1"/>
              </p:cNvSpPr>
              <p:nvPr/>
            </p:nvSpPr>
            <p:spPr bwMode="auto">
              <a:xfrm>
                <a:off x="6948488" y="6278563"/>
                <a:ext cx="303213" cy="30321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11" name="Oval 87"/>
              <p:cNvSpPr>
                <a:spLocks noChangeArrowheads="1"/>
              </p:cNvSpPr>
              <p:nvPr/>
            </p:nvSpPr>
            <p:spPr bwMode="auto">
              <a:xfrm>
                <a:off x="6985000" y="6122988"/>
                <a:ext cx="222250" cy="2222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12" name="Rectangle 88"/>
              <p:cNvSpPr>
                <a:spLocks noChangeArrowheads="1"/>
              </p:cNvSpPr>
              <p:nvPr/>
            </p:nvSpPr>
            <p:spPr bwMode="auto">
              <a:xfrm>
                <a:off x="6657975" y="6477000"/>
                <a:ext cx="66675" cy="2301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13" name="Oval 89"/>
              <p:cNvSpPr>
                <a:spLocks noChangeArrowheads="1"/>
              </p:cNvSpPr>
              <p:nvPr/>
            </p:nvSpPr>
            <p:spPr bwMode="auto">
              <a:xfrm>
                <a:off x="6538913" y="6278563"/>
                <a:ext cx="304800" cy="30321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14" name="Oval 90"/>
              <p:cNvSpPr>
                <a:spLocks noChangeArrowheads="1"/>
              </p:cNvSpPr>
              <p:nvPr/>
            </p:nvSpPr>
            <p:spPr bwMode="auto">
              <a:xfrm>
                <a:off x="6577013" y="6122988"/>
                <a:ext cx="222250" cy="2222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15" name="Rectangle 91"/>
              <p:cNvSpPr>
                <a:spLocks noChangeArrowheads="1"/>
              </p:cNvSpPr>
              <p:nvPr/>
            </p:nvSpPr>
            <p:spPr bwMode="auto">
              <a:xfrm>
                <a:off x="9361488" y="6477000"/>
                <a:ext cx="66675" cy="2301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16" name="Oval 92"/>
              <p:cNvSpPr>
                <a:spLocks noChangeArrowheads="1"/>
              </p:cNvSpPr>
              <p:nvPr/>
            </p:nvSpPr>
            <p:spPr bwMode="auto">
              <a:xfrm>
                <a:off x="9236075" y="6278563"/>
                <a:ext cx="311150" cy="30321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17" name="Oval 93"/>
              <p:cNvSpPr>
                <a:spLocks noChangeArrowheads="1"/>
              </p:cNvSpPr>
              <p:nvPr/>
            </p:nvSpPr>
            <p:spPr bwMode="auto">
              <a:xfrm>
                <a:off x="9280525" y="6122988"/>
                <a:ext cx="222250" cy="2222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18" name="Rectangle 94"/>
              <p:cNvSpPr>
                <a:spLocks noChangeArrowheads="1"/>
              </p:cNvSpPr>
              <p:nvPr/>
            </p:nvSpPr>
            <p:spPr bwMode="auto">
              <a:xfrm>
                <a:off x="8953500" y="6477000"/>
                <a:ext cx="66675" cy="2301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19" name="Oval 95"/>
              <p:cNvSpPr>
                <a:spLocks noChangeArrowheads="1"/>
              </p:cNvSpPr>
              <p:nvPr/>
            </p:nvSpPr>
            <p:spPr bwMode="auto">
              <a:xfrm>
                <a:off x="8834438" y="6278563"/>
                <a:ext cx="304800" cy="30321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20" name="Oval 96"/>
              <p:cNvSpPr>
                <a:spLocks noChangeArrowheads="1"/>
              </p:cNvSpPr>
              <p:nvPr/>
            </p:nvSpPr>
            <p:spPr bwMode="auto">
              <a:xfrm>
                <a:off x="8870950" y="6122988"/>
                <a:ext cx="223838" cy="22225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nvGrpSpPr>
            <p:cNvPr id="221" name="Group 220"/>
            <p:cNvGrpSpPr/>
            <p:nvPr/>
          </p:nvGrpSpPr>
          <p:grpSpPr>
            <a:xfrm>
              <a:off x="4929358" y="6161559"/>
              <a:ext cx="572429" cy="796229"/>
              <a:chOff x="5110915" y="2871293"/>
              <a:chExt cx="2033173" cy="2828072"/>
            </a:xfrm>
          </p:grpSpPr>
          <p:grpSp>
            <p:nvGrpSpPr>
              <p:cNvPr id="222" name="Group 221"/>
              <p:cNvGrpSpPr/>
              <p:nvPr/>
            </p:nvGrpSpPr>
            <p:grpSpPr>
              <a:xfrm>
                <a:off x="5110915" y="3548072"/>
                <a:ext cx="794699" cy="2151293"/>
                <a:chOff x="6789906" y="3124658"/>
                <a:chExt cx="569182" cy="1540806"/>
              </a:xfrm>
            </p:grpSpPr>
            <p:sp>
              <p:nvSpPr>
                <p:cNvPr id="292" name="Rectangle 24"/>
                <p:cNvSpPr>
                  <a:spLocks noChangeArrowheads="1"/>
                </p:cNvSpPr>
                <p:nvPr/>
              </p:nvSpPr>
              <p:spPr bwMode="auto">
                <a:xfrm>
                  <a:off x="7025603" y="3406742"/>
                  <a:ext cx="97789" cy="29838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93" name="Freeform 25"/>
                <p:cNvSpPr>
                  <a:spLocks/>
                </p:cNvSpPr>
                <p:nvPr/>
              </p:nvSpPr>
              <p:spPr bwMode="auto">
                <a:xfrm>
                  <a:off x="6939096" y="4604032"/>
                  <a:ext cx="127878" cy="61432"/>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94" name="Freeform 26"/>
                <p:cNvSpPr>
                  <a:spLocks/>
                </p:cNvSpPr>
                <p:nvPr/>
              </p:nvSpPr>
              <p:spPr bwMode="auto">
                <a:xfrm>
                  <a:off x="7077004" y="4604032"/>
                  <a:ext cx="129132" cy="61432"/>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95" name="Freeform 27"/>
                <p:cNvSpPr>
                  <a:spLocks/>
                </p:cNvSpPr>
                <p:nvPr/>
              </p:nvSpPr>
              <p:spPr bwMode="auto">
                <a:xfrm>
                  <a:off x="6985484" y="3149732"/>
                  <a:ext cx="194325" cy="236951"/>
                </a:xfrm>
                <a:custGeom>
                  <a:avLst/>
                  <a:gdLst>
                    <a:gd name="T0" fmla="*/ 34 w 38"/>
                    <a:gd name="T1" fmla="*/ 26 h 46"/>
                    <a:gd name="T2" fmla="*/ 13 w 38"/>
                    <a:gd name="T3" fmla="*/ 43 h 46"/>
                    <a:gd name="T4" fmla="*/ 4 w 38"/>
                    <a:gd name="T5" fmla="*/ 18 h 46"/>
                    <a:gd name="T6" fmla="*/ 26 w 38"/>
                    <a:gd name="T7" fmla="*/ 3 h 46"/>
                    <a:gd name="T8" fmla="*/ 34 w 38"/>
                    <a:gd name="T9" fmla="*/ 26 h 46"/>
                  </a:gdLst>
                  <a:ahLst/>
                  <a:cxnLst>
                    <a:cxn ang="0">
                      <a:pos x="T0" y="T1"/>
                    </a:cxn>
                    <a:cxn ang="0">
                      <a:pos x="T2" y="T3"/>
                    </a:cxn>
                    <a:cxn ang="0">
                      <a:pos x="T4" y="T5"/>
                    </a:cxn>
                    <a:cxn ang="0">
                      <a:pos x="T6" y="T7"/>
                    </a:cxn>
                    <a:cxn ang="0">
                      <a:pos x="T8" y="T9"/>
                    </a:cxn>
                  </a:cxnLst>
                  <a:rect l="0" t="0" r="r" b="b"/>
                  <a:pathLst>
                    <a:path w="38" h="46">
                      <a:moveTo>
                        <a:pt x="34" y="26"/>
                      </a:moveTo>
                      <a:cubicBezTo>
                        <a:pt x="30" y="37"/>
                        <a:pt x="22" y="46"/>
                        <a:pt x="13" y="43"/>
                      </a:cubicBezTo>
                      <a:cubicBezTo>
                        <a:pt x="4" y="40"/>
                        <a:pt x="0" y="29"/>
                        <a:pt x="4" y="18"/>
                      </a:cubicBezTo>
                      <a:cubicBezTo>
                        <a:pt x="7" y="7"/>
                        <a:pt x="18" y="0"/>
                        <a:pt x="26" y="3"/>
                      </a:cubicBezTo>
                      <a:cubicBezTo>
                        <a:pt x="35" y="6"/>
                        <a:pt x="38" y="15"/>
                        <a:pt x="34"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96" name="Freeform 28"/>
                <p:cNvSpPr>
                  <a:spLocks/>
                </p:cNvSpPr>
                <p:nvPr/>
              </p:nvSpPr>
              <p:spPr bwMode="auto">
                <a:xfrm>
                  <a:off x="6959156" y="3124658"/>
                  <a:ext cx="190563" cy="220652"/>
                </a:xfrm>
                <a:custGeom>
                  <a:avLst/>
                  <a:gdLst>
                    <a:gd name="T0" fmla="*/ 32 w 37"/>
                    <a:gd name="T1" fmla="*/ 14 h 43"/>
                    <a:gd name="T2" fmla="*/ 29 w 37"/>
                    <a:gd name="T3" fmla="*/ 39 h 43"/>
                    <a:gd name="T4" fmla="*/ 6 w 37"/>
                    <a:gd name="T5" fmla="*/ 29 h 43"/>
                    <a:gd name="T6" fmla="*/ 9 w 37"/>
                    <a:gd name="T7" fmla="*/ 5 h 43"/>
                    <a:gd name="T8" fmla="*/ 32 w 37"/>
                    <a:gd name="T9" fmla="*/ 14 h 43"/>
                  </a:gdLst>
                  <a:ahLst/>
                  <a:cxnLst>
                    <a:cxn ang="0">
                      <a:pos x="T0" y="T1"/>
                    </a:cxn>
                    <a:cxn ang="0">
                      <a:pos x="T2" y="T3"/>
                    </a:cxn>
                    <a:cxn ang="0">
                      <a:pos x="T4" y="T5"/>
                    </a:cxn>
                    <a:cxn ang="0">
                      <a:pos x="T6" y="T7"/>
                    </a:cxn>
                    <a:cxn ang="0">
                      <a:pos x="T8" y="T9"/>
                    </a:cxn>
                  </a:cxnLst>
                  <a:rect l="0" t="0" r="r" b="b"/>
                  <a:pathLst>
                    <a:path w="37" h="43">
                      <a:moveTo>
                        <a:pt x="32" y="14"/>
                      </a:moveTo>
                      <a:cubicBezTo>
                        <a:pt x="37" y="23"/>
                        <a:pt x="36" y="34"/>
                        <a:pt x="29" y="39"/>
                      </a:cubicBezTo>
                      <a:cubicBezTo>
                        <a:pt x="21" y="43"/>
                        <a:pt x="11" y="39"/>
                        <a:pt x="6" y="29"/>
                      </a:cubicBezTo>
                      <a:cubicBezTo>
                        <a:pt x="0" y="20"/>
                        <a:pt x="2" y="9"/>
                        <a:pt x="9" y="5"/>
                      </a:cubicBezTo>
                      <a:cubicBezTo>
                        <a:pt x="16" y="0"/>
                        <a:pt x="26" y="5"/>
                        <a:pt x="32"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97" name="Freeform 29"/>
                <p:cNvSpPr>
                  <a:spLocks/>
                </p:cNvSpPr>
                <p:nvPr/>
              </p:nvSpPr>
              <p:spPr bwMode="auto">
                <a:xfrm>
                  <a:off x="7025603" y="3330266"/>
                  <a:ext cx="97789" cy="102804"/>
                </a:xfrm>
                <a:custGeom>
                  <a:avLst/>
                  <a:gdLst>
                    <a:gd name="T0" fmla="*/ 78 w 78"/>
                    <a:gd name="T1" fmla="*/ 61 h 82"/>
                    <a:gd name="T2" fmla="*/ 37 w 78"/>
                    <a:gd name="T3" fmla="*/ 82 h 82"/>
                    <a:gd name="T4" fmla="*/ 0 w 78"/>
                    <a:gd name="T5" fmla="*/ 61 h 82"/>
                    <a:gd name="T6" fmla="*/ 0 w 78"/>
                    <a:gd name="T7" fmla="*/ 0 h 82"/>
                    <a:gd name="T8" fmla="*/ 78 w 78"/>
                    <a:gd name="T9" fmla="*/ 0 h 82"/>
                    <a:gd name="T10" fmla="*/ 78 w 78"/>
                    <a:gd name="T11" fmla="*/ 61 h 82"/>
                  </a:gdLst>
                  <a:ahLst/>
                  <a:cxnLst>
                    <a:cxn ang="0">
                      <a:pos x="T0" y="T1"/>
                    </a:cxn>
                    <a:cxn ang="0">
                      <a:pos x="T2" y="T3"/>
                    </a:cxn>
                    <a:cxn ang="0">
                      <a:pos x="T4" y="T5"/>
                    </a:cxn>
                    <a:cxn ang="0">
                      <a:pos x="T6" y="T7"/>
                    </a:cxn>
                    <a:cxn ang="0">
                      <a:pos x="T8" y="T9"/>
                    </a:cxn>
                    <a:cxn ang="0">
                      <a:pos x="T10" y="T11"/>
                    </a:cxn>
                  </a:cxnLst>
                  <a:rect l="0" t="0" r="r" b="b"/>
                  <a:pathLst>
                    <a:path w="78" h="82">
                      <a:moveTo>
                        <a:pt x="78" y="61"/>
                      </a:moveTo>
                      <a:lnTo>
                        <a:pt x="37" y="82"/>
                      </a:lnTo>
                      <a:lnTo>
                        <a:pt x="0" y="61"/>
                      </a:lnTo>
                      <a:lnTo>
                        <a:pt x="0" y="0"/>
                      </a:lnTo>
                      <a:lnTo>
                        <a:pt x="78" y="0"/>
                      </a:lnTo>
                      <a:lnTo>
                        <a:pt x="78" y="6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98" name="Freeform 30"/>
                <p:cNvSpPr>
                  <a:spLocks/>
                </p:cNvSpPr>
                <p:nvPr/>
              </p:nvSpPr>
              <p:spPr bwMode="auto">
                <a:xfrm>
                  <a:off x="7046915" y="3433070"/>
                  <a:ext cx="56417" cy="389903"/>
                </a:xfrm>
                <a:custGeom>
                  <a:avLst/>
                  <a:gdLst>
                    <a:gd name="T0" fmla="*/ 33 w 45"/>
                    <a:gd name="T1" fmla="*/ 24 h 311"/>
                    <a:gd name="T2" fmla="*/ 45 w 45"/>
                    <a:gd name="T3" fmla="*/ 16 h 311"/>
                    <a:gd name="T4" fmla="*/ 20 w 45"/>
                    <a:gd name="T5" fmla="*/ 0 h 311"/>
                    <a:gd name="T6" fmla="*/ 0 w 45"/>
                    <a:gd name="T7" fmla="*/ 16 h 311"/>
                    <a:gd name="T8" fmla="*/ 8 w 45"/>
                    <a:gd name="T9" fmla="*/ 24 h 311"/>
                    <a:gd name="T10" fmla="*/ 8 w 45"/>
                    <a:gd name="T11" fmla="*/ 286 h 311"/>
                    <a:gd name="T12" fmla="*/ 20 w 45"/>
                    <a:gd name="T13" fmla="*/ 311 h 311"/>
                    <a:gd name="T14" fmla="*/ 33 w 45"/>
                    <a:gd name="T15" fmla="*/ 286 h 311"/>
                    <a:gd name="T16" fmla="*/ 33 w 45"/>
                    <a:gd name="T17" fmla="*/ 24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1">
                      <a:moveTo>
                        <a:pt x="33" y="24"/>
                      </a:moveTo>
                      <a:lnTo>
                        <a:pt x="45" y="16"/>
                      </a:lnTo>
                      <a:lnTo>
                        <a:pt x="20" y="0"/>
                      </a:lnTo>
                      <a:lnTo>
                        <a:pt x="0" y="16"/>
                      </a:lnTo>
                      <a:lnTo>
                        <a:pt x="8" y="24"/>
                      </a:lnTo>
                      <a:lnTo>
                        <a:pt x="8" y="286"/>
                      </a:lnTo>
                      <a:lnTo>
                        <a:pt x="20" y="311"/>
                      </a:lnTo>
                      <a:lnTo>
                        <a:pt x="33" y="286"/>
                      </a:lnTo>
                      <a:lnTo>
                        <a:pt x="33" y="2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99" name="Freeform 31"/>
                <p:cNvSpPr>
                  <a:spLocks/>
                </p:cNvSpPr>
                <p:nvPr/>
              </p:nvSpPr>
              <p:spPr bwMode="auto">
                <a:xfrm>
                  <a:off x="6789906" y="3438085"/>
                  <a:ext cx="210623" cy="549124"/>
                </a:xfrm>
                <a:custGeom>
                  <a:avLst/>
                  <a:gdLst>
                    <a:gd name="T0" fmla="*/ 41 w 41"/>
                    <a:gd name="T1" fmla="*/ 4 h 107"/>
                    <a:gd name="T2" fmla="*/ 25 w 41"/>
                    <a:gd name="T3" fmla="*/ 0 h 107"/>
                    <a:gd name="T4" fmla="*/ 0 w 41"/>
                    <a:gd name="T5" fmla="*/ 107 h 107"/>
                    <a:gd name="T6" fmla="*/ 16 w 41"/>
                    <a:gd name="T7" fmla="*/ 107 h 107"/>
                    <a:gd name="T8" fmla="*/ 41 w 41"/>
                    <a:gd name="T9" fmla="*/ 4 h 107"/>
                  </a:gdLst>
                  <a:ahLst/>
                  <a:cxnLst>
                    <a:cxn ang="0">
                      <a:pos x="T0" y="T1"/>
                    </a:cxn>
                    <a:cxn ang="0">
                      <a:pos x="T2" y="T3"/>
                    </a:cxn>
                    <a:cxn ang="0">
                      <a:pos x="T4" y="T5"/>
                    </a:cxn>
                    <a:cxn ang="0">
                      <a:pos x="T6" y="T7"/>
                    </a:cxn>
                    <a:cxn ang="0">
                      <a:pos x="T8" y="T9"/>
                    </a:cxn>
                  </a:cxnLst>
                  <a:rect l="0" t="0" r="r" b="b"/>
                  <a:pathLst>
                    <a:path w="41" h="107">
                      <a:moveTo>
                        <a:pt x="41" y="4"/>
                      </a:moveTo>
                      <a:cubicBezTo>
                        <a:pt x="36" y="3"/>
                        <a:pt x="30" y="1"/>
                        <a:pt x="25" y="0"/>
                      </a:cubicBezTo>
                      <a:cubicBezTo>
                        <a:pt x="9" y="34"/>
                        <a:pt x="3" y="69"/>
                        <a:pt x="0" y="107"/>
                      </a:cubicBezTo>
                      <a:cubicBezTo>
                        <a:pt x="16" y="107"/>
                        <a:pt x="16" y="107"/>
                        <a:pt x="16" y="107"/>
                      </a:cubicBezTo>
                      <a:cubicBezTo>
                        <a:pt x="20" y="71"/>
                        <a:pt x="26" y="37"/>
                        <a:pt x="41"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00" name="Freeform 33"/>
                <p:cNvSpPr>
                  <a:spLocks/>
                </p:cNvSpPr>
                <p:nvPr/>
              </p:nvSpPr>
              <p:spPr bwMode="auto">
                <a:xfrm>
                  <a:off x="6944111" y="4033595"/>
                  <a:ext cx="127878" cy="580467"/>
                </a:xfrm>
                <a:custGeom>
                  <a:avLst/>
                  <a:gdLst>
                    <a:gd name="T0" fmla="*/ 82 w 102"/>
                    <a:gd name="T1" fmla="*/ 463 h 463"/>
                    <a:gd name="T2" fmla="*/ 12 w 102"/>
                    <a:gd name="T3" fmla="*/ 463 h 463"/>
                    <a:gd name="T4" fmla="*/ 0 w 102"/>
                    <a:gd name="T5" fmla="*/ 0 h 463"/>
                    <a:gd name="T6" fmla="*/ 102 w 102"/>
                    <a:gd name="T7" fmla="*/ 0 h 463"/>
                    <a:gd name="T8" fmla="*/ 82 w 102"/>
                    <a:gd name="T9" fmla="*/ 463 h 463"/>
                  </a:gdLst>
                  <a:ahLst/>
                  <a:cxnLst>
                    <a:cxn ang="0">
                      <a:pos x="T0" y="T1"/>
                    </a:cxn>
                    <a:cxn ang="0">
                      <a:pos x="T2" y="T3"/>
                    </a:cxn>
                    <a:cxn ang="0">
                      <a:pos x="T4" y="T5"/>
                    </a:cxn>
                    <a:cxn ang="0">
                      <a:pos x="T6" y="T7"/>
                    </a:cxn>
                    <a:cxn ang="0">
                      <a:pos x="T8" y="T9"/>
                    </a:cxn>
                  </a:cxnLst>
                  <a:rect l="0" t="0" r="r" b="b"/>
                  <a:pathLst>
                    <a:path w="102" h="463">
                      <a:moveTo>
                        <a:pt x="82" y="463"/>
                      </a:moveTo>
                      <a:lnTo>
                        <a:pt x="12" y="463"/>
                      </a:lnTo>
                      <a:lnTo>
                        <a:pt x="0" y="0"/>
                      </a:lnTo>
                      <a:lnTo>
                        <a:pt x="102" y="0"/>
                      </a:lnTo>
                      <a:lnTo>
                        <a:pt x="82"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01" name="Freeform 34"/>
                <p:cNvSpPr>
                  <a:spLocks/>
                </p:cNvSpPr>
                <p:nvPr/>
              </p:nvSpPr>
              <p:spPr bwMode="auto">
                <a:xfrm>
                  <a:off x="7077004" y="4033595"/>
                  <a:ext cx="122863" cy="580467"/>
                </a:xfrm>
                <a:custGeom>
                  <a:avLst/>
                  <a:gdLst>
                    <a:gd name="T0" fmla="*/ 86 w 98"/>
                    <a:gd name="T1" fmla="*/ 463 h 463"/>
                    <a:gd name="T2" fmla="*/ 17 w 98"/>
                    <a:gd name="T3" fmla="*/ 463 h 463"/>
                    <a:gd name="T4" fmla="*/ 0 w 98"/>
                    <a:gd name="T5" fmla="*/ 0 h 463"/>
                    <a:gd name="T6" fmla="*/ 98 w 98"/>
                    <a:gd name="T7" fmla="*/ 0 h 463"/>
                    <a:gd name="T8" fmla="*/ 86 w 98"/>
                    <a:gd name="T9" fmla="*/ 463 h 463"/>
                  </a:gdLst>
                  <a:ahLst/>
                  <a:cxnLst>
                    <a:cxn ang="0">
                      <a:pos x="T0" y="T1"/>
                    </a:cxn>
                    <a:cxn ang="0">
                      <a:pos x="T2" y="T3"/>
                    </a:cxn>
                    <a:cxn ang="0">
                      <a:pos x="T4" y="T5"/>
                    </a:cxn>
                    <a:cxn ang="0">
                      <a:pos x="T6" y="T7"/>
                    </a:cxn>
                    <a:cxn ang="0">
                      <a:pos x="T8" y="T9"/>
                    </a:cxn>
                  </a:cxnLst>
                  <a:rect l="0" t="0" r="r" b="b"/>
                  <a:pathLst>
                    <a:path w="98" h="463">
                      <a:moveTo>
                        <a:pt x="86" y="463"/>
                      </a:moveTo>
                      <a:lnTo>
                        <a:pt x="17" y="463"/>
                      </a:lnTo>
                      <a:lnTo>
                        <a:pt x="0" y="0"/>
                      </a:lnTo>
                      <a:lnTo>
                        <a:pt x="98" y="0"/>
                      </a:lnTo>
                      <a:lnTo>
                        <a:pt x="86"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02" name="Freeform 35"/>
                <p:cNvSpPr>
                  <a:spLocks/>
                </p:cNvSpPr>
                <p:nvPr/>
              </p:nvSpPr>
              <p:spPr bwMode="auto">
                <a:xfrm>
                  <a:off x="6799935" y="3987208"/>
                  <a:ext cx="62685" cy="66447"/>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3" y="13"/>
                        <a:pt x="6" y="13"/>
                      </a:cubicBezTo>
                      <a:cubicBezTo>
                        <a:pt x="10"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03" name="Freeform 37"/>
                <p:cNvSpPr>
                  <a:spLocks/>
                </p:cNvSpPr>
                <p:nvPr/>
              </p:nvSpPr>
              <p:spPr bwMode="auto">
                <a:xfrm>
                  <a:off x="6912769" y="3406742"/>
                  <a:ext cx="318441" cy="626853"/>
                </a:xfrm>
                <a:custGeom>
                  <a:avLst/>
                  <a:gdLst>
                    <a:gd name="T0" fmla="*/ 168 w 254"/>
                    <a:gd name="T1" fmla="*/ 0 h 500"/>
                    <a:gd name="T2" fmla="*/ 127 w 254"/>
                    <a:gd name="T3" fmla="*/ 316 h 500"/>
                    <a:gd name="T4" fmla="*/ 90 w 254"/>
                    <a:gd name="T5" fmla="*/ 0 h 500"/>
                    <a:gd name="T6" fmla="*/ 0 w 254"/>
                    <a:gd name="T7" fmla="*/ 25 h 500"/>
                    <a:gd name="T8" fmla="*/ 5 w 254"/>
                    <a:gd name="T9" fmla="*/ 500 h 500"/>
                    <a:gd name="T10" fmla="*/ 250 w 254"/>
                    <a:gd name="T11" fmla="*/ 500 h 500"/>
                    <a:gd name="T12" fmla="*/ 254 w 254"/>
                    <a:gd name="T13" fmla="*/ 25 h 500"/>
                    <a:gd name="T14" fmla="*/ 168 w 254"/>
                    <a:gd name="T15" fmla="*/ 0 h 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4" h="500">
                      <a:moveTo>
                        <a:pt x="168" y="0"/>
                      </a:moveTo>
                      <a:lnTo>
                        <a:pt x="127" y="316"/>
                      </a:lnTo>
                      <a:lnTo>
                        <a:pt x="90" y="0"/>
                      </a:lnTo>
                      <a:lnTo>
                        <a:pt x="0" y="25"/>
                      </a:lnTo>
                      <a:lnTo>
                        <a:pt x="5" y="500"/>
                      </a:lnTo>
                      <a:lnTo>
                        <a:pt x="250" y="500"/>
                      </a:lnTo>
                      <a:lnTo>
                        <a:pt x="254" y="25"/>
                      </a:lnTo>
                      <a:lnTo>
                        <a:pt x="168"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04" name="Freeform 42"/>
                <p:cNvSpPr>
                  <a:spLocks/>
                </p:cNvSpPr>
                <p:nvPr/>
              </p:nvSpPr>
              <p:spPr bwMode="auto">
                <a:xfrm>
                  <a:off x="6995514" y="321743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05" name="Freeform 46"/>
                <p:cNvSpPr>
                  <a:spLocks/>
                </p:cNvSpPr>
                <p:nvPr/>
              </p:nvSpPr>
              <p:spPr bwMode="auto">
                <a:xfrm>
                  <a:off x="6990499" y="323247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06" name="Freeform 47"/>
                <p:cNvSpPr>
                  <a:spLocks/>
                </p:cNvSpPr>
                <p:nvPr/>
              </p:nvSpPr>
              <p:spPr bwMode="auto">
                <a:xfrm>
                  <a:off x="6990499" y="32274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07" name="Freeform 48"/>
                <p:cNvSpPr>
                  <a:spLocks/>
                </p:cNvSpPr>
                <p:nvPr/>
              </p:nvSpPr>
              <p:spPr bwMode="auto">
                <a:xfrm>
                  <a:off x="6990499" y="322244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08" name="Freeform 49"/>
                <p:cNvSpPr>
                  <a:spLocks/>
                </p:cNvSpPr>
                <p:nvPr/>
              </p:nvSpPr>
              <p:spPr bwMode="auto">
                <a:xfrm>
                  <a:off x="6990499" y="3227462"/>
                  <a:ext cx="0" cy="501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09" name="Freeform 50"/>
                <p:cNvSpPr>
                  <a:spLocks/>
                </p:cNvSpPr>
                <p:nvPr/>
              </p:nvSpPr>
              <p:spPr bwMode="auto">
                <a:xfrm>
                  <a:off x="6975454" y="3211163"/>
                  <a:ext cx="194325" cy="175519"/>
                </a:xfrm>
                <a:custGeom>
                  <a:avLst/>
                  <a:gdLst>
                    <a:gd name="T0" fmla="*/ 36 w 38"/>
                    <a:gd name="T1" fmla="*/ 8 h 34"/>
                    <a:gd name="T2" fmla="*/ 35 w 38"/>
                    <a:gd name="T3" fmla="*/ 8 h 34"/>
                    <a:gd name="T4" fmla="*/ 35 w 38"/>
                    <a:gd name="T5" fmla="*/ 5 h 34"/>
                    <a:gd name="T6" fmla="*/ 35 w 38"/>
                    <a:gd name="T7" fmla="*/ 5 h 34"/>
                    <a:gd name="T8" fmla="*/ 35 w 38"/>
                    <a:gd name="T9" fmla="*/ 4 h 34"/>
                    <a:gd name="T10" fmla="*/ 35 w 38"/>
                    <a:gd name="T11" fmla="*/ 4 h 34"/>
                    <a:gd name="T12" fmla="*/ 35 w 38"/>
                    <a:gd name="T13" fmla="*/ 4 h 34"/>
                    <a:gd name="T14" fmla="*/ 35 w 38"/>
                    <a:gd name="T15" fmla="*/ 3 h 34"/>
                    <a:gd name="T16" fmla="*/ 35 w 38"/>
                    <a:gd name="T17" fmla="*/ 3 h 34"/>
                    <a:gd name="T18" fmla="*/ 35 w 38"/>
                    <a:gd name="T19" fmla="*/ 3 h 34"/>
                    <a:gd name="T20" fmla="*/ 34 w 38"/>
                    <a:gd name="T21" fmla="*/ 2 h 34"/>
                    <a:gd name="T22" fmla="*/ 34 w 38"/>
                    <a:gd name="T23" fmla="*/ 2 h 34"/>
                    <a:gd name="T24" fmla="*/ 34 w 38"/>
                    <a:gd name="T25" fmla="*/ 1 h 34"/>
                    <a:gd name="T26" fmla="*/ 34 w 38"/>
                    <a:gd name="T27" fmla="*/ 1 h 34"/>
                    <a:gd name="T28" fmla="*/ 34 w 38"/>
                    <a:gd name="T29" fmla="*/ 1 h 34"/>
                    <a:gd name="T30" fmla="*/ 34 w 38"/>
                    <a:gd name="T31" fmla="*/ 1 h 34"/>
                    <a:gd name="T32" fmla="*/ 31 w 38"/>
                    <a:gd name="T33" fmla="*/ 1 h 34"/>
                    <a:gd name="T34" fmla="*/ 25 w 38"/>
                    <a:gd name="T35" fmla="*/ 0 h 34"/>
                    <a:gd name="T36" fmla="*/ 15 w 38"/>
                    <a:gd name="T37" fmla="*/ 1 h 34"/>
                    <a:gd name="T38" fmla="*/ 5 w 38"/>
                    <a:gd name="T39" fmla="*/ 0 h 34"/>
                    <a:gd name="T40" fmla="*/ 4 w 38"/>
                    <a:gd name="T41" fmla="*/ 1 h 34"/>
                    <a:gd name="T42" fmla="*/ 4 w 38"/>
                    <a:gd name="T43" fmla="*/ 1 h 34"/>
                    <a:gd name="T44" fmla="*/ 3 w 38"/>
                    <a:gd name="T45" fmla="*/ 2 h 34"/>
                    <a:gd name="T46" fmla="*/ 3 w 38"/>
                    <a:gd name="T47" fmla="*/ 2 h 34"/>
                    <a:gd name="T48" fmla="*/ 3 w 38"/>
                    <a:gd name="T49" fmla="*/ 3 h 34"/>
                    <a:gd name="T50" fmla="*/ 3 w 38"/>
                    <a:gd name="T51" fmla="*/ 3 h 34"/>
                    <a:gd name="T52" fmla="*/ 3 w 38"/>
                    <a:gd name="T53" fmla="*/ 3 h 34"/>
                    <a:gd name="T54" fmla="*/ 3 w 38"/>
                    <a:gd name="T55" fmla="*/ 4 h 34"/>
                    <a:gd name="T56" fmla="*/ 3 w 38"/>
                    <a:gd name="T57" fmla="*/ 4 h 34"/>
                    <a:gd name="T58" fmla="*/ 3 w 38"/>
                    <a:gd name="T59" fmla="*/ 4 h 34"/>
                    <a:gd name="T60" fmla="*/ 3 w 38"/>
                    <a:gd name="T61" fmla="*/ 5 h 34"/>
                    <a:gd name="T62" fmla="*/ 3 w 38"/>
                    <a:gd name="T63" fmla="*/ 8 h 34"/>
                    <a:gd name="T64" fmla="*/ 2 w 38"/>
                    <a:gd name="T65" fmla="*/ 8 h 34"/>
                    <a:gd name="T66" fmla="*/ 0 w 38"/>
                    <a:gd name="T67" fmla="*/ 10 h 34"/>
                    <a:gd name="T68" fmla="*/ 0 w 38"/>
                    <a:gd name="T69" fmla="*/ 16 h 34"/>
                    <a:gd name="T70" fmla="*/ 3 w 38"/>
                    <a:gd name="T71" fmla="*/ 19 h 34"/>
                    <a:gd name="T72" fmla="*/ 12 w 38"/>
                    <a:gd name="T73" fmla="*/ 34 h 34"/>
                    <a:gd name="T74" fmla="*/ 26 w 38"/>
                    <a:gd name="T75" fmla="*/ 34 h 34"/>
                    <a:gd name="T76" fmla="*/ 35 w 38"/>
                    <a:gd name="T77" fmla="*/ 19 h 34"/>
                    <a:gd name="T78" fmla="*/ 38 w 38"/>
                    <a:gd name="T79" fmla="*/ 16 h 34"/>
                    <a:gd name="T80" fmla="*/ 38 w 38"/>
                    <a:gd name="T81" fmla="*/ 10 h 34"/>
                    <a:gd name="T82" fmla="*/ 36 w 38"/>
                    <a:gd name="T8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 h="34">
                      <a:moveTo>
                        <a:pt x="36" y="8"/>
                      </a:moveTo>
                      <a:cubicBezTo>
                        <a:pt x="36" y="8"/>
                        <a:pt x="36" y="8"/>
                        <a:pt x="35" y="8"/>
                      </a:cubicBezTo>
                      <a:cubicBezTo>
                        <a:pt x="35" y="5"/>
                        <a:pt x="35" y="5"/>
                        <a:pt x="35" y="5"/>
                      </a:cubicBezTo>
                      <a:cubicBezTo>
                        <a:pt x="35" y="5"/>
                        <a:pt x="35" y="5"/>
                        <a:pt x="35" y="5"/>
                      </a:cubicBezTo>
                      <a:cubicBezTo>
                        <a:pt x="35" y="4"/>
                        <a:pt x="35" y="4"/>
                        <a:pt x="35" y="4"/>
                      </a:cubicBezTo>
                      <a:cubicBezTo>
                        <a:pt x="35" y="4"/>
                        <a:pt x="35" y="4"/>
                        <a:pt x="35" y="4"/>
                      </a:cubicBezTo>
                      <a:cubicBezTo>
                        <a:pt x="35" y="4"/>
                        <a:pt x="35" y="4"/>
                        <a:pt x="35" y="4"/>
                      </a:cubicBezTo>
                      <a:cubicBezTo>
                        <a:pt x="35" y="3"/>
                        <a:pt x="35" y="3"/>
                        <a:pt x="35" y="3"/>
                      </a:cubicBezTo>
                      <a:cubicBezTo>
                        <a:pt x="35" y="3"/>
                        <a:pt x="35" y="3"/>
                        <a:pt x="35" y="3"/>
                      </a:cubicBezTo>
                      <a:cubicBezTo>
                        <a:pt x="35" y="3"/>
                        <a:pt x="35" y="3"/>
                        <a:pt x="35" y="3"/>
                      </a:cubicBezTo>
                      <a:cubicBezTo>
                        <a:pt x="35" y="2"/>
                        <a:pt x="35" y="2"/>
                        <a:pt x="34" y="2"/>
                      </a:cubicBezTo>
                      <a:cubicBezTo>
                        <a:pt x="34" y="2"/>
                        <a:pt x="34" y="2"/>
                        <a:pt x="34" y="2"/>
                      </a:cubicBezTo>
                      <a:cubicBezTo>
                        <a:pt x="34" y="2"/>
                        <a:pt x="34" y="1"/>
                        <a:pt x="34" y="1"/>
                      </a:cubicBezTo>
                      <a:cubicBezTo>
                        <a:pt x="34" y="1"/>
                        <a:pt x="34" y="1"/>
                        <a:pt x="34" y="1"/>
                      </a:cubicBezTo>
                      <a:cubicBezTo>
                        <a:pt x="34" y="1"/>
                        <a:pt x="34" y="1"/>
                        <a:pt x="34" y="1"/>
                      </a:cubicBezTo>
                      <a:cubicBezTo>
                        <a:pt x="34" y="1"/>
                        <a:pt x="34" y="1"/>
                        <a:pt x="34" y="1"/>
                      </a:cubicBezTo>
                      <a:cubicBezTo>
                        <a:pt x="33" y="1"/>
                        <a:pt x="32" y="1"/>
                        <a:pt x="31" y="1"/>
                      </a:cubicBezTo>
                      <a:cubicBezTo>
                        <a:pt x="28" y="1"/>
                        <a:pt x="27" y="1"/>
                        <a:pt x="25" y="0"/>
                      </a:cubicBezTo>
                      <a:cubicBezTo>
                        <a:pt x="23" y="1"/>
                        <a:pt x="19" y="1"/>
                        <a:pt x="15" y="1"/>
                      </a:cubicBezTo>
                      <a:cubicBezTo>
                        <a:pt x="11" y="1"/>
                        <a:pt x="8" y="0"/>
                        <a:pt x="5" y="0"/>
                      </a:cubicBezTo>
                      <a:cubicBezTo>
                        <a:pt x="5" y="0"/>
                        <a:pt x="4" y="1"/>
                        <a:pt x="4" y="1"/>
                      </a:cubicBezTo>
                      <a:cubicBezTo>
                        <a:pt x="4" y="1"/>
                        <a:pt x="4" y="1"/>
                        <a:pt x="4" y="1"/>
                      </a:cubicBezTo>
                      <a:cubicBezTo>
                        <a:pt x="4" y="2"/>
                        <a:pt x="3" y="2"/>
                        <a:pt x="3" y="2"/>
                      </a:cubicBezTo>
                      <a:cubicBezTo>
                        <a:pt x="3" y="2"/>
                        <a:pt x="3" y="2"/>
                        <a:pt x="3" y="2"/>
                      </a:cubicBezTo>
                      <a:cubicBezTo>
                        <a:pt x="3" y="2"/>
                        <a:pt x="3" y="3"/>
                        <a:pt x="3" y="3"/>
                      </a:cubicBezTo>
                      <a:cubicBezTo>
                        <a:pt x="3" y="3"/>
                        <a:pt x="3" y="3"/>
                        <a:pt x="3" y="3"/>
                      </a:cubicBezTo>
                      <a:cubicBezTo>
                        <a:pt x="3" y="3"/>
                        <a:pt x="3" y="3"/>
                        <a:pt x="3" y="3"/>
                      </a:cubicBezTo>
                      <a:cubicBezTo>
                        <a:pt x="3" y="4"/>
                        <a:pt x="3" y="4"/>
                        <a:pt x="3" y="4"/>
                      </a:cubicBezTo>
                      <a:cubicBezTo>
                        <a:pt x="3" y="4"/>
                        <a:pt x="3" y="4"/>
                        <a:pt x="3" y="4"/>
                      </a:cubicBezTo>
                      <a:cubicBezTo>
                        <a:pt x="3" y="4"/>
                        <a:pt x="3" y="4"/>
                        <a:pt x="3" y="4"/>
                      </a:cubicBezTo>
                      <a:cubicBezTo>
                        <a:pt x="3" y="5"/>
                        <a:pt x="3" y="5"/>
                        <a:pt x="3" y="5"/>
                      </a:cubicBezTo>
                      <a:cubicBezTo>
                        <a:pt x="3" y="8"/>
                        <a:pt x="3" y="8"/>
                        <a:pt x="3" y="8"/>
                      </a:cubicBezTo>
                      <a:cubicBezTo>
                        <a:pt x="2" y="8"/>
                        <a:pt x="2" y="8"/>
                        <a:pt x="2" y="8"/>
                      </a:cubicBezTo>
                      <a:cubicBezTo>
                        <a:pt x="1" y="8"/>
                        <a:pt x="0" y="9"/>
                        <a:pt x="0" y="10"/>
                      </a:cubicBezTo>
                      <a:cubicBezTo>
                        <a:pt x="0" y="16"/>
                        <a:pt x="0" y="16"/>
                        <a:pt x="0" y="16"/>
                      </a:cubicBezTo>
                      <a:cubicBezTo>
                        <a:pt x="0" y="18"/>
                        <a:pt x="1" y="19"/>
                        <a:pt x="3" y="19"/>
                      </a:cubicBezTo>
                      <a:cubicBezTo>
                        <a:pt x="3" y="19"/>
                        <a:pt x="7" y="34"/>
                        <a:pt x="12" y="34"/>
                      </a:cubicBezTo>
                      <a:cubicBezTo>
                        <a:pt x="26" y="34"/>
                        <a:pt x="26" y="34"/>
                        <a:pt x="26" y="34"/>
                      </a:cubicBezTo>
                      <a:cubicBezTo>
                        <a:pt x="31" y="34"/>
                        <a:pt x="35" y="19"/>
                        <a:pt x="35" y="19"/>
                      </a:cubicBezTo>
                      <a:cubicBezTo>
                        <a:pt x="37" y="19"/>
                        <a:pt x="38" y="18"/>
                        <a:pt x="38" y="16"/>
                      </a:cubicBezTo>
                      <a:cubicBezTo>
                        <a:pt x="38" y="10"/>
                        <a:pt x="38" y="10"/>
                        <a:pt x="38" y="10"/>
                      </a:cubicBezTo>
                      <a:cubicBezTo>
                        <a:pt x="38" y="9"/>
                        <a:pt x="37" y="8"/>
                        <a:pt x="36" y="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10" name="Freeform 51"/>
                <p:cNvSpPr>
                  <a:spLocks noEditPoints="1"/>
                </p:cNvSpPr>
                <p:nvPr/>
              </p:nvSpPr>
              <p:spPr bwMode="auto">
                <a:xfrm>
                  <a:off x="6990499" y="3242506"/>
                  <a:ext cx="169251" cy="56417"/>
                </a:xfrm>
                <a:custGeom>
                  <a:avLst/>
                  <a:gdLst>
                    <a:gd name="T0" fmla="*/ 32 w 33"/>
                    <a:gd name="T1" fmla="*/ 1 h 11"/>
                    <a:gd name="T2" fmla="*/ 24 w 33"/>
                    <a:gd name="T3" fmla="*/ 1 h 11"/>
                    <a:gd name="T4" fmla="*/ 16 w 33"/>
                    <a:gd name="T5" fmla="*/ 2 h 11"/>
                    <a:gd name="T6" fmla="*/ 9 w 33"/>
                    <a:gd name="T7" fmla="*/ 1 h 11"/>
                    <a:gd name="T8" fmla="*/ 0 w 33"/>
                    <a:gd name="T9" fmla="*/ 1 h 11"/>
                    <a:gd name="T10" fmla="*/ 0 w 33"/>
                    <a:gd name="T11" fmla="*/ 2 h 11"/>
                    <a:gd name="T12" fmla="*/ 1 w 33"/>
                    <a:gd name="T13" fmla="*/ 4 h 11"/>
                    <a:gd name="T14" fmla="*/ 2 w 33"/>
                    <a:gd name="T15" fmla="*/ 6 h 11"/>
                    <a:gd name="T16" fmla="*/ 10 w 33"/>
                    <a:gd name="T17" fmla="*/ 10 h 11"/>
                    <a:gd name="T18" fmla="*/ 15 w 33"/>
                    <a:gd name="T19" fmla="*/ 5 h 11"/>
                    <a:gd name="T20" fmla="*/ 16 w 33"/>
                    <a:gd name="T21" fmla="*/ 4 h 11"/>
                    <a:gd name="T22" fmla="*/ 18 w 33"/>
                    <a:gd name="T23" fmla="*/ 5 h 11"/>
                    <a:gd name="T24" fmla="*/ 23 w 33"/>
                    <a:gd name="T25" fmla="*/ 10 h 11"/>
                    <a:gd name="T26" fmla="*/ 31 w 33"/>
                    <a:gd name="T27" fmla="*/ 6 h 11"/>
                    <a:gd name="T28" fmla="*/ 32 w 33"/>
                    <a:gd name="T29" fmla="*/ 4 h 11"/>
                    <a:gd name="T30" fmla="*/ 32 w 33"/>
                    <a:gd name="T31" fmla="*/ 2 h 11"/>
                    <a:gd name="T32" fmla="*/ 32 w 33"/>
                    <a:gd name="T33" fmla="*/ 1 h 11"/>
                    <a:gd name="T34" fmla="*/ 12 w 33"/>
                    <a:gd name="T35" fmla="*/ 8 h 11"/>
                    <a:gd name="T36" fmla="*/ 7 w 33"/>
                    <a:gd name="T37" fmla="*/ 10 h 11"/>
                    <a:gd name="T38" fmla="*/ 3 w 33"/>
                    <a:gd name="T39" fmla="*/ 4 h 11"/>
                    <a:gd name="T40" fmla="*/ 9 w 33"/>
                    <a:gd name="T41" fmla="*/ 2 h 11"/>
                    <a:gd name="T42" fmla="*/ 13 w 33"/>
                    <a:gd name="T43" fmla="*/ 3 h 11"/>
                    <a:gd name="T44" fmla="*/ 12 w 33"/>
                    <a:gd name="T45" fmla="*/ 8 h 11"/>
                    <a:gd name="T46" fmla="*/ 26 w 33"/>
                    <a:gd name="T47" fmla="*/ 10 h 11"/>
                    <a:gd name="T48" fmla="*/ 20 w 33"/>
                    <a:gd name="T49" fmla="*/ 8 h 11"/>
                    <a:gd name="T50" fmla="*/ 20 w 33"/>
                    <a:gd name="T51" fmla="*/ 3 h 11"/>
                    <a:gd name="T52" fmla="*/ 24 w 33"/>
                    <a:gd name="T53" fmla="*/ 2 h 11"/>
                    <a:gd name="T54" fmla="*/ 30 w 33"/>
                    <a:gd name="T55" fmla="*/ 4 h 11"/>
                    <a:gd name="T56" fmla="*/ 26 w 33"/>
                    <a:gd name="T5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11">
                      <a:moveTo>
                        <a:pt x="32" y="1"/>
                      </a:moveTo>
                      <a:cubicBezTo>
                        <a:pt x="32" y="1"/>
                        <a:pt x="28" y="0"/>
                        <a:pt x="24" y="1"/>
                      </a:cubicBezTo>
                      <a:cubicBezTo>
                        <a:pt x="21" y="1"/>
                        <a:pt x="18" y="2"/>
                        <a:pt x="16" y="2"/>
                      </a:cubicBezTo>
                      <a:cubicBezTo>
                        <a:pt x="15" y="2"/>
                        <a:pt x="12" y="1"/>
                        <a:pt x="9" y="1"/>
                      </a:cubicBezTo>
                      <a:cubicBezTo>
                        <a:pt x="5" y="0"/>
                        <a:pt x="0" y="1"/>
                        <a:pt x="0" y="1"/>
                      </a:cubicBezTo>
                      <a:cubicBezTo>
                        <a:pt x="0" y="1"/>
                        <a:pt x="0" y="2"/>
                        <a:pt x="0" y="2"/>
                      </a:cubicBezTo>
                      <a:cubicBezTo>
                        <a:pt x="0" y="3"/>
                        <a:pt x="0" y="3"/>
                        <a:pt x="1" y="4"/>
                      </a:cubicBezTo>
                      <a:cubicBezTo>
                        <a:pt x="2" y="4"/>
                        <a:pt x="2" y="6"/>
                        <a:pt x="2" y="6"/>
                      </a:cubicBezTo>
                      <a:cubicBezTo>
                        <a:pt x="3" y="10"/>
                        <a:pt x="6" y="11"/>
                        <a:pt x="10" y="10"/>
                      </a:cubicBezTo>
                      <a:cubicBezTo>
                        <a:pt x="14" y="10"/>
                        <a:pt x="15" y="5"/>
                        <a:pt x="15" y="5"/>
                      </a:cubicBezTo>
                      <a:cubicBezTo>
                        <a:pt x="16" y="4"/>
                        <a:pt x="16" y="4"/>
                        <a:pt x="16" y="4"/>
                      </a:cubicBezTo>
                      <a:cubicBezTo>
                        <a:pt x="16" y="4"/>
                        <a:pt x="17" y="4"/>
                        <a:pt x="18" y="5"/>
                      </a:cubicBezTo>
                      <a:cubicBezTo>
                        <a:pt x="18" y="5"/>
                        <a:pt x="19" y="10"/>
                        <a:pt x="23" y="10"/>
                      </a:cubicBezTo>
                      <a:cubicBezTo>
                        <a:pt x="27" y="11"/>
                        <a:pt x="30" y="10"/>
                        <a:pt x="31" y="6"/>
                      </a:cubicBezTo>
                      <a:cubicBezTo>
                        <a:pt x="31" y="6"/>
                        <a:pt x="31" y="4"/>
                        <a:pt x="32" y="4"/>
                      </a:cubicBezTo>
                      <a:cubicBezTo>
                        <a:pt x="32" y="3"/>
                        <a:pt x="32" y="3"/>
                        <a:pt x="32" y="2"/>
                      </a:cubicBezTo>
                      <a:cubicBezTo>
                        <a:pt x="33" y="2"/>
                        <a:pt x="33" y="1"/>
                        <a:pt x="32" y="1"/>
                      </a:cubicBezTo>
                      <a:close/>
                      <a:moveTo>
                        <a:pt x="12" y="8"/>
                      </a:moveTo>
                      <a:cubicBezTo>
                        <a:pt x="11" y="10"/>
                        <a:pt x="9" y="10"/>
                        <a:pt x="7" y="10"/>
                      </a:cubicBezTo>
                      <a:cubicBezTo>
                        <a:pt x="4" y="9"/>
                        <a:pt x="3" y="7"/>
                        <a:pt x="3" y="4"/>
                      </a:cubicBezTo>
                      <a:cubicBezTo>
                        <a:pt x="3" y="1"/>
                        <a:pt x="9" y="2"/>
                        <a:pt x="9" y="2"/>
                      </a:cubicBezTo>
                      <a:cubicBezTo>
                        <a:pt x="11" y="2"/>
                        <a:pt x="11" y="2"/>
                        <a:pt x="13" y="3"/>
                      </a:cubicBezTo>
                      <a:cubicBezTo>
                        <a:pt x="15" y="3"/>
                        <a:pt x="14" y="7"/>
                        <a:pt x="12" y="8"/>
                      </a:cubicBezTo>
                      <a:close/>
                      <a:moveTo>
                        <a:pt x="26" y="10"/>
                      </a:moveTo>
                      <a:cubicBezTo>
                        <a:pt x="24" y="10"/>
                        <a:pt x="22" y="10"/>
                        <a:pt x="20" y="8"/>
                      </a:cubicBezTo>
                      <a:cubicBezTo>
                        <a:pt x="19" y="7"/>
                        <a:pt x="18" y="3"/>
                        <a:pt x="20" y="3"/>
                      </a:cubicBezTo>
                      <a:cubicBezTo>
                        <a:pt x="22" y="2"/>
                        <a:pt x="22" y="2"/>
                        <a:pt x="24" y="2"/>
                      </a:cubicBezTo>
                      <a:cubicBezTo>
                        <a:pt x="24" y="2"/>
                        <a:pt x="30" y="1"/>
                        <a:pt x="30" y="4"/>
                      </a:cubicBezTo>
                      <a:cubicBezTo>
                        <a:pt x="30" y="7"/>
                        <a:pt x="29" y="9"/>
                        <a:pt x="26"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11" name="Oval 52"/>
                <p:cNvSpPr>
                  <a:spLocks noChangeArrowheads="1"/>
                </p:cNvSpPr>
                <p:nvPr/>
              </p:nvSpPr>
              <p:spPr bwMode="auto">
                <a:xfrm>
                  <a:off x="6995514" y="3252536"/>
                  <a:ext cx="5015" cy="50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312" name="Freeform 32"/>
                <p:cNvSpPr>
                  <a:spLocks/>
                </p:cNvSpPr>
                <p:nvPr/>
              </p:nvSpPr>
              <p:spPr bwMode="auto">
                <a:xfrm>
                  <a:off x="7149719" y="3438085"/>
                  <a:ext cx="209369" cy="549124"/>
                </a:xfrm>
                <a:custGeom>
                  <a:avLst/>
                  <a:gdLst>
                    <a:gd name="T0" fmla="*/ 0 w 41"/>
                    <a:gd name="T1" fmla="*/ 4 h 107"/>
                    <a:gd name="T2" fmla="*/ 16 w 41"/>
                    <a:gd name="T3" fmla="*/ 0 h 107"/>
                    <a:gd name="T4" fmla="*/ 41 w 41"/>
                    <a:gd name="T5" fmla="*/ 107 h 107"/>
                    <a:gd name="T6" fmla="*/ 25 w 41"/>
                    <a:gd name="T7" fmla="*/ 107 h 107"/>
                    <a:gd name="T8" fmla="*/ 0 w 41"/>
                    <a:gd name="T9" fmla="*/ 4 h 107"/>
                  </a:gdLst>
                  <a:ahLst/>
                  <a:cxnLst>
                    <a:cxn ang="0">
                      <a:pos x="T0" y="T1"/>
                    </a:cxn>
                    <a:cxn ang="0">
                      <a:pos x="T2" y="T3"/>
                    </a:cxn>
                    <a:cxn ang="0">
                      <a:pos x="T4" y="T5"/>
                    </a:cxn>
                    <a:cxn ang="0">
                      <a:pos x="T6" y="T7"/>
                    </a:cxn>
                    <a:cxn ang="0">
                      <a:pos x="T8" y="T9"/>
                    </a:cxn>
                  </a:cxnLst>
                  <a:rect l="0" t="0" r="r" b="b"/>
                  <a:pathLst>
                    <a:path w="41" h="107">
                      <a:moveTo>
                        <a:pt x="0" y="4"/>
                      </a:moveTo>
                      <a:cubicBezTo>
                        <a:pt x="5" y="3"/>
                        <a:pt x="11" y="1"/>
                        <a:pt x="16" y="0"/>
                      </a:cubicBezTo>
                      <a:cubicBezTo>
                        <a:pt x="32" y="34"/>
                        <a:pt x="38" y="69"/>
                        <a:pt x="41" y="107"/>
                      </a:cubicBezTo>
                      <a:cubicBezTo>
                        <a:pt x="25" y="107"/>
                        <a:pt x="25" y="107"/>
                        <a:pt x="25" y="107"/>
                      </a:cubicBezTo>
                      <a:cubicBezTo>
                        <a:pt x="21" y="71"/>
                        <a:pt x="15" y="37"/>
                        <a:pt x="0"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nvGrpSpPr>
              <p:cNvPr id="223" name="Group 222"/>
              <p:cNvGrpSpPr/>
              <p:nvPr/>
            </p:nvGrpSpPr>
            <p:grpSpPr>
              <a:xfrm>
                <a:off x="5503885" y="3189504"/>
                <a:ext cx="904327" cy="2509861"/>
                <a:chOff x="7138436" y="2914035"/>
                <a:chExt cx="641898" cy="1781518"/>
              </a:xfrm>
            </p:grpSpPr>
            <p:sp>
              <p:nvSpPr>
                <p:cNvPr id="260" name="Freeform 36"/>
                <p:cNvSpPr>
                  <a:spLocks/>
                </p:cNvSpPr>
                <p:nvPr/>
              </p:nvSpPr>
              <p:spPr bwMode="auto">
                <a:xfrm>
                  <a:off x="7287627" y="3987208"/>
                  <a:ext cx="61432" cy="66447"/>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2" y="13"/>
                        <a:pt x="6" y="13"/>
                      </a:cubicBezTo>
                      <a:cubicBezTo>
                        <a:pt x="9"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61" name="Freeform 38"/>
                <p:cNvSpPr>
                  <a:spLocks/>
                </p:cNvSpPr>
                <p:nvPr/>
              </p:nvSpPr>
              <p:spPr bwMode="auto">
                <a:xfrm>
                  <a:off x="7154734" y="3227462"/>
                  <a:ext cx="0" cy="501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62" name="Freeform 39"/>
                <p:cNvSpPr>
                  <a:spLocks/>
                </p:cNvSpPr>
                <p:nvPr/>
              </p:nvSpPr>
              <p:spPr bwMode="auto">
                <a:xfrm>
                  <a:off x="7154734" y="32274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63" name="Freeform 40"/>
                <p:cNvSpPr>
                  <a:spLocks/>
                </p:cNvSpPr>
                <p:nvPr/>
              </p:nvSpPr>
              <p:spPr bwMode="auto">
                <a:xfrm>
                  <a:off x="7149719" y="321743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64" name="Freeform 41"/>
                <p:cNvSpPr>
                  <a:spLocks/>
                </p:cNvSpPr>
                <p:nvPr/>
              </p:nvSpPr>
              <p:spPr bwMode="auto">
                <a:xfrm>
                  <a:off x="7149719" y="322244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65" name="Freeform 43"/>
                <p:cNvSpPr>
                  <a:spLocks/>
                </p:cNvSpPr>
                <p:nvPr/>
              </p:nvSpPr>
              <p:spPr bwMode="auto">
                <a:xfrm>
                  <a:off x="7154734" y="323247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66" name="Freeform 44"/>
                <p:cNvSpPr>
                  <a:spLocks/>
                </p:cNvSpPr>
                <p:nvPr/>
              </p:nvSpPr>
              <p:spPr bwMode="auto">
                <a:xfrm>
                  <a:off x="7154734" y="32374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67" name="Rectangle 45"/>
                <p:cNvSpPr>
                  <a:spLocks noChangeArrowheads="1"/>
                </p:cNvSpPr>
                <p:nvPr/>
              </p:nvSpPr>
              <p:spPr bwMode="auto">
                <a:xfrm>
                  <a:off x="7149719" y="3217432"/>
                  <a:ext cx="1254" cy="1254"/>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68" name="Oval 53"/>
                <p:cNvSpPr>
                  <a:spLocks noChangeArrowheads="1"/>
                </p:cNvSpPr>
                <p:nvPr/>
              </p:nvSpPr>
              <p:spPr bwMode="auto">
                <a:xfrm>
                  <a:off x="7149719" y="3252536"/>
                  <a:ext cx="5015" cy="50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69" name="Freeform 54"/>
                <p:cNvSpPr>
                  <a:spLocks/>
                </p:cNvSpPr>
                <p:nvPr/>
              </p:nvSpPr>
              <p:spPr bwMode="auto">
                <a:xfrm>
                  <a:off x="7390431" y="3217432"/>
                  <a:ext cx="137908" cy="147937"/>
                </a:xfrm>
                <a:custGeom>
                  <a:avLst/>
                  <a:gdLst>
                    <a:gd name="T0" fmla="*/ 0 w 110"/>
                    <a:gd name="T1" fmla="*/ 12 h 118"/>
                    <a:gd name="T2" fmla="*/ 8 w 110"/>
                    <a:gd name="T3" fmla="*/ 0 h 118"/>
                    <a:gd name="T4" fmla="*/ 98 w 110"/>
                    <a:gd name="T5" fmla="*/ 0 h 118"/>
                    <a:gd name="T6" fmla="*/ 110 w 110"/>
                    <a:gd name="T7" fmla="*/ 12 h 118"/>
                    <a:gd name="T8" fmla="*/ 82 w 110"/>
                    <a:gd name="T9" fmla="*/ 110 h 118"/>
                    <a:gd name="T10" fmla="*/ 41 w 110"/>
                    <a:gd name="T11" fmla="*/ 118 h 118"/>
                    <a:gd name="T12" fmla="*/ 4 w 110"/>
                    <a:gd name="T13" fmla="*/ 73 h 118"/>
                    <a:gd name="T14" fmla="*/ 0 w 110"/>
                    <a:gd name="T15" fmla="*/ 12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118">
                      <a:moveTo>
                        <a:pt x="0" y="12"/>
                      </a:moveTo>
                      <a:lnTo>
                        <a:pt x="8" y="0"/>
                      </a:lnTo>
                      <a:lnTo>
                        <a:pt x="98" y="0"/>
                      </a:lnTo>
                      <a:lnTo>
                        <a:pt x="110" y="12"/>
                      </a:lnTo>
                      <a:lnTo>
                        <a:pt x="82" y="110"/>
                      </a:lnTo>
                      <a:lnTo>
                        <a:pt x="41" y="118"/>
                      </a:lnTo>
                      <a:lnTo>
                        <a:pt x="4" y="73"/>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70" name="Freeform 55"/>
                <p:cNvSpPr>
                  <a:spLocks/>
                </p:cNvSpPr>
                <p:nvPr/>
              </p:nvSpPr>
              <p:spPr bwMode="auto">
                <a:xfrm>
                  <a:off x="7307686" y="4624091"/>
                  <a:ext cx="139162" cy="71462"/>
                </a:xfrm>
                <a:custGeom>
                  <a:avLst/>
                  <a:gdLst>
                    <a:gd name="T0" fmla="*/ 14 w 27"/>
                    <a:gd name="T1" fmla="*/ 0 h 14"/>
                    <a:gd name="T2" fmla="*/ 0 w 27"/>
                    <a:gd name="T3" fmla="*/ 14 h 14"/>
                    <a:gd name="T4" fmla="*/ 27 w 27"/>
                    <a:gd name="T5" fmla="*/ 14 h 14"/>
                    <a:gd name="T6" fmla="*/ 14 w 27"/>
                    <a:gd name="T7" fmla="*/ 0 h 14"/>
                  </a:gdLst>
                  <a:ahLst/>
                  <a:cxnLst>
                    <a:cxn ang="0">
                      <a:pos x="T0" y="T1"/>
                    </a:cxn>
                    <a:cxn ang="0">
                      <a:pos x="T2" y="T3"/>
                    </a:cxn>
                    <a:cxn ang="0">
                      <a:pos x="T4" y="T5"/>
                    </a:cxn>
                    <a:cxn ang="0">
                      <a:pos x="T6" y="T7"/>
                    </a:cxn>
                  </a:cxnLst>
                  <a:rect l="0" t="0" r="r" b="b"/>
                  <a:pathLst>
                    <a:path w="27" h="14">
                      <a:moveTo>
                        <a:pt x="14" y="0"/>
                      </a:moveTo>
                      <a:cubicBezTo>
                        <a:pt x="6" y="0"/>
                        <a:pt x="0" y="6"/>
                        <a:pt x="0" y="14"/>
                      </a:cubicBezTo>
                      <a:cubicBezTo>
                        <a:pt x="27" y="14"/>
                        <a:pt x="27" y="14"/>
                        <a:pt x="27" y="14"/>
                      </a:cubicBezTo>
                      <a:cubicBezTo>
                        <a:pt x="27" y="6"/>
                        <a:pt x="21" y="0"/>
                        <a:pt x="1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71" name="Freeform 56"/>
                <p:cNvSpPr>
                  <a:spLocks/>
                </p:cNvSpPr>
                <p:nvPr/>
              </p:nvSpPr>
              <p:spPr bwMode="auto">
                <a:xfrm>
                  <a:off x="7292642" y="3874375"/>
                  <a:ext cx="174266" cy="764761"/>
                </a:xfrm>
                <a:custGeom>
                  <a:avLst/>
                  <a:gdLst>
                    <a:gd name="T0" fmla="*/ 106 w 139"/>
                    <a:gd name="T1" fmla="*/ 610 h 610"/>
                    <a:gd name="T2" fmla="*/ 25 w 139"/>
                    <a:gd name="T3" fmla="*/ 610 h 610"/>
                    <a:gd name="T4" fmla="*/ 0 w 139"/>
                    <a:gd name="T5" fmla="*/ 0 h 610"/>
                    <a:gd name="T6" fmla="*/ 139 w 139"/>
                    <a:gd name="T7" fmla="*/ 0 h 610"/>
                    <a:gd name="T8" fmla="*/ 106 w 139"/>
                    <a:gd name="T9" fmla="*/ 610 h 610"/>
                  </a:gdLst>
                  <a:ahLst/>
                  <a:cxnLst>
                    <a:cxn ang="0">
                      <a:pos x="T0" y="T1"/>
                    </a:cxn>
                    <a:cxn ang="0">
                      <a:pos x="T2" y="T3"/>
                    </a:cxn>
                    <a:cxn ang="0">
                      <a:pos x="T4" y="T5"/>
                    </a:cxn>
                    <a:cxn ang="0">
                      <a:pos x="T6" y="T7"/>
                    </a:cxn>
                    <a:cxn ang="0">
                      <a:pos x="T8" y="T9"/>
                    </a:cxn>
                  </a:cxnLst>
                  <a:rect l="0" t="0" r="r" b="b"/>
                  <a:pathLst>
                    <a:path w="139" h="610">
                      <a:moveTo>
                        <a:pt x="106" y="610"/>
                      </a:moveTo>
                      <a:lnTo>
                        <a:pt x="25" y="610"/>
                      </a:lnTo>
                      <a:lnTo>
                        <a:pt x="0" y="0"/>
                      </a:lnTo>
                      <a:lnTo>
                        <a:pt x="139" y="0"/>
                      </a:lnTo>
                      <a:lnTo>
                        <a:pt x="106" y="6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72" name="Freeform 57"/>
                <p:cNvSpPr>
                  <a:spLocks/>
                </p:cNvSpPr>
                <p:nvPr/>
              </p:nvSpPr>
              <p:spPr bwMode="auto">
                <a:xfrm>
                  <a:off x="7446848" y="3874375"/>
                  <a:ext cx="174266" cy="764761"/>
                </a:xfrm>
                <a:custGeom>
                  <a:avLst/>
                  <a:gdLst>
                    <a:gd name="T0" fmla="*/ 114 w 139"/>
                    <a:gd name="T1" fmla="*/ 610 h 610"/>
                    <a:gd name="T2" fmla="*/ 33 w 139"/>
                    <a:gd name="T3" fmla="*/ 610 h 610"/>
                    <a:gd name="T4" fmla="*/ 0 w 139"/>
                    <a:gd name="T5" fmla="*/ 0 h 610"/>
                    <a:gd name="T6" fmla="*/ 139 w 139"/>
                    <a:gd name="T7" fmla="*/ 0 h 610"/>
                    <a:gd name="T8" fmla="*/ 114 w 139"/>
                    <a:gd name="T9" fmla="*/ 610 h 610"/>
                  </a:gdLst>
                  <a:ahLst/>
                  <a:cxnLst>
                    <a:cxn ang="0">
                      <a:pos x="T0" y="T1"/>
                    </a:cxn>
                    <a:cxn ang="0">
                      <a:pos x="T2" y="T3"/>
                    </a:cxn>
                    <a:cxn ang="0">
                      <a:pos x="T4" y="T5"/>
                    </a:cxn>
                    <a:cxn ang="0">
                      <a:pos x="T6" y="T7"/>
                    </a:cxn>
                    <a:cxn ang="0">
                      <a:pos x="T8" y="T9"/>
                    </a:cxn>
                  </a:cxnLst>
                  <a:rect l="0" t="0" r="r" b="b"/>
                  <a:pathLst>
                    <a:path w="139" h="610">
                      <a:moveTo>
                        <a:pt x="114" y="610"/>
                      </a:moveTo>
                      <a:lnTo>
                        <a:pt x="33" y="610"/>
                      </a:lnTo>
                      <a:lnTo>
                        <a:pt x="0" y="0"/>
                      </a:lnTo>
                      <a:lnTo>
                        <a:pt x="139" y="0"/>
                      </a:lnTo>
                      <a:lnTo>
                        <a:pt x="114" y="61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73" name="Freeform 58"/>
                <p:cNvSpPr>
                  <a:spLocks/>
                </p:cNvSpPr>
                <p:nvPr/>
              </p:nvSpPr>
              <p:spPr bwMode="auto">
                <a:xfrm>
                  <a:off x="7471922" y="4624091"/>
                  <a:ext cx="139162" cy="71462"/>
                </a:xfrm>
                <a:custGeom>
                  <a:avLst/>
                  <a:gdLst>
                    <a:gd name="T0" fmla="*/ 13 w 27"/>
                    <a:gd name="T1" fmla="*/ 0 h 14"/>
                    <a:gd name="T2" fmla="*/ 0 w 27"/>
                    <a:gd name="T3" fmla="*/ 14 h 14"/>
                    <a:gd name="T4" fmla="*/ 27 w 27"/>
                    <a:gd name="T5" fmla="*/ 14 h 14"/>
                    <a:gd name="T6" fmla="*/ 13 w 27"/>
                    <a:gd name="T7" fmla="*/ 0 h 14"/>
                  </a:gdLst>
                  <a:ahLst/>
                  <a:cxnLst>
                    <a:cxn ang="0">
                      <a:pos x="T0" y="T1"/>
                    </a:cxn>
                    <a:cxn ang="0">
                      <a:pos x="T2" y="T3"/>
                    </a:cxn>
                    <a:cxn ang="0">
                      <a:pos x="T4" y="T5"/>
                    </a:cxn>
                    <a:cxn ang="0">
                      <a:pos x="T6" y="T7"/>
                    </a:cxn>
                  </a:cxnLst>
                  <a:rect l="0" t="0" r="r" b="b"/>
                  <a:pathLst>
                    <a:path w="27" h="14">
                      <a:moveTo>
                        <a:pt x="13" y="0"/>
                      </a:moveTo>
                      <a:cubicBezTo>
                        <a:pt x="6" y="0"/>
                        <a:pt x="0" y="6"/>
                        <a:pt x="0" y="14"/>
                      </a:cubicBezTo>
                      <a:cubicBezTo>
                        <a:pt x="27" y="14"/>
                        <a:pt x="27" y="14"/>
                        <a:pt x="27" y="14"/>
                      </a:cubicBezTo>
                      <a:cubicBezTo>
                        <a:pt x="27" y="6"/>
                        <a:pt x="21"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74" name="Freeform 59"/>
                <p:cNvSpPr>
                  <a:spLocks/>
                </p:cNvSpPr>
                <p:nvPr/>
              </p:nvSpPr>
              <p:spPr bwMode="auto">
                <a:xfrm>
                  <a:off x="7375386" y="3237492"/>
                  <a:ext cx="174266" cy="462618"/>
                </a:xfrm>
                <a:custGeom>
                  <a:avLst/>
                  <a:gdLst>
                    <a:gd name="T0" fmla="*/ 139 w 139"/>
                    <a:gd name="T1" fmla="*/ 78 h 369"/>
                    <a:gd name="T2" fmla="*/ 69 w 139"/>
                    <a:gd name="T3" fmla="*/ 0 h 369"/>
                    <a:gd name="T4" fmla="*/ 0 w 139"/>
                    <a:gd name="T5" fmla="*/ 70 h 369"/>
                    <a:gd name="T6" fmla="*/ 53 w 139"/>
                    <a:gd name="T7" fmla="*/ 340 h 369"/>
                    <a:gd name="T8" fmla="*/ 65 w 139"/>
                    <a:gd name="T9" fmla="*/ 369 h 369"/>
                    <a:gd name="T10" fmla="*/ 81 w 139"/>
                    <a:gd name="T11" fmla="*/ 340 h 369"/>
                    <a:gd name="T12" fmla="*/ 139 w 139"/>
                    <a:gd name="T13" fmla="*/ 78 h 369"/>
                  </a:gdLst>
                  <a:ahLst/>
                  <a:cxnLst>
                    <a:cxn ang="0">
                      <a:pos x="T0" y="T1"/>
                    </a:cxn>
                    <a:cxn ang="0">
                      <a:pos x="T2" y="T3"/>
                    </a:cxn>
                    <a:cxn ang="0">
                      <a:pos x="T4" y="T5"/>
                    </a:cxn>
                    <a:cxn ang="0">
                      <a:pos x="T6" y="T7"/>
                    </a:cxn>
                    <a:cxn ang="0">
                      <a:pos x="T8" y="T9"/>
                    </a:cxn>
                    <a:cxn ang="0">
                      <a:pos x="T10" y="T11"/>
                    </a:cxn>
                    <a:cxn ang="0">
                      <a:pos x="T12" y="T13"/>
                    </a:cxn>
                  </a:cxnLst>
                  <a:rect l="0" t="0" r="r" b="b"/>
                  <a:pathLst>
                    <a:path w="139" h="369">
                      <a:moveTo>
                        <a:pt x="139" y="78"/>
                      </a:moveTo>
                      <a:lnTo>
                        <a:pt x="69" y="0"/>
                      </a:lnTo>
                      <a:lnTo>
                        <a:pt x="0" y="70"/>
                      </a:lnTo>
                      <a:lnTo>
                        <a:pt x="53" y="340"/>
                      </a:lnTo>
                      <a:lnTo>
                        <a:pt x="65" y="369"/>
                      </a:lnTo>
                      <a:lnTo>
                        <a:pt x="81" y="340"/>
                      </a:lnTo>
                      <a:lnTo>
                        <a:pt x="139" y="7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75" name="Freeform 60"/>
                <p:cNvSpPr>
                  <a:spLocks/>
                </p:cNvSpPr>
                <p:nvPr/>
              </p:nvSpPr>
              <p:spPr bwMode="auto">
                <a:xfrm>
                  <a:off x="7359089" y="2924065"/>
                  <a:ext cx="215638" cy="272055"/>
                </a:xfrm>
                <a:custGeom>
                  <a:avLst/>
                  <a:gdLst>
                    <a:gd name="T0" fmla="*/ 37 w 42"/>
                    <a:gd name="T1" fmla="*/ 32 h 53"/>
                    <a:gd name="T2" fmla="*/ 15 w 42"/>
                    <a:gd name="T3" fmla="*/ 49 h 53"/>
                    <a:gd name="T4" fmla="*/ 4 w 42"/>
                    <a:gd name="T5" fmla="*/ 21 h 53"/>
                    <a:gd name="T6" fmla="*/ 31 w 42"/>
                    <a:gd name="T7" fmla="*/ 3 h 53"/>
                    <a:gd name="T8" fmla="*/ 37 w 42"/>
                    <a:gd name="T9" fmla="*/ 32 h 53"/>
                  </a:gdLst>
                  <a:ahLst/>
                  <a:cxnLst>
                    <a:cxn ang="0">
                      <a:pos x="T0" y="T1"/>
                    </a:cxn>
                    <a:cxn ang="0">
                      <a:pos x="T2" y="T3"/>
                    </a:cxn>
                    <a:cxn ang="0">
                      <a:pos x="T4" y="T5"/>
                    </a:cxn>
                    <a:cxn ang="0">
                      <a:pos x="T6" y="T7"/>
                    </a:cxn>
                    <a:cxn ang="0">
                      <a:pos x="T8" y="T9"/>
                    </a:cxn>
                  </a:cxnLst>
                  <a:rect l="0" t="0" r="r" b="b"/>
                  <a:pathLst>
                    <a:path w="42" h="53">
                      <a:moveTo>
                        <a:pt x="37" y="32"/>
                      </a:moveTo>
                      <a:cubicBezTo>
                        <a:pt x="30" y="53"/>
                        <a:pt x="25" y="52"/>
                        <a:pt x="15" y="49"/>
                      </a:cubicBezTo>
                      <a:cubicBezTo>
                        <a:pt x="5" y="46"/>
                        <a:pt x="0" y="33"/>
                        <a:pt x="4" y="21"/>
                      </a:cubicBezTo>
                      <a:cubicBezTo>
                        <a:pt x="8" y="9"/>
                        <a:pt x="21" y="0"/>
                        <a:pt x="31" y="3"/>
                      </a:cubicBezTo>
                      <a:cubicBezTo>
                        <a:pt x="41" y="6"/>
                        <a:pt x="42" y="20"/>
                        <a:pt x="37"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76" name="Freeform 61"/>
                <p:cNvSpPr>
                  <a:spLocks/>
                </p:cNvSpPr>
                <p:nvPr/>
              </p:nvSpPr>
              <p:spPr bwMode="auto">
                <a:xfrm>
                  <a:off x="7318970" y="2914035"/>
                  <a:ext cx="240712" cy="297129"/>
                </a:xfrm>
                <a:custGeom>
                  <a:avLst/>
                  <a:gdLst>
                    <a:gd name="T0" fmla="*/ 41 w 47"/>
                    <a:gd name="T1" fmla="*/ 11 h 58"/>
                    <a:gd name="T2" fmla="*/ 34 w 47"/>
                    <a:gd name="T3" fmla="*/ 49 h 58"/>
                    <a:gd name="T4" fmla="*/ 14 w 47"/>
                    <a:gd name="T5" fmla="*/ 47 h 58"/>
                    <a:gd name="T6" fmla="*/ 14 w 47"/>
                    <a:gd name="T7" fmla="*/ 4 h 58"/>
                    <a:gd name="T8" fmla="*/ 41 w 47"/>
                    <a:gd name="T9" fmla="*/ 11 h 58"/>
                  </a:gdLst>
                  <a:ahLst/>
                  <a:cxnLst>
                    <a:cxn ang="0">
                      <a:pos x="T0" y="T1"/>
                    </a:cxn>
                    <a:cxn ang="0">
                      <a:pos x="T2" y="T3"/>
                    </a:cxn>
                    <a:cxn ang="0">
                      <a:pos x="T4" y="T5"/>
                    </a:cxn>
                    <a:cxn ang="0">
                      <a:pos x="T6" y="T7"/>
                    </a:cxn>
                    <a:cxn ang="0">
                      <a:pos x="T8" y="T9"/>
                    </a:cxn>
                  </a:cxnLst>
                  <a:rect l="0" t="0" r="r" b="b"/>
                  <a:pathLst>
                    <a:path w="47" h="58">
                      <a:moveTo>
                        <a:pt x="41" y="11"/>
                      </a:moveTo>
                      <a:cubicBezTo>
                        <a:pt x="47" y="22"/>
                        <a:pt x="43" y="44"/>
                        <a:pt x="34" y="49"/>
                      </a:cubicBezTo>
                      <a:cubicBezTo>
                        <a:pt x="26" y="53"/>
                        <a:pt x="20" y="58"/>
                        <a:pt x="14" y="47"/>
                      </a:cubicBezTo>
                      <a:cubicBezTo>
                        <a:pt x="8" y="37"/>
                        <a:pt x="0" y="10"/>
                        <a:pt x="14" y="4"/>
                      </a:cubicBezTo>
                      <a:cubicBezTo>
                        <a:pt x="22" y="0"/>
                        <a:pt x="35" y="1"/>
                        <a:pt x="41"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77" name="Freeform 62"/>
                <p:cNvSpPr>
                  <a:spLocks/>
                </p:cNvSpPr>
                <p:nvPr/>
              </p:nvSpPr>
              <p:spPr bwMode="auto">
                <a:xfrm>
                  <a:off x="7400460" y="3129673"/>
                  <a:ext cx="112834" cy="132893"/>
                </a:xfrm>
                <a:custGeom>
                  <a:avLst/>
                  <a:gdLst>
                    <a:gd name="T0" fmla="*/ 90 w 90"/>
                    <a:gd name="T1" fmla="*/ 70 h 106"/>
                    <a:gd name="T2" fmla="*/ 45 w 90"/>
                    <a:gd name="T3" fmla="*/ 106 h 106"/>
                    <a:gd name="T4" fmla="*/ 0 w 90"/>
                    <a:gd name="T5" fmla="*/ 70 h 106"/>
                    <a:gd name="T6" fmla="*/ 0 w 90"/>
                    <a:gd name="T7" fmla="*/ 0 h 106"/>
                    <a:gd name="T8" fmla="*/ 90 w 90"/>
                    <a:gd name="T9" fmla="*/ 0 h 106"/>
                    <a:gd name="T10" fmla="*/ 90 w 90"/>
                    <a:gd name="T11" fmla="*/ 70 h 106"/>
                  </a:gdLst>
                  <a:ahLst/>
                  <a:cxnLst>
                    <a:cxn ang="0">
                      <a:pos x="T0" y="T1"/>
                    </a:cxn>
                    <a:cxn ang="0">
                      <a:pos x="T2" y="T3"/>
                    </a:cxn>
                    <a:cxn ang="0">
                      <a:pos x="T4" y="T5"/>
                    </a:cxn>
                    <a:cxn ang="0">
                      <a:pos x="T6" y="T7"/>
                    </a:cxn>
                    <a:cxn ang="0">
                      <a:pos x="T8" y="T9"/>
                    </a:cxn>
                    <a:cxn ang="0">
                      <a:pos x="T10" y="T11"/>
                    </a:cxn>
                  </a:cxnLst>
                  <a:rect l="0" t="0" r="r" b="b"/>
                  <a:pathLst>
                    <a:path w="90" h="106">
                      <a:moveTo>
                        <a:pt x="90" y="70"/>
                      </a:moveTo>
                      <a:lnTo>
                        <a:pt x="45" y="106"/>
                      </a:lnTo>
                      <a:lnTo>
                        <a:pt x="0" y="70"/>
                      </a:lnTo>
                      <a:lnTo>
                        <a:pt x="0" y="0"/>
                      </a:lnTo>
                      <a:lnTo>
                        <a:pt x="90" y="0"/>
                      </a:lnTo>
                      <a:lnTo>
                        <a:pt x="90" y="7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78" name="Freeform 63"/>
                <p:cNvSpPr>
                  <a:spLocks/>
                </p:cNvSpPr>
                <p:nvPr/>
              </p:nvSpPr>
              <p:spPr bwMode="auto">
                <a:xfrm>
                  <a:off x="7138436" y="3252536"/>
                  <a:ext cx="236951" cy="616824"/>
                </a:xfrm>
                <a:custGeom>
                  <a:avLst/>
                  <a:gdLst>
                    <a:gd name="T0" fmla="*/ 46 w 46"/>
                    <a:gd name="T1" fmla="*/ 5 h 120"/>
                    <a:gd name="T2" fmla="*/ 28 w 46"/>
                    <a:gd name="T3" fmla="*/ 0 h 120"/>
                    <a:gd name="T4" fmla="*/ 0 w 46"/>
                    <a:gd name="T5" fmla="*/ 120 h 120"/>
                    <a:gd name="T6" fmla="*/ 19 w 46"/>
                    <a:gd name="T7" fmla="*/ 120 h 120"/>
                    <a:gd name="T8" fmla="*/ 46 w 46"/>
                    <a:gd name="T9" fmla="*/ 5 h 120"/>
                  </a:gdLst>
                  <a:ahLst/>
                  <a:cxnLst>
                    <a:cxn ang="0">
                      <a:pos x="T0" y="T1"/>
                    </a:cxn>
                    <a:cxn ang="0">
                      <a:pos x="T2" y="T3"/>
                    </a:cxn>
                    <a:cxn ang="0">
                      <a:pos x="T4" y="T5"/>
                    </a:cxn>
                    <a:cxn ang="0">
                      <a:pos x="T6" y="T7"/>
                    </a:cxn>
                    <a:cxn ang="0">
                      <a:pos x="T8" y="T9"/>
                    </a:cxn>
                  </a:cxnLst>
                  <a:rect l="0" t="0" r="r" b="b"/>
                  <a:pathLst>
                    <a:path w="46" h="120">
                      <a:moveTo>
                        <a:pt x="46" y="5"/>
                      </a:moveTo>
                      <a:cubicBezTo>
                        <a:pt x="40" y="3"/>
                        <a:pt x="34" y="2"/>
                        <a:pt x="28" y="0"/>
                      </a:cubicBezTo>
                      <a:cubicBezTo>
                        <a:pt x="10" y="39"/>
                        <a:pt x="4" y="77"/>
                        <a:pt x="0" y="120"/>
                      </a:cubicBezTo>
                      <a:cubicBezTo>
                        <a:pt x="19" y="120"/>
                        <a:pt x="19" y="120"/>
                        <a:pt x="19" y="120"/>
                      </a:cubicBezTo>
                      <a:cubicBezTo>
                        <a:pt x="23" y="79"/>
                        <a:pt x="29" y="42"/>
                        <a:pt x="46"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79" name="Freeform 65"/>
                <p:cNvSpPr>
                  <a:spLocks/>
                </p:cNvSpPr>
                <p:nvPr/>
              </p:nvSpPr>
              <p:spPr bwMode="auto">
                <a:xfrm>
                  <a:off x="7149719" y="3869360"/>
                  <a:ext cx="71462" cy="76477"/>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80" name="Freeform 67"/>
                <p:cNvSpPr>
                  <a:spLocks/>
                </p:cNvSpPr>
                <p:nvPr/>
              </p:nvSpPr>
              <p:spPr bwMode="auto">
                <a:xfrm>
                  <a:off x="7277597" y="3232477"/>
                  <a:ext cx="358560" cy="620585"/>
                </a:xfrm>
                <a:custGeom>
                  <a:avLst/>
                  <a:gdLst>
                    <a:gd name="T0" fmla="*/ 200 w 286"/>
                    <a:gd name="T1" fmla="*/ 0 h 495"/>
                    <a:gd name="T2" fmla="*/ 143 w 286"/>
                    <a:gd name="T3" fmla="*/ 94 h 495"/>
                    <a:gd name="T4" fmla="*/ 90 w 286"/>
                    <a:gd name="T5" fmla="*/ 0 h 495"/>
                    <a:gd name="T6" fmla="*/ 0 w 286"/>
                    <a:gd name="T7" fmla="*/ 16 h 495"/>
                    <a:gd name="T8" fmla="*/ 8 w 286"/>
                    <a:gd name="T9" fmla="*/ 495 h 495"/>
                    <a:gd name="T10" fmla="*/ 282 w 286"/>
                    <a:gd name="T11" fmla="*/ 495 h 495"/>
                    <a:gd name="T12" fmla="*/ 286 w 286"/>
                    <a:gd name="T13" fmla="*/ 16 h 495"/>
                    <a:gd name="T14" fmla="*/ 200 w 286"/>
                    <a:gd name="T15" fmla="*/ 0 h 4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6" h="495">
                      <a:moveTo>
                        <a:pt x="200" y="0"/>
                      </a:moveTo>
                      <a:lnTo>
                        <a:pt x="143" y="94"/>
                      </a:lnTo>
                      <a:lnTo>
                        <a:pt x="90" y="0"/>
                      </a:lnTo>
                      <a:lnTo>
                        <a:pt x="0" y="16"/>
                      </a:lnTo>
                      <a:lnTo>
                        <a:pt x="8" y="495"/>
                      </a:lnTo>
                      <a:lnTo>
                        <a:pt x="282" y="495"/>
                      </a:lnTo>
                      <a:lnTo>
                        <a:pt x="286" y="16"/>
                      </a:lnTo>
                      <a:lnTo>
                        <a:pt x="20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81" name="Freeform 72"/>
                <p:cNvSpPr>
                  <a:spLocks/>
                </p:cNvSpPr>
                <p:nvPr/>
              </p:nvSpPr>
              <p:spPr bwMode="auto">
                <a:xfrm>
                  <a:off x="7369118" y="300681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82" name="Freeform 76"/>
                <p:cNvSpPr>
                  <a:spLocks/>
                </p:cNvSpPr>
                <p:nvPr/>
              </p:nvSpPr>
              <p:spPr bwMode="auto">
                <a:xfrm>
                  <a:off x="7364103" y="3021854"/>
                  <a:ext cx="0" cy="501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83" name="Freeform 77"/>
                <p:cNvSpPr>
                  <a:spLocks/>
                </p:cNvSpPr>
                <p:nvPr/>
              </p:nvSpPr>
              <p:spPr bwMode="auto">
                <a:xfrm>
                  <a:off x="7364103" y="30168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84" name="Freeform 78"/>
                <p:cNvSpPr>
                  <a:spLocks/>
                </p:cNvSpPr>
                <p:nvPr/>
              </p:nvSpPr>
              <p:spPr bwMode="auto">
                <a:xfrm>
                  <a:off x="7364103" y="301182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85" name="Freeform 79"/>
                <p:cNvSpPr>
                  <a:spLocks/>
                </p:cNvSpPr>
                <p:nvPr/>
              </p:nvSpPr>
              <p:spPr bwMode="auto">
                <a:xfrm>
                  <a:off x="7364103" y="3016839"/>
                  <a:ext cx="0" cy="501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86" name="Freeform 80"/>
                <p:cNvSpPr>
                  <a:spLocks/>
                </p:cNvSpPr>
                <p:nvPr/>
              </p:nvSpPr>
              <p:spPr bwMode="auto">
                <a:xfrm>
                  <a:off x="7344044" y="2995526"/>
                  <a:ext cx="220652" cy="195578"/>
                </a:xfrm>
                <a:custGeom>
                  <a:avLst/>
                  <a:gdLst>
                    <a:gd name="T0" fmla="*/ 41 w 43"/>
                    <a:gd name="T1" fmla="*/ 9 h 38"/>
                    <a:gd name="T2" fmla="*/ 40 w 43"/>
                    <a:gd name="T3" fmla="*/ 9 h 38"/>
                    <a:gd name="T4" fmla="*/ 40 w 43"/>
                    <a:gd name="T5" fmla="*/ 6 h 38"/>
                    <a:gd name="T6" fmla="*/ 40 w 43"/>
                    <a:gd name="T7" fmla="*/ 6 h 38"/>
                    <a:gd name="T8" fmla="*/ 40 w 43"/>
                    <a:gd name="T9" fmla="*/ 5 h 38"/>
                    <a:gd name="T10" fmla="*/ 40 w 43"/>
                    <a:gd name="T11" fmla="*/ 5 h 38"/>
                    <a:gd name="T12" fmla="*/ 40 w 43"/>
                    <a:gd name="T13" fmla="*/ 5 h 38"/>
                    <a:gd name="T14" fmla="*/ 40 w 43"/>
                    <a:gd name="T15" fmla="*/ 4 h 38"/>
                    <a:gd name="T16" fmla="*/ 40 w 43"/>
                    <a:gd name="T17" fmla="*/ 4 h 38"/>
                    <a:gd name="T18" fmla="*/ 40 w 43"/>
                    <a:gd name="T19" fmla="*/ 3 h 38"/>
                    <a:gd name="T20" fmla="*/ 39 w 43"/>
                    <a:gd name="T21" fmla="*/ 3 h 38"/>
                    <a:gd name="T22" fmla="*/ 39 w 43"/>
                    <a:gd name="T23" fmla="*/ 2 h 38"/>
                    <a:gd name="T24" fmla="*/ 39 w 43"/>
                    <a:gd name="T25" fmla="*/ 2 h 38"/>
                    <a:gd name="T26" fmla="*/ 39 w 43"/>
                    <a:gd name="T27" fmla="*/ 2 h 38"/>
                    <a:gd name="T28" fmla="*/ 39 w 43"/>
                    <a:gd name="T29" fmla="*/ 1 h 38"/>
                    <a:gd name="T30" fmla="*/ 39 w 43"/>
                    <a:gd name="T31" fmla="*/ 1 h 38"/>
                    <a:gd name="T32" fmla="*/ 35 w 43"/>
                    <a:gd name="T33" fmla="*/ 2 h 38"/>
                    <a:gd name="T34" fmla="*/ 29 w 43"/>
                    <a:gd name="T35" fmla="*/ 0 h 38"/>
                    <a:gd name="T36" fmla="*/ 18 w 43"/>
                    <a:gd name="T37" fmla="*/ 2 h 38"/>
                    <a:gd name="T38" fmla="*/ 6 w 43"/>
                    <a:gd name="T39" fmla="*/ 0 h 38"/>
                    <a:gd name="T40" fmla="*/ 5 w 43"/>
                    <a:gd name="T41" fmla="*/ 2 h 38"/>
                    <a:gd name="T42" fmla="*/ 5 w 43"/>
                    <a:gd name="T43" fmla="*/ 2 h 38"/>
                    <a:gd name="T44" fmla="*/ 4 w 43"/>
                    <a:gd name="T45" fmla="*/ 3 h 38"/>
                    <a:gd name="T46" fmla="*/ 4 w 43"/>
                    <a:gd name="T47" fmla="*/ 3 h 38"/>
                    <a:gd name="T48" fmla="*/ 4 w 43"/>
                    <a:gd name="T49" fmla="*/ 4 h 38"/>
                    <a:gd name="T50" fmla="*/ 4 w 43"/>
                    <a:gd name="T51" fmla="*/ 4 h 38"/>
                    <a:gd name="T52" fmla="*/ 4 w 43"/>
                    <a:gd name="T53" fmla="*/ 4 h 38"/>
                    <a:gd name="T54" fmla="*/ 4 w 43"/>
                    <a:gd name="T55" fmla="*/ 5 h 38"/>
                    <a:gd name="T56" fmla="*/ 4 w 43"/>
                    <a:gd name="T57" fmla="*/ 5 h 38"/>
                    <a:gd name="T58" fmla="*/ 4 w 43"/>
                    <a:gd name="T59" fmla="*/ 6 h 38"/>
                    <a:gd name="T60" fmla="*/ 4 w 43"/>
                    <a:gd name="T61" fmla="*/ 6 h 38"/>
                    <a:gd name="T62" fmla="*/ 4 w 43"/>
                    <a:gd name="T63" fmla="*/ 9 h 38"/>
                    <a:gd name="T64" fmla="*/ 3 w 43"/>
                    <a:gd name="T65" fmla="*/ 9 h 38"/>
                    <a:gd name="T66" fmla="*/ 0 w 43"/>
                    <a:gd name="T67" fmla="*/ 12 h 38"/>
                    <a:gd name="T68" fmla="*/ 0 w 43"/>
                    <a:gd name="T69" fmla="*/ 19 h 38"/>
                    <a:gd name="T70" fmla="*/ 4 w 43"/>
                    <a:gd name="T71" fmla="*/ 22 h 38"/>
                    <a:gd name="T72" fmla="*/ 14 w 43"/>
                    <a:gd name="T73" fmla="*/ 38 h 38"/>
                    <a:gd name="T74" fmla="*/ 30 w 43"/>
                    <a:gd name="T75" fmla="*/ 38 h 38"/>
                    <a:gd name="T76" fmla="*/ 40 w 43"/>
                    <a:gd name="T77" fmla="*/ 22 h 38"/>
                    <a:gd name="T78" fmla="*/ 43 w 43"/>
                    <a:gd name="T79" fmla="*/ 19 h 38"/>
                    <a:gd name="T80" fmla="*/ 43 w 43"/>
                    <a:gd name="T81" fmla="*/ 12 h 38"/>
                    <a:gd name="T82" fmla="*/ 41 w 43"/>
                    <a:gd name="T83"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 h="38">
                      <a:moveTo>
                        <a:pt x="41" y="9"/>
                      </a:moveTo>
                      <a:cubicBezTo>
                        <a:pt x="41" y="9"/>
                        <a:pt x="41" y="9"/>
                        <a:pt x="40" y="9"/>
                      </a:cubicBezTo>
                      <a:cubicBezTo>
                        <a:pt x="40" y="6"/>
                        <a:pt x="40" y="6"/>
                        <a:pt x="40" y="6"/>
                      </a:cubicBezTo>
                      <a:cubicBezTo>
                        <a:pt x="40" y="6"/>
                        <a:pt x="40" y="6"/>
                        <a:pt x="40" y="6"/>
                      </a:cubicBezTo>
                      <a:cubicBezTo>
                        <a:pt x="40" y="6"/>
                        <a:pt x="40" y="5"/>
                        <a:pt x="40" y="5"/>
                      </a:cubicBezTo>
                      <a:cubicBezTo>
                        <a:pt x="40" y="5"/>
                        <a:pt x="40" y="5"/>
                        <a:pt x="40" y="5"/>
                      </a:cubicBezTo>
                      <a:cubicBezTo>
                        <a:pt x="40" y="5"/>
                        <a:pt x="40" y="5"/>
                        <a:pt x="40" y="5"/>
                      </a:cubicBezTo>
                      <a:cubicBezTo>
                        <a:pt x="40" y="4"/>
                        <a:pt x="40" y="4"/>
                        <a:pt x="40" y="4"/>
                      </a:cubicBezTo>
                      <a:cubicBezTo>
                        <a:pt x="40" y="4"/>
                        <a:pt x="40" y="4"/>
                        <a:pt x="40" y="4"/>
                      </a:cubicBezTo>
                      <a:cubicBezTo>
                        <a:pt x="40" y="4"/>
                        <a:pt x="40" y="4"/>
                        <a:pt x="40" y="3"/>
                      </a:cubicBezTo>
                      <a:cubicBezTo>
                        <a:pt x="40" y="3"/>
                        <a:pt x="39" y="3"/>
                        <a:pt x="39" y="3"/>
                      </a:cubicBezTo>
                      <a:cubicBezTo>
                        <a:pt x="39" y="3"/>
                        <a:pt x="39" y="2"/>
                        <a:pt x="39" y="2"/>
                      </a:cubicBezTo>
                      <a:cubicBezTo>
                        <a:pt x="39" y="2"/>
                        <a:pt x="39" y="2"/>
                        <a:pt x="39" y="2"/>
                      </a:cubicBezTo>
                      <a:cubicBezTo>
                        <a:pt x="39" y="2"/>
                        <a:pt x="39" y="2"/>
                        <a:pt x="39" y="2"/>
                      </a:cubicBezTo>
                      <a:cubicBezTo>
                        <a:pt x="39" y="2"/>
                        <a:pt x="39" y="1"/>
                        <a:pt x="39" y="1"/>
                      </a:cubicBezTo>
                      <a:cubicBezTo>
                        <a:pt x="39" y="1"/>
                        <a:pt x="39" y="1"/>
                        <a:pt x="39" y="1"/>
                      </a:cubicBezTo>
                      <a:cubicBezTo>
                        <a:pt x="38" y="2"/>
                        <a:pt x="36" y="2"/>
                        <a:pt x="35" y="2"/>
                      </a:cubicBezTo>
                      <a:cubicBezTo>
                        <a:pt x="33" y="2"/>
                        <a:pt x="30" y="1"/>
                        <a:pt x="29" y="0"/>
                      </a:cubicBezTo>
                      <a:cubicBezTo>
                        <a:pt x="26" y="1"/>
                        <a:pt x="22" y="2"/>
                        <a:pt x="18" y="2"/>
                      </a:cubicBezTo>
                      <a:cubicBezTo>
                        <a:pt x="13" y="2"/>
                        <a:pt x="9" y="1"/>
                        <a:pt x="6" y="0"/>
                      </a:cubicBezTo>
                      <a:cubicBezTo>
                        <a:pt x="6" y="1"/>
                        <a:pt x="5" y="1"/>
                        <a:pt x="5" y="2"/>
                      </a:cubicBezTo>
                      <a:cubicBezTo>
                        <a:pt x="5" y="2"/>
                        <a:pt x="5" y="2"/>
                        <a:pt x="5" y="2"/>
                      </a:cubicBezTo>
                      <a:cubicBezTo>
                        <a:pt x="5" y="2"/>
                        <a:pt x="5" y="3"/>
                        <a:pt x="4" y="3"/>
                      </a:cubicBezTo>
                      <a:cubicBezTo>
                        <a:pt x="4" y="3"/>
                        <a:pt x="4" y="3"/>
                        <a:pt x="4" y="3"/>
                      </a:cubicBezTo>
                      <a:cubicBezTo>
                        <a:pt x="4" y="3"/>
                        <a:pt x="4" y="3"/>
                        <a:pt x="4" y="4"/>
                      </a:cubicBezTo>
                      <a:cubicBezTo>
                        <a:pt x="4" y="4"/>
                        <a:pt x="4" y="4"/>
                        <a:pt x="4" y="4"/>
                      </a:cubicBezTo>
                      <a:cubicBezTo>
                        <a:pt x="4" y="4"/>
                        <a:pt x="4" y="4"/>
                        <a:pt x="4" y="4"/>
                      </a:cubicBezTo>
                      <a:cubicBezTo>
                        <a:pt x="4" y="5"/>
                        <a:pt x="4" y="5"/>
                        <a:pt x="4" y="5"/>
                      </a:cubicBezTo>
                      <a:cubicBezTo>
                        <a:pt x="4" y="5"/>
                        <a:pt x="4" y="5"/>
                        <a:pt x="4" y="5"/>
                      </a:cubicBezTo>
                      <a:cubicBezTo>
                        <a:pt x="4" y="5"/>
                        <a:pt x="4" y="5"/>
                        <a:pt x="4" y="6"/>
                      </a:cubicBezTo>
                      <a:cubicBezTo>
                        <a:pt x="4" y="6"/>
                        <a:pt x="4" y="6"/>
                        <a:pt x="4" y="6"/>
                      </a:cubicBezTo>
                      <a:cubicBezTo>
                        <a:pt x="4" y="9"/>
                        <a:pt x="4" y="9"/>
                        <a:pt x="4" y="9"/>
                      </a:cubicBezTo>
                      <a:cubicBezTo>
                        <a:pt x="3" y="9"/>
                        <a:pt x="3" y="9"/>
                        <a:pt x="3" y="9"/>
                      </a:cubicBezTo>
                      <a:cubicBezTo>
                        <a:pt x="2" y="9"/>
                        <a:pt x="0" y="11"/>
                        <a:pt x="0" y="12"/>
                      </a:cubicBezTo>
                      <a:cubicBezTo>
                        <a:pt x="0" y="19"/>
                        <a:pt x="0" y="19"/>
                        <a:pt x="0" y="19"/>
                      </a:cubicBezTo>
                      <a:cubicBezTo>
                        <a:pt x="0" y="21"/>
                        <a:pt x="2" y="22"/>
                        <a:pt x="4" y="22"/>
                      </a:cubicBezTo>
                      <a:cubicBezTo>
                        <a:pt x="4" y="22"/>
                        <a:pt x="9" y="38"/>
                        <a:pt x="14" y="38"/>
                      </a:cubicBezTo>
                      <a:cubicBezTo>
                        <a:pt x="30" y="38"/>
                        <a:pt x="30" y="38"/>
                        <a:pt x="30" y="38"/>
                      </a:cubicBezTo>
                      <a:cubicBezTo>
                        <a:pt x="35" y="38"/>
                        <a:pt x="40" y="22"/>
                        <a:pt x="40" y="22"/>
                      </a:cubicBezTo>
                      <a:cubicBezTo>
                        <a:pt x="42" y="22"/>
                        <a:pt x="43" y="21"/>
                        <a:pt x="43" y="19"/>
                      </a:cubicBezTo>
                      <a:cubicBezTo>
                        <a:pt x="43" y="12"/>
                        <a:pt x="43" y="12"/>
                        <a:pt x="43" y="12"/>
                      </a:cubicBezTo>
                      <a:cubicBezTo>
                        <a:pt x="43" y="11"/>
                        <a:pt x="43" y="10"/>
                        <a:pt x="41" y="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87" name="Rectangle 81"/>
                <p:cNvSpPr>
                  <a:spLocks noChangeArrowheads="1"/>
                </p:cNvSpPr>
                <p:nvPr/>
              </p:nvSpPr>
              <p:spPr bwMode="auto">
                <a:xfrm>
                  <a:off x="7287627" y="3853061"/>
                  <a:ext cx="343516" cy="263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88" name="Rectangle 82"/>
                <p:cNvSpPr>
                  <a:spLocks noChangeArrowheads="1"/>
                </p:cNvSpPr>
                <p:nvPr/>
              </p:nvSpPr>
              <p:spPr bwMode="auto">
                <a:xfrm>
                  <a:off x="7425535" y="3853061"/>
                  <a:ext cx="62685" cy="2632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89" name="Oval 83"/>
                <p:cNvSpPr>
                  <a:spLocks noChangeArrowheads="1"/>
                </p:cNvSpPr>
                <p:nvPr/>
              </p:nvSpPr>
              <p:spPr bwMode="auto">
                <a:xfrm>
                  <a:off x="7451863" y="3283878"/>
                  <a:ext cx="10030" cy="1003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90" name="Oval 84"/>
                <p:cNvSpPr>
                  <a:spLocks noChangeArrowheads="1"/>
                </p:cNvSpPr>
                <p:nvPr/>
              </p:nvSpPr>
              <p:spPr bwMode="auto">
                <a:xfrm>
                  <a:off x="7451863" y="3318982"/>
                  <a:ext cx="10030" cy="16299"/>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91" name="Freeform 64"/>
                <p:cNvSpPr>
                  <a:spLocks/>
                </p:cNvSpPr>
                <p:nvPr/>
              </p:nvSpPr>
              <p:spPr bwMode="auto">
                <a:xfrm>
                  <a:off x="7544637" y="3252536"/>
                  <a:ext cx="235697" cy="616824"/>
                </a:xfrm>
                <a:custGeom>
                  <a:avLst/>
                  <a:gdLst>
                    <a:gd name="T0" fmla="*/ 0 w 46"/>
                    <a:gd name="T1" fmla="*/ 5 h 120"/>
                    <a:gd name="T2" fmla="*/ 18 w 46"/>
                    <a:gd name="T3" fmla="*/ 0 h 120"/>
                    <a:gd name="T4" fmla="*/ 46 w 46"/>
                    <a:gd name="T5" fmla="*/ 120 h 120"/>
                    <a:gd name="T6" fmla="*/ 27 w 46"/>
                    <a:gd name="T7" fmla="*/ 120 h 120"/>
                    <a:gd name="T8" fmla="*/ 0 w 46"/>
                    <a:gd name="T9" fmla="*/ 5 h 120"/>
                  </a:gdLst>
                  <a:ahLst/>
                  <a:cxnLst>
                    <a:cxn ang="0">
                      <a:pos x="T0" y="T1"/>
                    </a:cxn>
                    <a:cxn ang="0">
                      <a:pos x="T2" y="T3"/>
                    </a:cxn>
                    <a:cxn ang="0">
                      <a:pos x="T4" y="T5"/>
                    </a:cxn>
                    <a:cxn ang="0">
                      <a:pos x="T6" y="T7"/>
                    </a:cxn>
                    <a:cxn ang="0">
                      <a:pos x="T8" y="T9"/>
                    </a:cxn>
                  </a:cxnLst>
                  <a:rect l="0" t="0" r="r" b="b"/>
                  <a:pathLst>
                    <a:path w="46" h="120">
                      <a:moveTo>
                        <a:pt x="0" y="5"/>
                      </a:moveTo>
                      <a:cubicBezTo>
                        <a:pt x="6" y="3"/>
                        <a:pt x="12" y="2"/>
                        <a:pt x="18" y="0"/>
                      </a:cubicBezTo>
                      <a:cubicBezTo>
                        <a:pt x="36" y="39"/>
                        <a:pt x="42" y="77"/>
                        <a:pt x="46" y="120"/>
                      </a:cubicBezTo>
                      <a:cubicBezTo>
                        <a:pt x="27" y="120"/>
                        <a:pt x="27" y="120"/>
                        <a:pt x="27" y="120"/>
                      </a:cubicBezTo>
                      <a:cubicBezTo>
                        <a:pt x="23" y="79"/>
                        <a:pt x="17" y="42"/>
                        <a:pt x="0"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nvGrpSpPr>
              <p:cNvPr id="224" name="Group 223"/>
              <p:cNvGrpSpPr/>
              <p:nvPr/>
            </p:nvGrpSpPr>
            <p:grpSpPr>
              <a:xfrm>
                <a:off x="6062441" y="2871293"/>
                <a:ext cx="1081647" cy="2828072"/>
                <a:chOff x="7544637" y="2749799"/>
                <a:chExt cx="738434" cy="1930710"/>
              </a:xfrm>
            </p:grpSpPr>
            <p:sp>
              <p:nvSpPr>
                <p:cNvPr id="225" name="Freeform 94"/>
                <p:cNvSpPr>
                  <a:spLocks/>
                </p:cNvSpPr>
                <p:nvPr/>
              </p:nvSpPr>
              <p:spPr bwMode="auto">
                <a:xfrm>
                  <a:off x="7559682" y="3144717"/>
                  <a:ext cx="267040" cy="693300"/>
                </a:xfrm>
                <a:custGeom>
                  <a:avLst/>
                  <a:gdLst>
                    <a:gd name="T0" fmla="*/ 52 w 52"/>
                    <a:gd name="T1" fmla="*/ 6 h 135"/>
                    <a:gd name="T2" fmla="*/ 32 w 52"/>
                    <a:gd name="T3" fmla="*/ 0 h 135"/>
                    <a:gd name="T4" fmla="*/ 0 w 52"/>
                    <a:gd name="T5" fmla="*/ 135 h 135"/>
                    <a:gd name="T6" fmla="*/ 21 w 52"/>
                    <a:gd name="T7" fmla="*/ 135 h 135"/>
                    <a:gd name="T8" fmla="*/ 52 w 52"/>
                    <a:gd name="T9" fmla="*/ 6 h 135"/>
                  </a:gdLst>
                  <a:ahLst/>
                  <a:cxnLst>
                    <a:cxn ang="0">
                      <a:pos x="T0" y="T1"/>
                    </a:cxn>
                    <a:cxn ang="0">
                      <a:pos x="T2" y="T3"/>
                    </a:cxn>
                    <a:cxn ang="0">
                      <a:pos x="T4" y="T5"/>
                    </a:cxn>
                    <a:cxn ang="0">
                      <a:pos x="T6" y="T7"/>
                    </a:cxn>
                    <a:cxn ang="0">
                      <a:pos x="T8" y="T9"/>
                    </a:cxn>
                  </a:cxnLst>
                  <a:rect l="0" t="0" r="r" b="b"/>
                  <a:pathLst>
                    <a:path w="52" h="135">
                      <a:moveTo>
                        <a:pt x="52" y="6"/>
                      </a:moveTo>
                      <a:cubicBezTo>
                        <a:pt x="45" y="4"/>
                        <a:pt x="38" y="2"/>
                        <a:pt x="32" y="0"/>
                      </a:cubicBezTo>
                      <a:cubicBezTo>
                        <a:pt x="11" y="44"/>
                        <a:pt x="5" y="87"/>
                        <a:pt x="0" y="135"/>
                      </a:cubicBezTo>
                      <a:cubicBezTo>
                        <a:pt x="21" y="135"/>
                        <a:pt x="21" y="135"/>
                        <a:pt x="21" y="135"/>
                      </a:cubicBezTo>
                      <a:cubicBezTo>
                        <a:pt x="26" y="89"/>
                        <a:pt x="33" y="47"/>
                        <a:pt x="52" y="6"/>
                      </a:cubicBezTo>
                      <a:close/>
                    </a:path>
                  </a:pathLst>
                </a:custGeom>
                <a:solidFill>
                  <a:srgbClr val="ADD4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nvGrpSpPr>
                <p:cNvPr id="226" name="Group 225"/>
                <p:cNvGrpSpPr/>
                <p:nvPr/>
              </p:nvGrpSpPr>
              <p:grpSpPr>
                <a:xfrm>
                  <a:off x="7544637" y="2749799"/>
                  <a:ext cx="738434" cy="1930710"/>
                  <a:chOff x="7544637" y="2749799"/>
                  <a:chExt cx="738434" cy="1930710"/>
                </a:xfrm>
              </p:grpSpPr>
              <p:sp>
                <p:nvSpPr>
                  <p:cNvPr id="227" name="Freeform 66"/>
                  <p:cNvSpPr>
                    <a:spLocks/>
                  </p:cNvSpPr>
                  <p:nvPr/>
                </p:nvSpPr>
                <p:spPr bwMode="auto">
                  <a:xfrm>
                    <a:off x="7697589" y="3869360"/>
                    <a:ext cx="72715" cy="76477"/>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28" name="Freeform 68"/>
                  <p:cNvSpPr>
                    <a:spLocks/>
                  </p:cNvSpPr>
                  <p:nvPr/>
                </p:nvSpPr>
                <p:spPr bwMode="auto">
                  <a:xfrm>
                    <a:off x="7549652" y="3016839"/>
                    <a:ext cx="0" cy="501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29" name="Freeform 69"/>
                  <p:cNvSpPr>
                    <a:spLocks/>
                  </p:cNvSpPr>
                  <p:nvPr/>
                </p:nvSpPr>
                <p:spPr bwMode="auto">
                  <a:xfrm>
                    <a:off x="7549652" y="3011824"/>
                    <a:ext cx="0" cy="501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30" name="Freeform 70"/>
                  <p:cNvSpPr>
                    <a:spLocks/>
                  </p:cNvSpPr>
                  <p:nvPr/>
                </p:nvSpPr>
                <p:spPr bwMode="auto">
                  <a:xfrm>
                    <a:off x="7544637" y="300681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31" name="Freeform 71"/>
                  <p:cNvSpPr>
                    <a:spLocks/>
                  </p:cNvSpPr>
                  <p:nvPr/>
                </p:nvSpPr>
                <p:spPr bwMode="auto">
                  <a:xfrm>
                    <a:off x="7544637" y="3006810"/>
                    <a:ext cx="0" cy="501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32" name="Freeform 73"/>
                  <p:cNvSpPr>
                    <a:spLocks/>
                  </p:cNvSpPr>
                  <p:nvPr/>
                </p:nvSpPr>
                <p:spPr bwMode="auto">
                  <a:xfrm>
                    <a:off x="7549652" y="302185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33" name="Freeform 74"/>
                  <p:cNvSpPr>
                    <a:spLocks/>
                  </p:cNvSpPr>
                  <p:nvPr/>
                </p:nvSpPr>
                <p:spPr bwMode="auto">
                  <a:xfrm>
                    <a:off x="7549652" y="302686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34" name="Rectangle 75"/>
                  <p:cNvSpPr>
                    <a:spLocks noChangeArrowheads="1"/>
                  </p:cNvSpPr>
                  <p:nvPr/>
                </p:nvSpPr>
                <p:spPr bwMode="auto">
                  <a:xfrm>
                    <a:off x="7544637" y="3000541"/>
                    <a:ext cx="1254" cy="1254"/>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35" name="Freeform 87"/>
                  <p:cNvSpPr>
                    <a:spLocks/>
                  </p:cNvSpPr>
                  <p:nvPr/>
                </p:nvSpPr>
                <p:spPr bwMode="auto">
                  <a:xfrm>
                    <a:off x="7756806" y="4604032"/>
                    <a:ext cx="154206" cy="76477"/>
                  </a:xfrm>
                  <a:custGeom>
                    <a:avLst/>
                    <a:gdLst>
                      <a:gd name="T0" fmla="*/ 15 w 30"/>
                      <a:gd name="T1" fmla="*/ 0 h 15"/>
                      <a:gd name="T2" fmla="*/ 0 w 30"/>
                      <a:gd name="T3" fmla="*/ 15 h 15"/>
                      <a:gd name="T4" fmla="*/ 30 w 30"/>
                      <a:gd name="T5" fmla="*/ 15 h 15"/>
                      <a:gd name="T6" fmla="*/ 15 w 30"/>
                      <a:gd name="T7" fmla="*/ 0 h 15"/>
                    </a:gdLst>
                    <a:ahLst/>
                    <a:cxnLst>
                      <a:cxn ang="0">
                        <a:pos x="T0" y="T1"/>
                      </a:cxn>
                      <a:cxn ang="0">
                        <a:pos x="T2" y="T3"/>
                      </a:cxn>
                      <a:cxn ang="0">
                        <a:pos x="T4" y="T5"/>
                      </a:cxn>
                      <a:cxn ang="0">
                        <a:pos x="T6" y="T7"/>
                      </a:cxn>
                    </a:cxnLst>
                    <a:rect l="0" t="0" r="r" b="b"/>
                    <a:pathLst>
                      <a:path w="30" h="15">
                        <a:moveTo>
                          <a:pt x="15" y="0"/>
                        </a:moveTo>
                        <a:cubicBezTo>
                          <a:pt x="7" y="0"/>
                          <a:pt x="0" y="7"/>
                          <a:pt x="0" y="15"/>
                        </a:cubicBezTo>
                        <a:cubicBezTo>
                          <a:pt x="30" y="15"/>
                          <a:pt x="30" y="15"/>
                          <a:pt x="30" y="15"/>
                        </a:cubicBezTo>
                        <a:cubicBezTo>
                          <a:pt x="30"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36" name="Freeform 88"/>
                  <p:cNvSpPr>
                    <a:spLocks/>
                  </p:cNvSpPr>
                  <p:nvPr/>
                </p:nvSpPr>
                <p:spPr bwMode="auto">
                  <a:xfrm>
                    <a:off x="7933677" y="4604032"/>
                    <a:ext cx="149191" cy="76477"/>
                  </a:xfrm>
                  <a:custGeom>
                    <a:avLst/>
                    <a:gdLst>
                      <a:gd name="T0" fmla="*/ 15 w 29"/>
                      <a:gd name="T1" fmla="*/ 0 h 15"/>
                      <a:gd name="T2" fmla="*/ 0 w 29"/>
                      <a:gd name="T3" fmla="*/ 15 h 15"/>
                      <a:gd name="T4" fmla="*/ 29 w 29"/>
                      <a:gd name="T5" fmla="*/ 15 h 15"/>
                      <a:gd name="T6" fmla="*/ 15 w 29"/>
                      <a:gd name="T7" fmla="*/ 0 h 15"/>
                    </a:gdLst>
                    <a:ahLst/>
                    <a:cxnLst>
                      <a:cxn ang="0">
                        <a:pos x="T0" y="T1"/>
                      </a:cxn>
                      <a:cxn ang="0">
                        <a:pos x="T2" y="T3"/>
                      </a:cxn>
                      <a:cxn ang="0">
                        <a:pos x="T4" y="T5"/>
                      </a:cxn>
                      <a:cxn ang="0">
                        <a:pos x="T6" y="T7"/>
                      </a:cxn>
                    </a:cxnLst>
                    <a:rect l="0" t="0" r="r" b="b"/>
                    <a:pathLst>
                      <a:path w="29" h="15">
                        <a:moveTo>
                          <a:pt x="15" y="0"/>
                        </a:moveTo>
                        <a:cubicBezTo>
                          <a:pt x="7" y="0"/>
                          <a:pt x="0" y="7"/>
                          <a:pt x="0" y="15"/>
                        </a:cubicBezTo>
                        <a:cubicBezTo>
                          <a:pt x="29" y="15"/>
                          <a:pt x="29" y="15"/>
                          <a:pt x="29" y="15"/>
                        </a:cubicBezTo>
                        <a:cubicBezTo>
                          <a:pt x="29"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37" name="Rectangle 89"/>
                  <p:cNvSpPr>
                    <a:spLocks noChangeArrowheads="1"/>
                  </p:cNvSpPr>
                  <p:nvPr/>
                </p:nvSpPr>
                <p:spPr bwMode="auto">
                  <a:xfrm>
                    <a:off x="7856810" y="3108359"/>
                    <a:ext cx="122863" cy="36984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38" name="Freeform 90"/>
                  <p:cNvSpPr>
                    <a:spLocks/>
                  </p:cNvSpPr>
                  <p:nvPr/>
                </p:nvSpPr>
                <p:spPr bwMode="auto">
                  <a:xfrm>
                    <a:off x="7810423" y="2784903"/>
                    <a:ext cx="241966" cy="293367"/>
                  </a:xfrm>
                  <a:custGeom>
                    <a:avLst/>
                    <a:gdLst>
                      <a:gd name="T0" fmla="*/ 42 w 47"/>
                      <a:gd name="T1" fmla="*/ 32 h 57"/>
                      <a:gd name="T2" fmla="*/ 16 w 47"/>
                      <a:gd name="T3" fmla="*/ 53 h 57"/>
                      <a:gd name="T4" fmla="*/ 4 w 47"/>
                      <a:gd name="T5" fmla="*/ 22 h 57"/>
                      <a:gd name="T6" fmla="*/ 33 w 47"/>
                      <a:gd name="T7" fmla="*/ 3 h 57"/>
                      <a:gd name="T8" fmla="*/ 42 w 47"/>
                      <a:gd name="T9" fmla="*/ 32 h 57"/>
                    </a:gdLst>
                    <a:ahLst/>
                    <a:cxnLst>
                      <a:cxn ang="0">
                        <a:pos x="T0" y="T1"/>
                      </a:cxn>
                      <a:cxn ang="0">
                        <a:pos x="T2" y="T3"/>
                      </a:cxn>
                      <a:cxn ang="0">
                        <a:pos x="T4" y="T5"/>
                      </a:cxn>
                      <a:cxn ang="0">
                        <a:pos x="T6" y="T7"/>
                      </a:cxn>
                      <a:cxn ang="0">
                        <a:pos x="T8" y="T9"/>
                      </a:cxn>
                    </a:cxnLst>
                    <a:rect l="0" t="0" r="r" b="b"/>
                    <a:pathLst>
                      <a:path w="47" h="57">
                        <a:moveTo>
                          <a:pt x="42" y="32"/>
                        </a:moveTo>
                        <a:cubicBezTo>
                          <a:pt x="38" y="46"/>
                          <a:pt x="28" y="57"/>
                          <a:pt x="16" y="53"/>
                        </a:cubicBezTo>
                        <a:cubicBezTo>
                          <a:pt x="5" y="50"/>
                          <a:pt x="0" y="35"/>
                          <a:pt x="4" y="22"/>
                        </a:cubicBezTo>
                        <a:cubicBezTo>
                          <a:pt x="9" y="8"/>
                          <a:pt x="22" y="0"/>
                          <a:pt x="33" y="3"/>
                        </a:cubicBezTo>
                        <a:cubicBezTo>
                          <a:pt x="44" y="7"/>
                          <a:pt x="47" y="18"/>
                          <a:pt x="42" y="3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39" name="Freeform 91"/>
                  <p:cNvSpPr>
                    <a:spLocks/>
                  </p:cNvSpPr>
                  <p:nvPr/>
                </p:nvSpPr>
                <p:spPr bwMode="auto">
                  <a:xfrm>
                    <a:off x="7775319" y="2749799"/>
                    <a:ext cx="240712" cy="277070"/>
                  </a:xfrm>
                  <a:custGeom>
                    <a:avLst/>
                    <a:gdLst>
                      <a:gd name="T0" fmla="*/ 41 w 47"/>
                      <a:gd name="T1" fmla="*/ 17 h 54"/>
                      <a:gd name="T2" fmla="*/ 36 w 47"/>
                      <a:gd name="T3" fmla="*/ 49 h 54"/>
                      <a:gd name="T4" fmla="*/ 7 w 47"/>
                      <a:gd name="T5" fmla="*/ 37 h 54"/>
                      <a:gd name="T6" fmla="*/ 11 w 47"/>
                      <a:gd name="T7" fmla="*/ 6 h 54"/>
                      <a:gd name="T8" fmla="*/ 41 w 47"/>
                      <a:gd name="T9" fmla="*/ 17 h 54"/>
                    </a:gdLst>
                    <a:ahLst/>
                    <a:cxnLst>
                      <a:cxn ang="0">
                        <a:pos x="T0" y="T1"/>
                      </a:cxn>
                      <a:cxn ang="0">
                        <a:pos x="T2" y="T3"/>
                      </a:cxn>
                      <a:cxn ang="0">
                        <a:pos x="T4" y="T5"/>
                      </a:cxn>
                      <a:cxn ang="0">
                        <a:pos x="T6" y="T7"/>
                      </a:cxn>
                      <a:cxn ang="0">
                        <a:pos x="T8" y="T9"/>
                      </a:cxn>
                    </a:cxnLst>
                    <a:rect l="0" t="0" r="r" b="b"/>
                    <a:pathLst>
                      <a:path w="47" h="54">
                        <a:moveTo>
                          <a:pt x="41" y="17"/>
                        </a:moveTo>
                        <a:cubicBezTo>
                          <a:pt x="47" y="29"/>
                          <a:pt x="46" y="43"/>
                          <a:pt x="36" y="49"/>
                        </a:cubicBezTo>
                        <a:cubicBezTo>
                          <a:pt x="27" y="54"/>
                          <a:pt x="14" y="49"/>
                          <a:pt x="7" y="37"/>
                        </a:cubicBezTo>
                        <a:cubicBezTo>
                          <a:pt x="0" y="25"/>
                          <a:pt x="2" y="11"/>
                          <a:pt x="11" y="6"/>
                        </a:cubicBezTo>
                        <a:cubicBezTo>
                          <a:pt x="20" y="0"/>
                          <a:pt x="34" y="6"/>
                          <a:pt x="41" y="17"/>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40" name="Freeform 92"/>
                  <p:cNvSpPr>
                    <a:spLocks/>
                  </p:cNvSpPr>
                  <p:nvPr/>
                </p:nvSpPr>
                <p:spPr bwMode="auto">
                  <a:xfrm>
                    <a:off x="7856810" y="3006810"/>
                    <a:ext cx="122863" cy="132893"/>
                  </a:xfrm>
                  <a:custGeom>
                    <a:avLst/>
                    <a:gdLst>
                      <a:gd name="T0" fmla="*/ 98 w 98"/>
                      <a:gd name="T1" fmla="*/ 81 h 106"/>
                      <a:gd name="T2" fmla="*/ 49 w 98"/>
                      <a:gd name="T3" fmla="*/ 106 h 106"/>
                      <a:gd name="T4" fmla="*/ 0 w 98"/>
                      <a:gd name="T5" fmla="*/ 81 h 106"/>
                      <a:gd name="T6" fmla="*/ 0 w 98"/>
                      <a:gd name="T7" fmla="*/ 0 h 106"/>
                      <a:gd name="T8" fmla="*/ 98 w 98"/>
                      <a:gd name="T9" fmla="*/ 0 h 106"/>
                      <a:gd name="T10" fmla="*/ 98 w 98"/>
                      <a:gd name="T11" fmla="*/ 81 h 106"/>
                    </a:gdLst>
                    <a:ahLst/>
                    <a:cxnLst>
                      <a:cxn ang="0">
                        <a:pos x="T0" y="T1"/>
                      </a:cxn>
                      <a:cxn ang="0">
                        <a:pos x="T2" y="T3"/>
                      </a:cxn>
                      <a:cxn ang="0">
                        <a:pos x="T4" y="T5"/>
                      </a:cxn>
                      <a:cxn ang="0">
                        <a:pos x="T6" y="T7"/>
                      </a:cxn>
                      <a:cxn ang="0">
                        <a:pos x="T8" y="T9"/>
                      </a:cxn>
                      <a:cxn ang="0">
                        <a:pos x="T10" y="T11"/>
                      </a:cxn>
                    </a:cxnLst>
                    <a:rect l="0" t="0" r="r" b="b"/>
                    <a:pathLst>
                      <a:path w="98" h="106">
                        <a:moveTo>
                          <a:pt x="98" y="81"/>
                        </a:moveTo>
                        <a:lnTo>
                          <a:pt x="49" y="106"/>
                        </a:lnTo>
                        <a:lnTo>
                          <a:pt x="0" y="81"/>
                        </a:lnTo>
                        <a:lnTo>
                          <a:pt x="0" y="0"/>
                        </a:lnTo>
                        <a:lnTo>
                          <a:pt x="98" y="0"/>
                        </a:lnTo>
                        <a:lnTo>
                          <a:pt x="98" y="8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41" name="Freeform 95"/>
                  <p:cNvSpPr>
                    <a:spLocks/>
                  </p:cNvSpPr>
                  <p:nvPr/>
                </p:nvSpPr>
                <p:spPr bwMode="auto">
                  <a:xfrm>
                    <a:off x="8016031" y="3144717"/>
                    <a:ext cx="267040" cy="693300"/>
                  </a:xfrm>
                  <a:custGeom>
                    <a:avLst/>
                    <a:gdLst>
                      <a:gd name="T0" fmla="*/ 0 w 52"/>
                      <a:gd name="T1" fmla="*/ 6 h 135"/>
                      <a:gd name="T2" fmla="*/ 21 w 52"/>
                      <a:gd name="T3" fmla="*/ 0 h 135"/>
                      <a:gd name="T4" fmla="*/ 52 w 52"/>
                      <a:gd name="T5" fmla="*/ 135 h 135"/>
                      <a:gd name="T6" fmla="*/ 31 w 52"/>
                      <a:gd name="T7" fmla="*/ 135 h 135"/>
                      <a:gd name="T8" fmla="*/ 0 w 52"/>
                      <a:gd name="T9" fmla="*/ 6 h 135"/>
                    </a:gdLst>
                    <a:ahLst/>
                    <a:cxnLst>
                      <a:cxn ang="0">
                        <a:pos x="T0" y="T1"/>
                      </a:cxn>
                      <a:cxn ang="0">
                        <a:pos x="T2" y="T3"/>
                      </a:cxn>
                      <a:cxn ang="0">
                        <a:pos x="T4" y="T5"/>
                      </a:cxn>
                      <a:cxn ang="0">
                        <a:pos x="T6" y="T7"/>
                      </a:cxn>
                      <a:cxn ang="0">
                        <a:pos x="T8" y="T9"/>
                      </a:cxn>
                    </a:cxnLst>
                    <a:rect l="0" t="0" r="r" b="b"/>
                    <a:pathLst>
                      <a:path w="52" h="135">
                        <a:moveTo>
                          <a:pt x="0" y="6"/>
                        </a:moveTo>
                        <a:cubicBezTo>
                          <a:pt x="7" y="4"/>
                          <a:pt x="14" y="2"/>
                          <a:pt x="21" y="0"/>
                        </a:cubicBezTo>
                        <a:cubicBezTo>
                          <a:pt x="41" y="44"/>
                          <a:pt x="48" y="87"/>
                          <a:pt x="52" y="135"/>
                        </a:cubicBezTo>
                        <a:cubicBezTo>
                          <a:pt x="31" y="135"/>
                          <a:pt x="31" y="135"/>
                          <a:pt x="31" y="135"/>
                        </a:cubicBezTo>
                        <a:cubicBezTo>
                          <a:pt x="26" y="89"/>
                          <a:pt x="19" y="47"/>
                          <a:pt x="0" y="6"/>
                        </a:cubicBezTo>
                        <a:close/>
                      </a:path>
                    </a:pathLst>
                  </a:custGeom>
                  <a:solidFill>
                    <a:srgbClr val="ADD4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42" name="Freeform 96"/>
                  <p:cNvSpPr>
                    <a:spLocks/>
                  </p:cNvSpPr>
                  <p:nvPr/>
                </p:nvSpPr>
                <p:spPr bwMode="auto">
                  <a:xfrm>
                    <a:off x="7754006" y="3899449"/>
                    <a:ext cx="159221" cy="729657"/>
                  </a:xfrm>
                  <a:custGeom>
                    <a:avLst/>
                    <a:gdLst>
                      <a:gd name="T0" fmla="*/ 107 w 127"/>
                      <a:gd name="T1" fmla="*/ 582 h 582"/>
                      <a:gd name="T2" fmla="*/ 17 w 127"/>
                      <a:gd name="T3" fmla="*/ 582 h 582"/>
                      <a:gd name="T4" fmla="*/ 0 w 127"/>
                      <a:gd name="T5" fmla="*/ 0 h 582"/>
                      <a:gd name="T6" fmla="*/ 127 w 127"/>
                      <a:gd name="T7" fmla="*/ 0 h 582"/>
                      <a:gd name="T8" fmla="*/ 107 w 127"/>
                      <a:gd name="T9" fmla="*/ 582 h 582"/>
                    </a:gdLst>
                    <a:ahLst/>
                    <a:cxnLst>
                      <a:cxn ang="0">
                        <a:pos x="T0" y="T1"/>
                      </a:cxn>
                      <a:cxn ang="0">
                        <a:pos x="T2" y="T3"/>
                      </a:cxn>
                      <a:cxn ang="0">
                        <a:pos x="T4" y="T5"/>
                      </a:cxn>
                      <a:cxn ang="0">
                        <a:pos x="T6" y="T7"/>
                      </a:cxn>
                      <a:cxn ang="0">
                        <a:pos x="T8" y="T9"/>
                      </a:cxn>
                    </a:cxnLst>
                    <a:rect l="0" t="0" r="r" b="b"/>
                    <a:pathLst>
                      <a:path w="127" h="582">
                        <a:moveTo>
                          <a:pt x="107" y="582"/>
                        </a:moveTo>
                        <a:lnTo>
                          <a:pt x="17" y="582"/>
                        </a:lnTo>
                        <a:lnTo>
                          <a:pt x="0" y="0"/>
                        </a:lnTo>
                        <a:lnTo>
                          <a:pt x="127" y="0"/>
                        </a:lnTo>
                        <a:lnTo>
                          <a:pt x="107" y="5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43" name="Freeform 97"/>
                  <p:cNvSpPr>
                    <a:spLocks/>
                  </p:cNvSpPr>
                  <p:nvPr/>
                </p:nvSpPr>
                <p:spPr bwMode="auto">
                  <a:xfrm>
                    <a:off x="7923256" y="3899449"/>
                    <a:ext cx="159221" cy="729657"/>
                  </a:xfrm>
                  <a:custGeom>
                    <a:avLst/>
                    <a:gdLst>
                      <a:gd name="T0" fmla="*/ 111 w 127"/>
                      <a:gd name="T1" fmla="*/ 582 h 582"/>
                      <a:gd name="T2" fmla="*/ 21 w 127"/>
                      <a:gd name="T3" fmla="*/ 582 h 582"/>
                      <a:gd name="T4" fmla="*/ 0 w 127"/>
                      <a:gd name="T5" fmla="*/ 0 h 582"/>
                      <a:gd name="T6" fmla="*/ 127 w 127"/>
                      <a:gd name="T7" fmla="*/ 0 h 582"/>
                      <a:gd name="T8" fmla="*/ 111 w 127"/>
                      <a:gd name="T9" fmla="*/ 582 h 582"/>
                    </a:gdLst>
                    <a:ahLst/>
                    <a:cxnLst>
                      <a:cxn ang="0">
                        <a:pos x="T0" y="T1"/>
                      </a:cxn>
                      <a:cxn ang="0">
                        <a:pos x="T2" y="T3"/>
                      </a:cxn>
                      <a:cxn ang="0">
                        <a:pos x="T4" y="T5"/>
                      </a:cxn>
                      <a:cxn ang="0">
                        <a:pos x="T6" y="T7"/>
                      </a:cxn>
                      <a:cxn ang="0">
                        <a:pos x="T8" y="T9"/>
                      </a:cxn>
                    </a:cxnLst>
                    <a:rect l="0" t="0" r="r" b="b"/>
                    <a:pathLst>
                      <a:path w="127" h="582">
                        <a:moveTo>
                          <a:pt x="111" y="582"/>
                        </a:moveTo>
                        <a:lnTo>
                          <a:pt x="21" y="582"/>
                        </a:lnTo>
                        <a:lnTo>
                          <a:pt x="0" y="0"/>
                        </a:lnTo>
                        <a:lnTo>
                          <a:pt x="127" y="0"/>
                        </a:lnTo>
                        <a:lnTo>
                          <a:pt x="111" y="5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44" name="Freeform 98"/>
                  <p:cNvSpPr>
                    <a:spLocks/>
                  </p:cNvSpPr>
                  <p:nvPr/>
                </p:nvSpPr>
                <p:spPr bwMode="auto">
                  <a:xfrm>
                    <a:off x="7574726" y="3838017"/>
                    <a:ext cx="82745" cy="87759"/>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3" y="17"/>
                          <a:pt x="8" y="17"/>
                        </a:cubicBezTo>
                        <a:cubicBezTo>
                          <a:pt x="12"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45" name="Freeform 99"/>
                  <p:cNvSpPr>
                    <a:spLocks/>
                  </p:cNvSpPr>
                  <p:nvPr/>
                </p:nvSpPr>
                <p:spPr bwMode="auto">
                  <a:xfrm>
                    <a:off x="8185281" y="3838017"/>
                    <a:ext cx="81491" cy="87759"/>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4" y="17"/>
                          <a:pt x="8" y="17"/>
                        </a:cubicBezTo>
                        <a:cubicBezTo>
                          <a:pt x="13"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46" name="Freeform 100"/>
                  <p:cNvSpPr>
                    <a:spLocks/>
                  </p:cNvSpPr>
                  <p:nvPr/>
                </p:nvSpPr>
                <p:spPr bwMode="auto">
                  <a:xfrm>
                    <a:off x="7718902" y="3108359"/>
                    <a:ext cx="399933" cy="791089"/>
                  </a:xfrm>
                  <a:custGeom>
                    <a:avLst/>
                    <a:gdLst>
                      <a:gd name="T0" fmla="*/ 208 w 319"/>
                      <a:gd name="T1" fmla="*/ 0 h 631"/>
                      <a:gd name="T2" fmla="*/ 159 w 319"/>
                      <a:gd name="T3" fmla="*/ 394 h 631"/>
                      <a:gd name="T4" fmla="*/ 110 w 319"/>
                      <a:gd name="T5" fmla="*/ 0 h 631"/>
                      <a:gd name="T6" fmla="*/ 0 w 319"/>
                      <a:gd name="T7" fmla="*/ 29 h 631"/>
                      <a:gd name="T8" fmla="*/ 4 w 319"/>
                      <a:gd name="T9" fmla="*/ 631 h 631"/>
                      <a:gd name="T10" fmla="*/ 315 w 319"/>
                      <a:gd name="T11" fmla="*/ 631 h 631"/>
                      <a:gd name="T12" fmla="*/ 319 w 319"/>
                      <a:gd name="T13" fmla="*/ 29 h 631"/>
                      <a:gd name="T14" fmla="*/ 208 w 319"/>
                      <a:gd name="T15" fmla="*/ 0 h 6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631">
                        <a:moveTo>
                          <a:pt x="208" y="0"/>
                        </a:moveTo>
                        <a:lnTo>
                          <a:pt x="159" y="394"/>
                        </a:lnTo>
                        <a:lnTo>
                          <a:pt x="110" y="0"/>
                        </a:lnTo>
                        <a:lnTo>
                          <a:pt x="0" y="29"/>
                        </a:lnTo>
                        <a:lnTo>
                          <a:pt x="4" y="631"/>
                        </a:lnTo>
                        <a:lnTo>
                          <a:pt x="315" y="631"/>
                        </a:lnTo>
                        <a:lnTo>
                          <a:pt x="319" y="29"/>
                        </a:lnTo>
                        <a:lnTo>
                          <a:pt x="208" y="0"/>
                        </a:lnTo>
                        <a:close/>
                      </a:path>
                    </a:pathLst>
                  </a:custGeom>
                  <a:solidFill>
                    <a:srgbClr val="ADD4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47" name="Freeform 101"/>
                  <p:cNvSpPr>
                    <a:spLocks/>
                  </p:cNvSpPr>
                  <p:nvPr/>
                </p:nvSpPr>
                <p:spPr bwMode="auto">
                  <a:xfrm>
                    <a:off x="8021046" y="2877677"/>
                    <a:ext cx="0" cy="501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48" name="Freeform 102"/>
                  <p:cNvSpPr>
                    <a:spLocks/>
                  </p:cNvSpPr>
                  <p:nvPr/>
                </p:nvSpPr>
                <p:spPr bwMode="auto">
                  <a:xfrm>
                    <a:off x="8021046" y="287767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49" name="Freeform 103"/>
                  <p:cNvSpPr>
                    <a:spLocks/>
                  </p:cNvSpPr>
                  <p:nvPr/>
                </p:nvSpPr>
                <p:spPr bwMode="auto">
                  <a:xfrm>
                    <a:off x="8016031" y="286764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50" name="Freeform 104"/>
                  <p:cNvSpPr>
                    <a:spLocks/>
                  </p:cNvSpPr>
                  <p:nvPr/>
                </p:nvSpPr>
                <p:spPr bwMode="auto">
                  <a:xfrm>
                    <a:off x="8016031" y="28726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51" name="Freeform 105"/>
                  <p:cNvSpPr>
                    <a:spLocks/>
                  </p:cNvSpPr>
                  <p:nvPr/>
                </p:nvSpPr>
                <p:spPr bwMode="auto">
                  <a:xfrm>
                    <a:off x="7820453" y="286764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52" name="Freeform 106"/>
                  <p:cNvSpPr>
                    <a:spLocks/>
                  </p:cNvSpPr>
                  <p:nvPr/>
                </p:nvSpPr>
                <p:spPr bwMode="auto">
                  <a:xfrm>
                    <a:off x="8021046" y="2882692"/>
                    <a:ext cx="0" cy="501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53" name="Freeform 107"/>
                  <p:cNvSpPr>
                    <a:spLocks/>
                  </p:cNvSpPr>
                  <p:nvPr/>
                </p:nvSpPr>
                <p:spPr bwMode="auto">
                  <a:xfrm>
                    <a:off x="8021046" y="2887707"/>
                    <a:ext cx="0" cy="501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54" name="Rectangle 108"/>
                  <p:cNvSpPr>
                    <a:spLocks noChangeArrowheads="1"/>
                  </p:cNvSpPr>
                  <p:nvPr/>
                </p:nvSpPr>
                <p:spPr bwMode="auto">
                  <a:xfrm>
                    <a:off x="8016031" y="2862633"/>
                    <a:ext cx="1254" cy="1254"/>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55" name="Freeform 109"/>
                  <p:cNvSpPr>
                    <a:spLocks/>
                  </p:cNvSpPr>
                  <p:nvPr/>
                </p:nvSpPr>
                <p:spPr bwMode="auto">
                  <a:xfrm>
                    <a:off x="7810423" y="288770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56" name="Freeform 110"/>
                  <p:cNvSpPr>
                    <a:spLocks/>
                  </p:cNvSpPr>
                  <p:nvPr/>
                </p:nvSpPr>
                <p:spPr bwMode="auto">
                  <a:xfrm>
                    <a:off x="7815438" y="287767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57" name="Freeform 111"/>
                  <p:cNvSpPr>
                    <a:spLocks/>
                  </p:cNvSpPr>
                  <p:nvPr/>
                </p:nvSpPr>
                <p:spPr bwMode="auto">
                  <a:xfrm>
                    <a:off x="7815438" y="28726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58" name="Freeform 112"/>
                  <p:cNvSpPr>
                    <a:spLocks/>
                  </p:cNvSpPr>
                  <p:nvPr/>
                </p:nvSpPr>
                <p:spPr bwMode="auto">
                  <a:xfrm>
                    <a:off x="7810423" y="2882692"/>
                    <a:ext cx="5015"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59" name="Freeform 113"/>
                  <p:cNvSpPr>
                    <a:spLocks/>
                  </p:cNvSpPr>
                  <p:nvPr/>
                </p:nvSpPr>
                <p:spPr bwMode="auto">
                  <a:xfrm>
                    <a:off x="7795378" y="2857618"/>
                    <a:ext cx="245726" cy="220652"/>
                  </a:xfrm>
                  <a:custGeom>
                    <a:avLst/>
                    <a:gdLst>
                      <a:gd name="T0" fmla="*/ 46 w 48"/>
                      <a:gd name="T1" fmla="*/ 10 h 43"/>
                      <a:gd name="T2" fmla="*/ 44 w 48"/>
                      <a:gd name="T3" fmla="*/ 10 h 43"/>
                      <a:gd name="T4" fmla="*/ 44 w 48"/>
                      <a:gd name="T5" fmla="*/ 7 h 43"/>
                      <a:gd name="T6" fmla="*/ 44 w 48"/>
                      <a:gd name="T7" fmla="*/ 6 h 43"/>
                      <a:gd name="T8" fmla="*/ 44 w 48"/>
                      <a:gd name="T9" fmla="*/ 6 h 43"/>
                      <a:gd name="T10" fmla="*/ 44 w 48"/>
                      <a:gd name="T11" fmla="*/ 5 h 43"/>
                      <a:gd name="T12" fmla="*/ 44 w 48"/>
                      <a:gd name="T13" fmla="*/ 5 h 43"/>
                      <a:gd name="T14" fmla="*/ 44 w 48"/>
                      <a:gd name="T15" fmla="*/ 4 h 43"/>
                      <a:gd name="T16" fmla="*/ 44 w 48"/>
                      <a:gd name="T17" fmla="*/ 4 h 43"/>
                      <a:gd name="T18" fmla="*/ 44 w 48"/>
                      <a:gd name="T19" fmla="*/ 4 h 43"/>
                      <a:gd name="T20" fmla="*/ 43 w 48"/>
                      <a:gd name="T21" fmla="*/ 3 h 43"/>
                      <a:gd name="T22" fmla="*/ 43 w 48"/>
                      <a:gd name="T23" fmla="*/ 3 h 43"/>
                      <a:gd name="T24" fmla="*/ 43 w 48"/>
                      <a:gd name="T25" fmla="*/ 2 h 43"/>
                      <a:gd name="T26" fmla="*/ 43 w 48"/>
                      <a:gd name="T27" fmla="*/ 2 h 43"/>
                      <a:gd name="T28" fmla="*/ 43 w 48"/>
                      <a:gd name="T29" fmla="*/ 1 h 43"/>
                      <a:gd name="T30" fmla="*/ 43 w 48"/>
                      <a:gd name="T31" fmla="*/ 1 h 43"/>
                      <a:gd name="T32" fmla="*/ 39 w 48"/>
                      <a:gd name="T33" fmla="*/ 2 h 43"/>
                      <a:gd name="T34" fmla="*/ 32 w 48"/>
                      <a:gd name="T35" fmla="*/ 0 h 43"/>
                      <a:gd name="T36" fmla="*/ 19 w 48"/>
                      <a:gd name="T37" fmla="*/ 2 h 43"/>
                      <a:gd name="T38" fmla="*/ 6 w 48"/>
                      <a:gd name="T39" fmla="*/ 0 h 43"/>
                      <a:gd name="T40" fmla="*/ 5 w 48"/>
                      <a:gd name="T41" fmla="*/ 2 h 43"/>
                      <a:gd name="T42" fmla="*/ 5 w 48"/>
                      <a:gd name="T43" fmla="*/ 2 h 43"/>
                      <a:gd name="T44" fmla="*/ 4 w 48"/>
                      <a:gd name="T45" fmla="*/ 3 h 43"/>
                      <a:gd name="T46" fmla="*/ 4 w 48"/>
                      <a:gd name="T47" fmla="*/ 3 h 43"/>
                      <a:gd name="T48" fmla="*/ 4 w 48"/>
                      <a:gd name="T49" fmla="*/ 4 h 43"/>
                      <a:gd name="T50" fmla="*/ 4 w 48"/>
                      <a:gd name="T51" fmla="*/ 4 h 43"/>
                      <a:gd name="T52" fmla="*/ 4 w 48"/>
                      <a:gd name="T53" fmla="*/ 5 h 43"/>
                      <a:gd name="T54" fmla="*/ 3 w 48"/>
                      <a:gd name="T55" fmla="*/ 5 h 43"/>
                      <a:gd name="T56" fmla="*/ 3 w 48"/>
                      <a:gd name="T57" fmla="*/ 6 h 43"/>
                      <a:gd name="T58" fmla="*/ 3 w 48"/>
                      <a:gd name="T59" fmla="*/ 6 h 43"/>
                      <a:gd name="T60" fmla="*/ 3 w 48"/>
                      <a:gd name="T61" fmla="*/ 7 h 43"/>
                      <a:gd name="T62" fmla="*/ 3 w 48"/>
                      <a:gd name="T63" fmla="*/ 10 h 43"/>
                      <a:gd name="T64" fmla="*/ 3 w 48"/>
                      <a:gd name="T65" fmla="*/ 10 h 43"/>
                      <a:gd name="T66" fmla="*/ 0 w 48"/>
                      <a:gd name="T67" fmla="*/ 14 h 43"/>
                      <a:gd name="T68" fmla="*/ 0 w 48"/>
                      <a:gd name="T69" fmla="*/ 21 h 43"/>
                      <a:gd name="T70" fmla="*/ 3 w 48"/>
                      <a:gd name="T71" fmla="*/ 25 h 43"/>
                      <a:gd name="T72" fmla="*/ 15 w 48"/>
                      <a:gd name="T73" fmla="*/ 43 h 43"/>
                      <a:gd name="T74" fmla="*/ 33 w 48"/>
                      <a:gd name="T75" fmla="*/ 43 h 43"/>
                      <a:gd name="T76" fmla="*/ 44 w 48"/>
                      <a:gd name="T77" fmla="*/ 25 h 43"/>
                      <a:gd name="T78" fmla="*/ 48 w 48"/>
                      <a:gd name="T79" fmla="*/ 21 h 43"/>
                      <a:gd name="T80" fmla="*/ 48 w 48"/>
                      <a:gd name="T81" fmla="*/ 14 h 43"/>
                      <a:gd name="T82" fmla="*/ 46 w 48"/>
                      <a:gd name="T83" fmla="*/ 1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 h="43">
                        <a:moveTo>
                          <a:pt x="46" y="10"/>
                        </a:moveTo>
                        <a:cubicBezTo>
                          <a:pt x="45" y="10"/>
                          <a:pt x="45" y="10"/>
                          <a:pt x="44" y="10"/>
                        </a:cubicBezTo>
                        <a:cubicBezTo>
                          <a:pt x="44" y="7"/>
                          <a:pt x="44" y="7"/>
                          <a:pt x="44" y="7"/>
                        </a:cubicBezTo>
                        <a:cubicBezTo>
                          <a:pt x="44" y="7"/>
                          <a:pt x="44" y="6"/>
                          <a:pt x="44" y="6"/>
                        </a:cubicBezTo>
                        <a:cubicBezTo>
                          <a:pt x="44" y="6"/>
                          <a:pt x="44" y="6"/>
                          <a:pt x="44" y="6"/>
                        </a:cubicBezTo>
                        <a:cubicBezTo>
                          <a:pt x="44" y="6"/>
                          <a:pt x="44" y="5"/>
                          <a:pt x="44" y="5"/>
                        </a:cubicBezTo>
                        <a:cubicBezTo>
                          <a:pt x="44" y="5"/>
                          <a:pt x="44" y="5"/>
                          <a:pt x="44" y="5"/>
                        </a:cubicBezTo>
                        <a:cubicBezTo>
                          <a:pt x="44" y="5"/>
                          <a:pt x="44" y="5"/>
                          <a:pt x="44" y="4"/>
                        </a:cubicBezTo>
                        <a:cubicBezTo>
                          <a:pt x="44" y="4"/>
                          <a:pt x="44" y="4"/>
                          <a:pt x="44" y="4"/>
                        </a:cubicBezTo>
                        <a:cubicBezTo>
                          <a:pt x="44" y="4"/>
                          <a:pt x="44" y="4"/>
                          <a:pt x="44" y="4"/>
                        </a:cubicBezTo>
                        <a:cubicBezTo>
                          <a:pt x="44" y="3"/>
                          <a:pt x="44" y="3"/>
                          <a:pt x="43" y="3"/>
                        </a:cubicBezTo>
                        <a:cubicBezTo>
                          <a:pt x="43" y="3"/>
                          <a:pt x="43" y="3"/>
                          <a:pt x="43" y="3"/>
                        </a:cubicBezTo>
                        <a:cubicBezTo>
                          <a:pt x="43" y="2"/>
                          <a:pt x="43" y="2"/>
                          <a:pt x="43" y="2"/>
                        </a:cubicBezTo>
                        <a:cubicBezTo>
                          <a:pt x="43" y="2"/>
                          <a:pt x="43" y="2"/>
                          <a:pt x="43" y="2"/>
                        </a:cubicBezTo>
                        <a:cubicBezTo>
                          <a:pt x="43" y="2"/>
                          <a:pt x="43" y="1"/>
                          <a:pt x="43" y="1"/>
                        </a:cubicBezTo>
                        <a:cubicBezTo>
                          <a:pt x="43" y="1"/>
                          <a:pt x="43" y="1"/>
                          <a:pt x="43" y="1"/>
                        </a:cubicBezTo>
                        <a:cubicBezTo>
                          <a:pt x="41" y="2"/>
                          <a:pt x="40" y="2"/>
                          <a:pt x="39" y="2"/>
                        </a:cubicBezTo>
                        <a:cubicBezTo>
                          <a:pt x="36" y="2"/>
                          <a:pt x="33" y="1"/>
                          <a:pt x="32" y="0"/>
                        </a:cubicBezTo>
                        <a:cubicBezTo>
                          <a:pt x="29" y="1"/>
                          <a:pt x="24" y="2"/>
                          <a:pt x="19" y="2"/>
                        </a:cubicBezTo>
                        <a:cubicBezTo>
                          <a:pt x="14" y="2"/>
                          <a:pt x="9" y="1"/>
                          <a:pt x="6" y="0"/>
                        </a:cubicBezTo>
                        <a:cubicBezTo>
                          <a:pt x="6" y="1"/>
                          <a:pt x="5" y="1"/>
                          <a:pt x="5" y="2"/>
                        </a:cubicBezTo>
                        <a:cubicBezTo>
                          <a:pt x="5" y="2"/>
                          <a:pt x="5" y="2"/>
                          <a:pt x="5" y="2"/>
                        </a:cubicBezTo>
                        <a:cubicBezTo>
                          <a:pt x="4" y="2"/>
                          <a:pt x="4" y="3"/>
                          <a:pt x="4" y="3"/>
                        </a:cubicBezTo>
                        <a:cubicBezTo>
                          <a:pt x="4" y="3"/>
                          <a:pt x="4" y="3"/>
                          <a:pt x="4" y="3"/>
                        </a:cubicBezTo>
                        <a:cubicBezTo>
                          <a:pt x="4" y="3"/>
                          <a:pt x="4" y="4"/>
                          <a:pt x="4" y="4"/>
                        </a:cubicBezTo>
                        <a:cubicBezTo>
                          <a:pt x="4" y="4"/>
                          <a:pt x="4" y="4"/>
                          <a:pt x="4" y="4"/>
                        </a:cubicBezTo>
                        <a:cubicBezTo>
                          <a:pt x="4" y="4"/>
                          <a:pt x="4" y="5"/>
                          <a:pt x="4" y="5"/>
                        </a:cubicBezTo>
                        <a:cubicBezTo>
                          <a:pt x="4" y="5"/>
                          <a:pt x="3" y="5"/>
                          <a:pt x="3" y="5"/>
                        </a:cubicBezTo>
                        <a:cubicBezTo>
                          <a:pt x="3" y="5"/>
                          <a:pt x="3" y="6"/>
                          <a:pt x="3" y="6"/>
                        </a:cubicBezTo>
                        <a:cubicBezTo>
                          <a:pt x="3" y="6"/>
                          <a:pt x="3" y="6"/>
                          <a:pt x="3" y="6"/>
                        </a:cubicBezTo>
                        <a:cubicBezTo>
                          <a:pt x="3" y="6"/>
                          <a:pt x="3" y="7"/>
                          <a:pt x="3" y="7"/>
                        </a:cubicBezTo>
                        <a:cubicBezTo>
                          <a:pt x="3" y="10"/>
                          <a:pt x="3" y="10"/>
                          <a:pt x="3" y="10"/>
                        </a:cubicBezTo>
                        <a:cubicBezTo>
                          <a:pt x="3" y="10"/>
                          <a:pt x="3" y="10"/>
                          <a:pt x="3" y="10"/>
                        </a:cubicBezTo>
                        <a:cubicBezTo>
                          <a:pt x="1" y="10"/>
                          <a:pt x="0" y="12"/>
                          <a:pt x="0" y="14"/>
                        </a:cubicBezTo>
                        <a:cubicBezTo>
                          <a:pt x="0" y="21"/>
                          <a:pt x="0" y="21"/>
                          <a:pt x="0" y="21"/>
                        </a:cubicBezTo>
                        <a:cubicBezTo>
                          <a:pt x="0" y="23"/>
                          <a:pt x="1" y="25"/>
                          <a:pt x="3" y="25"/>
                        </a:cubicBezTo>
                        <a:cubicBezTo>
                          <a:pt x="3" y="25"/>
                          <a:pt x="9" y="43"/>
                          <a:pt x="15" y="43"/>
                        </a:cubicBezTo>
                        <a:cubicBezTo>
                          <a:pt x="33" y="43"/>
                          <a:pt x="33" y="43"/>
                          <a:pt x="33" y="43"/>
                        </a:cubicBezTo>
                        <a:cubicBezTo>
                          <a:pt x="38" y="43"/>
                          <a:pt x="44" y="25"/>
                          <a:pt x="44" y="25"/>
                        </a:cubicBezTo>
                        <a:cubicBezTo>
                          <a:pt x="46" y="25"/>
                          <a:pt x="48" y="23"/>
                          <a:pt x="48" y="21"/>
                        </a:cubicBezTo>
                        <a:cubicBezTo>
                          <a:pt x="48" y="14"/>
                          <a:pt x="48" y="14"/>
                          <a:pt x="48" y="14"/>
                        </a:cubicBezTo>
                        <a:cubicBezTo>
                          <a:pt x="48" y="12"/>
                          <a:pt x="47" y="11"/>
                          <a:pt x="46" y="1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grpSp>
        <p:grpSp>
          <p:nvGrpSpPr>
            <p:cNvPr id="426" name="Group 425"/>
            <p:cNvGrpSpPr/>
            <p:nvPr/>
          </p:nvGrpSpPr>
          <p:grpSpPr>
            <a:xfrm flipH="1">
              <a:off x="300877" y="5645082"/>
              <a:ext cx="845793" cy="440186"/>
              <a:chOff x="7242557" y="5645082"/>
              <a:chExt cx="845793" cy="440186"/>
            </a:xfrm>
          </p:grpSpPr>
          <p:sp>
            <p:nvSpPr>
              <p:cNvPr id="427" name="Freeform 118"/>
              <p:cNvSpPr>
                <a:spLocks/>
              </p:cNvSpPr>
              <p:nvPr/>
            </p:nvSpPr>
            <p:spPr bwMode="auto">
              <a:xfrm>
                <a:off x="7242557" y="5645082"/>
                <a:ext cx="669668" cy="440186"/>
              </a:xfrm>
              <a:custGeom>
                <a:avLst/>
                <a:gdLst>
                  <a:gd name="T0" fmla="*/ 132 w 157"/>
                  <a:gd name="T1" fmla="*/ 45 h 103"/>
                  <a:gd name="T2" fmla="*/ 132 w 157"/>
                  <a:gd name="T3" fmla="*/ 43 h 103"/>
                  <a:gd name="T4" fmla="*/ 88 w 157"/>
                  <a:gd name="T5" fmla="*/ 0 h 103"/>
                  <a:gd name="T6" fmla="*/ 52 w 157"/>
                  <a:gd name="T7" fmla="*/ 19 h 103"/>
                  <a:gd name="T8" fmla="*/ 41 w 157"/>
                  <a:gd name="T9" fmla="*/ 16 h 103"/>
                  <a:gd name="T10" fmla="*/ 27 w 157"/>
                  <a:gd name="T11" fmla="*/ 20 h 103"/>
                  <a:gd name="T12" fmla="*/ 15 w 157"/>
                  <a:gd name="T13" fmla="*/ 40 h 103"/>
                  <a:gd name="T14" fmla="*/ 0 w 157"/>
                  <a:gd name="T15" fmla="*/ 69 h 103"/>
                  <a:gd name="T16" fmla="*/ 30 w 157"/>
                  <a:gd name="T17" fmla="*/ 103 h 103"/>
                  <a:gd name="T18" fmla="*/ 34 w 157"/>
                  <a:gd name="T19" fmla="*/ 103 h 103"/>
                  <a:gd name="T20" fmla="*/ 37 w 157"/>
                  <a:gd name="T21" fmla="*/ 103 h 103"/>
                  <a:gd name="T22" fmla="*/ 108 w 157"/>
                  <a:gd name="T23" fmla="*/ 103 h 103"/>
                  <a:gd name="T24" fmla="*/ 109 w 157"/>
                  <a:gd name="T25" fmla="*/ 103 h 103"/>
                  <a:gd name="T26" fmla="*/ 111 w 157"/>
                  <a:gd name="T27" fmla="*/ 103 h 103"/>
                  <a:gd name="T28" fmla="*/ 116 w 157"/>
                  <a:gd name="T29" fmla="*/ 103 h 103"/>
                  <a:gd name="T30" fmla="*/ 128 w 157"/>
                  <a:gd name="T31" fmla="*/ 103 h 103"/>
                  <a:gd name="T32" fmla="*/ 157 w 157"/>
                  <a:gd name="T33" fmla="*/ 74 h 103"/>
                  <a:gd name="T34" fmla="*/ 132 w 157"/>
                  <a:gd name="T35" fmla="*/ 4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103">
                    <a:moveTo>
                      <a:pt x="132" y="45"/>
                    </a:moveTo>
                    <a:cubicBezTo>
                      <a:pt x="132" y="44"/>
                      <a:pt x="132" y="44"/>
                      <a:pt x="132" y="43"/>
                    </a:cubicBezTo>
                    <a:cubicBezTo>
                      <a:pt x="132" y="19"/>
                      <a:pt x="112" y="0"/>
                      <a:pt x="88" y="0"/>
                    </a:cubicBezTo>
                    <a:cubicBezTo>
                      <a:pt x="73" y="0"/>
                      <a:pt x="60" y="8"/>
                      <a:pt x="52" y="19"/>
                    </a:cubicBezTo>
                    <a:cubicBezTo>
                      <a:pt x="49" y="17"/>
                      <a:pt x="45" y="16"/>
                      <a:pt x="41" y="16"/>
                    </a:cubicBezTo>
                    <a:cubicBezTo>
                      <a:pt x="35" y="16"/>
                      <a:pt x="31" y="18"/>
                      <a:pt x="27" y="20"/>
                    </a:cubicBezTo>
                    <a:cubicBezTo>
                      <a:pt x="20" y="25"/>
                      <a:pt x="16" y="32"/>
                      <a:pt x="15" y="40"/>
                    </a:cubicBezTo>
                    <a:cubicBezTo>
                      <a:pt x="6" y="46"/>
                      <a:pt x="0" y="57"/>
                      <a:pt x="0" y="69"/>
                    </a:cubicBezTo>
                    <a:cubicBezTo>
                      <a:pt x="0" y="87"/>
                      <a:pt x="13" y="101"/>
                      <a:pt x="30" y="103"/>
                    </a:cubicBezTo>
                    <a:cubicBezTo>
                      <a:pt x="31" y="103"/>
                      <a:pt x="33" y="103"/>
                      <a:pt x="34" y="103"/>
                    </a:cubicBezTo>
                    <a:cubicBezTo>
                      <a:pt x="35" y="103"/>
                      <a:pt x="36" y="103"/>
                      <a:pt x="37" y="103"/>
                    </a:cubicBezTo>
                    <a:cubicBezTo>
                      <a:pt x="53" y="103"/>
                      <a:pt x="90" y="103"/>
                      <a:pt x="108" y="103"/>
                    </a:cubicBezTo>
                    <a:cubicBezTo>
                      <a:pt x="109" y="103"/>
                      <a:pt x="109" y="103"/>
                      <a:pt x="109" y="103"/>
                    </a:cubicBezTo>
                    <a:cubicBezTo>
                      <a:pt x="111" y="103"/>
                      <a:pt x="111" y="103"/>
                      <a:pt x="111" y="103"/>
                    </a:cubicBezTo>
                    <a:cubicBezTo>
                      <a:pt x="112" y="103"/>
                      <a:pt x="115" y="103"/>
                      <a:pt x="116" y="103"/>
                    </a:cubicBezTo>
                    <a:cubicBezTo>
                      <a:pt x="128" y="103"/>
                      <a:pt x="128" y="103"/>
                      <a:pt x="128" y="103"/>
                    </a:cubicBezTo>
                    <a:cubicBezTo>
                      <a:pt x="144" y="103"/>
                      <a:pt x="157" y="90"/>
                      <a:pt x="157" y="74"/>
                    </a:cubicBezTo>
                    <a:cubicBezTo>
                      <a:pt x="157" y="59"/>
                      <a:pt x="146" y="47"/>
                      <a:pt x="132" y="45"/>
                    </a:cubicBezTo>
                    <a:close/>
                  </a:path>
                </a:pathLst>
              </a:custGeom>
              <a:solidFill>
                <a:schemeClr val="accent6">
                  <a:lumMod val="40000"/>
                  <a:lumOff val="60000"/>
                </a:schemeClr>
              </a:solidFill>
              <a:ln>
                <a:noFill/>
              </a:ln>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28" name="Freeform 5"/>
              <p:cNvSpPr>
                <a:spLocks/>
              </p:cNvSpPr>
              <p:nvPr/>
            </p:nvSpPr>
            <p:spPr bwMode="auto">
              <a:xfrm>
                <a:off x="7803436" y="5777768"/>
                <a:ext cx="284914" cy="187557"/>
              </a:xfrm>
              <a:custGeom>
                <a:avLst/>
                <a:gdLst>
                  <a:gd name="T0" fmla="*/ 34 w 213"/>
                  <a:gd name="T1" fmla="*/ 62 h 140"/>
                  <a:gd name="T2" fmla="*/ 34 w 213"/>
                  <a:gd name="T3" fmla="*/ 59 h 140"/>
                  <a:gd name="T4" fmla="*/ 92 w 213"/>
                  <a:gd name="T5" fmla="*/ 0 h 140"/>
                  <a:gd name="T6" fmla="*/ 141 w 213"/>
                  <a:gd name="T7" fmla="*/ 27 h 140"/>
                  <a:gd name="T8" fmla="*/ 157 w 213"/>
                  <a:gd name="T9" fmla="*/ 22 h 140"/>
                  <a:gd name="T10" fmla="*/ 176 w 213"/>
                  <a:gd name="T11" fmla="*/ 28 h 140"/>
                  <a:gd name="T12" fmla="*/ 192 w 213"/>
                  <a:gd name="T13" fmla="*/ 55 h 140"/>
                  <a:gd name="T14" fmla="*/ 213 w 213"/>
                  <a:gd name="T15" fmla="*/ 94 h 140"/>
                  <a:gd name="T16" fmla="*/ 172 w 213"/>
                  <a:gd name="T17" fmla="*/ 140 h 140"/>
                  <a:gd name="T18" fmla="*/ 166 w 213"/>
                  <a:gd name="T19" fmla="*/ 140 h 140"/>
                  <a:gd name="T20" fmla="*/ 162 w 213"/>
                  <a:gd name="T21" fmla="*/ 140 h 140"/>
                  <a:gd name="T22" fmla="*/ 66 w 213"/>
                  <a:gd name="T23" fmla="*/ 140 h 140"/>
                  <a:gd name="T24" fmla="*/ 64 w 213"/>
                  <a:gd name="T25" fmla="*/ 140 h 140"/>
                  <a:gd name="T26" fmla="*/ 61 w 213"/>
                  <a:gd name="T27" fmla="*/ 140 h 140"/>
                  <a:gd name="T28" fmla="*/ 54 w 213"/>
                  <a:gd name="T29" fmla="*/ 140 h 140"/>
                  <a:gd name="T30" fmla="*/ 39 w 213"/>
                  <a:gd name="T31" fmla="*/ 140 h 140"/>
                  <a:gd name="T32" fmla="*/ 0 w 213"/>
                  <a:gd name="T33" fmla="*/ 101 h 140"/>
                  <a:gd name="T34" fmla="*/ 34 w 213"/>
                  <a:gd name="T35" fmla="*/ 6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3" h="140">
                    <a:moveTo>
                      <a:pt x="34" y="62"/>
                    </a:moveTo>
                    <a:cubicBezTo>
                      <a:pt x="34" y="61"/>
                      <a:pt x="34" y="60"/>
                      <a:pt x="34" y="59"/>
                    </a:cubicBezTo>
                    <a:cubicBezTo>
                      <a:pt x="34" y="27"/>
                      <a:pt x="60" y="0"/>
                      <a:pt x="92" y="0"/>
                    </a:cubicBezTo>
                    <a:cubicBezTo>
                      <a:pt x="113" y="0"/>
                      <a:pt x="131" y="11"/>
                      <a:pt x="141" y="27"/>
                    </a:cubicBezTo>
                    <a:cubicBezTo>
                      <a:pt x="146" y="24"/>
                      <a:pt x="152" y="22"/>
                      <a:pt x="157" y="22"/>
                    </a:cubicBezTo>
                    <a:cubicBezTo>
                      <a:pt x="165" y="22"/>
                      <a:pt x="171" y="24"/>
                      <a:pt x="176" y="28"/>
                    </a:cubicBezTo>
                    <a:cubicBezTo>
                      <a:pt x="185" y="34"/>
                      <a:pt x="191" y="44"/>
                      <a:pt x="192" y="55"/>
                    </a:cubicBezTo>
                    <a:cubicBezTo>
                      <a:pt x="204" y="64"/>
                      <a:pt x="213" y="78"/>
                      <a:pt x="213" y="94"/>
                    </a:cubicBezTo>
                    <a:cubicBezTo>
                      <a:pt x="213" y="118"/>
                      <a:pt x="195" y="137"/>
                      <a:pt x="172" y="140"/>
                    </a:cubicBezTo>
                    <a:cubicBezTo>
                      <a:pt x="170" y="140"/>
                      <a:pt x="168" y="140"/>
                      <a:pt x="166" y="140"/>
                    </a:cubicBezTo>
                    <a:cubicBezTo>
                      <a:pt x="165" y="140"/>
                      <a:pt x="163" y="140"/>
                      <a:pt x="162" y="140"/>
                    </a:cubicBezTo>
                    <a:cubicBezTo>
                      <a:pt x="140" y="140"/>
                      <a:pt x="90" y="140"/>
                      <a:pt x="66" y="140"/>
                    </a:cubicBezTo>
                    <a:cubicBezTo>
                      <a:pt x="65" y="140"/>
                      <a:pt x="64" y="140"/>
                      <a:pt x="64" y="140"/>
                    </a:cubicBezTo>
                    <a:cubicBezTo>
                      <a:pt x="61" y="140"/>
                      <a:pt x="61" y="140"/>
                      <a:pt x="61" y="140"/>
                    </a:cubicBezTo>
                    <a:cubicBezTo>
                      <a:pt x="60" y="140"/>
                      <a:pt x="57" y="140"/>
                      <a:pt x="54" y="140"/>
                    </a:cubicBezTo>
                    <a:cubicBezTo>
                      <a:pt x="39" y="140"/>
                      <a:pt x="39" y="140"/>
                      <a:pt x="39" y="140"/>
                    </a:cubicBezTo>
                    <a:cubicBezTo>
                      <a:pt x="17" y="139"/>
                      <a:pt x="0" y="122"/>
                      <a:pt x="0" y="101"/>
                    </a:cubicBezTo>
                    <a:cubicBezTo>
                      <a:pt x="0" y="81"/>
                      <a:pt x="14" y="64"/>
                      <a:pt x="34" y="62"/>
                    </a:cubicBez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grpSp>
      <p:sp>
        <p:nvSpPr>
          <p:cNvPr id="431" name="Rectangle 430"/>
          <p:cNvSpPr/>
          <p:nvPr/>
        </p:nvSpPr>
        <p:spPr>
          <a:xfrm flipH="1">
            <a:off x="0" y="1249133"/>
            <a:ext cx="4480560" cy="1974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91440" bIns="91440" rtlCol="0" anchor="ctr"/>
          <a:lstStyle/>
          <a:p>
            <a:pPr algn="l" fontAlgn="auto">
              <a:spcBef>
                <a:spcPts val="600"/>
              </a:spcBef>
            </a:pPr>
            <a:r>
              <a:rPr lang="en-US" sz="2400" b="1" dirty="0">
                <a:solidFill>
                  <a:schemeClr val="bg1"/>
                </a:solidFill>
                <a:cs typeface="Segoe UI" panose="020B0502040204020203" pitchFamily="34" charset="0"/>
              </a:rPr>
              <a:t>200+ </a:t>
            </a:r>
            <a:r>
              <a:rPr lang="en-US" sz="2400" dirty="0">
                <a:solidFill>
                  <a:schemeClr val="bg1"/>
                </a:solidFill>
                <a:latin typeface="Segoe UI Light"/>
              </a:rPr>
              <a:t>cloud </a:t>
            </a:r>
            <a:r>
              <a:rPr lang="en-US" sz="2400" dirty="0" smtClean="0">
                <a:solidFill>
                  <a:schemeClr val="bg1"/>
                </a:solidFill>
                <a:latin typeface="Segoe UI Light"/>
              </a:rPr>
              <a:t>services,</a:t>
            </a:r>
          </a:p>
          <a:p>
            <a:pPr algn="l" fontAlgn="auto">
              <a:spcBef>
                <a:spcPts val="600"/>
              </a:spcBef>
            </a:pPr>
            <a:r>
              <a:rPr lang="en-US" sz="2400" b="1" dirty="0" smtClean="0">
                <a:solidFill>
                  <a:schemeClr val="bg1"/>
                </a:solidFill>
                <a:cs typeface="Segoe UI" panose="020B0502040204020203" pitchFamily="34" charset="0"/>
              </a:rPr>
              <a:t>1</a:t>
            </a:r>
            <a:r>
              <a:rPr lang="en-US" sz="2400" b="1" dirty="0">
                <a:solidFill>
                  <a:schemeClr val="bg1"/>
                </a:solidFill>
                <a:cs typeface="Segoe UI" panose="020B0502040204020203" pitchFamily="34" charset="0"/>
              </a:rPr>
              <a:t>+ </a:t>
            </a:r>
            <a:r>
              <a:rPr lang="en-US" sz="2400" dirty="0">
                <a:solidFill>
                  <a:schemeClr val="bg1"/>
                </a:solidFill>
                <a:latin typeface="Segoe UI Light"/>
              </a:rPr>
              <a:t>million servers</a:t>
            </a:r>
            <a:r>
              <a:rPr lang="en-US" sz="2400" dirty="0" smtClean="0">
                <a:solidFill>
                  <a:schemeClr val="bg1"/>
                </a:solidFill>
                <a:latin typeface="Segoe UI Light"/>
              </a:rPr>
              <a:t>,</a:t>
            </a:r>
          </a:p>
          <a:p>
            <a:pPr algn="l" fontAlgn="auto">
              <a:spcBef>
                <a:spcPts val="600"/>
              </a:spcBef>
            </a:pPr>
            <a:r>
              <a:rPr lang="en-US" sz="2400" b="1" dirty="0" smtClean="0">
                <a:solidFill>
                  <a:schemeClr val="bg1"/>
                </a:solidFill>
                <a:cs typeface="Segoe UI" panose="020B0502040204020203" pitchFamily="34" charset="0"/>
              </a:rPr>
              <a:t>$</a:t>
            </a:r>
            <a:r>
              <a:rPr lang="en-US" sz="2400" b="1" dirty="0">
                <a:solidFill>
                  <a:schemeClr val="bg1"/>
                </a:solidFill>
                <a:cs typeface="Segoe UI" panose="020B0502040204020203" pitchFamily="34" charset="0"/>
              </a:rPr>
              <a:t>15B+ </a:t>
            </a:r>
            <a:r>
              <a:rPr lang="en-US" sz="2400" dirty="0" smtClean="0">
                <a:solidFill>
                  <a:schemeClr val="bg1"/>
                </a:solidFill>
                <a:latin typeface="Segoe UI Light"/>
              </a:rPr>
              <a:t>infrastructure investment </a:t>
            </a:r>
          </a:p>
        </p:txBody>
      </p:sp>
      <p:sp>
        <p:nvSpPr>
          <p:cNvPr id="432" name="Rectangle 431"/>
          <p:cNvSpPr/>
          <p:nvPr/>
        </p:nvSpPr>
        <p:spPr>
          <a:xfrm flipH="1">
            <a:off x="0" y="3221202"/>
            <a:ext cx="4480560" cy="1974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91440" bIns="91440" rtlCol="0" anchor="ctr"/>
          <a:lstStyle/>
          <a:p>
            <a:pPr algn="l" fontAlgn="auto">
              <a:spcBef>
                <a:spcPts val="600"/>
              </a:spcBef>
            </a:pPr>
            <a:r>
              <a:rPr lang="en-US" sz="2400" b="1" dirty="0" smtClean="0">
                <a:solidFill>
                  <a:schemeClr val="bg1"/>
                </a:solidFill>
                <a:cs typeface="Segoe UI" panose="020B0502040204020203" pitchFamily="34" charset="0"/>
              </a:rPr>
              <a:t>1 </a:t>
            </a:r>
            <a:r>
              <a:rPr lang="en-US" sz="2400" b="1" dirty="0">
                <a:solidFill>
                  <a:schemeClr val="bg1"/>
                </a:solidFill>
                <a:cs typeface="Segoe UI" panose="020B0502040204020203" pitchFamily="34" charset="0"/>
              </a:rPr>
              <a:t>billion </a:t>
            </a:r>
            <a:r>
              <a:rPr lang="en-US" sz="2400" dirty="0" smtClean="0">
                <a:solidFill>
                  <a:schemeClr val="bg1"/>
                </a:solidFill>
                <a:latin typeface="Segoe UI Light"/>
              </a:rPr>
              <a:t>customers,</a:t>
            </a:r>
          </a:p>
          <a:p>
            <a:pPr algn="l" fontAlgn="auto">
              <a:spcBef>
                <a:spcPts val="600"/>
              </a:spcBef>
            </a:pPr>
            <a:r>
              <a:rPr lang="en-US" sz="2400" b="1" dirty="0" smtClean="0">
                <a:solidFill>
                  <a:schemeClr val="bg1"/>
                </a:solidFill>
                <a:cs typeface="Segoe UI" panose="020B0502040204020203" pitchFamily="34" charset="0"/>
              </a:rPr>
              <a:t>20 </a:t>
            </a:r>
            <a:r>
              <a:rPr lang="en-US" sz="2400" b="1" dirty="0">
                <a:solidFill>
                  <a:schemeClr val="bg1"/>
                </a:solidFill>
                <a:cs typeface="Segoe UI" panose="020B0502040204020203" pitchFamily="34" charset="0"/>
              </a:rPr>
              <a:t>million </a:t>
            </a:r>
            <a:r>
              <a:rPr lang="en-US" sz="2400" dirty="0" smtClean="0">
                <a:solidFill>
                  <a:schemeClr val="bg1"/>
                </a:solidFill>
                <a:latin typeface="Segoe UI Light"/>
              </a:rPr>
              <a:t>businesses,</a:t>
            </a:r>
          </a:p>
          <a:p>
            <a:pPr algn="l" fontAlgn="auto">
              <a:spcBef>
                <a:spcPts val="600"/>
              </a:spcBef>
            </a:pPr>
            <a:r>
              <a:rPr lang="en-US" sz="2400" b="1" dirty="0" smtClean="0">
                <a:solidFill>
                  <a:schemeClr val="bg1"/>
                </a:solidFill>
                <a:cs typeface="Segoe UI" panose="020B0502040204020203" pitchFamily="34" charset="0"/>
              </a:rPr>
              <a:t>90 </a:t>
            </a:r>
            <a:r>
              <a:rPr lang="en-US" sz="2400" b="1" dirty="0">
                <a:solidFill>
                  <a:schemeClr val="bg1"/>
                </a:solidFill>
                <a:cs typeface="Segoe UI" panose="020B0502040204020203" pitchFamily="34" charset="0"/>
              </a:rPr>
              <a:t>countries </a:t>
            </a:r>
            <a:r>
              <a:rPr lang="en-US" sz="2400" dirty="0" smtClean="0">
                <a:solidFill>
                  <a:schemeClr val="bg1"/>
                </a:solidFill>
                <a:latin typeface="Segoe UI Light"/>
              </a:rPr>
              <a:t>worldwide</a:t>
            </a:r>
            <a:r>
              <a:rPr lang="en-US" sz="2400" baseline="30000" dirty="0" smtClean="0">
                <a:solidFill>
                  <a:schemeClr val="bg1"/>
                </a:solidFill>
                <a:latin typeface="Segoe UI Light"/>
              </a:rPr>
              <a:t>1</a:t>
            </a:r>
          </a:p>
        </p:txBody>
      </p:sp>
      <p:sp>
        <p:nvSpPr>
          <p:cNvPr id="3" name="Slide Number Placeholder 2"/>
          <p:cNvSpPr>
            <a:spLocks noGrp="1"/>
          </p:cNvSpPr>
          <p:nvPr>
            <p:ph type="sldNum" sz="quarter" idx="11"/>
          </p:nvPr>
        </p:nvSpPr>
        <p:spPr/>
        <p:txBody>
          <a:bodyPr/>
          <a:lstStyle/>
          <a:p>
            <a:fld id="{27258FFF-F925-446B-8502-81C933981705}" type="slidenum">
              <a:rPr lang="en-US" smtClean="0"/>
              <a:pPr/>
              <a:t>5</a:t>
            </a:fld>
            <a:endParaRPr lang="en-US"/>
          </a:p>
        </p:txBody>
      </p:sp>
    </p:spTree>
    <p:extLst>
      <p:ext uri="{BB962C8B-B14F-4D97-AF65-F5344CB8AC3E}">
        <p14:creationId xmlns:p14="http://schemas.microsoft.com/office/powerpoint/2010/main" val="151634464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0-#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2" fill="hold" nodeType="afterEffect">
                                  <p:stCondLst>
                                    <p:cond delay="0"/>
                                  </p:stCondLst>
                                  <p:childTnLst>
                                    <p:set>
                                      <p:cBhvr>
                                        <p:cTn id="11" dur="1" fill="hold">
                                          <p:stCondLst>
                                            <p:cond delay="0"/>
                                          </p:stCondLst>
                                        </p:cTn>
                                        <p:tgtEl>
                                          <p:spTgt spid="50"/>
                                        </p:tgtEl>
                                        <p:attrNameLst>
                                          <p:attrName>style.visibility</p:attrName>
                                        </p:attrNameLst>
                                      </p:cBhvr>
                                      <p:to>
                                        <p:strVal val="visible"/>
                                      </p:to>
                                    </p:set>
                                    <p:animEffect transition="in" filter="wipe(right)">
                                      <p:cBhvr>
                                        <p:cTn id="12" dur="500"/>
                                        <p:tgtEl>
                                          <p:spTgt spid="50"/>
                                        </p:tgtEl>
                                      </p:cBhvr>
                                    </p:animEffect>
                                  </p:childTnLst>
                                </p:cTn>
                              </p:par>
                              <p:par>
                                <p:cTn id="13" presetID="22" presetClass="entr" presetSubtype="4" fill="hold" grpId="0" nodeType="withEffect">
                                  <p:stCondLst>
                                    <p:cond delay="400"/>
                                  </p:stCondLst>
                                  <p:childTnLst>
                                    <p:set>
                                      <p:cBhvr>
                                        <p:cTn id="14" dur="1" fill="hold">
                                          <p:stCondLst>
                                            <p:cond delay="0"/>
                                          </p:stCondLst>
                                        </p:cTn>
                                        <p:tgtEl>
                                          <p:spTgt spid="431"/>
                                        </p:tgtEl>
                                        <p:attrNameLst>
                                          <p:attrName>style.visibility</p:attrName>
                                        </p:attrNameLst>
                                      </p:cBhvr>
                                      <p:to>
                                        <p:strVal val="visible"/>
                                      </p:to>
                                    </p:set>
                                    <p:animEffect transition="in" filter="wipe(down)">
                                      <p:cBhvr>
                                        <p:cTn id="15" dur="500"/>
                                        <p:tgtEl>
                                          <p:spTgt spid="431"/>
                                        </p:tgtEl>
                                      </p:cBhvr>
                                    </p:animEffect>
                                  </p:childTnLst>
                                </p:cTn>
                              </p:par>
                              <p:par>
                                <p:cTn id="16" presetID="22" presetClass="entr" presetSubtype="1" fill="hold" grpId="0" nodeType="withEffect">
                                  <p:stCondLst>
                                    <p:cond delay="400"/>
                                  </p:stCondLst>
                                  <p:childTnLst>
                                    <p:set>
                                      <p:cBhvr>
                                        <p:cTn id="17" dur="1" fill="hold">
                                          <p:stCondLst>
                                            <p:cond delay="0"/>
                                          </p:stCondLst>
                                        </p:cTn>
                                        <p:tgtEl>
                                          <p:spTgt spid="432"/>
                                        </p:tgtEl>
                                        <p:attrNameLst>
                                          <p:attrName>style.visibility</p:attrName>
                                        </p:attrNameLst>
                                      </p:cBhvr>
                                      <p:to>
                                        <p:strVal val="visible"/>
                                      </p:to>
                                    </p:set>
                                    <p:animEffect transition="in" filter="wipe(up)">
                                      <p:cBhvr>
                                        <p:cTn id="18" dur="500"/>
                                        <p:tgtEl>
                                          <p:spTgt spid="432"/>
                                        </p:tgtEl>
                                      </p:cBhvr>
                                    </p:animEffect>
                                  </p:childTnLst>
                                </p:cTn>
                              </p:par>
                            </p:childTnLst>
                          </p:cTn>
                        </p:par>
                        <p:par>
                          <p:cTn id="19" fill="hold">
                            <p:stCondLst>
                              <p:cond delay="1900"/>
                            </p:stCondLst>
                            <p:childTnLst>
                              <p:par>
                                <p:cTn id="20" presetID="2" presetClass="entr" presetSubtype="4" decel="100000" fill="hold" nodeType="afterEffect">
                                  <p:stCondLst>
                                    <p:cond delay="0"/>
                                  </p:stCondLst>
                                  <p:childTnLst>
                                    <p:set>
                                      <p:cBhvr>
                                        <p:cTn id="21" dur="1" fill="hold">
                                          <p:stCondLst>
                                            <p:cond delay="0"/>
                                          </p:stCondLst>
                                        </p:cTn>
                                        <p:tgtEl>
                                          <p:spTgt spid="5"/>
                                        </p:tgtEl>
                                        <p:attrNameLst>
                                          <p:attrName>style.visibility</p:attrName>
                                        </p:attrNameLst>
                                      </p:cBhvr>
                                      <p:to>
                                        <p:strVal val="visible"/>
                                      </p:to>
                                    </p:set>
                                    <p:anim calcmode="lin" valueType="num">
                                      <p:cBhvr additive="base">
                                        <p:cTn id="22" dur="750" fill="hold"/>
                                        <p:tgtEl>
                                          <p:spTgt spid="5"/>
                                        </p:tgtEl>
                                        <p:attrNameLst>
                                          <p:attrName>ppt_x</p:attrName>
                                        </p:attrNameLst>
                                      </p:cBhvr>
                                      <p:tavLst>
                                        <p:tav tm="0">
                                          <p:val>
                                            <p:strVal val="#ppt_x"/>
                                          </p:val>
                                        </p:tav>
                                        <p:tav tm="100000">
                                          <p:val>
                                            <p:strVal val="#ppt_x"/>
                                          </p:val>
                                        </p:tav>
                                      </p:tavLst>
                                    </p:anim>
                                    <p:anim calcmode="lin" valueType="num">
                                      <p:cBhvr additive="base">
                                        <p:cTn id="23" dur="75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1" grpId="0"/>
      <p:bldP spid="43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5336991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813"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3" name="Group 12"/>
          <p:cNvGrpSpPr/>
          <p:nvPr/>
        </p:nvGrpSpPr>
        <p:grpSpPr>
          <a:xfrm>
            <a:off x="585217" y="1703187"/>
            <a:ext cx="2606036" cy="1027489"/>
            <a:chOff x="585217" y="1703187"/>
            <a:chExt cx="2606036" cy="1027489"/>
          </a:xfrm>
        </p:grpSpPr>
        <p:sp>
          <p:nvSpPr>
            <p:cNvPr id="1334" name="TextBox 1333"/>
            <p:cNvSpPr txBox="1">
              <a:spLocks/>
            </p:cNvSpPr>
            <p:nvPr/>
          </p:nvSpPr>
          <p:spPr>
            <a:xfrm>
              <a:off x="585217" y="1703187"/>
              <a:ext cx="2606036" cy="1027489"/>
            </a:xfrm>
            <a:prstGeom prst="rect">
              <a:avLst/>
            </a:prstGeom>
            <a:solidFill>
              <a:schemeClr val="accent1"/>
            </a:solidFill>
            <a:ln w="66675">
              <a:solidFill>
                <a:srgbClr val="EAEAEA">
                  <a:alpha val="74000"/>
                </a:srgbClr>
              </a:solidFill>
              <a:miter lim="800000"/>
              <a:headEnd type="none" w="med" len="med"/>
              <a:tailEnd type="none" w="med" len="med"/>
            </a:ln>
            <a:effectLst>
              <a:outerShdw blurRad="76200" dir="18900000" sy="23000" kx="-1200000" algn="b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GB"/>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marL="539725" algn="ctr" fontAlgn="base">
                <a:defRPr sz="1700"/>
              </a:lvl2pPr>
              <a:lvl3pPr marL="1079449" algn="ctr" fontAlgn="base">
                <a:defRPr sz="1700"/>
              </a:lvl3pPr>
              <a:lvl4pPr marL="1619174" algn="ctr" fontAlgn="base">
                <a:defRPr sz="1700"/>
              </a:lvl4pPr>
              <a:lvl5pPr marL="2158898" algn="ctr" fontAlgn="base">
                <a:defRPr sz="1700"/>
              </a:lvl5pPr>
              <a:lvl6pPr marL="2698623" defTabSz="1079449">
                <a:defRPr sz="1700"/>
              </a:lvl6pPr>
              <a:lvl7pPr marL="3238348" defTabSz="1079449">
                <a:defRPr sz="1700"/>
              </a:lvl7pPr>
              <a:lvl8pPr marL="3778072" defTabSz="1079449">
                <a:defRPr sz="1700"/>
              </a:lvl8pPr>
              <a:lvl9pPr marL="4317797" defTabSz="1079449">
                <a:defRPr sz="1700"/>
              </a:lvl9pPr>
            </a:lstStyle>
            <a:p>
              <a:pPr algn="l">
                <a:lnSpc>
                  <a:spcPct val="100000"/>
                </a:lnSpc>
              </a:pPr>
              <a:r>
                <a:rPr lang="en-US" dirty="0">
                  <a:solidFill>
                    <a:schemeClr val="bg1"/>
                  </a:solidFill>
                  <a:latin typeface="+mj-lt"/>
                </a:rPr>
                <a:t>Compute</a:t>
              </a:r>
            </a:p>
          </p:txBody>
        </p:sp>
        <p:pic>
          <p:nvPicPr>
            <p:cNvPr id="188" name="Picture 187"/>
            <p:cNvPicPr>
              <a:picLocks noChangeAspect="1"/>
            </p:cNvPicPr>
            <p:nvPr/>
          </p:nvPicPr>
          <p:blipFill>
            <a:blip r:embed="rId7"/>
            <a:stretch>
              <a:fillRect/>
            </a:stretch>
          </p:blipFill>
          <p:spPr>
            <a:xfrm>
              <a:off x="2336086" y="1938742"/>
              <a:ext cx="657710" cy="556378"/>
            </a:xfrm>
            <a:prstGeom prst="rect">
              <a:avLst/>
            </a:prstGeom>
          </p:spPr>
        </p:pic>
      </p:grpSp>
      <p:grpSp>
        <p:nvGrpSpPr>
          <p:cNvPr id="14" name="Group 13"/>
          <p:cNvGrpSpPr/>
          <p:nvPr/>
        </p:nvGrpSpPr>
        <p:grpSpPr>
          <a:xfrm>
            <a:off x="3414292" y="1703187"/>
            <a:ext cx="2606036" cy="1027489"/>
            <a:chOff x="3414292" y="1703187"/>
            <a:chExt cx="2606036" cy="1027489"/>
          </a:xfrm>
        </p:grpSpPr>
        <p:sp>
          <p:nvSpPr>
            <p:cNvPr id="1337" name="TextBox 1336"/>
            <p:cNvSpPr txBox="1">
              <a:spLocks/>
            </p:cNvSpPr>
            <p:nvPr/>
          </p:nvSpPr>
          <p:spPr>
            <a:xfrm>
              <a:off x="3414292" y="1703187"/>
              <a:ext cx="2606036" cy="1027489"/>
            </a:xfrm>
            <a:prstGeom prst="rect">
              <a:avLst/>
            </a:prstGeom>
            <a:solidFill>
              <a:schemeClr val="accent2"/>
            </a:solidFill>
            <a:ln w="66675">
              <a:solidFill>
                <a:srgbClr val="EAEAEA">
                  <a:alpha val="74000"/>
                </a:srgbClr>
              </a:solidFill>
              <a:miter lim="800000"/>
              <a:headEnd type="none" w="med" len="med"/>
              <a:tailEnd type="none" w="med" len="med"/>
            </a:ln>
            <a:effectLst>
              <a:outerShdw blurRad="76200" dir="18900000" sy="23000" kx="-1200000" algn="b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GB"/>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marL="539725" algn="ctr" fontAlgn="base">
                <a:defRPr sz="1700"/>
              </a:lvl2pPr>
              <a:lvl3pPr marL="1079449" algn="ctr" fontAlgn="base">
                <a:defRPr sz="1700"/>
              </a:lvl3pPr>
              <a:lvl4pPr marL="1619174" algn="ctr" fontAlgn="base">
                <a:defRPr sz="1700"/>
              </a:lvl4pPr>
              <a:lvl5pPr marL="2158898" algn="ctr" fontAlgn="base">
                <a:defRPr sz="1700"/>
              </a:lvl5pPr>
              <a:lvl6pPr marL="2698623" defTabSz="1079449">
                <a:defRPr sz="1700"/>
              </a:lvl6pPr>
              <a:lvl7pPr marL="3238348" defTabSz="1079449">
                <a:defRPr sz="1700"/>
              </a:lvl7pPr>
              <a:lvl8pPr marL="3778072" defTabSz="1079449">
                <a:defRPr sz="1700"/>
              </a:lvl8pPr>
              <a:lvl9pPr marL="4317797" defTabSz="1079449">
                <a:defRPr sz="1700"/>
              </a:lvl9pPr>
            </a:lstStyle>
            <a:p>
              <a:pPr algn="l">
                <a:lnSpc>
                  <a:spcPct val="100000"/>
                </a:lnSpc>
              </a:pPr>
              <a:r>
                <a:rPr lang="en-US" dirty="0" smtClean="0">
                  <a:solidFill>
                    <a:schemeClr val="bg1"/>
                  </a:solidFill>
                  <a:latin typeface="+mj-lt"/>
                </a:rPr>
                <a:t>Data</a:t>
              </a:r>
              <a:br>
                <a:rPr lang="en-US" dirty="0" smtClean="0">
                  <a:solidFill>
                    <a:schemeClr val="bg1"/>
                  </a:solidFill>
                  <a:latin typeface="+mj-lt"/>
                </a:rPr>
              </a:br>
              <a:r>
                <a:rPr lang="en-US" dirty="0" smtClean="0">
                  <a:solidFill>
                    <a:schemeClr val="bg1"/>
                  </a:solidFill>
                  <a:latin typeface="+mj-lt"/>
                </a:rPr>
                <a:t>Storage</a:t>
              </a:r>
              <a:endParaRPr lang="en-US" dirty="0">
                <a:solidFill>
                  <a:schemeClr val="bg1"/>
                </a:solidFill>
                <a:latin typeface="+mj-lt"/>
              </a:endParaRPr>
            </a:p>
          </p:txBody>
        </p:sp>
        <p:pic>
          <p:nvPicPr>
            <p:cNvPr id="56" name="Picture 55"/>
            <p:cNvPicPr>
              <a:picLocks noChangeAspect="1"/>
            </p:cNvPicPr>
            <p:nvPr/>
          </p:nvPicPr>
          <p:blipFill>
            <a:blip r:embed="rId8">
              <a:biLevel thresh="25000"/>
            </a:blip>
            <a:stretch>
              <a:fillRect/>
            </a:stretch>
          </p:blipFill>
          <p:spPr>
            <a:xfrm>
              <a:off x="5403158" y="1932165"/>
              <a:ext cx="450434" cy="569533"/>
            </a:xfrm>
            <a:prstGeom prst="rect">
              <a:avLst/>
            </a:prstGeom>
          </p:spPr>
        </p:pic>
      </p:grpSp>
      <p:sp>
        <p:nvSpPr>
          <p:cNvPr id="200" name="Title 5"/>
          <p:cNvSpPr>
            <a:spLocks noGrp="1"/>
          </p:cNvSpPr>
          <p:nvPr>
            <p:ph type="title"/>
          </p:nvPr>
        </p:nvSpPr>
        <p:spPr/>
        <p:txBody>
          <a:bodyPr/>
          <a:lstStyle/>
          <a:p>
            <a:r>
              <a:rPr lang="en-US" smtClean="0"/>
              <a:t>Microsoft Azure</a:t>
            </a:r>
            <a:endParaRPr lang="en-US" dirty="0"/>
          </a:p>
        </p:txBody>
      </p:sp>
      <p:grpSp>
        <p:nvGrpSpPr>
          <p:cNvPr id="15" name="Group 14"/>
          <p:cNvGrpSpPr/>
          <p:nvPr/>
        </p:nvGrpSpPr>
        <p:grpSpPr>
          <a:xfrm>
            <a:off x="6243367" y="1703187"/>
            <a:ext cx="2606036" cy="1027489"/>
            <a:chOff x="6243367" y="1703187"/>
            <a:chExt cx="2606036" cy="1027489"/>
          </a:xfrm>
        </p:grpSpPr>
        <p:sp>
          <p:nvSpPr>
            <p:cNvPr id="1340" name="TextBox 1339"/>
            <p:cNvSpPr txBox="1">
              <a:spLocks/>
            </p:cNvSpPr>
            <p:nvPr/>
          </p:nvSpPr>
          <p:spPr>
            <a:xfrm>
              <a:off x="6243367" y="1703187"/>
              <a:ext cx="2606036" cy="1027489"/>
            </a:xfrm>
            <a:prstGeom prst="rect">
              <a:avLst/>
            </a:prstGeom>
            <a:solidFill>
              <a:schemeClr val="accent3"/>
            </a:solidFill>
            <a:ln w="66675">
              <a:solidFill>
                <a:srgbClr val="EAEAEA">
                  <a:alpha val="74000"/>
                </a:srgbClr>
              </a:solidFill>
              <a:miter lim="800000"/>
              <a:headEnd type="none" w="med" len="med"/>
              <a:tailEnd type="none" w="med" len="med"/>
            </a:ln>
            <a:effectLst>
              <a:outerShdw blurRad="76200" dir="18900000" sy="23000" kx="-1200000" algn="b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GB"/>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marL="539725" algn="ctr" fontAlgn="base">
                <a:defRPr sz="1700"/>
              </a:lvl2pPr>
              <a:lvl3pPr marL="1079449" algn="ctr" fontAlgn="base">
                <a:defRPr sz="1700"/>
              </a:lvl3pPr>
              <a:lvl4pPr marL="1619174" algn="ctr" fontAlgn="base">
                <a:defRPr sz="1700"/>
              </a:lvl4pPr>
              <a:lvl5pPr marL="2158898" algn="ctr" fontAlgn="base">
                <a:defRPr sz="1700"/>
              </a:lvl5pPr>
              <a:lvl6pPr marL="2698623" defTabSz="1079449">
                <a:defRPr sz="1700"/>
              </a:lvl6pPr>
              <a:lvl7pPr marL="3238348" defTabSz="1079449">
                <a:defRPr sz="1700"/>
              </a:lvl7pPr>
              <a:lvl8pPr marL="3778072" defTabSz="1079449">
                <a:defRPr sz="1700"/>
              </a:lvl8pPr>
              <a:lvl9pPr marL="4317797" defTabSz="1079449">
                <a:defRPr sz="1700"/>
              </a:lvl9pPr>
            </a:lstStyle>
            <a:p>
              <a:pPr algn="l">
                <a:lnSpc>
                  <a:spcPct val="100000"/>
                </a:lnSpc>
              </a:pPr>
              <a:r>
                <a:rPr lang="en-US" dirty="0" smtClean="0">
                  <a:solidFill>
                    <a:schemeClr val="bg1"/>
                  </a:solidFill>
                  <a:latin typeface="+mj-lt"/>
                </a:rPr>
                <a:t>Network</a:t>
              </a:r>
              <a:br>
                <a:rPr lang="en-US" dirty="0" smtClean="0">
                  <a:solidFill>
                    <a:schemeClr val="bg1"/>
                  </a:solidFill>
                  <a:latin typeface="+mj-lt"/>
                </a:rPr>
              </a:br>
              <a:r>
                <a:rPr lang="en-US" dirty="0" smtClean="0">
                  <a:solidFill>
                    <a:schemeClr val="bg1"/>
                  </a:solidFill>
                  <a:latin typeface="+mj-lt"/>
                </a:rPr>
                <a:t>Services</a:t>
              </a:r>
              <a:endParaRPr lang="en-US" dirty="0">
                <a:solidFill>
                  <a:schemeClr val="bg1"/>
                </a:solidFill>
                <a:latin typeface="+mj-lt"/>
              </a:endParaRPr>
            </a:p>
          </p:txBody>
        </p:sp>
        <p:sp>
          <p:nvSpPr>
            <p:cNvPr id="142" name="Freeform 78"/>
            <p:cNvSpPr>
              <a:spLocks noEditPoints="1"/>
            </p:cNvSpPr>
            <p:nvPr/>
          </p:nvSpPr>
          <p:spPr bwMode="black">
            <a:xfrm>
              <a:off x="8042343" y="1919245"/>
              <a:ext cx="622276" cy="595373"/>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solidFill>
                <a:schemeClr val="bg1"/>
              </a:solidFill>
            </a:ln>
          </p:spPr>
          <p:txBody>
            <a:bodyPr vert="horz" wrap="square" lIns="83943" tIns="41972" rIns="83943" bIns="41972" numCol="1" anchor="t" anchorCtr="0" compatLnSpc="1">
              <a:prstTxWarp prst="textNoShape">
                <a:avLst/>
              </a:prstTxWarp>
            </a:bodyPr>
            <a:lstStyle/>
            <a:p>
              <a:pPr defTabSz="698468">
                <a:defRPr/>
              </a:pPr>
              <a:endParaRPr lang="en-US" sz="1020" kern="0" dirty="0">
                <a:solidFill>
                  <a:srgbClr val="FFFFFF"/>
                </a:solidFill>
              </a:endParaRPr>
            </a:p>
          </p:txBody>
        </p:sp>
      </p:grpSp>
      <p:grpSp>
        <p:nvGrpSpPr>
          <p:cNvPr id="16" name="Group 15"/>
          <p:cNvGrpSpPr/>
          <p:nvPr/>
        </p:nvGrpSpPr>
        <p:grpSpPr>
          <a:xfrm>
            <a:off x="9072442" y="1703187"/>
            <a:ext cx="2606036" cy="1027489"/>
            <a:chOff x="9072442" y="1703187"/>
            <a:chExt cx="2606036" cy="1027489"/>
          </a:xfrm>
        </p:grpSpPr>
        <p:sp>
          <p:nvSpPr>
            <p:cNvPr id="1343" name="TextBox 1342"/>
            <p:cNvSpPr txBox="1">
              <a:spLocks/>
            </p:cNvSpPr>
            <p:nvPr/>
          </p:nvSpPr>
          <p:spPr>
            <a:xfrm>
              <a:off x="9072442" y="1703187"/>
              <a:ext cx="2606036" cy="1027489"/>
            </a:xfrm>
            <a:prstGeom prst="rect">
              <a:avLst/>
            </a:prstGeom>
            <a:solidFill>
              <a:schemeClr val="accent4"/>
            </a:solidFill>
            <a:ln w="66675">
              <a:solidFill>
                <a:srgbClr val="EAEAEA">
                  <a:alpha val="74000"/>
                </a:srgbClr>
              </a:solidFill>
              <a:miter lim="800000"/>
              <a:headEnd type="none" w="med" len="med"/>
              <a:tailEnd type="none" w="med" len="med"/>
            </a:ln>
            <a:effectLst>
              <a:outerShdw blurRad="76200" dir="18900000" sy="23000" kx="-1200000" algn="b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GB"/>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marL="539725" algn="ctr" fontAlgn="base">
                <a:defRPr sz="1700"/>
              </a:lvl2pPr>
              <a:lvl3pPr marL="1079449" algn="ctr" fontAlgn="base">
                <a:defRPr sz="1700"/>
              </a:lvl3pPr>
              <a:lvl4pPr marL="1619174" algn="ctr" fontAlgn="base">
                <a:defRPr sz="1700"/>
              </a:lvl4pPr>
              <a:lvl5pPr marL="2158898" algn="ctr" fontAlgn="base">
                <a:defRPr sz="1700"/>
              </a:lvl5pPr>
              <a:lvl6pPr marL="2698623" defTabSz="1079449">
                <a:defRPr sz="1700"/>
              </a:lvl6pPr>
              <a:lvl7pPr marL="3238348" defTabSz="1079449">
                <a:defRPr sz="1700"/>
              </a:lvl7pPr>
              <a:lvl8pPr marL="3778072" defTabSz="1079449">
                <a:defRPr sz="1700"/>
              </a:lvl8pPr>
              <a:lvl9pPr marL="4317797" defTabSz="1079449">
                <a:defRPr sz="1700"/>
              </a:lvl9pPr>
            </a:lstStyle>
            <a:p>
              <a:pPr algn="l">
                <a:lnSpc>
                  <a:spcPct val="100000"/>
                </a:lnSpc>
              </a:pPr>
              <a:r>
                <a:rPr lang="en-US" dirty="0" smtClean="0">
                  <a:solidFill>
                    <a:schemeClr val="bg1"/>
                  </a:solidFill>
                  <a:latin typeface="+mj-lt"/>
                </a:rPr>
                <a:t>App</a:t>
              </a:r>
              <a:br>
                <a:rPr lang="en-US" dirty="0" smtClean="0">
                  <a:solidFill>
                    <a:schemeClr val="bg1"/>
                  </a:solidFill>
                  <a:latin typeface="+mj-lt"/>
                </a:rPr>
              </a:br>
              <a:r>
                <a:rPr lang="en-US" dirty="0" smtClean="0">
                  <a:solidFill>
                    <a:schemeClr val="bg1"/>
                  </a:solidFill>
                  <a:latin typeface="+mj-lt"/>
                </a:rPr>
                <a:t>Services</a:t>
              </a:r>
              <a:endParaRPr lang="en-US" dirty="0">
                <a:solidFill>
                  <a:schemeClr val="bg1"/>
                </a:solidFill>
                <a:latin typeface="+mj-lt"/>
              </a:endParaRPr>
            </a:p>
          </p:txBody>
        </p:sp>
        <p:pic>
          <p:nvPicPr>
            <p:cNvPr id="69" name="Picture 68"/>
            <p:cNvPicPr>
              <a:picLocks noChangeAspect="1"/>
            </p:cNvPicPr>
            <p:nvPr/>
          </p:nvPicPr>
          <p:blipFill>
            <a:blip r:embed="rId9">
              <a:biLevel thresh="25000"/>
            </a:blip>
            <a:stretch>
              <a:fillRect/>
            </a:stretch>
          </p:blipFill>
          <p:spPr>
            <a:xfrm>
              <a:off x="10968630" y="1925161"/>
              <a:ext cx="531439" cy="583541"/>
            </a:xfrm>
            <a:prstGeom prst="rect">
              <a:avLst/>
            </a:prstGeom>
          </p:spPr>
        </p:pic>
      </p:grpSp>
      <p:sp>
        <p:nvSpPr>
          <p:cNvPr id="1333" name="Rectangle 1332"/>
          <p:cNvSpPr/>
          <p:nvPr/>
        </p:nvSpPr>
        <p:spPr bwMode="auto">
          <a:xfrm>
            <a:off x="1" y="6483118"/>
            <a:ext cx="12436474" cy="51140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335" name="Text Placeholder 30"/>
          <p:cNvSpPr txBox="1">
            <a:spLocks/>
          </p:cNvSpPr>
          <p:nvPr/>
        </p:nvSpPr>
        <p:spPr>
          <a:xfrm>
            <a:off x="585216" y="1005734"/>
            <a:ext cx="11887878" cy="619229"/>
          </a:xfrm>
          <a:prstGeom prst="rect">
            <a:avLst/>
          </a:prstGeom>
        </p:spPr>
        <p:txBody>
          <a:bodyPr vert="horz" wrap="square" lIns="0" tIns="93260" rIns="0" bIns="9326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nSpc>
                <a:spcPct val="100000"/>
              </a:lnSpc>
              <a:spcBef>
                <a:spcPts val="0"/>
              </a:spcBef>
              <a:buNone/>
            </a:pPr>
            <a:r>
              <a:rPr lang="en-IN" sz="2800" dirty="0">
                <a:solidFill>
                  <a:schemeClr val="tx2"/>
                </a:solidFill>
              </a:rPr>
              <a:t>Unified platform for modern business</a:t>
            </a:r>
          </a:p>
        </p:txBody>
      </p:sp>
      <p:grpSp>
        <p:nvGrpSpPr>
          <p:cNvPr id="2" name="Group 1"/>
          <p:cNvGrpSpPr/>
          <p:nvPr/>
        </p:nvGrpSpPr>
        <p:grpSpPr>
          <a:xfrm>
            <a:off x="585217" y="2844268"/>
            <a:ext cx="11093261" cy="3620031"/>
            <a:chOff x="585217" y="2844268"/>
            <a:chExt cx="11093261" cy="3620031"/>
          </a:xfrm>
        </p:grpSpPr>
        <p:sp>
          <p:nvSpPr>
            <p:cNvPr id="102" name="Rectangle 101"/>
            <p:cNvSpPr/>
            <p:nvPr/>
          </p:nvSpPr>
          <p:spPr>
            <a:xfrm>
              <a:off x="585217" y="2844268"/>
              <a:ext cx="11093261" cy="3620031"/>
            </a:xfrm>
            <a:prstGeom prst="rect">
              <a:avLst/>
            </a:prstGeom>
            <a:solidFill>
              <a:schemeClr val="bg1">
                <a:alpha val="94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685833" fontAlgn="base">
                <a:spcBef>
                  <a:spcPct val="0"/>
                </a:spcBef>
                <a:spcAft>
                  <a:spcPct val="0"/>
                </a:spcAft>
              </a:pPr>
              <a:endParaRPr lang="en-US" sz="1122" i="1" dirty="0">
                <a:solidFill>
                  <a:srgbClr val="FFFFFF"/>
                </a:solidFill>
              </a:endParaRPr>
            </a:p>
          </p:txBody>
        </p:sp>
        <p:grpSp>
          <p:nvGrpSpPr>
            <p:cNvPr id="57" name="Group 56"/>
            <p:cNvGrpSpPr/>
            <p:nvPr/>
          </p:nvGrpSpPr>
          <p:grpSpPr>
            <a:xfrm>
              <a:off x="5959717" y="3179213"/>
              <a:ext cx="5460598" cy="2950140"/>
              <a:chOff x="1223528" y="1212852"/>
              <a:chExt cx="9991790" cy="5531619"/>
            </a:xfrm>
            <a:solidFill>
              <a:schemeClr val="bg1">
                <a:lumMod val="75000"/>
              </a:schemeClr>
            </a:solidFill>
          </p:grpSpPr>
          <p:sp>
            <p:nvSpPr>
              <p:cNvPr id="74" name="Oval 9"/>
              <p:cNvSpPr>
                <a:spLocks noChangeAspect="1" noChangeArrowheads="1"/>
              </p:cNvSpPr>
              <p:nvPr userDrawn="1"/>
            </p:nvSpPr>
            <p:spPr bwMode="auto">
              <a:xfrm>
                <a:off x="3628660" y="121285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5" name="Oval 10"/>
              <p:cNvSpPr>
                <a:spLocks noChangeAspect="1" noChangeArrowheads="1"/>
              </p:cNvSpPr>
              <p:nvPr userDrawn="1"/>
            </p:nvSpPr>
            <p:spPr bwMode="auto">
              <a:xfrm>
                <a:off x="3761382" y="121285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6" name="Oval 11"/>
              <p:cNvSpPr>
                <a:spLocks noChangeAspect="1" noChangeArrowheads="1"/>
              </p:cNvSpPr>
              <p:nvPr userDrawn="1"/>
            </p:nvSpPr>
            <p:spPr bwMode="auto">
              <a:xfrm>
                <a:off x="3895896" y="121285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7" name="Oval 12"/>
              <p:cNvSpPr>
                <a:spLocks noChangeAspect="1" noChangeArrowheads="1"/>
              </p:cNvSpPr>
              <p:nvPr userDrawn="1"/>
            </p:nvSpPr>
            <p:spPr bwMode="auto">
              <a:xfrm>
                <a:off x="4028618" y="121285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8" name="Oval 13"/>
              <p:cNvSpPr>
                <a:spLocks noChangeAspect="1" noChangeArrowheads="1"/>
              </p:cNvSpPr>
              <p:nvPr userDrawn="1"/>
            </p:nvSpPr>
            <p:spPr bwMode="auto">
              <a:xfrm>
                <a:off x="4430370" y="121285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9" name="Oval 14"/>
              <p:cNvSpPr>
                <a:spLocks noChangeAspect="1" noChangeArrowheads="1"/>
              </p:cNvSpPr>
              <p:nvPr userDrawn="1"/>
            </p:nvSpPr>
            <p:spPr bwMode="auto">
              <a:xfrm>
                <a:off x="4564886" y="121285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0" name="Oval 15"/>
              <p:cNvSpPr>
                <a:spLocks noChangeAspect="1" noChangeArrowheads="1"/>
              </p:cNvSpPr>
              <p:nvPr userDrawn="1"/>
            </p:nvSpPr>
            <p:spPr bwMode="auto">
              <a:xfrm>
                <a:off x="4697607" y="121285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1" name="Oval 16"/>
              <p:cNvSpPr>
                <a:spLocks noChangeAspect="1" noChangeArrowheads="1"/>
              </p:cNvSpPr>
              <p:nvPr userDrawn="1"/>
            </p:nvSpPr>
            <p:spPr bwMode="auto">
              <a:xfrm>
                <a:off x="4832123" y="121285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2" name="Oval 17"/>
              <p:cNvSpPr>
                <a:spLocks noChangeAspect="1" noChangeArrowheads="1"/>
              </p:cNvSpPr>
              <p:nvPr userDrawn="1"/>
            </p:nvSpPr>
            <p:spPr bwMode="auto">
              <a:xfrm>
                <a:off x="4964845" y="121285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3" name="Oval 18"/>
              <p:cNvSpPr>
                <a:spLocks noChangeAspect="1" noChangeArrowheads="1"/>
              </p:cNvSpPr>
              <p:nvPr userDrawn="1"/>
            </p:nvSpPr>
            <p:spPr bwMode="auto">
              <a:xfrm>
                <a:off x="5099360" y="121285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4" name="Oval 19"/>
              <p:cNvSpPr>
                <a:spLocks noChangeAspect="1" noChangeArrowheads="1"/>
              </p:cNvSpPr>
              <p:nvPr userDrawn="1"/>
            </p:nvSpPr>
            <p:spPr bwMode="auto">
              <a:xfrm>
                <a:off x="5232082" y="121285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5" name="Oval 20"/>
              <p:cNvSpPr>
                <a:spLocks noChangeAspect="1" noChangeArrowheads="1"/>
              </p:cNvSpPr>
              <p:nvPr userDrawn="1"/>
            </p:nvSpPr>
            <p:spPr bwMode="auto">
              <a:xfrm>
                <a:off x="5366596" y="121285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6" name="Oval 21"/>
              <p:cNvSpPr>
                <a:spLocks noChangeAspect="1" noChangeArrowheads="1"/>
              </p:cNvSpPr>
              <p:nvPr userDrawn="1"/>
            </p:nvSpPr>
            <p:spPr bwMode="auto">
              <a:xfrm>
                <a:off x="5499317" y="121285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7" name="Oval 22"/>
              <p:cNvSpPr>
                <a:spLocks noChangeAspect="1" noChangeArrowheads="1"/>
              </p:cNvSpPr>
              <p:nvPr userDrawn="1"/>
            </p:nvSpPr>
            <p:spPr bwMode="auto">
              <a:xfrm>
                <a:off x="8573438" y="121285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8" name="Oval 23"/>
              <p:cNvSpPr>
                <a:spLocks noChangeAspect="1" noChangeArrowheads="1"/>
              </p:cNvSpPr>
              <p:nvPr userDrawn="1"/>
            </p:nvSpPr>
            <p:spPr bwMode="auto">
              <a:xfrm>
                <a:off x="3361423" y="133657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9" name="Oval 24"/>
              <p:cNvSpPr>
                <a:spLocks noChangeAspect="1" noChangeArrowheads="1"/>
              </p:cNvSpPr>
              <p:nvPr userDrawn="1"/>
            </p:nvSpPr>
            <p:spPr bwMode="auto">
              <a:xfrm>
                <a:off x="3494145" y="133657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0" name="Oval 25"/>
              <p:cNvSpPr>
                <a:spLocks noChangeAspect="1" noChangeArrowheads="1"/>
              </p:cNvSpPr>
              <p:nvPr userDrawn="1"/>
            </p:nvSpPr>
            <p:spPr bwMode="auto">
              <a:xfrm>
                <a:off x="3628660" y="133657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1" name="Oval 26"/>
              <p:cNvSpPr>
                <a:spLocks noChangeAspect="1" noChangeArrowheads="1"/>
              </p:cNvSpPr>
              <p:nvPr userDrawn="1"/>
            </p:nvSpPr>
            <p:spPr bwMode="auto">
              <a:xfrm>
                <a:off x="3761382" y="133657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2" name="Oval 27"/>
              <p:cNvSpPr>
                <a:spLocks noChangeAspect="1" noChangeArrowheads="1"/>
              </p:cNvSpPr>
              <p:nvPr userDrawn="1"/>
            </p:nvSpPr>
            <p:spPr bwMode="auto">
              <a:xfrm>
                <a:off x="3895896" y="133657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3" name="Oval 28"/>
              <p:cNvSpPr>
                <a:spLocks noChangeAspect="1" noChangeArrowheads="1"/>
              </p:cNvSpPr>
              <p:nvPr userDrawn="1"/>
            </p:nvSpPr>
            <p:spPr bwMode="auto">
              <a:xfrm>
                <a:off x="4163135" y="133657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4" name="Oval 29"/>
              <p:cNvSpPr>
                <a:spLocks noChangeAspect="1" noChangeArrowheads="1"/>
              </p:cNvSpPr>
              <p:nvPr userDrawn="1"/>
            </p:nvSpPr>
            <p:spPr bwMode="auto">
              <a:xfrm>
                <a:off x="4295856" y="133657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5" name="Oval 30"/>
              <p:cNvSpPr>
                <a:spLocks noChangeAspect="1" noChangeArrowheads="1"/>
              </p:cNvSpPr>
              <p:nvPr userDrawn="1"/>
            </p:nvSpPr>
            <p:spPr bwMode="auto">
              <a:xfrm>
                <a:off x="4430370" y="133657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6" name="Oval 31"/>
              <p:cNvSpPr>
                <a:spLocks noChangeAspect="1" noChangeArrowheads="1"/>
              </p:cNvSpPr>
              <p:nvPr userDrawn="1"/>
            </p:nvSpPr>
            <p:spPr bwMode="auto">
              <a:xfrm>
                <a:off x="4564886" y="133657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7" name="Oval 32"/>
              <p:cNvSpPr>
                <a:spLocks noChangeAspect="1" noChangeArrowheads="1"/>
              </p:cNvSpPr>
              <p:nvPr userDrawn="1"/>
            </p:nvSpPr>
            <p:spPr bwMode="auto">
              <a:xfrm>
                <a:off x="4697607" y="133657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8" name="Oval 33"/>
              <p:cNvSpPr>
                <a:spLocks noChangeAspect="1" noChangeArrowheads="1"/>
              </p:cNvSpPr>
              <p:nvPr userDrawn="1"/>
            </p:nvSpPr>
            <p:spPr bwMode="auto">
              <a:xfrm>
                <a:off x="4832123" y="133657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9" name="Oval 34"/>
              <p:cNvSpPr>
                <a:spLocks noChangeAspect="1" noChangeArrowheads="1"/>
              </p:cNvSpPr>
              <p:nvPr userDrawn="1"/>
            </p:nvSpPr>
            <p:spPr bwMode="auto">
              <a:xfrm>
                <a:off x="4964845" y="133657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0" name="Oval 35"/>
              <p:cNvSpPr>
                <a:spLocks noChangeAspect="1" noChangeArrowheads="1"/>
              </p:cNvSpPr>
              <p:nvPr userDrawn="1"/>
            </p:nvSpPr>
            <p:spPr bwMode="auto">
              <a:xfrm>
                <a:off x="5099360" y="133657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1" name="Oval 36"/>
              <p:cNvSpPr>
                <a:spLocks noChangeAspect="1" noChangeArrowheads="1"/>
              </p:cNvSpPr>
              <p:nvPr userDrawn="1"/>
            </p:nvSpPr>
            <p:spPr bwMode="auto">
              <a:xfrm>
                <a:off x="5232082" y="133657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4" name="Oval 37"/>
              <p:cNvSpPr>
                <a:spLocks noChangeAspect="1" noChangeArrowheads="1"/>
              </p:cNvSpPr>
              <p:nvPr userDrawn="1"/>
            </p:nvSpPr>
            <p:spPr bwMode="auto">
              <a:xfrm>
                <a:off x="5366596" y="133657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5" name="Oval 38"/>
              <p:cNvSpPr>
                <a:spLocks noChangeAspect="1" noChangeArrowheads="1"/>
              </p:cNvSpPr>
              <p:nvPr userDrawn="1"/>
            </p:nvSpPr>
            <p:spPr bwMode="auto">
              <a:xfrm>
                <a:off x="6301029" y="133657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6" name="Oval 39"/>
              <p:cNvSpPr>
                <a:spLocks noChangeAspect="1" noChangeArrowheads="1"/>
              </p:cNvSpPr>
              <p:nvPr userDrawn="1"/>
            </p:nvSpPr>
            <p:spPr bwMode="auto">
              <a:xfrm>
                <a:off x="6435544" y="133657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7" name="Oval 40"/>
              <p:cNvSpPr>
                <a:spLocks noChangeAspect="1" noChangeArrowheads="1"/>
              </p:cNvSpPr>
              <p:nvPr userDrawn="1"/>
            </p:nvSpPr>
            <p:spPr bwMode="auto">
              <a:xfrm>
                <a:off x="8440717" y="133657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9" name="Oval 41"/>
              <p:cNvSpPr>
                <a:spLocks noChangeAspect="1" noChangeArrowheads="1"/>
              </p:cNvSpPr>
              <p:nvPr userDrawn="1"/>
            </p:nvSpPr>
            <p:spPr bwMode="auto">
              <a:xfrm>
                <a:off x="8573438" y="133657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0" name="Oval 42"/>
              <p:cNvSpPr>
                <a:spLocks noChangeAspect="1" noChangeArrowheads="1"/>
              </p:cNvSpPr>
              <p:nvPr userDrawn="1"/>
            </p:nvSpPr>
            <p:spPr bwMode="auto">
              <a:xfrm>
                <a:off x="8707955" y="133657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1" name="Oval 43"/>
              <p:cNvSpPr>
                <a:spLocks noChangeAspect="1" noChangeArrowheads="1"/>
              </p:cNvSpPr>
              <p:nvPr userDrawn="1"/>
            </p:nvSpPr>
            <p:spPr bwMode="auto">
              <a:xfrm>
                <a:off x="2559713" y="146029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2" name="Oval 44"/>
              <p:cNvSpPr>
                <a:spLocks noChangeAspect="1" noChangeArrowheads="1"/>
              </p:cNvSpPr>
              <p:nvPr userDrawn="1"/>
            </p:nvSpPr>
            <p:spPr bwMode="auto">
              <a:xfrm>
                <a:off x="2692435" y="146029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3" name="Oval 45"/>
              <p:cNvSpPr>
                <a:spLocks noChangeAspect="1" noChangeArrowheads="1"/>
              </p:cNvSpPr>
              <p:nvPr userDrawn="1"/>
            </p:nvSpPr>
            <p:spPr bwMode="auto">
              <a:xfrm>
                <a:off x="2826949" y="146029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4" name="Oval 46"/>
              <p:cNvSpPr>
                <a:spLocks noChangeAspect="1" noChangeArrowheads="1"/>
              </p:cNvSpPr>
              <p:nvPr userDrawn="1"/>
            </p:nvSpPr>
            <p:spPr bwMode="auto">
              <a:xfrm>
                <a:off x="2959671" y="146029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5" name="Oval 47"/>
              <p:cNvSpPr>
                <a:spLocks noChangeAspect="1" noChangeArrowheads="1"/>
              </p:cNvSpPr>
              <p:nvPr userDrawn="1"/>
            </p:nvSpPr>
            <p:spPr bwMode="auto">
              <a:xfrm>
                <a:off x="3094186" y="146029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6" name="Oval 48"/>
              <p:cNvSpPr>
                <a:spLocks noChangeAspect="1" noChangeArrowheads="1"/>
              </p:cNvSpPr>
              <p:nvPr userDrawn="1"/>
            </p:nvSpPr>
            <p:spPr bwMode="auto">
              <a:xfrm>
                <a:off x="3361423" y="146029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7" name="Oval 49"/>
              <p:cNvSpPr>
                <a:spLocks noChangeAspect="1" noChangeArrowheads="1"/>
              </p:cNvSpPr>
              <p:nvPr userDrawn="1"/>
            </p:nvSpPr>
            <p:spPr bwMode="auto">
              <a:xfrm>
                <a:off x="3494145" y="146029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8" name="Oval 50"/>
              <p:cNvSpPr>
                <a:spLocks noChangeAspect="1" noChangeArrowheads="1"/>
              </p:cNvSpPr>
              <p:nvPr userDrawn="1"/>
            </p:nvSpPr>
            <p:spPr bwMode="auto">
              <a:xfrm>
                <a:off x="3628660" y="146029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9" name="Oval 51"/>
              <p:cNvSpPr>
                <a:spLocks noChangeAspect="1" noChangeArrowheads="1"/>
              </p:cNvSpPr>
              <p:nvPr userDrawn="1"/>
            </p:nvSpPr>
            <p:spPr bwMode="auto">
              <a:xfrm>
                <a:off x="3761382" y="146029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0" name="Oval 52"/>
              <p:cNvSpPr>
                <a:spLocks noChangeAspect="1" noChangeArrowheads="1"/>
              </p:cNvSpPr>
              <p:nvPr userDrawn="1"/>
            </p:nvSpPr>
            <p:spPr bwMode="auto">
              <a:xfrm>
                <a:off x="4028618" y="146029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1" name="Oval 53"/>
              <p:cNvSpPr>
                <a:spLocks noChangeAspect="1" noChangeArrowheads="1"/>
              </p:cNvSpPr>
              <p:nvPr userDrawn="1"/>
            </p:nvSpPr>
            <p:spPr bwMode="auto">
              <a:xfrm>
                <a:off x="4163135" y="146029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2" name="Oval 54"/>
              <p:cNvSpPr>
                <a:spLocks noChangeAspect="1" noChangeArrowheads="1"/>
              </p:cNvSpPr>
              <p:nvPr userDrawn="1"/>
            </p:nvSpPr>
            <p:spPr bwMode="auto">
              <a:xfrm>
                <a:off x="4295856" y="146029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3" name="Oval 55"/>
              <p:cNvSpPr>
                <a:spLocks noChangeAspect="1" noChangeArrowheads="1"/>
              </p:cNvSpPr>
              <p:nvPr userDrawn="1"/>
            </p:nvSpPr>
            <p:spPr bwMode="auto">
              <a:xfrm>
                <a:off x="4430370" y="146029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7" name="Oval 56"/>
              <p:cNvSpPr>
                <a:spLocks noChangeAspect="1" noChangeArrowheads="1"/>
              </p:cNvSpPr>
              <p:nvPr userDrawn="1"/>
            </p:nvSpPr>
            <p:spPr bwMode="auto">
              <a:xfrm>
                <a:off x="4564886" y="146029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8" name="Oval 57"/>
              <p:cNvSpPr>
                <a:spLocks noChangeAspect="1" noChangeArrowheads="1"/>
              </p:cNvSpPr>
              <p:nvPr userDrawn="1"/>
            </p:nvSpPr>
            <p:spPr bwMode="auto">
              <a:xfrm>
                <a:off x="4697607" y="146029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9" name="Oval 58"/>
              <p:cNvSpPr>
                <a:spLocks noChangeAspect="1" noChangeArrowheads="1"/>
              </p:cNvSpPr>
              <p:nvPr userDrawn="1"/>
            </p:nvSpPr>
            <p:spPr bwMode="auto">
              <a:xfrm>
                <a:off x="4832123" y="146029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0" name="Oval 59"/>
              <p:cNvSpPr>
                <a:spLocks noChangeAspect="1" noChangeArrowheads="1"/>
              </p:cNvSpPr>
              <p:nvPr userDrawn="1"/>
            </p:nvSpPr>
            <p:spPr bwMode="auto">
              <a:xfrm>
                <a:off x="4964845" y="146029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1" name="Oval 60"/>
              <p:cNvSpPr>
                <a:spLocks noChangeAspect="1" noChangeArrowheads="1"/>
              </p:cNvSpPr>
              <p:nvPr userDrawn="1"/>
            </p:nvSpPr>
            <p:spPr bwMode="auto">
              <a:xfrm>
                <a:off x="5099360" y="146029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2" name="Oval 61"/>
              <p:cNvSpPr>
                <a:spLocks noChangeAspect="1" noChangeArrowheads="1"/>
              </p:cNvSpPr>
              <p:nvPr userDrawn="1"/>
            </p:nvSpPr>
            <p:spPr bwMode="auto">
              <a:xfrm>
                <a:off x="5232082" y="146029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3" name="Oval 62"/>
              <p:cNvSpPr>
                <a:spLocks noChangeAspect="1" noChangeArrowheads="1"/>
              </p:cNvSpPr>
              <p:nvPr userDrawn="1"/>
            </p:nvSpPr>
            <p:spPr bwMode="auto">
              <a:xfrm>
                <a:off x="6301029" y="146029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4" name="Oval 63"/>
              <p:cNvSpPr>
                <a:spLocks noChangeAspect="1" noChangeArrowheads="1"/>
              </p:cNvSpPr>
              <p:nvPr userDrawn="1"/>
            </p:nvSpPr>
            <p:spPr bwMode="auto">
              <a:xfrm>
                <a:off x="8707955" y="146029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5" name="Oval 64"/>
              <p:cNvSpPr>
                <a:spLocks noChangeAspect="1" noChangeArrowheads="1"/>
              </p:cNvSpPr>
              <p:nvPr userDrawn="1"/>
            </p:nvSpPr>
            <p:spPr bwMode="auto">
              <a:xfrm>
                <a:off x="8840677" y="146029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6" name="Oval 65"/>
              <p:cNvSpPr>
                <a:spLocks noChangeAspect="1" noChangeArrowheads="1"/>
              </p:cNvSpPr>
              <p:nvPr userDrawn="1"/>
            </p:nvSpPr>
            <p:spPr bwMode="auto">
              <a:xfrm>
                <a:off x="2425197" y="158401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7" name="Oval 66"/>
              <p:cNvSpPr>
                <a:spLocks noChangeAspect="1" noChangeArrowheads="1"/>
              </p:cNvSpPr>
              <p:nvPr userDrawn="1"/>
            </p:nvSpPr>
            <p:spPr bwMode="auto">
              <a:xfrm>
                <a:off x="2559713" y="158401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8" name="Oval 67"/>
              <p:cNvSpPr>
                <a:spLocks noChangeAspect="1" noChangeArrowheads="1"/>
              </p:cNvSpPr>
              <p:nvPr userDrawn="1"/>
            </p:nvSpPr>
            <p:spPr bwMode="auto">
              <a:xfrm>
                <a:off x="2692435" y="158401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9" name="Oval 68"/>
              <p:cNvSpPr>
                <a:spLocks noChangeAspect="1" noChangeArrowheads="1"/>
              </p:cNvSpPr>
              <p:nvPr userDrawn="1"/>
            </p:nvSpPr>
            <p:spPr bwMode="auto">
              <a:xfrm>
                <a:off x="2826949" y="158401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40" name="Oval 69"/>
              <p:cNvSpPr>
                <a:spLocks noChangeAspect="1" noChangeArrowheads="1"/>
              </p:cNvSpPr>
              <p:nvPr userDrawn="1"/>
            </p:nvSpPr>
            <p:spPr bwMode="auto">
              <a:xfrm>
                <a:off x="2959671" y="158401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41" name="Oval 70"/>
              <p:cNvSpPr>
                <a:spLocks noChangeAspect="1" noChangeArrowheads="1"/>
              </p:cNvSpPr>
              <p:nvPr userDrawn="1"/>
            </p:nvSpPr>
            <p:spPr bwMode="auto">
              <a:xfrm>
                <a:off x="3094186" y="158401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43" name="Oval 71"/>
              <p:cNvSpPr>
                <a:spLocks noChangeAspect="1" noChangeArrowheads="1"/>
              </p:cNvSpPr>
              <p:nvPr userDrawn="1"/>
            </p:nvSpPr>
            <p:spPr bwMode="auto">
              <a:xfrm>
                <a:off x="3226908" y="158401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44" name="Oval 72"/>
              <p:cNvSpPr>
                <a:spLocks noChangeAspect="1" noChangeArrowheads="1"/>
              </p:cNvSpPr>
              <p:nvPr userDrawn="1"/>
            </p:nvSpPr>
            <p:spPr bwMode="auto">
              <a:xfrm>
                <a:off x="3361423" y="158401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45" name="Oval 73"/>
              <p:cNvSpPr>
                <a:spLocks noChangeAspect="1" noChangeArrowheads="1"/>
              </p:cNvSpPr>
              <p:nvPr userDrawn="1"/>
            </p:nvSpPr>
            <p:spPr bwMode="auto">
              <a:xfrm>
                <a:off x="3494145" y="158401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46" name="Oval 74"/>
              <p:cNvSpPr>
                <a:spLocks noChangeAspect="1" noChangeArrowheads="1"/>
              </p:cNvSpPr>
              <p:nvPr userDrawn="1"/>
            </p:nvSpPr>
            <p:spPr bwMode="auto">
              <a:xfrm>
                <a:off x="3628660" y="158401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47" name="Oval 75"/>
              <p:cNvSpPr>
                <a:spLocks noChangeAspect="1" noChangeArrowheads="1"/>
              </p:cNvSpPr>
              <p:nvPr userDrawn="1"/>
            </p:nvSpPr>
            <p:spPr bwMode="auto">
              <a:xfrm>
                <a:off x="4028618" y="158401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48" name="Oval 76"/>
              <p:cNvSpPr>
                <a:spLocks noChangeAspect="1" noChangeArrowheads="1"/>
              </p:cNvSpPr>
              <p:nvPr userDrawn="1"/>
            </p:nvSpPr>
            <p:spPr bwMode="auto">
              <a:xfrm>
                <a:off x="4163135" y="158401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49" name="Oval 77"/>
              <p:cNvSpPr>
                <a:spLocks noChangeAspect="1" noChangeArrowheads="1"/>
              </p:cNvSpPr>
              <p:nvPr userDrawn="1"/>
            </p:nvSpPr>
            <p:spPr bwMode="auto">
              <a:xfrm>
                <a:off x="4295856" y="158401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51" name="Oval 78"/>
              <p:cNvSpPr>
                <a:spLocks noChangeAspect="1" noChangeArrowheads="1"/>
              </p:cNvSpPr>
              <p:nvPr userDrawn="1"/>
            </p:nvSpPr>
            <p:spPr bwMode="auto">
              <a:xfrm>
                <a:off x="4430370" y="158401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52" name="Oval 79"/>
              <p:cNvSpPr>
                <a:spLocks noChangeAspect="1" noChangeArrowheads="1"/>
              </p:cNvSpPr>
              <p:nvPr userDrawn="1"/>
            </p:nvSpPr>
            <p:spPr bwMode="auto">
              <a:xfrm>
                <a:off x="4564886" y="158401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53" name="Oval 80"/>
              <p:cNvSpPr>
                <a:spLocks noChangeAspect="1" noChangeArrowheads="1"/>
              </p:cNvSpPr>
              <p:nvPr userDrawn="1"/>
            </p:nvSpPr>
            <p:spPr bwMode="auto">
              <a:xfrm>
                <a:off x="4697607" y="158401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54" name="Oval 81"/>
              <p:cNvSpPr>
                <a:spLocks noChangeAspect="1" noChangeArrowheads="1"/>
              </p:cNvSpPr>
              <p:nvPr userDrawn="1"/>
            </p:nvSpPr>
            <p:spPr bwMode="auto">
              <a:xfrm>
                <a:off x="4832123" y="158401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55" name="Oval 82"/>
              <p:cNvSpPr>
                <a:spLocks noChangeAspect="1" noChangeArrowheads="1"/>
              </p:cNvSpPr>
              <p:nvPr userDrawn="1"/>
            </p:nvSpPr>
            <p:spPr bwMode="auto">
              <a:xfrm>
                <a:off x="4964845" y="158401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85" name="Oval 83"/>
              <p:cNvSpPr>
                <a:spLocks noChangeAspect="1" noChangeArrowheads="1"/>
              </p:cNvSpPr>
              <p:nvPr userDrawn="1"/>
            </p:nvSpPr>
            <p:spPr bwMode="auto">
              <a:xfrm>
                <a:off x="5099360" y="158401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91" name="Oval 84"/>
              <p:cNvSpPr>
                <a:spLocks noChangeAspect="1" noChangeArrowheads="1"/>
              </p:cNvSpPr>
              <p:nvPr userDrawn="1"/>
            </p:nvSpPr>
            <p:spPr bwMode="auto">
              <a:xfrm>
                <a:off x="5232082" y="158401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92" name="Oval 85"/>
              <p:cNvSpPr>
                <a:spLocks noChangeAspect="1" noChangeArrowheads="1"/>
              </p:cNvSpPr>
              <p:nvPr userDrawn="1"/>
            </p:nvSpPr>
            <p:spPr bwMode="auto">
              <a:xfrm>
                <a:off x="7637213" y="158401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93" name="Oval 86"/>
              <p:cNvSpPr>
                <a:spLocks noChangeAspect="1" noChangeArrowheads="1"/>
              </p:cNvSpPr>
              <p:nvPr userDrawn="1"/>
            </p:nvSpPr>
            <p:spPr bwMode="auto">
              <a:xfrm>
                <a:off x="7771728" y="158401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94" name="Oval 87"/>
              <p:cNvSpPr>
                <a:spLocks noChangeAspect="1" noChangeArrowheads="1"/>
              </p:cNvSpPr>
              <p:nvPr userDrawn="1"/>
            </p:nvSpPr>
            <p:spPr bwMode="auto">
              <a:xfrm>
                <a:off x="8573438" y="158401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95" name="Oval 88"/>
              <p:cNvSpPr>
                <a:spLocks noChangeAspect="1" noChangeArrowheads="1"/>
              </p:cNvSpPr>
              <p:nvPr userDrawn="1"/>
            </p:nvSpPr>
            <p:spPr bwMode="auto">
              <a:xfrm>
                <a:off x="8707955" y="158401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96" name="Oval 89"/>
              <p:cNvSpPr>
                <a:spLocks noChangeAspect="1" noChangeArrowheads="1"/>
              </p:cNvSpPr>
              <p:nvPr userDrawn="1"/>
            </p:nvSpPr>
            <p:spPr bwMode="auto">
              <a:xfrm>
                <a:off x="8840677" y="158401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97" name="Oval 90"/>
              <p:cNvSpPr>
                <a:spLocks noChangeAspect="1" noChangeArrowheads="1"/>
              </p:cNvSpPr>
              <p:nvPr userDrawn="1"/>
            </p:nvSpPr>
            <p:spPr bwMode="auto">
              <a:xfrm>
                <a:off x="8975191" y="158401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98" name="Oval 91"/>
              <p:cNvSpPr>
                <a:spLocks noChangeAspect="1" noChangeArrowheads="1"/>
              </p:cNvSpPr>
              <p:nvPr userDrawn="1"/>
            </p:nvSpPr>
            <p:spPr bwMode="auto">
              <a:xfrm>
                <a:off x="9776902" y="158401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99" name="Oval 92"/>
              <p:cNvSpPr>
                <a:spLocks noChangeAspect="1" noChangeArrowheads="1"/>
              </p:cNvSpPr>
              <p:nvPr userDrawn="1"/>
            </p:nvSpPr>
            <p:spPr bwMode="auto">
              <a:xfrm>
                <a:off x="9909624" y="158401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01" name="Oval 93"/>
              <p:cNvSpPr>
                <a:spLocks noChangeAspect="1" noChangeArrowheads="1"/>
              </p:cNvSpPr>
              <p:nvPr userDrawn="1"/>
            </p:nvSpPr>
            <p:spPr bwMode="auto">
              <a:xfrm>
                <a:off x="10044138" y="158401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02" name="Oval 94"/>
              <p:cNvSpPr>
                <a:spLocks noChangeAspect="1" noChangeArrowheads="1"/>
              </p:cNvSpPr>
              <p:nvPr userDrawn="1"/>
            </p:nvSpPr>
            <p:spPr bwMode="auto">
              <a:xfrm>
                <a:off x="2425197" y="170773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03" name="Oval 95"/>
              <p:cNvSpPr>
                <a:spLocks noChangeAspect="1" noChangeArrowheads="1"/>
              </p:cNvSpPr>
              <p:nvPr userDrawn="1"/>
            </p:nvSpPr>
            <p:spPr bwMode="auto">
              <a:xfrm>
                <a:off x="2559713" y="170773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04" name="Oval 96"/>
              <p:cNvSpPr>
                <a:spLocks noChangeAspect="1" noChangeArrowheads="1"/>
              </p:cNvSpPr>
              <p:nvPr userDrawn="1"/>
            </p:nvSpPr>
            <p:spPr bwMode="auto">
              <a:xfrm>
                <a:off x="2692435" y="170773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05" name="Oval 97"/>
              <p:cNvSpPr>
                <a:spLocks noChangeAspect="1" noChangeArrowheads="1"/>
              </p:cNvSpPr>
              <p:nvPr userDrawn="1"/>
            </p:nvSpPr>
            <p:spPr bwMode="auto">
              <a:xfrm>
                <a:off x="2826949" y="170773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06" name="Oval 98"/>
              <p:cNvSpPr>
                <a:spLocks noChangeAspect="1" noChangeArrowheads="1"/>
              </p:cNvSpPr>
              <p:nvPr userDrawn="1"/>
            </p:nvSpPr>
            <p:spPr bwMode="auto">
              <a:xfrm>
                <a:off x="2959671" y="170773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07" name="Oval 99"/>
              <p:cNvSpPr>
                <a:spLocks noChangeAspect="1" noChangeArrowheads="1"/>
              </p:cNvSpPr>
              <p:nvPr userDrawn="1"/>
            </p:nvSpPr>
            <p:spPr bwMode="auto">
              <a:xfrm>
                <a:off x="3094186" y="170773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08" name="Oval 100"/>
              <p:cNvSpPr>
                <a:spLocks noChangeAspect="1" noChangeArrowheads="1"/>
              </p:cNvSpPr>
              <p:nvPr userDrawn="1"/>
            </p:nvSpPr>
            <p:spPr bwMode="auto">
              <a:xfrm>
                <a:off x="3226908" y="170773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09" name="Oval 101"/>
              <p:cNvSpPr>
                <a:spLocks noChangeAspect="1" noChangeArrowheads="1"/>
              </p:cNvSpPr>
              <p:nvPr userDrawn="1"/>
            </p:nvSpPr>
            <p:spPr bwMode="auto">
              <a:xfrm>
                <a:off x="3361423" y="170773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10" name="Oval 102"/>
              <p:cNvSpPr>
                <a:spLocks noChangeAspect="1" noChangeArrowheads="1"/>
              </p:cNvSpPr>
              <p:nvPr userDrawn="1"/>
            </p:nvSpPr>
            <p:spPr bwMode="auto">
              <a:xfrm>
                <a:off x="3494145" y="170773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11" name="Oval 103"/>
              <p:cNvSpPr>
                <a:spLocks noChangeAspect="1" noChangeArrowheads="1"/>
              </p:cNvSpPr>
              <p:nvPr userDrawn="1"/>
            </p:nvSpPr>
            <p:spPr bwMode="auto">
              <a:xfrm>
                <a:off x="3628660" y="170773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12" name="Oval 104"/>
              <p:cNvSpPr>
                <a:spLocks noChangeAspect="1" noChangeArrowheads="1"/>
              </p:cNvSpPr>
              <p:nvPr userDrawn="1"/>
            </p:nvSpPr>
            <p:spPr bwMode="auto">
              <a:xfrm>
                <a:off x="4430370" y="170773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13" name="Oval 105"/>
              <p:cNvSpPr>
                <a:spLocks noChangeAspect="1" noChangeArrowheads="1"/>
              </p:cNvSpPr>
              <p:nvPr userDrawn="1"/>
            </p:nvSpPr>
            <p:spPr bwMode="auto">
              <a:xfrm>
                <a:off x="4564886" y="170773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14" name="Oval 106"/>
              <p:cNvSpPr>
                <a:spLocks noChangeAspect="1" noChangeArrowheads="1"/>
              </p:cNvSpPr>
              <p:nvPr userDrawn="1"/>
            </p:nvSpPr>
            <p:spPr bwMode="auto">
              <a:xfrm>
                <a:off x="4697607" y="170773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15" name="Oval 107"/>
              <p:cNvSpPr>
                <a:spLocks noChangeAspect="1" noChangeArrowheads="1"/>
              </p:cNvSpPr>
              <p:nvPr userDrawn="1"/>
            </p:nvSpPr>
            <p:spPr bwMode="auto">
              <a:xfrm>
                <a:off x="4832123" y="170773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16" name="Oval 108"/>
              <p:cNvSpPr>
                <a:spLocks noChangeAspect="1" noChangeArrowheads="1"/>
              </p:cNvSpPr>
              <p:nvPr userDrawn="1"/>
            </p:nvSpPr>
            <p:spPr bwMode="auto">
              <a:xfrm>
                <a:off x="4964845" y="170773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17" name="Oval 109"/>
              <p:cNvSpPr>
                <a:spLocks noChangeAspect="1" noChangeArrowheads="1"/>
              </p:cNvSpPr>
              <p:nvPr userDrawn="1"/>
            </p:nvSpPr>
            <p:spPr bwMode="auto">
              <a:xfrm>
                <a:off x="5099360" y="170773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18" name="Oval 110"/>
              <p:cNvSpPr>
                <a:spLocks noChangeAspect="1" noChangeArrowheads="1"/>
              </p:cNvSpPr>
              <p:nvPr userDrawn="1"/>
            </p:nvSpPr>
            <p:spPr bwMode="auto">
              <a:xfrm>
                <a:off x="5232082" y="170773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19" name="Oval 111"/>
              <p:cNvSpPr>
                <a:spLocks noChangeAspect="1" noChangeArrowheads="1"/>
              </p:cNvSpPr>
              <p:nvPr userDrawn="1"/>
            </p:nvSpPr>
            <p:spPr bwMode="auto">
              <a:xfrm>
                <a:off x="7504491" y="170773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20" name="Oval 112"/>
              <p:cNvSpPr>
                <a:spLocks noChangeAspect="1" noChangeArrowheads="1"/>
              </p:cNvSpPr>
              <p:nvPr userDrawn="1"/>
            </p:nvSpPr>
            <p:spPr bwMode="auto">
              <a:xfrm>
                <a:off x="8173481" y="170773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21" name="Oval 113"/>
              <p:cNvSpPr>
                <a:spLocks noChangeAspect="1" noChangeArrowheads="1"/>
              </p:cNvSpPr>
              <p:nvPr userDrawn="1"/>
            </p:nvSpPr>
            <p:spPr bwMode="auto">
              <a:xfrm>
                <a:off x="8306202" y="170773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22" name="Oval 114"/>
              <p:cNvSpPr>
                <a:spLocks noChangeAspect="1" noChangeArrowheads="1"/>
              </p:cNvSpPr>
              <p:nvPr userDrawn="1"/>
            </p:nvSpPr>
            <p:spPr bwMode="auto">
              <a:xfrm>
                <a:off x="8440717" y="170773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23" name="Oval 115"/>
              <p:cNvSpPr>
                <a:spLocks noChangeAspect="1" noChangeArrowheads="1"/>
              </p:cNvSpPr>
              <p:nvPr userDrawn="1"/>
            </p:nvSpPr>
            <p:spPr bwMode="auto">
              <a:xfrm>
                <a:off x="8573438" y="170773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24" name="Oval 116"/>
              <p:cNvSpPr>
                <a:spLocks noChangeAspect="1" noChangeArrowheads="1"/>
              </p:cNvSpPr>
              <p:nvPr userDrawn="1"/>
            </p:nvSpPr>
            <p:spPr bwMode="auto">
              <a:xfrm>
                <a:off x="8707955" y="170773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25" name="Oval 117"/>
              <p:cNvSpPr>
                <a:spLocks noChangeAspect="1" noChangeArrowheads="1"/>
              </p:cNvSpPr>
              <p:nvPr userDrawn="1"/>
            </p:nvSpPr>
            <p:spPr bwMode="auto">
              <a:xfrm>
                <a:off x="8840677" y="170773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26" name="Oval 118"/>
              <p:cNvSpPr>
                <a:spLocks noChangeAspect="1" noChangeArrowheads="1"/>
              </p:cNvSpPr>
              <p:nvPr userDrawn="1"/>
            </p:nvSpPr>
            <p:spPr bwMode="auto">
              <a:xfrm>
                <a:off x="8975191" y="170773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27" name="Oval 119"/>
              <p:cNvSpPr>
                <a:spLocks noChangeAspect="1" noChangeArrowheads="1"/>
              </p:cNvSpPr>
              <p:nvPr userDrawn="1"/>
            </p:nvSpPr>
            <p:spPr bwMode="auto">
              <a:xfrm>
                <a:off x="9107912" y="170773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28" name="Oval 120"/>
              <p:cNvSpPr>
                <a:spLocks noChangeAspect="1" noChangeArrowheads="1"/>
              </p:cNvSpPr>
              <p:nvPr userDrawn="1"/>
            </p:nvSpPr>
            <p:spPr bwMode="auto">
              <a:xfrm>
                <a:off x="9242428" y="170773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29" name="Oval 121"/>
              <p:cNvSpPr>
                <a:spLocks noChangeAspect="1" noChangeArrowheads="1"/>
              </p:cNvSpPr>
              <p:nvPr userDrawn="1"/>
            </p:nvSpPr>
            <p:spPr bwMode="auto">
              <a:xfrm>
                <a:off x="9375149" y="170773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30" name="Oval 122"/>
              <p:cNvSpPr>
                <a:spLocks noChangeAspect="1" noChangeArrowheads="1"/>
              </p:cNvSpPr>
              <p:nvPr userDrawn="1"/>
            </p:nvSpPr>
            <p:spPr bwMode="auto">
              <a:xfrm>
                <a:off x="9776902" y="170773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31" name="Oval 123"/>
              <p:cNvSpPr>
                <a:spLocks noChangeAspect="1" noChangeArrowheads="1"/>
              </p:cNvSpPr>
              <p:nvPr userDrawn="1"/>
            </p:nvSpPr>
            <p:spPr bwMode="auto">
              <a:xfrm>
                <a:off x="2425197" y="182966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32" name="Oval 124"/>
              <p:cNvSpPr>
                <a:spLocks noChangeAspect="1" noChangeArrowheads="1"/>
              </p:cNvSpPr>
              <p:nvPr userDrawn="1"/>
            </p:nvSpPr>
            <p:spPr bwMode="auto">
              <a:xfrm>
                <a:off x="2559713" y="182966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33" name="Oval 125"/>
              <p:cNvSpPr>
                <a:spLocks noChangeAspect="1" noChangeArrowheads="1"/>
              </p:cNvSpPr>
              <p:nvPr userDrawn="1"/>
            </p:nvSpPr>
            <p:spPr bwMode="auto">
              <a:xfrm>
                <a:off x="2692435" y="182966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34" name="Oval 126"/>
              <p:cNvSpPr>
                <a:spLocks noChangeAspect="1" noChangeArrowheads="1"/>
              </p:cNvSpPr>
              <p:nvPr userDrawn="1"/>
            </p:nvSpPr>
            <p:spPr bwMode="auto">
              <a:xfrm>
                <a:off x="2826949" y="182966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35" name="Oval 127"/>
              <p:cNvSpPr>
                <a:spLocks noChangeAspect="1" noChangeArrowheads="1"/>
              </p:cNvSpPr>
              <p:nvPr userDrawn="1"/>
            </p:nvSpPr>
            <p:spPr bwMode="auto">
              <a:xfrm>
                <a:off x="2959671" y="182966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36" name="Oval 128"/>
              <p:cNvSpPr>
                <a:spLocks noChangeAspect="1" noChangeArrowheads="1"/>
              </p:cNvSpPr>
              <p:nvPr userDrawn="1"/>
            </p:nvSpPr>
            <p:spPr bwMode="auto">
              <a:xfrm>
                <a:off x="3094186" y="182966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37" name="Oval 129"/>
              <p:cNvSpPr>
                <a:spLocks noChangeAspect="1" noChangeArrowheads="1"/>
              </p:cNvSpPr>
              <p:nvPr userDrawn="1"/>
            </p:nvSpPr>
            <p:spPr bwMode="auto">
              <a:xfrm>
                <a:off x="3226908" y="182966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38" name="Oval 130"/>
              <p:cNvSpPr>
                <a:spLocks noChangeAspect="1" noChangeArrowheads="1"/>
              </p:cNvSpPr>
              <p:nvPr userDrawn="1"/>
            </p:nvSpPr>
            <p:spPr bwMode="auto">
              <a:xfrm>
                <a:off x="3361423" y="182966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39" name="Oval 131"/>
              <p:cNvSpPr>
                <a:spLocks noChangeAspect="1" noChangeArrowheads="1"/>
              </p:cNvSpPr>
              <p:nvPr userDrawn="1"/>
            </p:nvSpPr>
            <p:spPr bwMode="auto">
              <a:xfrm>
                <a:off x="3494145" y="182966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40" name="Oval 132"/>
              <p:cNvSpPr>
                <a:spLocks noChangeAspect="1" noChangeArrowheads="1"/>
              </p:cNvSpPr>
              <p:nvPr userDrawn="1"/>
            </p:nvSpPr>
            <p:spPr bwMode="auto">
              <a:xfrm>
                <a:off x="3628660" y="182966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41" name="Oval 133"/>
              <p:cNvSpPr>
                <a:spLocks noChangeAspect="1" noChangeArrowheads="1"/>
              </p:cNvSpPr>
              <p:nvPr userDrawn="1"/>
            </p:nvSpPr>
            <p:spPr bwMode="auto">
              <a:xfrm>
                <a:off x="3761382" y="182966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42" name="Oval 134"/>
              <p:cNvSpPr>
                <a:spLocks noChangeAspect="1" noChangeArrowheads="1"/>
              </p:cNvSpPr>
              <p:nvPr userDrawn="1"/>
            </p:nvSpPr>
            <p:spPr bwMode="auto">
              <a:xfrm>
                <a:off x="4430370" y="182966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43" name="Oval 135"/>
              <p:cNvSpPr>
                <a:spLocks noChangeAspect="1" noChangeArrowheads="1"/>
              </p:cNvSpPr>
              <p:nvPr userDrawn="1"/>
            </p:nvSpPr>
            <p:spPr bwMode="auto">
              <a:xfrm>
                <a:off x="4564886" y="182966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44" name="Oval 136"/>
              <p:cNvSpPr>
                <a:spLocks noChangeAspect="1" noChangeArrowheads="1"/>
              </p:cNvSpPr>
              <p:nvPr userDrawn="1"/>
            </p:nvSpPr>
            <p:spPr bwMode="auto">
              <a:xfrm>
                <a:off x="4697607" y="182966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45" name="Oval 137"/>
              <p:cNvSpPr>
                <a:spLocks noChangeAspect="1" noChangeArrowheads="1"/>
              </p:cNvSpPr>
              <p:nvPr userDrawn="1"/>
            </p:nvSpPr>
            <p:spPr bwMode="auto">
              <a:xfrm>
                <a:off x="4832123" y="182966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46" name="Oval 138"/>
              <p:cNvSpPr>
                <a:spLocks noChangeAspect="1" noChangeArrowheads="1"/>
              </p:cNvSpPr>
              <p:nvPr userDrawn="1"/>
            </p:nvSpPr>
            <p:spPr bwMode="auto">
              <a:xfrm>
                <a:off x="4964845" y="182966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47" name="Oval 139"/>
              <p:cNvSpPr>
                <a:spLocks noChangeAspect="1" noChangeArrowheads="1"/>
              </p:cNvSpPr>
              <p:nvPr userDrawn="1"/>
            </p:nvSpPr>
            <p:spPr bwMode="auto">
              <a:xfrm>
                <a:off x="5099360" y="182966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48" name="Oval 140"/>
              <p:cNvSpPr>
                <a:spLocks noChangeAspect="1" noChangeArrowheads="1"/>
              </p:cNvSpPr>
              <p:nvPr userDrawn="1"/>
            </p:nvSpPr>
            <p:spPr bwMode="auto">
              <a:xfrm>
                <a:off x="5232082" y="182966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49" name="Oval 141"/>
              <p:cNvSpPr>
                <a:spLocks noChangeAspect="1" noChangeArrowheads="1"/>
              </p:cNvSpPr>
              <p:nvPr userDrawn="1"/>
            </p:nvSpPr>
            <p:spPr bwMode="auto">
              <a:xfrm>
                <a:off x="6435544" y="182966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50" name="Oval 142"/>
              <p:cNvSpPr>
                <a:spLocks noChangeAspect="1" noChangeArrowheads="1"/>
              </p:cNvSpPr>
              <p:nvPr userDrawn="1"/>
            </p:nvSpPr>
            <p:spPr bwMode="auto">
              <a:xfrm>
                <a:off x="6568266" y="182966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51" name="Oval 143"/>
              <p:cNvSpPr>
                <a:spLocks noChangeAspect="1" noChangeArrowheads="1"/>
              </p:cNvSpPr>
              <p:nvPr userDrawn="1"/>
            </p:nvSpPr>
            <p:spPr bwMode="auto">
              <a:xfrm>
                <a:off x="6702781" y="182966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52" name="Oval 144"/>
              <p:cNvSpPr>
                <a:spLocks noChangeAspect="1" noChangeArrowheads="1"/>
              </p:cNvSpPr>
              <p:nvPr userDrawn="1"/>
            </p:nvSpPr>
            <p:spPr bwMode="auto">
              <a:xfrm>
                <a:off x="7369977" y="182966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53" name="Oval 145"/>
              <p:cNvSpPr>
                <a:spLocks noChangeAspect="1" noChangeArrowheads="1"/>
              </p:cNvSpPr>
              <p:nvPr userDrawn="1"/>
            </p:nvSpPr>
            <p:spPr bwMode="auto">
              <a:xfrm>
                <a:off x="7906244" y="182966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54" name="Oval 146"/>
              <p:cNvSpPr>
                <a:spLocks noChangeAspect="1" noChangeArrowheads="1"/>
              </p:cNvSpPr>
              <p:nvPr userDrawn="1"/>
            </p:nvSpPr>
            <p:spPr bwMode="auto">
              <a:xfrm>
                <a:off x="8038965" y="182966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55" name="Oval 147"/>
              <p:cNvSpPr>
                <a:spLocks noChangeAspect="1" noChangeArrowheads="1"/>
              </p:cNvSpPr>
              <p:nvPr userDrawn="1"/>
            </p:nvSpPr>
            <p:spPr bwMode="auto">
              <a:xfrm>
                <a:off x="8173481" y="182966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56" name="Oval 148"/>
              <p:cNvSpPr>
                <a:spLocks noChangeAspect="1" noChangeArrowheads="1"/>
              </p:cNvSpPr>
              <p:nvPr userDrawn="1"/>
            </p:nvSpPr>
            <p:spPr bwMode="auto">
              <a:xfrm>
                <a:off x="8306202" y="182966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57" name="Oval 149"/>
              <p:cNvSpPr>
                <a:spLocks noChangeAspect="1" noChangeArrowheads="1"/>
              </p:cNvSpPr>
              <p:nvPr userDrawn="1"/>
            </p:nvSpPr>
            <p:spPr bwMode="auto">
              <a:xfrm>
                <a:off x="8440717" y="182966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58" name="Oval 150"/>
              <p:cNvSpPr>
                <a:spLocks noChangeAspect="1" noChangeArrowheads="1"/>
              </p:cNvSpPr>
              <p:nvPr userDrawn="1"/>
            </p:nvSpPr>
            <p:spPr bwMode="auto">
              <a:xfrm>
                <a:off x="8573438" y="182966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59" name="Oval 151"/>
              <p:cNvSpPr>
                <a:spLocks noChangeAspect="1" noChangeArrowheads="1"/>
              </p:cNvSpPr>
              <p:nvPr userDrawn="1"/>
            </p:nvSpPr>
            <p:spPr bwMode="auto">
              <a:xfrm>
                <a:off x="8707955" y="182966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60" name="Oval 152"/>
              <p:cNvSpPr>
                <a:spLocks noChangeAspect="1" noChangeArrowheads="1"/>
              </p:cNvSpPr>
              <p:nvPr userDrawn="1"/>
            </p:nvSpPr>
            <p:spPr bwMode="auto">
              <a:xfrm>
                <a:off x="8840677" y="182966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61" name="Oval 153"/>
              <p:cNvSpPr>
                <a:spLocks noChangeAspect="1" noChangeArrowheads="1"/>
              </p:cNvSpPr>
              <p:nvPr userDrawn="1"/>
            </p:nvSpPr>
            <p:spPr bwMode="auto">
              <a:xfrm>
                <a:off x="8975191" y="182966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62" name="Oval 154"/>
              <p:cNvSpPr>
                <a:spLocks noChangeAspect="1" noChangeArrowheads="1"/>
              </p:cNvSpPr>
              <p:nvPr userDrawn="1"/>
            </p:nvSpPr>
            <p:spPr bwMode="auto">
              <a:xfrm>
                <a:off x="9107912" y="182966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63" name="Oval 155"/>
              <p:cNvSpPr>
                <a:spLocks noChangeAspect="1" noChangeArrowheads="1"/>
              </p:cNvSpPr>
              <p:nvPr userDrawn="1"/>
            </p:nvSpPr>
            <p:spPr bwMode="auto">
              <a:xfrm>
                <a:off x="9242428" y="182966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64" name="Oval 156"/>
              <p:cNvSpPr>
                <a:spLocks noChangeAspect="1" noChangeArrowheads="1"/>
              </p:cNvSpPr>
              <p:nvPr userDrawn="1"/>
            </p:nvSpPr>
            <p:spPr bwMode="auto">
              <a:xfrm>
                <a:off x="9375149" y="182966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65" name="Oval 157"/>
              <p:cNvSpPr>
                <a:spLocks noChangeAspect="1" noChangeArrowheads="1"/>
              </p:cNvSpPr>
              <p:nvPr userDrawn="1"/>
            </p:nvSpPr>
            <p:spPr bwMode="auto">
              <a:xfrm>
                <a:off x="9509665" y="182966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66" name="Oval 158"/>
              <p:cNvSpPr>
                <a:spLocks noChangeAspect="1" noChangeArrowheads="1"/>
              </p:cNvSpPr>
              <p:nvPr userDrawn="1"/>
            </p:nvSpPr>
            <p:spPr bwMode="auto">
              <a:xfrm>
                <a:off x="9642387" y="182966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67" name="Oval 159"/>
              <p:cNvSpPr>
                <a:spLocks noChangeAspect="1" noChangeArrowheads="1"/>
              </p:cNvSpPr>
              <p:nvPr userDrawn="1"/>
            </p:nvSpPr>
            <p:spPr bwMode="auto">
              <a:xfrm>
                <a:off x="9776902" y="182966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68" name="Oval 160"/>
              <p:cNvSpPr>
                <a:spLocks noChangeAspect="1" noChangeArrowheads="1"/>
              </p:cNvSpPr>
              <p:nvPr userDrawn="1"/>
            </p:nvSpPr>
            <p:spPr bwMode="auto">
              <a:xfrm>
                <a:off x="9909624" y="182966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69" name="Oval 161"/>
              <p:cNvSpPr>
                <a:spLocks noChangeAspect="1" noChangeArrowheads="1"/>
              </p:cNvSpPr>
              <p:nvPr userDrawn="1"/>
            </p:nvSpPr>
            <p:spPr bwMode="auto">
              <a:xfrm>
                <a:off x="10044138" y="182966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70" name="Oval 162"/>
              <p:cNvSpPr>
                <a:spLocks noChangeAspect="1" noChangeArrowheads="1"/>
              </p:cNvSpPr>
              <p:nvPr userDrawn="1"/>
            </p:nvSpPr>
            <p:spPr bwMode="auto">
              <a:xfrm>
                <a:off x="1758002"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71" name="Oval 163"/>
              <p:cNvSpPr>
                <a:spLocks noChangeAspect="1" noChangeArrowheads="1"/>
              </p:cNvSpPr>
              <p:nvPr userDrawn="1"/>
            </p:nvSpPr>
            <p:spPr bwMode="auto">
              <a:xfrm>
                <a:off x="1890724"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72" name="Oval 164"/>
              <p:cNvSpPr>
                <a:spLocks noChangeAspect="1" noChangeArrowheads="1"/>
              </p:cNvSpPr>
              <p:nvPr userDrawn="1"/>
            </p:nvSpPr>
            <p:spPr bwMode="auto">
              <a:xfrm>
                <a:off x="2025239"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73" name="Oval 165"/>
              <p:cNvSpPr>
                <a:spLocks noChangeAspect="1" noChangeArrowheads="1"/>
              </p:cNvSpPr>
              <p:nvPr userDrawn="1"/>
            </p:nvSpPr>
            <p:spPr bwMode="auto">
              <a:xfrm>
                <a:off x="2157961"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74" name="Oval 166"/>
              <p:cNvSpPr>
                <a:spLocks noChangeAspect="1" noChangeArrowheads="1"/>
              </p:cNvSpPr>
              <p:nvPr userDrawn="1"/>
            </p:nvSpPr>
            <p:spPr bwMode="auto">
              <a:xfrm>
                <a:off x="2292475"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75" name="Oval 167"/>
              <p:cNvSpPr>
                <a:spLocks noChangeAspect="1" noChangeArrowheads="1"/>
              </p:cNvSpPr>
              <p:nvPr userDrawn="1"/>
            </p:nvSpPr>
            <p:spPr bwMode="auto">
              <a:xfrm>
                <a:off x="2425197"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76" name="Oval 168"/>
              <p:cNvSpPr>
                <a:spLocks noChangeAspect="1" noChangeArrowheads="1"/>
              </p:cNvSpPr>
              <p:nvPr userDrawn="1"/>
            </p:nvSpPr>
            <p:spPr bwMode="auto">
              <a:xfrm>
                <a:off x="2559713"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77" name="Oval 169"/>
              <p:cNvSpPr>
                <a:spLocks noChangeAspect="1" noChangeArrowheads="1"/>
              </p:cNvSpPr>
              <p:nvPr userDrawn="1"/>
            </p:nvSpPr>
            <p:spPr bwMode="auto">
              <a:xfrm>
                <a:off x="2692435"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78" name="Oval 170"/>
              <p:cNvSpPr>
                <a:spLocks noChangeAspect="1" noChangeArrowheads="1"/>
              </p:cNvSpPr>
              <p:nvPr userDrawn="1"/>
            </p:nvSpPr>
            <p:spPr bwMode="auto">
              <a:xfrm>
                <a:off x="2826949"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79" name="Oval 171"/>
              <p:cNvSpPr>
                <a:spLocks noChangeAspect="1" noChangeArrowheads="1"/>
              </p:cNvSpPr>
              <p:nvPr userDrawn="1"/>
            </p:nvSpPr>
            <p:spPr bwMode="auto">
              <a:xfrm>
                <a:off x="2959671"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80" name="Oval 172"/>
              <p:cNvSpPr>
                <a:spLocks noChangeAspect="1" noChangeArrowheads="1"/>
              </p:cNvSpPr>
              <p:nvPr userDrawn="1"/>
            </p:nvSpPr>
            <p:spPr bwMode="auto">
              <a:xfrm>
                <a:off x="3094186"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81" name="Oval 173"/>
              <p:cNvSpPr>
                <a:spLocks noChangeAspect="1" noChangeArrowheads="1"/>
              </p:cNvSpPr>
              <p:nvPr userDrawn="1"/>
            </p:nvSpPr>
            <p:spPr bwMode="auto">
              <a:xfrm>
                <a:off x="3226908"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82" name="Oval 174"/>
              <p:cNvSpPr>
                <a:spLocks noChangeAspect="1" noChangeArrowheads="1"/>
              </p:cNvSpPr>
              <p:nvPr userDrawn="1"/>
            </p:nvSpPr>
            <p:spPr bwMode="auto">
              <a:xfrm>
                <a:off x="3361423"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83" name="Oval 175"/>
              <p:cNvSpPr>
                <a:spLocks noChangeAspect="1" noChangeArrowheads="1"/>
              </p:cNvSpPr>
              <p:nvPr userDrawn="1"/>
            </p:nvSpPr>
            <p:spPr bwMode="auto">
              <a:xfrm>
                <a:off x="3494145"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84" name="Oval 176"/>
              <p:cNvSpPr>
                <a:spLocks noChangeAspect="1" noChangeArrowheads="1"/>
              </p:cNvSpPr>
              <p:nvPr userDrawn="1"/>
            </p:nvSpPr>
            <p:spPr bwMode="auto">
              <a:xfrm>
                <a:off x="3628660"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85" name="Oval 177"/>
              <p:cNvSpPr>
                <a:spLocks noChangeAspect="1" noChangeArrowheads="1"/>
              </p:cNvSpPr>
              <p:nvPr userDrawn="1"/>
            </p:nvSpPr>
            <p:spPr bwMode="auto">
              <a:xfrm>
                <a:off x="3761382"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86" name="Oval 178"/>
              <p:cNvSpPr>
                <a:spLocks noChangeAspect="1" noChangeArrowheads="1"/>
              </p:cNvSpPr>
              <p:nvPr userDrawn="1"/>
            </p:nvSpPr>
            <p:spPr bwMode="auto">
              <a:xfrm>
                <a:off x="3895896"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87" name="Oval 179"/>
              <p:cNvSpPr>
                <a:spLocks noChangeAspect="1" noChangeArrowheads="1"/>
              </p:cNvSpPr>
              <p:nvPr userDrawn="1"/>
            </p:nvSpPr>
            <p:spPr bwMode="auto">
              <a:xfrm>
                <a:off x="4028618"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88" name="Oval 180"/>
              <p:cNvSpPr>
                <a:spLocks noChangeAspect="1" noChangeArrowheads="1"/>
              </p:cNvSpPr>
              <p:nvPr userDrawn="1"/>
            </p:nvSpPr>
            <p:spPr bwMode="auto">
              <a:xfrm>
                <a:off x="4564886"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89" name="Oval 181"/>
              <p:cNvSpPr>
                <a:spLocks noChangeAspect="1" noChangeArrowheads="1"/>
              </p:cNvSpPr>
              <p:nvPr userDrawn="1"/>
            </p:nvSpPr>
            <p:spPr bwMode="auto">
              <a:xfrm>
                <a:off x="4697607"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90" name="Oval 182"/>
              <p:cNvSpPr>
                <a:spLocks noChangeAspect="1" noChangeArrowheads="1"/>
              </p:cNvSpPr>
              <p:nvPr userDrawn="1"/>
            </p:nvSpPr>
            <p:spPr bwMode="auto">
              <a:xfrm>
                <a:off x="4832123"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91" name="Oval 183"/>
              <p:cNvSpPr>
                <a:spLocks noChangeAspect="1" noChangeArrowheads="1"/>
              </p:cNvSpPr>
              <p:nvPr userDrawn="1"/>
            </p:nvSpPr>
            <p:spPr bwMode="auto">
              <a:xfrm>
                <a:off x="4964845"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92" name="Oval 184"/>
              <p:cNvSpPr>
                <a:spLocks noChangeAspect="1" noChangeArrowheads="1"/>
              </p:cNvSpPr>
              <p:nvPr userDrawn="1"/>
            </p:nvSpPr>
            <p:spPr bwMode="auto">
              <a:xfrm>
                <a:off x="5099360"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93" name="Oval 185"/>
              <p:cNvSpPr>
                <a:spLocks noChangeAspect="1" noChangeArrowheads="1"/>
              </p:cNvSpPr>
              <p:nvPr userDrawn="1"/>
            </p:nvSpPr>
            <p:spPr bwMode="auto">
              <a:xfrm>
                <a:off x="6301029"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94" name="Oval 186"/>
              <p:cNvSpPr>
                <a:spLocks noChangeAspect="1" noChangeArrowheads="1"/>
              </p:cNvSpPr>
              <p:nvPr userDrawn="1"/>
            </p:nvSpPr>
            <p:spPr bwMode="auto">
              <a:xfrm>
                <a:off x="6435544"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95" name="Oval 187"/>
              <p:cNvSpPr>
                <a:spLocks noChangeAspect="1" noChangeArrowheads="1"/>
              </p:cNvSpPr>
              <p:nvPr userDrawn="1"/>
            </p:nvSpPr>
            <p:spPr bwMode="auto">
              <a:xfrm>
                <a:off x="6568266"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96" name="Oval 188"/>
              <p:cNvSpPr>
                <a:spLocks noChangeAspect="1" noChangeArrowheads="1"/>
              </p:cNvSpPr>
              <p:nvPr userDrawn="1"/>
            </p:nvSpPr>
            <p:spPr bwMode="auto">
              <a:xfrm>
                <a:off x="6702781"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97" name="Oval 189"/>
              <p:cNvSpPr>
                <a:spLocks noChangeAspect="1" noChangeArrowheads="1"/>
              </p:cNvSpPr>
              <p:nvPr userDrawn="1"/>
            </p:nvSpPr>
            <p:spPr bwMode="auto">
              <a:xfrm>
                <a:off x="6835503"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98" name="Oval 190"/>
              <p:cNvSpPr>
                <a:spLocks noChangeAspect="1" noChangeArrowheads="1"/>
              </p:cNvSpPr>
              <p:nvPr userDrawn="1"/>
            </p:nvSpPr>
            <p:spPr bwMode="auto">
              <a:xfrm>
                <a:off x="7369977"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299" name="Oval 191"/>
              <p:cNvSpPr>
                <a:spLocks noChangeAspect="1" noChangeArrowheads="1"/>
              </p:cNvSpPr>
              <p:nvPr userDrawn="1"/>
            </p:nvSpPr>
            <p:spPr bwMode="auto">
              <a:xfrm>
                <a:off x="7504491"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00" name="Oval 192"/>
              <p:cNvSpPr>
                <a:spLocks noChangeAspect="1" noChangeArrowheads="1"/>
              </p:cNvSpPr>
              <p:nvPr userDrawn="1"/>
            </p:nvSpPr>
            <p:spPr bwMode="auto">
              <a:xfrm>
                <a:off x="7637213"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01" name="Oval 193"/>
              <p:cNvSpPr>
                <a:spLocks noChangeAspect="1" noChangeArrowheads="1"/>
              </p:cNvSpPr>
              <p:nvPr userDrawn="1"/>
            </p:nvSpPr>
            <p:spPr bwMode="auto">
              <a:xfrm>
                <a:off x="7771728"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02" name="Oval 194"/>
              <p:cNvSpPr>
                <a:spLocks noChangeAspect="1" noChangeArrowheads="1"/>
              </p:cNvSpPr>
              <p:nvPr userDrawn="1"/>
            </p:nvSpPr>
            <p:spPr bwMode="auto">
              <a:xfrm>
                <a:off x="7906244"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03" name="Oval 195"/>
              <p:cNvSpPr>
                <a:spLocks noChangeAspect="1" noChangeArrowheads="1"/>
              </p:cNvSpPr>
              <p:nvPr userDrawn="1"/>
            </p:nvSpPr>
            <p:spPr bwMode="auto">
              <a:xfrm>
                <a:off x="8038965"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04" name="Oval 196"/>
              <p:cNvSpPr>
                <a:spLocks noChangeAspect="1" noChangeArrowheads="1"/>
              </p:cNvSpPr>
              <p:nvPr userDrawn="1"/>
            </p:nvSpPr>
            <p:spPr bwMode="auto">
              <a:xfrm>
                <a:off x="8173481"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05" name="Oval 197"/>
              <p:cNvSpPr>
                <a:spLocks noChangeAspect="1" noChangeArrowheads="1"/>
              </p:cNvSpPr>
              <p:nvPr userDrawn="1"/>
            </p:nvSpPr>
            <p:spPr bwMode="auto">
              <a:xfrm>
                <a:off x="8306202"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06" name="Oval 198"/>
              <p:cNvSpPr>
                <a:spLocks noChangeAspect="1" noChangeArrowheads="1"/>
              </p:cNvSpPr>
              <p:nvPr userDrawn="1"/>
            </p:nvSpPr>
            <p:spPr bwMode="auto">
              <a:xfrm>
                <a:off x="8440717"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07" name="Oval 199"/>
              <p:cNvSpPr>
                <a:spLocks noChangeAspect="1" noChangeArrowheads="1"/>
              </p:cNvSpPr>
              <p:nvPr userDrawn="1"/>
            </p:nvSpPr>
            <p:spPr bwMode="auto">
              <a:xfrm>
                <a:off x="8573438"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08" name="Oval 200"/>
              <p:cNvSpPr>
                <a:spLocks noChangeAspect="1" noChangeArrowheads="1"/>
              </p:cNvSpPr>
              <p:nvPr userDrawn="1"/>
            </p:nvSpPr>
            <p:spPr bwMode="auto">
              <a:xfrm>
                <a:off x="8707955"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09" name="Oval 201"/>
              <p:cNvSpPr>
                <a:spLocks noChangeAspect="1" noChangeArrowheads="1"/>
              </p:cNvSpPr>
              <p:nvPr userDrawn="1"/>
            </p:nvSpPr>
            <p:spPr bwMode="auto">
              <a:xfrm>
                <a:off x="8840677"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10" name="Oval 202"/>
              <p:cNvSpPr>
                <a:spLocks noChangeAspect="1" noChangeArrowheads="1"/>
              </p:cNvSpPr>
              <p:nvPr userDrawn="1"/>
            </p:nvSpPr>
            <p:spPr bwMode="auto">
              <a:xfrm>
                <a:off x="8975191"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11" name="Oval 203"/>
              <p:cNvSpPr>
                <a:spLocks noChangeAspect="1" noChangeArrowheads="1"/>
              </p:cNvSpPr>
              <p:nvPr userDrawn="1"/>
            </p:nvSpPr>
            <p:spPr bwMode="auto">
              <a:xfrm>
                <a:off x="9107912"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12" name="Oval 204"/>
              <p:cNvSpPr>
                <a:spLocks noChangeAspect="1" noChangeArrowheads="1"/>
              </p:cNvSpPr>
              <p:nvPr userDrawn="1"/>
            </p:nvSpPr>
            <p:spPr bwMode="auto">
              <a:xfrm>
                <a:off x="9242428"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13" name="Oval 205"/>
              <p:cNvSpPr>
                <a:spLocks noChangeAspect="1" noChangeArrowheads="1"/>
              </p:cNvSpPr>
              <p:nvPr userDrawn="1"/>
            </p:nvSpPr>
            <p:spPr bwMode="auto">
              <a:xfrm>
                <a:off x="9375149"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14" name="Oval 206"/>
              <p:cNvSpPr>
                <a:spLocks noChangeAspect="1" noChangeArrowheads="1"/>
              </p:cNvSpPr>
              <p:nvPr userDrawn="1"/>
            </p:nvSpPr>
            <p:spPr bwMode="auto">
              <a:xfrm>
                <a:off x="9509665"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15" name="Oval 207"/>
              <p:cNvSpPr>
                <a:spLocks noChangeAspect="1" noChangeArrowheads="1"/>
              </p:cNvSpPr>
              <p:nvPr userDrawn="1"/>
            </p:nvSpPr>
            <p:spPr bwMode="auto">
              <a:xfrm>
                <a:off x="9642387"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16" name="Oval 208"/>
              <p:cNvSpPr>
                <a:spLocks noChangeAspect="1" noChangeArrowheads="1"/>
              </p:cNvSpPr>
              <p:nvPr userDrawn="1"/>
            </p:nvSpPr>
            <p:spPr bwMode="auto">
              <a:xfrm>
                <a:off x="9776902"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17" name="Oval 209"/>
              <p:cNvSpPr>
                <a:spLocks noChangeAspect="1" noChangeArrowheads="1"/>
              </p:cNvSpPr>
              <p:nvPr userDrawn="1"/>
            </p:nvSpPr>
            <p:spPr bwMode="auto">
              <a:xfrm>
                <a:off x="9909624"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18" name="Oval 210"/>
              <p:cNvSpPr>
                <a:spLocks noChangeAspect="1" noChangeArrowheads="1"/>
              </p:cNvSpPr>
              <p:nvPr userDrawn="1"/>
            </p:nvSpPr>
            <p:spPr bwMode="auto">
              <a:xfrm>
                <a:off x="10044138"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19" name="Oval 211"/>
              <p:cNvSpPr>
                <a:spLocks noChangeAspect="1" noChangeArrowheads="1"/>
              </p:cNvSpPr>
              <p:nvPr userDrawn="1"/>
            </p:nvSpPr>
            <p:spPr bwMode="auto">
              <a:xfrm>
                <a:off x="10176859"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20" name="Oval 212"/>
              <p:cNvSpPr>
                <a:spLocks noChangeAspect="1" noChangeArrowheads="1"/>
              </p:cNvSpPr>
              <p:nvPr userDrawn="1"/>
            </p:nvSpPr>
            <p:spPr bwMode="auto">
              <a:xfrm>
                <a:off x="10311376"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21" name="Oval 213"/>
              <p:cNvSpPr>
                <a:spLocks noChangeAspect="1" noChangeArrowheads="1"/>
              </p:cNvSpPr>
              <p:nvPr userDrawn="1"/>
            </p:nvSpPr>
            <p:spPr bwMode="auto">
              <a:xfrm>
                <a:off x="10444098"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22" name="Oval 214"/>
              <p:cNvSpPr>
                <a:spLocks noChangeAspect="1" noChangeArrowheads="1"/>
              </p:cNvSpPr>
              <p:nvPr userDrawn="1"/>
            </p:nvSpPr>
            <p:spPr bwMode="auto">
              <a:xfrm>
                <a:off x="10578612"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23" name="Oval 215"/>
              <p:cNvSpPr>
                <a:spLocks noChangeAspect="1" noChangeArrowheads="1"/>
              </p:cNvSpPr>
              <p:nvPr userDrawn="1"/>
            </p:nvSpPr>
            <p:spPr bwMode="auto">
              <a:xfrm>
                <a:off x="10711334"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24" name="Oval 216"/>
              <p:cNvSpPr>
                <a:spLocks noChangeAspect="1" noChangeArrowheads="1"/>
              </p:cNvSpPr>
              <p:nvPr userDrawn="1"/>
            </p:nvSpPr>
            <p:spPr bwMode="auto">
              <a:xfrm>
                <a:off x="10845849"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25" name="Oval 217"/>
              <p:cNvSpPr>
                <a:spLocks noChangeAspect="1" noChangeArrowheads="1"/>
              </p:cNvSpPr>
              <p:nvPr userDrawn="1"/>
            </p:nvSpPr>
            <p:spPr bwMode="auto">
              <a:xfrm>
                <a:off x="10978571"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26" name="Oval 218"/>
              <p:cNvSpPr>
                <a:spLocks noChangeAspect="1" noChangeArrowheads="1"/>
              </p:cNvSpPr>
              <p:nvPr userDrawn="1"/>
            </p:nvSpPr>
            <p:spPr bwMode="auto">
              <a:xfrm>
                <a:off x="1356250" y="1953389"/>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27" name="Oval 219"/>
              <p:cNvSpPr>
                <a:spLocks noChangeAspect="1" noChangeArrowheads="1"/>
              </p:cNvSpPr>
              <p:nvPr userDrawn="1"/>
            </p:nvSpPr>
            <p:spPr bwMode="auto">
              <a:xfrm>
                <a:off x="1490765"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28" name="Oval 220"/>
              <p:cNvSpPr>
                <a:spLocks noChangeAspect="1" noChangeArrowheads="1"/>
              </p:cNvSpPr>
              <p:nvPr userDrawn="1"/>
            </p:nvSpPr>
            <p:spPr bwMode="auto">
              <a:xfrm>
                <a:off x="1623487" y="1953389"/>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29" name="Oval 221"/>
              <p:cNvSpPr>
                <a:spLocks noChangeAspect="1" noChangeArrowheads="1"/>
              </p:cNvSpPr>
              <p:nvPr userDrawn="1"/>
            </p:nvSpPr>
            <p:spPr bwMode="auto">
              <a:xfrm>
                <a:off x="1758002"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30" name="Oval 222"/>
              <p:cNvSpPr>
                <a:spLocks noChangeAspect="1" noChangeArrowheads="1"/>
              </p:cNvSpPr>
              <p:nvPr userDrawn="1"/>
            </p:nvSpPr>
            <p:spPr bwMode="auto">
              <a:xfrm>
                <a:off x="1890724"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31" name="Oval 223"/>
              <p:cNvSpPr>
                <a:spLocks noChangeAspect="1" noChangeArrowheads="1"/>
              </p:cNvSpPr>
              <p:nvPr userDrawn="1"/>
            </p:nvSpPr>
            <p:spPr bwMode="auto">
              <a:xfrm>
                <a:off x="2025239"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32" name="Oval 224"/>
              <p:cNvSpPr>
                <a:spLocks noChangeAspect="1" noChangeArrowheads="1"/>
              </p:cNvSpPr>
              <p:nvPr userDrawn="1"/>
            </p:nvSpPr>
            <p:spPr bwMode="auto">
              <a:xfrm>
                <a:off x="2157961"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33" name="Oval 225"/>
              <p:cNvSpPr>
                <a:spLocks noChangeAspect="1" noChangeArrowheads="1"/>
              </p:cNvSpPr>
              <p:nvPr userDrawn="1"/>
            </p:nvSpPr>
            <p:spPr bwMode="auto">
              <a:xfrm>
                <a:off x="2292475"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34" name="Oval 226"/>
              <p:cNvSpPr>
                <a:spLocks noChangeAspect="1" noChangeArrowheads="1"/>
              </p:cNvSpPr>
              <p:nvPr userDrawn="1"/>
            </p:nvSpPr>
            <p:spPr bwMode="auto">
              <a:xfrm>
                <a:off x="2425197"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35" name="Oval 227"/>
              <p:cNvSpPr>
                <a:spLocks noChangeAspect="1" noChangeArrowheads="1"/>
              </p:cNvSpPr>
              <p:nvPr userDrawn="1"/>
            </p:nvSpPr>
            <p:spPr bwMode="auto">
              <a:xfrm>
                <a:off x="2559713"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36" name="Oval 228"/>
              <p:cNvSpPr>
                <a:spLocks noChangeAspect="1" noChangeArrowheads="1"/>
              </p:cNvSpPr>
              <p:nvPr userDrawn="1"/>
            </p:nvSpPr>
            <p:spPr bwMode="auto">
              <a:xfrm>
                <a:off x="2692435"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37" name="Oval 229"/>
              <p:cNvSpPr>
                <a:spLocks noChangeAspect="1" noChangeArrowheads="1"/>
              </p:cNvSpPr>
              <p:nvPr userDrawn="1"/>
            </p:nvSpPr>
            <p:spPr bwMode="auto">
              <a:xfrm>
                <a:off x="2826949"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38" name="Oval 230"/>
              <p:cNvSpPr>
                <a:spLocks noChangeAspect="1" noChangeArrowheads="1"/>
              </p:cNvSpPr>
              <p:nvPr userDrawn="1"/>
            </p:nvSpPr>
            <p:spPr bwMode="auto">
              <a:xfrm>
                <a:off x="2959671"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39" name="Oval 231"/>
              <p:cNvSpPr>
                <a:spLocks noChangeAspect="1" noChangeArrowheads="1"/>
              </p:cNvSpPr>
              <p:nvPr userDrawn="1"/>
            </p:nvSpPr>
            <p:spPr bwMode="auto">
              <a:xfrm>
                <a:off x="3094186"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40" name="Oval 232"/>
              <p:cNvSpPr>
                <a:spLocks noChangeAspect="1" noChangeArrowheads="1"/>
              </p:cNvSpPr>
              <p:nvPr userDrawn="1"/>
            </p:nvSpPr>
            <p:spPr bwMode="auto">
              <a:xfrm>
                <a:off x="3226908"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41" name="Oval 233"/>
              <p:cNvSpPr>
                <a:spLocks noChangeAspect="1" noChangeArrowheads="1"/>
              </p:cNvSpPr>
              <p:nvPr userDrawn="1"/>
            </p:nvSpPr>
            <p:spPr bwMode="auto">
              <a:xfrm>
                <a:off x="3361423"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42" name="Oval 234"/>
              <p:cNvSpPr>
                <a:spLocks noChangeAspect="1" noChangeArrowheads="1"/>
              </p:cNvSpPr>
              <p:nvPr userDrawn="1"/>
            </p:nvSpPr>
            <p:spPr bwMode="auto">
              <a:xfrm>
                <a:off x="3494145"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43" name="Oval 235"/>
              <p:cNvSpPr>
                <a:spLocks noChangeAspect="1" noChangeArrowheads="1"/>
              </p:cNvSpPr>
              <p:nvPr userDrawn="1"/>
            </p:nvSpPr>
            <p:spPr bwMode="auto">
              <a:xfrm>
                <a:off x="3761382"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44" name="Oval 236"/>
              <p:cNvSpPr>
                <a:spLocks noChangeAspect="1" noChangeArrowheads="1"/>
              </p:cNvSpPr>
              <p:nvPr userDrawn="1"/>
            </p:nvSpPr>
            <p:spPr bwMode="auto">
              <a:xfrm>
                <a:off x="3895896"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45" name="Oval 237"/>
              <p:cNvSpPr>
                <a:spLocks noChangeAspect="1" noChangeArrowheads="1"/>
              </p:cNvSpPr>
              <p:nvPr userDrawn="1"/>
            </p:nvSpPr>
            <p:spPr bwMode="auto">
              <a:xfrm>
                <a:off x="4028618"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46" name="Oval 238"/>
              <p:cNvSpPr>
                <a:spLocks noChangeAspect="1" noChangeArrowheads="1"/>
              </p:cNvSpPr>
              <p:nvPr userDrawn="1"/>
            </p:nvSpPr>
            <p:spPr bwMode="auto">
              <a:xfrm>
                <a:off x="4564886"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47" name="Oval 239"/>
              <p:cNvSpPr>
                <a:spLocks noChangeAspect="1" noChangeArrowheads="1"/>
              </p:cNvSpPr>
              <p:nvPr userDrawn="1"/>
            </p:nvSpPr>
            <p:spPr bwMode="auto">
              <a:xfrm>
                <a:off x="4697607"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48" name="Oval 240"/>
              <p:cNvSpPr>
                <a:spLocks noChangeAspect="1" noChangeArrowheads="1"/>
              </p:cNvSpPr>
              <p:nvPr userDrawn="1"/>
            </p:nvSpPr>
            <p:spPr bwMode="auto">
              <a:xfrm>
                <a:off x="4832123"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49" name="Oval 241"/>
              <p:cNvSpPr>
                <a:spLocks noChangeAspect="1" noChangeArrowheads="1"/>
              </p:cNvSpPr>
              <p:nvPr userDrawn="1"/>
            </p:nvSpPr>
            <p:spPr bwMode="auto">
              <a:xfrm>
                <a:off x="5366596"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50" name="Oval 242"/>
              <p:cNvSpPr>
                <a:spLocks noChangeAspect="1" noChangeArrowheads="1"/>
              </p:cNvSpPr>
              <p:nvPr userDrawn="1"/>
            </p:nvSpPr>
            <p:spPr bwMode="auto">
              <a:xfrm>
                <a:off x="6301029"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51" name="Oval 243"/>
              <p:cNvSpPr>
                <a:spLocks noChangeAspect="1" noChangeArrowheads="1"/>
              </p:cNvSpPr>
              <p:nvPr userDrawn="1"/>
            </p:nvSpPr>
            <p:spPr bwMode="auto">
              <a:xfrm>
                <a:off x="6435544"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52" name="Oval 244"/>
              <p:cNvSpPr>
                <a:spLocks noChangeAspect="1" noChangeArrowheads="1"/>
              </p:cNvSpPr>
              <p:nvPr userDrawn="1"/>
            </p:nvSpPr>
            <p:spPr bwMode="auto">
              <a:xfrm>
                <a:off x="6568266"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53" name="Oval 245"/>
              <p:cNvSpPr>
                <a:spLocks noChangeAspect="1" noChangeArrowheads="1"/>
              </p:cNvSpPr>
              <p:nvPr userDrawn="1"/>
            </p:nvSpPr>
            <p:spPr bwMode="auto">
              <a:xfrm>
                <a:off x="6702781"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54" name="Oval 246"/>
              <p:cNvSpPr>
                <a:spLocks noChangeAspect="1" noChangeArrowheads="1"/>
              </p:cNvSpPr>
              <p:nvPr userDrawn="1"/>
            </p:nvSpPr>
            <p:spPr bwMode="auto">
              <a:xfrm>
                <a:off x="6835503"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55" name="Oval 247"/>
              <p:cNvSpPr>
                <a:spLocks noChangeAspect="1" noChangeArrowheads="1"/>
              </p:cNvSpPr>
              <p:nvPr userDrawn="1"/>
            </p:nvSpPr>
            <p:spPr bwMode="auto">
              <a:xfrm>
                <a:off x="6970017"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56" name="Oval 248"/>
              <p:cNvSpPr>
                <a:spLocks noChangeAspect="1" noChangeArrowheads="1"/>
              </p:cNvSpPr>
              <p:nvPr userDrawn="1"/>
            </p:nvSpPr>
            <p:spPr bwMode="auto">
              <a:xfrm>
                <a:off x="7102739"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57" name="Oval 249"/>
              <p:cNvSpPr>
                <a:spLocks noChangeAspect="1" noChangeArrowheads="1"/>
              </p:cNvSpPr>
              <p:nvPr userDrawn="1"/>
            </p:nvSpPr>
            <p:spPr bwMode="auto">
              <a:xfrm>
                <a:off x="7237255"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58" name="Oval 250"/>
              <p:cNvSpPr>
                <a:spLocks noChangeAspect="1" noChangeArrowheads="1"/>
              </p:cNvSpPr>
              <p:nvPr userDrawn="1"/>
            </p:nvSpPr>
            <p:spPr bwMode="auto">
              <a:xfrm>
                <a:off x="7369977"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59" name="Oval 251"/>
              <p:cNvSpPr>
                <a:spLocks noChangeAspect="1" noChangeArrowheads="1"/>
              </p:cNvSpPr>
              <p:nvPr userDrawn="1"/>
            </p:nvSpPr>
            <p:spPr bwMode="auto">
              <a:xfrm>
                <a:off x="7504491"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60" name="Oval 252"/>
              <p:cNvSpPr>
                <a:spLocks noChangeAspect="1" noChangeArrowheads="1"/>
              </p:cNvSpPr>
              <p:nvPr userDrawn="1"/>
            </p:nvSpPr>
            <p:spPr bwMode="auto">
              <a:xfrm>
                <a:off x="7637213"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61" name="Oval 253"/>
              <p:cNvSpPr>
                <a:spLocks noChangeAspect="1" noChangeArrowheads="1"/>
              </p:cNvSpPr>
              <p:nvPr userDrawn="1"/>
            </p:nvSpPr>
            <p:spPr bwMode="auto">
              <a:xfrm>
                <a:off x="7771728"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62" name="Oval 254"/>
              <p:cNvSpPr>
                <a:spLocks noChangeAspect="1" noChangeArrowheads="1"/>
              </p:cNvSpPr>
              <p:nvPr userDrawn="1"/>
            </p:nvSpPr>
            <p:spPr bwMode="auto">
              <a:xfrm>
                <a:off x="7906244"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63" name="Oval 255"/>
              <p:cNvSpPr>
                <a:spLocks noChangeAspect="1" noChangeArrowheads="1"/>
              </p:cNvSpPr>
              <p:nvPr userDrawn="1"/>
            </p:nvSpPr>
            <p:spPr bwMode="auto">
              <a:xfrm>
                <a:off x="8038965"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64" name="Oval 256"/>
              <p:cNvSpPr>
                <a:spLocks noChangeAspect="1" noChangeArrowheads="1"/>
              </p:cNvSpPr>
              <p:nvPr userDrawn="1"/>
            </p:nvSpPr>
            <p:spPr bwMode="auto">
              <a:xfrm>
                <a:off x="8173481"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65" name="Oval 257"/>
              <p:cNvSpPr>
                <a:spLocks noChangeAspect="1" noChangeArrowheads="1"/>
              </p:cNvSpPr>
              <p:nvPr userDrawn="1"/>
            </p:nvSpPr>
            <p:spPr bwMode="auto">
              <a:xfrm>
                <a:off x="8306202"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66" name="Oval 258"/>
              <p:cNvSpPr>
                <a:spLocks noChangeAspect="1" noChangeArrowheads="1"/>
              </p:cNvSpPr>
              <p:nvPr userDrawn="1"/>
            </p:nvSpPr>
            <p:spPr bwMode="auto">
              <a:xfrm>
                <a:off x="8440717"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67" name="Oval 259"/>
              <p:cNvSpPr>
                <a:spLocks noChangeAspect="1" noChangeArrowheads="1"/>
              </p:cNvSpPr>
              <p:nvPr userDrawn="1"/>
            </p:nvSpPr>
            <p:spPr bwMode="auto">
              <a:xfrm>
                <a:off x="8573438"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68" name="Oval 260"/>
              <p:cNvSpPr>
                <a:spLocks noChangeAspect="1" noChangeArrowheads="1"/>
              </p:cNvSpPr>
              <p:nvPr userDrawn="1"/>
            </p:nvSpPr>
            <p:spPr bwMode="auto">
              <a:xfrm>
                <a:off x="8707955"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69" name="Oval 261"/>
              <p:cNvSpPr>
                <a:spLocks noChangeAspect="1" noChangeArrowheads="1"/>
              </p:cNvSpPr>
              <p:nvPr userDrawn="1"/>
            </p:nvSpPr>
            <p:spPr bwMode="auto">
              <a:xfrm>
                <a:off x="8840677"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70" name="Oval 262"/>
              <p:cNvSpPr>
                <a:spLocks noChangeAspect="1" noChangeArrowheads="1"/>
              </p:cNvSpPr>
              <p:nvPr userDrawn="1"/>
            </p:nvSpPr>
            <p:spPr bwMode="auto">
              <a:xfrm>
                <a:off x="8975191"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71" name="Oval 263"/>
              <p:cNvSpPr>
                <a:spLocks noChangeAspect="1" noChangeArrowheads="1"/>
              </p:cNvSpPr>
              <p:nvPr userDrawn="1"/>
            </p:nvSpPr>
            <p:spPr bwMode="auto">
              <a:xfrm>
                <a:off x="9107912"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72" name="Oval 264"/>
              <p:cNvSpPr>
                <a:spLocks noChangeAspect="1" noChangeArrowheads="1"/>
              </p:cNvSpPr>
              <p:nvPr userDrawn="1"/>
            </p:nvSpPr>
            <p:spPr bwMode="auto">
              <a:xfrm>
                <a:off x="9242428"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73" name="Oval 265"/>
              <p:cNvSpPr>
                <a:spLocks noChangeAspect="1" noChangeArrowheads="1"/>
              </p:cNvSpPr>
              <p:nvPr userDrawn="1"/>
            </p:nvSpPr>
            <p:spPr bwMode="auto">
              <a:xfrm>
                <a:off x="9375149"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74" name="Oval 266"/>
              <p:cNvSpPr>
                <a:spLocks noChangeAspect="1" noChangeArrowheads="1"/>
              </p:cNvSpPr>
              <p:nvPr userDrawn="1"/>
            </p:nvSpPr>
            <p:spPr bwMode="auto">
              <a:xfrm>
                <a:off x="9509665"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75" name="Oval 267"/>
              <p:cNvSpPr>
                <a:spLocks noChangeAspect="1" noChangeArrowheads="1"/>
              </p:cNvSpPr>
              <p:nvPr userDrawn="1"/>
            </p:nvSpPr>
            <p:spPr bwMode="auto">
              <a:xfrm>
                <a:off x="9642387"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76" name="Oval 268"/>
              <p:cNvSpPr>
                <a:spLocks noChangeAspect="1" noChangeArrowheads="1"/>
              </p:cNvSpPr>
              <p:nvPr userDrawn="1"/>
            </p:nvSpPr>
            <p:spPr bwMode="auto">
              <a:xfrm>
                <a:off x="9776902"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77" name="Oval 269"/>
              <p:cNvSpPr>
                <a:spLocks noChangeAspect="1" noChangeArrowheads="1"/>
              </p:cNvSpPr>
              <p:nvPr userDrawn="1"/>
            </p:nvSpPr>
            <p:spPr bwMode="auto">
              <a:xfrm>
                <a:off x="9909624"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78" name="Oval 270"/>
              <p:cNvSpPr>
                <a:spLocks noChangeAspect="1" noChangeArrowheads="1"/>
              </p:cNvSpPr>
              <p:nvPr userDrawn="1"/>
            </p:nvSpPr>
            <p:spPr bwMode="auto">
              <a:xfrm>
                <a:off x="10044138"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79" name="Oval 271"/>
              <p:cNvSpPr>
                <a:spLocks noChangeAspect="1" noChangeArrowheads="1"/>
              </p:cNvSpPr>
              <p:nvPr userDrawn="1"/>
            </p:nvSpPr>
            <p:spPr bwMode="auto">
              <a:xfrm>
                <a:off x="10176859"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80" name="Oval 272"/>
              <p:cNvSpPr>
                <a:spLocks noChangeAspect="1" noChangeArrowheads="1"/>
              </p:cNvSpPr>
              <p:nvPr userDrawn="1"/>
            </p:nvSpPr>
            <p:spPr bwMode="auto">
              <a:xfrm>
                <a:off x="10311376"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81" name="Oval 273"/>
              <p:cNvSpPr>
                <a:spLocks noChangeAspect="1" noChangeArrowheads="1"/>
              </p:cNvSpPr>
              <p:nvPr userDrawn="1"/>
            </p:nvSpPr>
            <p:spPr bwMode="auto">
              <a:xfrm>
                <a:off x="10444098"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82" name="Oval 274"/>
              <p:cNvSpPr>
                <a:spLocks noChangeAspect="1" noChangeArrowheads="1"/>
              </p:cNvSpPr>
              <p:nvPr userDrawn="1"/>
            </p:nvSpPr>
            <p:spPr bwMode="auto">
              <a:xfrm>
                <a:off x="10578612"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83" name="Oval 275"/>
              <p:cNvSpPr>
                <a:spLocks noChangeAspect="1" noChangeArrowheads="1"/>
              </p:cNvSpPr>
              <p:nvPr userDrawn="1"/>
            </p:nvSpPr>
            <p:spPr bwMode="auto">
              <a:xfrm>
                <a:off x="10711334"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84" name="Oval 276"/>
              <p:cNvSpPr>
                <a:spLocks noChangeAspect="1" noChangeArrowheads="1"/>
              </p:cNvSpPr>
              <p:nvPr userDrawn="1"/>
            </p:nvSpPr>
            <p:spPr bwMode="auto">
              <a:xfrm>
                <a:off x="10845849"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85" name="Oval 277"/>
              <p:cNvSpPr>
                <a:spLocks noChangeAspect="1" noChangeArrowheads="1"/>
              </p:cNvSpPr>
              <p:nvPr userDrawn="1"/>
            </p:nvSpPr>
            <p:spPr bwMode="auto">
              <a:xfrm>
                <a:off x="10978571"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86" name="Oval 278"/>
              <p:cNvSpPr>
                <a:spLocks noChangeAspect="1" noChangeArrowheads="1"/>
              </p:cNvSpPr>
              <p:nvPr userDrawn="1"/>
            </p:nvSpPr>
            <p:spPr bwMode="auto">
              <a:xfrm>
                <a:off x="11113086"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87" name="Oval 279"/>
              <p:cNvSpPr>
                <a:spLocks noChangeAspect="1" noChangeArrowheads="1"/>
              </p:cNvSpPr>
              <p:nvPr userDrawn="1"/>
            </p:nvSpPr>
            <p:spPr bwMode="auto">
              <a:xfrm>
                <a:off x="1356250" y="2077112"/>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88" name="Oval 280"/>
              <p:cNvSpPr>
                <a:spLocks noChangeAspect="1" noChangeArrowheads="1"/>
              </p:cNvSpPr>
              <p:nvPr userDrawn="1"/>
            </p:nvSpPr>
            <p:spPr bwMode="auto">
              <a:xfrm>
                <a:off x="1490765"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89" name="Oval 281"/>
              <p:cNvSpPr>
                <a:spLocks noChangeAspect="1" noChangeArrowheads="1"/>
              </p:cNvSpPr>
              <p:nvPr userDrawn="1"/>
            </p:nvSpPr>
            <p:spPr bwMode="auto">
              <a:xfrm>
                <a:off x="1623487" y="2077112"/>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90" name="Oval 282"/>
              <p:cNvSpPr>
                <a:spLocks noChangeAspect="1" noChangeArrowheads="1"/>
              </p:cNvSpPr>
              <p:nvPr userDrawn="1"/>
            </p:nvSpPr>
            <p:spPr bwMode="auto">
              <a:xfrm>
                <a:off x="1758002"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91" name="Oval 283"/>
              <p:cNvSpPr>
                <a:spLocks noChangeAspect="1" noChangeArrowheads="1"/>
              </p:cNvSpPr>
              <p:nvPr userDrawn="1"/>
            </p:nvSpPr>
            <p:spPr bwMode="auto">
              <a:xfrm>
                <a:off x="1890724"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92" name="Oval 284"/>
              <p:cNvSpPr>
                <a:spLocks noChangeAspect="1" noChangeArrowheads="1"/>
              </p:cNvSpPr>
              <p:nvPr userDrawn="1"/>
            </p:nvSpPr>
            <p:spPr bwMode="auto">
              <a:xfrm>
                <a:off x="2025239"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93" name="Oval 285"/>
              <p:cNvSpPr>
                <a:spLocks noChangeAspect="1" noChangeArrowheads="1"/>
              </p:cNvSpPr>
              <p:nvPr userDrawn="1"/>
            </p:nvSpPr>
            <p:spPr bwMode="auto">
              <a:xfrm>
                <a:off x="2157961"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94" name="Oval 286"/>
              <p:cNvSpPr>
                <a:spLocks noChangeAspect="1" noChangeArrowheads="1"/>
              </p:cNvSpPr>
              <p:nvPr userDrawn="1"/>
            </p:nvSpPr>
            <p:spPr bwMode="auto">
              <a:xfrm>
                <a:off x="2292475"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95" name="Oval 287"/>
              <p:cNvSpPr>
                <a:spLocks noChangeAspect="1" noChangeArrowheads="1"/>
              </p:cNvSpPr>
              <p:nvPr userDrawn="1"/>
            </p:nvSpPr>
            <p:spPr bwMode="auto">
              <a:xfrm>
                <a:off x="2425197"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96" name="Oval 288"/>
              <p:cNvSpPr>
                <a:spLocks noChangeAspect="1" noChangeArrowheads="1"/>
              </p:cNvSpPr>
              <p:nvPr userDrawn="1"/>
            </p:nvSpPr>
            <p:spPr bwMode="auto">
              <a:xfrm>
                <a:off x="2559713"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97" name="Oval 289"/>
              <p:cNvSpPr>
                <a:spLocks noChangeAspect="1" noChangeArrowheads="1"/>
              </p:cNvSpPr>
              <p:nvPr userDrawn="1"/>
            </p:nvSpPr>
            <p:spPr bwMode="auto">
              <a:xfrm>
                <a:off x="2692435"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98" name="Oval 290"/>
              <p:cNvSpPr>
                <a:spLocks noChangeAspect="1" noChangeArrowheads="1"/>
              </p:cNvSpPr>
              <p:nvPr userDrawn="1"/>
            </p:nvSpPr>
            <p:spPr bwMode="auto">
              <a:xfrm>
                <a:off x="2826949"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399" name="Oval 291"/>
              <p:cNvSpPr>
                <a:spLocks noChangeAspect="1" noChangeArrowheads="1"/>
              </p:cNvSpPr>
              <p:nvPr userDrawn="1"/>
            </p:nvSpPr>
            <p:spPr bwMode="auto">
              <a:xfrm>
                <a:off x="2959671"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00" name="Oval 292"/>
              <p:cNvSpPr>
                <a:spLocks noChangeAspect="1" noChangeArrowheads="1"/>
              </p:cNvSpPr>
              <p:nvPr userDrawn="1"/>
            </p:nvSpPr>
            <p:spPr bwMode="auto">
              <a:xfrm>
                <a:off x="3094186"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01" name="Oval 293"/>
              <p:cNvSpPr>
                <a:spLocks noChangeAspect="1" noChangeArrowheads="1"/>
              </p:cNvSpPr>
              <p:nvPr userDrawn="1"/>
            </p:nvSpPr>
            <p:spPr bwMode="auto">
              <a:xfrm>
                <a:off x="3226908"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02" name="Oval 294"/>
              <p:cNvSpPr>
                <a:spLocks noChangeAspect="1" noChangeArrowheads="1"/>
              </p:cNvSpPr>
              <p:nvPr userDrawn="1"/>
            </p:nvSpPr>
            <p:spPr bwMode="auto">
              <a:xfrm>
                <a:off x="3361423"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03" name="Oval 295"/>
              <p:cNvSpPr>
                <a:spLocks noChangeAspect="1" noChangeArrowheads="1"/>
              </p:cNvSpPr>
              <p:nvPr userDrawn="1"/>
            </p:nvSpPr>
            <p:spPr bwMode="auto">
              <a:xfrm>
                <a:off x="3494145"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04" name="Oval 296"/>
              <p:cNvSpPr>
                <a:spLocks noChangeAspect="1" noChangeArrowheads="1"/>
              </p:cNvSpPr>
              <p:nvPr userDrawn="1"/>
            </p:nvSpPr>
            <p:spPr bwMode="auto">
              <a:xfrm>
                <a:off x="3895896"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05" name="Oval 297"/>
              <p:cNvSpPr>
                <a:spLocks noChangeAspect="1" noChangeArrowheads="1"/>
              </p:cNvSpPr>
              <p:nvPr userDrawn="1"/>
            </p:nvSpPr>
            <p:spPr bwMode="auto">
              <a:xfrm>
                <a:off x="4028618"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06" name="Oval 298"/>
              <p:cNvSpPr>
                <a:spLocks noChangeAspect="1" noChangeArrowheads="1"/>
              </p:cNvSpPr>
              <p:nvPr userDrawn="1"/>
            </p:nvSpPr>
            <p:spPr bwMode="auto">
              <a:xfrm>
                <a:off x="4564886"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07" name="Oval 299"/>
              <p:cNvSpPr>
                <a:spLocks noChangeAspect="1" noChangeArrowheads="1"/>
              </p:cNvSpPr>
              <p:nvPr userDrawn="1"/>
            </p:nvSpPr>
            <p:spPr bwMode="auto">
              <a:xfrm>
                <a:off x="4697607"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08" name="Oval 300"/>
              <p:cNvSpPr>
                <a:spLocks noChangeAspect="1" noChangeArrowheads="1"/>
              </p:cNvSpPr>
              <p:nvPr userDrawn="1"/>
            </p:nvSpPr>
            <p:spPr bwMode="auto">
              <a:xfrm>
                <a:off x="5366596"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09" name="Oval 301"/>
              <p:cNvSpPr>
                <a:spLocks noChangeAspect="1" noChangeArrowheads="1"/>
              </p:cNvSpPr>
              <p:nvPr userDrawn="1"/>
            </p:nvSpPr>
            <p:spPr bwMode="auto">
              <a:xfrm>
                <a:off x="5499317"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10" name="Oval 302"/>
              <p:cNvSpPr>
                <a:spLocks noChangeAspect="1" noChangeArrowheads="1"/>
              </p:cNvSpPr>
              <p:nvPr userDrawn="1"/>
            </p:nvSpPr>
            <p:spPr bwMode="auto">
              <a:xfrm>
                <a:off x="6168307"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11" name="Oval 303"/>
              <p:cNvSpPr>
                <a:spLocks noChangeAspect="1" noChangeArrowheads="1"/>
              </p:cNvSpPr>
              <p:nvPr userDrawn="1"/>
            </p:nvSpPr>
            <p:spPr bwMode="auto">
              <a:xfrm>
                <a:off x="6301029"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12" name="Oval 304"/>
              <p:cNvSpPr>
                <a:spLocks noChangeAspect="1" noChangeArrowheads="1"/>
              </p:cNvSpPr>
              <p:nvPr userDrawn="1"/>
            </p:nvSpPr>
            <p:spPr bwMode="auto">
              <a:xfrm>
                <a:off x="6435544"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13" name="Oval 305"/>
              <p:cNvSpPr>
                <a:spLocks noChangeAspect="1" noChangeArrowheads="1"/>
              </p:cNvSpPr>
              <p:nvPr userDrawn="1"/>
            </p:nvSpPr>
            <p:spPr bwMode="auto">
              <a:xfrm>
                <a:off x="6568266"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14" name="Oval 306"/>
              <p:cNvSpPr>
                <a:spLocks noChangeAspect="1" noChangeArrowheads="1"/>
              </p:cNvSpPr>
              <p:nvPr userDrawn="1"/>
            </p:nvSpPr>
            <p:spPr bwMode="auto">
              <a:xfrm>
                <a:off x="6702781"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15" name="Oval 307"/>
              <p:cNvSpPr>
                <a:spLocks noChangeAspect="1" noChangeArrowheads="1"/>
              </p:cNvSpPr>
              <p:nvPr userDrawn="1"/>
            </p:nvSpPr>
            <p:spPr bwMode="auto">
              <a:xfrm>
                <a:off x="6835503"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16" name="Oval 308"/>
              <p:cNvSpPr>
                <a:spLocks noChangeAspect="1" noChangeArrowheads="1"/>
              </p:cNvSpPr>
              <p:nvPr userDrawn="1"/>
            </p:nvSpPr>
            <p:spPr bwMode="auto">
              <a:xfrm>
                <a:off x="6970017"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17" name="Oval 309"/>
              <p:cNvSpPr>
                <a:spLocks noChangeAspect="1" noChangeArrowheads="1"/>
              </p:cNvSpPr>
              <p:nvPr userDrawn="1"/>
            </p:nvSpPr>
            <p:spPr bwMode="auto">
              <a:xfrm>
                <a:off x="7102739"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18" name="Oval 310"/>
              <p:cNvSpPr>
                <a:spLocks noChangeAspect="1" noChangeArrowheads="1"/>
              </p:cNvSpPr>
              <p:nvPr userDrawn="1"/>
            </p:nvSpPr>
            <p:spPr bwMode="auto">
              <a:xfrm>
                <a:off x="7237255"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19" name="Oval 311"/>
              <p:cNvSpPr>
                <a:spLocks noChangeAspect="1" noChangeArrowheads="1"/>
              </p:cNvSpPr>
              <p:nvPr userDrawn="1"/>
            </p:nvSpPr>
            <p:spPr bwMode="auto">
              <a:xfrm>
                <a:off x="7369977"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20" name="Oval 312"/>
              <p:cNvSpPr>
                <a:spLocks noChangeAspect="1" noChangeArrowheads="1"/>
              </p:cNvSpPr>
              <p:nvPr userDrawn="1"/>
            </p:nvSpPr>
            <p:spPr bwMode="auto">
              <a:xfrm>
                <a:off x="7504491"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21" name="Oval 313"/>
              <p:cNvSpPr>
                <a:spLocks noChangeAspect="1" noChangeArrowheads="1"/>
              </p:cNvSpPr>
              <p:nvPr userDrawn="1"/>
            </p:nvSpPr>
            <p:spPr bwMode="auto">
              <a:xfrm>
                <a:off x="7637213"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22" name="Oval 314"/>
              <p:cNvSpPr>
                <a:spLocks noChangeAspect="1" noChangeArrowheads="1"/>
              </p:cNvSpPr>
              <p:nvPr userDrawn="1"/>
            </p:nvSpPr>
            <p:spPr bwMode="auto">
              <a:xfrm>
                <a:off x="7771728"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23" name="Oval 315"/>
              <p:cNvSpPr>
                <a:spLocks noChangeAspect="1" noChangeArrowheads="1"/>
              </p:cNvSpPr>
              <p:nvPr userDrawn="1"/>
            </p:nvSpPr>
            <p:spPr bwMode="auto">
              <a:xfrm>
                <a:off x="7906244"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24" name="Oval 316"/>
              <p:cNvSpPr>
                <a:spLocks noChangeAspect="1" noChangeArrowheads="1"/>
              </p:cNvSpPr>
              <p:nvPr userDrawn="1"/>
            </p:nvSpPr>
            <p:spPr bwMode="auto">
              <a:xfrm>
                <a:off x="8038965"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25" name="Oval 317"/>
              <p:cNvSpPr>
                <a:spLocks noChangeAspect="1" noChangeArrowheads="1"/>
              </p:cNvSpPr>
              <p:nvPr userDrawn="1"/>
            </p:nvSpPr>
            <p:spPr bwMode="auto">
              <a:xfrm>
                <a:off x="8173481"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26" name="Oval 318"/>
              <p:cNvSpPr>
                <a:spLocks noChangeAspect="1" noChangeArrowheads="1"/>
              </p:cNvSpPr>
              <p:nvPr userDrawn="1"/>
            </p:nvSpPr>
            <p:spPr bwMode="auto">
              <a:xfrm>
                <a:off x="8306202"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27" name="Oval 319"/>
              <p:cNvSpPr>
                <a:spLocks noChangeAspect="1" noChangeArrowheads="1"/>
              </p:cNvSpPr>
              <p:nvPr userDrawn="1"/>
            </p:nvSpPr>
            <p:spPr bwMode="auto">
              <a:xfrm>
                <a:off x="8440717"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28" name="Oval 320"/>
              <p:cNvSpPr>
                <a:spLocks noChangeAspect="1" noChangeArrowheads="1"/>
              </p:cNvSpPr>
              <p:nvPr userDrawn="1"/>
            </p:nvSpPr>
            <p:spPr bwMode="auto">
              <a:xfrm>
                <a:off x="8573438"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29" name="Oval 321"/>
              <p:cNvSpPr>
                <a:spLocks noChangeAspect="1" noChangeArrowheads="1"/>
              </p:cNvSpPr>
              <p:nvPr userDrawn="1"/>
            </p:nvSpPr>
            <p:spPr bwMode="auto">
              <a:xfrm>
                <a:off x="8707955"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30" name="Oval 322"/>
              <p:cNvSpPr>
                <a:spLocks noChangeAspect="1" noChangeArrowheads="1"/>
              </p:cNvSpPr>
              <p:nvPr userDrawn="1"/>
            </p:nvSpPr>
            <p:spPr bwMode="auto">
              <a:xfrm>
                <a:off x="8840677"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31" name="Oval 323"/>
              <p:cNvSpPr>
                <a:spLocks noChangeAspect="1" noChangeArrowheads="1"/>
              </p:cNvSpPr>
              <p:nvPr userDrawn="1"/>
            </p:nvSpPr>
            <p:spPr bwMode="auto">
              <a:xfrm>
                <a:off x="8975191"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32" name="Oval 324"/>
              <p:cNvSpPr>
                <a:spLocks noChangeAspect="1" noChangeArrowheads="1"/>
              </p:cNvSpPr>
              <p:nvPr userDrawn="1"/>
            </p:nvSpPr>
            <p:spPr bwMode="auto">
              <a:xfrm>
                <a:off x="9107912"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33" name="Oval 325"/>
              <p:cNvSpPr>
                <a:spLocks noChangeAspect="1" noChangeArrowheads="1"/>
              </p:cNvSpPr>
              <p:nvPr userDrawn="1"/>
            </p:nvSpPr>
            <p:spPr bwMode="auto">
              <a:xfrm>
                <a:off x="9242428"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34" name="Oval 326"/>
              <p:cNvSpPr>
                <a:spLocks noChangeAspect="1" noChangeArrowheads="1"/>
              </p:cNvSpPr>
              <p:nvPr userDrawn="1"/>
            </p:nvSpPr>
            <p:spPr bwMode="auto">
              <a:xfrm>
                <a:off x="9375149"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35" name="Oval 327"/>
              <p:cNvSpPr>
                <a:spLocks noChangeAspect="1" noChangeArrowheads="1"/>
              </p:cNvSpPr>
              <p:nvPr userDrawn="1"/>
            </p:nvSpPr>
            <p:spPr bwMode="auto">
              <a:xfrm>
                <a:off x="9509665"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36" name="Oval 328"/>
              <p:cNvSpPr>
                <a:spLocks noChangeAspect="1" noChangeArrowheads="1"/>
              </p:cNvSpPr>
              <p:nvPr userDrawn="1"/>
            </p:nvSpPr>
            <p:spPr bwMode="auto">
              <a:xfrm>
                <a:off x="9642387"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37" name="Oval 329"/>
              <p:cNvSpPr>
                <a:spLocks noChangeAspect="1" noChangeArrowheads="1"/>
              </p:cNvSpPr>
              <p:nvPr userDrawn="1"/>
            </p:nvSpPr>
            <p:spPr bwMode="auto">
              <a:xfrm>
                <a:off x="9776902"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38" name="Oval 330"/>
              <p:cNvSpPr>
                <a:spLocks noChangeAspect="1" noChangeArrowheads="1"/>
              </p:cNvSpPr>
              <p:nvPr userDrawn="1"/>
            </p:nvSpPr>
            <p:spPr bwMode="auto">
              <a:xfrm>
                <a:off x="9909624"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39" name="Oval 331"/>
              <p:cNvSpPr>
                <a:spLocks noChangeAspect="1" noChangeArrowheads="1"/>
              </p:cNvSpPr>
              <p:nvPr userDrawn="1"/>
            </p:nvSpPr>
            <p:spPr bwMode="auto">
              <a:xfrm>
                <a:off x="10044138"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40" name="Oval 332"/>
              <p:cNvSpPr>
                <a:spLocks noChangeAspect="1" noChangeArrowheads="1"/>
              </p:cNvSpPr>
              <p:nvPr userDrawn="1"/>
            </p:nvSpPr>
            <p:spPr bwMode="auto">
              <a:xfrm>
                <a:off x="10176859"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41" name="Oval 333"/>
              <p:cNvSpPr>
                <a:spLocks noChangeAspect="1" noChangeArrowheads="1"/>
              </p:cNvSpPr>
              <p:nvPr userDrawn="1"/>
            </p:nvSpPr>
            <p:spPr bwMode="auto">
              <a:xfrm>
                <a:off x="10311376"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42" name="Oval 334"/>
              <p:cNvSpPr>
                <a:spLocks noChangeAspect="1" noChangeArrowheads="1"/>
              </p:cNvSpPr>
              <p:nvPr userDrawn="1"/>
            </p:nvSpPr>
            <p:spPr bwMode="auto">
              <a:xfrm>
                <a:off x="10444098"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43" name="Oval 335"/>
              <p:cNvSpPr>
                <a:spLocks noChangeAspect="1" noChangeArrowheads="1"/>
              </p:cNvSpPr>
              <p:nvPr userDrawn="1"/>
            </p:nvSpPr>
            <p:spPr bwMode="auto">
              <a:xfrm>
                <a:off x="10578612"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44" name="Oval 336"/>
              <p:cNvSpPr>
                <a:spLocks noChangeAspect="1" noChangeArrowheads="1"/>
              </p:cNvSpPr>
              <p:nvPr userDrawn="1"/>
            </p:nvSpPr>
            <p:spPr bwMode="auto">
              <a:xfrm>
                <a:off x="10711334"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45" name="Oval 337"/>
              <p:cNvSpPr>
                <a:spLocks noChangeAspect="1" noChangeArrowheads="1"/>
              </p:cNvSpPr>
              <p:nvPr userDrawn="1"/>
            </p:nvSpPr>
            <p:spPr bwMode="auto">
              <a:xfrm>
                <a:off x="10845849"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46" name="Oval 338"/>
              <p:cNvSpPr>
                <a:spLocks noChangeAspect="1" noChangeArrowheads="1"/>
              </p:cNvSpPr>
              <p:nvPr userDrawn="1"/>
            </p:nvSpPr>
            <p:spPr bwMode="auto">
              <a:xfrm>
                <a:off x="1223528"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47" name="Oval 339"/>
              <p:cNvSpPr>
                <a:spLocks noChangeAspect="1" noChangeArrowheads="1"/>
              </p:cNvSpPr>
              <p:nvPr userDrawn="1"/>
            </p:nvSpPr>
            <p:spPr bwMode="auto">
              <a:xfrm>
                <a:off x="1356250" y="220083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48" name="Oval 340"/>
              <p:cNvSpPr>
                <a:spLocks noChangeAspect="1" noChangeArrowheads="1"/>
              </p:cNvSpPr>
              <p:nvPr userDrawn="1"/>
            </p:nvSpPr>
            <p:spPr bwMode="auto">
              <a:xfrm>
                <a:off x="1490765"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49" name="Oval 341"/>
              <p:cNvSpPr>
                <a:spLocks noChangeAspect="1" noChangeArrowheads="1"/>
              </p:cNvSpPr>
              <p:nvPr userDrawn="1"/>
            </p:nvSpPr>
            <p:spPr bwMode="auto">
              <a:xfrm>
                <a:off x="1623487"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50" name="Oval 342"/>
              <p:cNvSpPr>
                <a:spLocks noChangeAspect="1" noChangeArrowheads="1"/>
              </p:cNvSpPr>
              <p:nvPr userDrawn="1"/>
            </p:nvSpPr>
            <p:spPr bwMode="auto">
              <a:xfrm>
                <a:off x="1758002"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51" name="Oval 343"/>
              <p:cNvSpPr>
                <a:spLocks noChangeAspect="1" noChangeArrowheads="1"/>
              </p:cNvSpPr>
              <p:nvPr userDrawn="1"/>
            </p:nvSpPr>
            <p:spPr bwMode="auto">
              <a:xfrm>
                <a:off x="1890724"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52" name="Oval 344"/>
              <p:cNvSpPr>
                <a:spLocks noChangeAspect="1" noChangeArrowheads="1"/>
              </p:cNvSpPr>
              <p:nvPr userDrawn="1"/>
            </p:nvSpPr>
            <p:spPr bwMode="auto">
              <a:xfrm>
                <a:off x="2025239"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53" name="Oval 345"/>
              <p:cNvSpPr>
                <a:spLocks noChangeAspect="1" noChangeArrowheads="1"/>
              </p:cNvSpPr>
              <p:nvPr userDrawn="1"/>
            </p:nvSpPr>
            <p:spPr bwMode="auto">
              <a:xfrm>
                <a:off x="2157961"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54" name="Oval 346"/>
              <p:cNvSpPr>
                <a:spLocks noChangeAspect="1" noChangeArrowheads="1"/>
              </p:cNvSpPr>
              <p:nvPr userDrawn="1"/>
            </p:nvSpPr>
            <p:spPr bwMode="auto">
              <a:xfrm>
                <a:off x="2292475"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55" name="Oval 347"/>
              <p:cNvSpPr>
                <a:spLocks noChangeAspect="1" noChangeArrowheads="1"/>
              </p:cNvSpPr>
              <p:nvPr userDrawn="1"/>
            </p:nvSpPr>
            <p:spPr bwMode="auto">
              <a:xfrm>
                <a:off x="2425197"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56" name="Oval 348"/>
              <p:cNvSpPr>
                <a:spLocks noChangeAspect="1" noChangeArrowheads="1"/>
              </p:cNvSpPr>
              <p:nvPr userDrawn="1"/>
            </p:nvSpPr>
            <p:spPr bwMode="auto">
              <a:xfrm>
                <a:off x="2559713"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57" name="Oval 349"/>
              <p:cNvSpPr>
                <a:spLocks noChangeAspect="1" noChangeArrowheads="1"/>
              </p:cNvSpPr>
              <p:nvPr userDrawn="1"/>
            </p:nvSpPr>
            <p:spPr bwMode="auto">
              <a:xfrm>
                <a:off x="2692435"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58" name="Oval 350"/>
              <p:cNvSpPr>
                <a:spLocks noChangeAspect="1" noChangeArrowheads="1"/>
              </p:cNvSpPr>
              <p:nvPr userDrawn="1"/>
            </p:nvSpPr>
            <p:spPr bwMode="auto">
              <a:xfrm>
                <a:off x="2826949"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59" name="Oval 351"/>
              <p:cNvSpPr>
                <a:spLocks noChangeAspect="1" noChangeArrowheads="1"/>
              </p:cNvSpPr>
              <p:nvPr userDrawn="1"/>
            </p:nvSpPr>
            <p:spPr bwMode="auto">
              <a:xfrm>
                <a:off x="2959671"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60" name="Oval 352"/>
              <p:cNvSpPr>
                <a:spLocks noChangeAspect="1" noChangeArrowheads="1"/>
              </p:cNvSpPr>
              <p:nvPr userDrawn="1"/>
            </p:nvSpPr>
            <p:spPr bwMode="auto">
              <a:xfrm>
                <a:off x="3094186"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61" name="Oval 353"/>
              <p:cNvSpPr>
                <a:spLocks noChangeAspect="1" noChangeArrowheads="1"/>
              </p:cNvSpPr>
              <p:nvPr userDrawn="1"/>
            </p:nvSpPr>
            <p:spPr bwMode="auto">
              <a:xfrm>
                <a:off x="3226908"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62" name="Oval 354"/>
              <p:cNvSpPr>
                <a:spLocks noChangeAspect="1" noChangeArrowheads="1"/>
              </p:cNvSpPr>
              <p:nvPr userDrawn="1"/>
            </p:nvSpPr>
            <p:spPr bwMode="auto">
              <a:xfrm>
                <a:off x="3761382"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63" name="Oval 355"/>
              <p:cNvSpPr>
                <a:spLocks noChangeAspect="1" noChangeArrowheads="1"/>
              </p:cNvSpPr>
              <p:nvPr userDrawn="1"/>
            </p:nvSpPr>
            <p:spPr bwMode="auto">
              <a:xfrm>
                <a:off x="4697607"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64" name="Oval 356"/>
              <p:cNvSpPr>
                <a:spLocks noChangeAspect="1" noChangeArrowheads="1"/>
              </p:cNvSpPr>
              <p:nvPr userDrawn="1"/>
            </p:nvSpPr>
            <p:spPr bwMode="auto">
              <a:xfrm>
                <a:off x="5232082" y="220083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65" name="Oval 357"/>
              <p:cNvSpPr>
                <a:spLocks noChangeAspect="1" noChangeArrowheads="1"/>
              </p:cNvSpPr>
              <p:nvPr userDrawn="1"/>
            </p:nvSpPr>
            <p:spPr bwMode="auto">
              <a:xfrm>
                <a:off x="6033792"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66" name="Oval 358"/>
              <p:cNvSpPr>
                <a:spLocks noChangeAspect="1" noChangeArrowheads="1"/>
              </p:cNvSpPr>
              <p:nvPr userDrawn="1"/>
            </p:nvSpPr>
            <p:spPr bwMode="auto">
              <a:xfrm>
                <a:off x="6168307"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67" name="Oval 359"/>
              <p:cNvSpPr>
                <a:spLocks noChangeAspect="1" noChangeArrowheads="1"/>
              </p:cNvSpPr>
              <p:nvPr userDrawn="1"/>
            </p:nvSpPr>
            <p:spPr bwMode="auto">
              <a:xfrm>
                <a:off x="6301029" y="2324555"/>
                <a:ext cx="102231" cy="102204"/>
              </a:xfrm>
              <a:prstGeom prst="ellipse">
                <a:avLst/>
              </a:prstGeom>
              <a:grpFill/>
              <a:ln>
                <a:noFill/>
              </a:ln>
              <a:effectLst/>
            </p:spPr>
            <p:txBody>
              <a:bodyPr wrap="none" anchor="ctr"/>
              <a:lstStyle/>
              <a:p>
                <a:pPr defTabSz="932110"/>
                <a:endParaRPr lang="en-US" sz="1836" dirty="0">
                  <a:solidFill>
                    <a:srgbClr val="FF0000"/>
                  </a:solidFill>
                </a:endParaRPr>
              </a:p>
            </p:txBody>
          </p:sp>
          <p:sp>
            <p:nvSpPr>
              <p:cNvPr id="468" name="Oval 360"/>
              <p:cNvSpPr>
                <a:spLocks noChangeAspect="1" noChangeArrowheads="1"/>
              </p:cNvSpPr>
              <p:nvPr userDrawn="1"/>
            </p:nvSpPr>
            <p:spPr bwMode="auto">
              <a:xfrm>
                <a:off x="6568266"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69" name="Oval 361"/>
              <p:cNvSpPr>
                <a:spLocks noChangeAspect="1" noChangeArrowheads="1"/>
              </p:cNvSpPr>
              <p:nvPr userDrawn="1"/>
            </p:nvSpPr>
            <p:spPr bwMode="auto">
              <a:xfrm>
                <a:off x="6702781"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70" name="Oval 362"/>
              <p:cNvSpPr>
                <a:spLocks noChangeAspect="1" noChangeArrowheads="1"/>
              </p:cNvSpPr>
              <p:nvPr userDrawn="1"/>
            </p:nvSpPr>
            <p:spPr bwMode="auto">
              <a:xfrm>
                <a:off x="6835503"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71" name="Oval 363"/>
              <p:cNvSpPr>
                <a:spLocks noChangeAspect="1" noChangeArrowheads="1"/>
              </p:cNvSpPr>
              <p:nvPr userDrawn="1"/>
            </p:nvSpPr>
            <p:spPr bwMode="auto">
              <a:xfrm>
                <a:off x="6970017" y="2324555"/>
                <a:ext cx="102232" cy="102204"/>
              </a:xfrm>
              <a:prstGeom prst="ellipse">
                <a:avLst/>
              </a:prstGeom>
              <a:grpFill/>
              <a:ln>
                <a:noFill/>
              </a:ln>
              <a:effectLst/>
            </p:spPr>
            <p:txBody>
              <a:bodyPr wrap="none" anchor="ctr"/>
              <a:lstStyle/>
              <a:p>
                <a:pPr defTabSz="932110"/>
                <a:endParaRPr lang="en-US" sz="1836" dirty="0">
                  <a:solidFill>
                    <a:srgbClr val="FF0000"/>
                  </a:solidFill>
                </a:endParaRPr>
              </a:p>
            </p:txBody>
          </p:sp>
          <p:sp>
            <p:nvSpPr>
              <p:cNvPr id="472" name="Oval 364"/>
              <p:cNvSpPr>
                <a:spLocks noChangeAspect="1" noChangeArrowheads="1"/>
              </p:cNvSpPr>
              <p:nvPr userDrawn="1"/>
            </p:nvSpPr>
            <p:spPr bwMode="auto">
              <a:xfrm>
                <a:off x="7102739"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73" name="Oval 365"/>
              <p:cNvSpPr>
                <a:spLocks noChangeAspect="1" noChangeArrowheads="1"/>
              </p:cNvSpPr>
              <p:nvPr userDrawn="1"/>
            </p:nvSpPr>
            <p:spPr bwMode="auto">
              <a:xfrm>
                <a:off x="7237255"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74" name="Oval 366"/>
              <p:cNvSpPr>
                <a:spLocks noChangeAspect="1" noChangeArrowheads="1"/>
              </p:cNvSpPr>
              <p:nvPr userDrawn="1"/>
            </p:nvSpPr>
            <p:spPr bwMode="auto">
              <a:xfrm>
                <a:off x="7369977"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75" name="Oval 367"/>
              <p:cNvSpPr>
                <a:spLocks noChangeAspect="1" noChangeArrowheads="1"/>
              </p:cNvSpPr>
              <p:nvPr userDrawn="1"/>
            </p:nvSpPr>
            <p:spPr bwMode="auto">
              <a:xfrm>
                <a:off x="7504491"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76" name="Oval 368"/>
              <p:cNvSpPr>
                <a:spLocks noChangeAspect="1" noChangeArrowheads="1"/>
              </p:cNvSpPr>
              <p:nvPr userDrawn="1"/>
            </p:nvSpPr>
            <p:spPr bwMode="auto">
              <a:xfrm>
                <a:off x="7637213"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77" name="Oval 369"/>
              <p:cNvSpPr>
                <a:spLocks noChangeAspect="1" noChangeArrowheads="1"/>
              </p:cNvSpPr>
              <p:nvPr userDrawn="1"/>
            </p:nvSpPr>
            <p:spPr bwMode="auto">
              <a:xfrm>
                <a:off x="7771728"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78" name="Oval 370"/>
              <p:cNvSpPr>
                <a:spLocks noChangeAspect="1" noChangeArrowheads="1"/>
              </p:cNvSpPr>
              <p:nvPr userDrawn="1"/>
            </p:nvSpPr>
            <p:spPr bwMode="auto">
              <a:xfrm>
                <a:off x="7906244"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79" name="Oval 371"/>
              <p:cNvSpPr>
                <a:spLocks noChangeAspect="1" noChangeArrowheads="1"/>
              </p:cNvSpPr>
              <p:nvPr userDrawn="1"/>
            </p:nvSpPr>
            <p:spPr bwMode="auto">
              <a:xfrm>
                <a:off x="8038965"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80" name="Oval 372"/>
              <p:cNvSpPr>
                <a:spLocks noChangeAspect="1" noChangeArrowheads="1"/>
              </p:cNvSpPr>
              <p:nvPr userDrawn="1"/>
            </p:nvSpPr>
            <p:spPr bwMode="auto">
              <a:xfrm>
                <a:off x="8173481"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81" name="Oval 373"/>
              <p:cNvSpPr>
                <a:spLocks noChangeAspect="1" noChangeArrowheads="1"/>
              </p:cNvSpPr>
              <p:nvPr userDrawn="1"/>
            </p:nvSpPr>
            <p:spPr bwMode="auto">
              <a:xfrm>
                <a:off x="8306202"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82" name="Oval 374"/>
              <p:cNvSpPr>
                <a:spLocks noChangeAspect="1" noChangeArrowheads="1"/>
              </p:cNvSpPr>
              <p:nvPr userDrawn="1"/>
            </p:nvSpPr>
            <p:spPr bwMode="auto">
              <a:xfrm>
                <a:off x="8440717"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83" name="Oval 375"/>
              <p:cNvSpPr>
                <a:spLocks noChangeAspect="1" noChangeArrowheads="1"/>
              </p:cNvSpPr>
              <p:nvPr userDrawn="1"/>
            </p:nvSpPr>
            <p:spPr bwMode="auto">
              <a:xfrm>
                <a:off x="8573438"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84" name="Oval 376"/>
              <p:cNvSpPr>
                <a:spLocks noChangeAspect="1" noChangeArrowheads="1"/>
              </p:cNvSpPr>
              <p:nvPr userDrawn="1"/>
            </p:nvSpPr>
            <p:spPr bwMode="auto">
              <a:xfrm>
                <a:off x="8707955"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85" name="Oval 377"/>
              <p:cNvSpPr>
                <a:spLocks noChangeAspect="1" noChangeArrowheads="1"/>
              </p:cNvSpPr>
              <p:nvPr userDrawn="1"/>
            </p:nvSpPr>
            <p:spPr bwMode="auto">
              <a:xfrm>
                <a:off x="8840677"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86" name="Oval 378"/>
              <p:cNvSpPr>
                <a:spLocks noChangeAspect="1" noChangeArrowheads="1"/>
              </p:cNvSpPr>
              <p:nvPr userDrawn="1"/>
            </p:nvSpPr>
            <p:spPr bwMode="auto">
              <a:xfrm>
                <a:off x="8975191"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87" name="Oval 379"/>
              <p:cNvSpPr>
                <a:spLocks noChangeAspect="1" noChangeArrowheads="1"/>
              </p:cNvSpPr>
              <p:nvPr userDrawn="1"/>
            </p:nvSpPr>
            <p:spPr bwMode="auto">
              <a:xfrm>
                <a:off x="9107912"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88" name="Oval 380"/>
              <p:cNvSpPr>
                <a:spLocks noChangeAspect="1" noChangeArrowheads="1"/>
              </p:cNvSpPr>
              <p:nvPr userDrawn="1"/>
            </p:nvSpPr>
            <p:spPr bwMode="auto">
              <a:xfrm>
                <a:off x="9242428"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89" name="Oval 381"/>
              <p:cNvSpPr>
                <a:spLocks noChangeAspect="1" noChangeArrowheads="1"/>
              </p:cNvSpPr>
              <p:nvPr userDrawn="1"/>
            </p:nvSpPr>
            <p:spPr bwMode="auto">
              <a:xfrm>
                <a:off x="9375149"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90" name="Oval 382"/>
              <p:cNvSpPr>
                <a:spLocks noChangeAspect="1" noChangeArrowheads="1"/>
              </p:cNvSpPr>
              <p:nvPr userDrawn="1"/>
            </p:nvSpPr>
            <p:spPr bwMode="auto">
              <a:xfrm>
                <a:off x="9509665"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91" name="Oval 383"/>
              <p:cNvSpPr>
                <a:spLocks noChangeAspect="1" noChangeArrowheads="1"/>
              </p:cNvSpPr>
              <p:nvPr userDrawn="1"/>
            </p:nvSpPr>
            <p:spPr bwMode="auto">
              <a:xfrm>
                <a:off x="9642387"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92" name="Oval 384"/>
              <p:cNvSpPr>
                <a:spLocks noChangeAspect="1" noChangeArrowheads="1"/>
              </p:cNvSpPr>
              <p:nvPr userDrawn="1"/>
            </p:nvSpPr>
            <p:spPr bwMode="auto">
              <a:xfrm>
                <a:off x="9776902"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93" name="Oval 385"/>
              <p:cNvSpPr>
                <a:spLocks noChangeAspect="1" noChangeArrowheads="1"/>
              </p:cNvSpPr>
              <p:nvPr userDrawn="1"/>
            </p:nvSpPr>
            <p:spPr bwMode="auto">
              <a:xfrm>
                <a:off x="9909624"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94" name="Oval 386"/>
              <p:cNvSpPr>
                <a:spLocks noChangeAspect="1" noChangeArrowheads="1"/>
              </p:cNvSpPr>
              <p:nvPr userDrawn="1"/>
            </p:nvSpPr>
            <p:spPr bwMode="auto">
              <a:xfrm>
                <a:off x="10044138"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95" name="Oval 387"/>
              <p:cNvSpPr>
                <a:spLocks noChangeAspect="1" noChangeArrowheads="1"/>
              </p:cNvSpPr>
              <p:nvPr userDrawn="1"/>
            </p:nvSpPr>
            <p:spPr bwMode="auto">
              <a:xfrm>
                <a:off x="10176859"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96" name="Oval 388"/>
              <p:cNvSpPr>
                <a:spLocks noChangeAspect="1" noChangeArrowheads="1"/>
              </p:cNvSpPr>
              <p:nvPr userDrawn="1"/>
            </p:nvSpPr>
            <p:spPr bwMode="auto">
              <a:xfrm>
                <a:off x="10311376"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97" name="Oval 389"/>
              <p:cNvSpPr>
                <a:spLocks noChangeAspect="1" noChangeArrowheads="1"/>
              </p:cNvSpPr>
              <p:nvPr userDrawn="1"/>
            </p:nvSpPr>
            <p:spPr bwMode="auto">
              <a:xfrm>
                <a:off x="10444098"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98" name="Oval 390"/>
              <p:cNvSpPr>
                <a:spLocks noChangeAspect="1" noChangeArrowheads="1"/>
              </p:cNvSpPr>
              <p:nvPr userDrawn="1"/>
            </p:nvSpPr>
            <p:spPr bwMode="auto">
              <a:xfrm>
                <a:off x="10578612"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499" name="Oval 391"/>
              <p:cNvSpPr>
                <a:spLocks noChangeAspect="1" noChangeArrowheads="1"/>
              </p:cNvSpPr>
              <p:nvPr userDrawn="1"/>
            </p:nvSpPr>
            <p:spPr bwMode="auto">
              <a:xfrm>
                <a:off x="10711334"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00" name="Oval 392"/>
              <p:cNvSpPr>
                <a:spLocks noChangeAspect="1" noChangeArrowheads="1"/>
              </p:cNvSpPr>
              <p:nvPr userDrawn="1"/>
            </p:nvSpPr>
            <p:spPr bwMode="auto">
              <a:xfrm>
                <a:off x="1223528"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01" name="Oval 393"/>
              <p:cNvSpPr>
                <a:spLocks noChangeAspect="1" noChangeArrowheads="1"/>
              </p:cNvSpPr>
              <p:nvPr userDrawn="1"/>
            </p:nvSpPr>
            <p:spPr bwMode="auto">
              <a:xfrm>
                <a:off x="1356250" y="232455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02" name="Oval 394"/>
              <p:cNvSpPr>
                <a:spLocks noChangeAspect="1" noChangeArrowheads="1"/>
              </p:cNvSpPr>
              <p:nvPr userDrawn="1"/>
            </p:nvSpPr>
            <p:spPr bwMode="auto">
              <a:xfrm>
                <a:off x="1490765"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03" name="Oval 395"/>
              <p:cNvSpPr>
                <a:spLocks noChangeAspect="1" noChangeArrowheads="1"/>
              </p:cNvSpPr>
              <p:nvPr userDrawn="1"/>
            </p:nvSpPr>
            <p:spPr bwMode="auto">
              <a:xfrm>
                <a:off x="1623487" y="232455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04" name="Oval 396"/>
              <p:cNvSpPr>
                <a:spLocks noChangeAspect="1" noChangeArrowheads="1"/>
              </p:cNvSpPr>
              <p:nvPr userDrawn="1"/>
            </p:nvSpPr>
            <p:spPr bwMode="auto">
              <a:xfrm>
                <a:off x="2157961"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05" name="Oval 397"/>
              <p:cNvSpPr>
                <a:spLocks noChangeAspect="1" noChangeArrowheads="1"/>
              </p:cNvSpPr>
              <p:nvPr userDrawn="1"/>
            </p:nvSpPr>
            <p:spPr bwMode="auto">
              <a:xfrm>
                <a:off x="2292475" y="244827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06" name="Oval 398"/>
              <p:cNvSpPr>
                <a:spLocks noChangeAspect="1" noChangeArrowheads="1"/>
              </p:cNvSpPr>
              <p:nvPr userDrawn="1"/>
            </p:nvSpPr>
            <p:spPr bwMode="auto">
              <a:xfrm>
                <a:off x="2425197" y="244827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07" name="Oval 399"/>
              <p:cNvSpPr>
                <a:spLocks noChangeAspect="1" noChangeArrowheads="1"/>
              </p:cNvSpPr>
              <p:nvPr userDrawn="1"/>
            </p:nvSpPr>
            <p:spPr bwMode="auto">
              <a:xfrm>
                <a:off x="2559713"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08" name="Oval 400"/>
              <p:cNvSpPr>
                <a:spLocks noChangeAspect="1" noChangeArrowheads="1"/>
              </p:cNvSpPr>
              <p:nvPr userDrawn="1"/>
            </p:nvSpPr>
            <p:spPr bwMode="auto">
              <a:xfrm>
                <a:off x="2692435"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09" name="Oval 401"/>
              <p:cNvSpPr>
                <a:spLocks noChangeAspect="1" noChangeArrowheads="1"/>
              </p:cNvSpPr>
              <p:nvPr userDrawn="1"/>
            </p:nvSpPr>
            <p:spPr bwMode="auto">
              <a:xfrm>
                <a:off x="2826949" y="244827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10" name="Oval 402"/>
              <p:cNvSpPr>
                <a:spLocks noChangeAspect="1" noChangeArrowheads="1"/>
              </p:cNvSpPr>
              <p:nvPr userDrawn="1"/>
            </p:nvSpPr>
            <p:spPr bwMode="auto">
              <a:xfrm>
                <a:off x="2959671" y="244827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11" name="Oval 403"/>
              <p:cNvSpPr>
                <a:spLocks noChangeAspect="1" noChangeArrowheads="1"/>
              </p:cNvSpPr>
              <p:nvPr userDrawn="1"/>
            </p:nvSpPr>
            <p:spPr bwMode="auto">
              <a:xfrm>
                <a:off x="3094186"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12" name="Oval 404"/>
              <p:cNvSpPr>
                <a:spLocks noChangeAspect="1" noChangeArrowheads="1"/>
              </p:cNvSpPr>
              <p:nvPr userDrawn="1"/>
            </p:nvSpPr>
            <p:spPr bwMode="auto">
              <a:xfrm>
                <a:off x="3226908"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13" name="Oval 405"/>
              <p:cNvSpPr>
                <a:spLocks noChangeAspect="1" noChangeArrowheads="1"/>
              </p:cNvSpPr>
              <p:nvPr userDrawn="1"/>
            </p:nvSpPr>
            <p:spPr bwMode="auto">
              <a:xfrm>
                <a:off x="3761382"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14" name="Oval 406"/>
              <p:cNvSpPr>
                <a:spLocks noChangeAspect="1" noChangeArrowheads="1"/>
              </p:cNvSpPr>
              <p:nvPr userDrawn="1"/>
            </p:nvSpPr>
            <p:spPr bwMode="auto">
              <a:xfrm>
                <a:off x="3895896" y="244827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15" name="Oval 407"/>
              <p:cNvSpPr>
                <a:spLocks noChangeAspect="1" noChangeArrowheads="1"/>
              </p:cNvSpPr>
              <p:nvPr userDrawn="1"/>
            </p:nvSpPr>
            <p:spPr bwMode="auto">
              <a:xfrm>
                <a:off x="4028618" y="244827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16" name="Oval 408"/>
              <p:cNvSpPr>
                <a:spLocks noChangeAspect="1" noChangeArrowheads="1"/>
              </p:cNvSpPr>
              <p:nvPr userDrawn="1"/>
            </p:nvSpPr>
            <p:spPr bwMode="auto">
              <a:xfrm>
                <a:off x="5766556" y="2448276"/>
                <a:ext cx="102231" cy="102205"/>
              </a:xfrm>
              <a:prstGeom prst="ellipse">
                <a:avLst/>
              </a:prstGeom>
              <a:grpFill/>
              <a:ln>
                <a:noFill/>
              </a:ln>
              <a:effectLst/>
            </p:spPr>
            <p:txBody>
              <a:bodyPr wrap="none" anchor="ctr"/>
              <a:lstStyle/>
              <a:p>
                <a:pPr defTabSz="932110"/>
                <a:endParaRPr lang="en-US" sz="1836" dirty="0">
                  <a:solidFill>
                    <a:srgbClr val="FF0000"/>
                  </a:solidFill>
                </a:endParaRPr>
              </a:p>
            </p:txBody>
          </p:sp>
          <p:sp>
            <p:nvSpPr>
              <p:cNvPr id="517" name="Oval 409"/>
              <p:cNvSpPr>
                <a:spLocks noChangeAspect="1" noChangeArrowheads="1"/>
              </p:cNvSpPr>
              <p:nvPr userDrawn="1"/>
            </p:nvSpPr>
            <p:spPr bwMode="auto">
              <a:xfrm>
                <a:off x="6033792" y="244827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18" name="Oval 410"/>
              <p:cNvSpPr>
                <a:spLocks noChangeAspect="1" noChangeArrowheads="1"/>
              </p:cNvSpPr>
              <p:nvPr userDrawn="1"/>
            </p:nvSpPr>
            <p:spPr bwMode="auto">
              <a:xfrm>
                <a:off x="6168307"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19" name="Oval 411"/>
              <p:cNvSpPr>
                <a:spLocks noChangeAspect="1" noChangeArrowheads="1"/>
              </p:cNvSpPr>
              <p:nvPr userDrawn="1"/>
            </p:nvSpPr>
            <p:spPr bwMode="auto">
              <a:xfrm>
                <a:off x="6301029"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20" name="Oval 412"/>
              <p:cNvSpPr>
                <a:spLocks noChangeAspect="1" noChangeArrowheads="1"/>
              </p:cNvSpPr>
              <p:nvPr userDrawn="1"/>
            </p:nvSpPr>
            <p:spPr bwMode="auto">
              <a:xfrm>
                <a:off x="6568266" y="244827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21" name="Oval 413"/>
              <p:cNvSpPr>
                <a:spLocks noChangeAspect="1" noChangeArrowheads="1"/>
              </p:cNvSpPr>
              <p:nvPr userDrawn="1"/>
            </p:nvSpPr>
            <p:spPr bwMode="auto">
              <a:xfrm>
                <a:off x="6702781"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22" name="Oval 414"/>
              <p:cNvSpPr>
                <a:spLocks noChangeAspect="1" noChangeArrowheads="1"/>
              </p:cNvSpPr>
              <p:nvPr userDrawn="1"/>
            </p:nvSpPr>
            <p:spPr bwMode="auto">
              <a:xfrm>
                <a:off x="6835503"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23" name="Oval 415"/>
              <p:cNvSpPr>
                <a:spLocks noChangeAspect="1" noChangeArrowheads="1"/>
              </p:cNvSpPr>
              <p:nvPr userDrawn="1"/>
            </p:nvSpPr>
            <p:spPr bwMode="auto">
              <a:xfrm>
                <a:off x="6970017" y="244827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24" name="Oval 416"/>
              <p:cNvSpPr>
                <a:spLocks noChangeAspect="1" noChangeArrowheads="1"/>
              </p:cNvSpPr>
              <p:nvPr userDrawn="1"/>
            </p:nvSpPr>
            <p:spPr bwMode="auto">
              <a:xfrm>
                <a:off x="7102739" y="244827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25" name="Oval 417"/>
              <p:cNvSpPr>
                <a:spLocks noChangeAspect="1" noChangeArrowheads="1"/>
              </p:cNvSpPr>
              <p:nvPr userDrawn="1"/>
            </p:nvSpPr>
            <p:spPr bwMode="auto">
              <a:xfrm>
                <a:off x="7237255"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26" name="Oval 418"/>
              <p:cNvSpPr>
                <a:spLocks noChangeAspect="1" noChangeArrowheads="1"/>
              </p:cNvSpPr>
              <p:nvPr userDrawn="1"/>
            </p:nvSpPr>
            <p:spPr bwMode="auto">
              <a:xfrm>
                <a:off x="7369977"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27" name="Oval 419"/>
              <p:cNvSpPr>
                <a:spLocks noChangeAspect="1" noChangeArrowheads="1"/>
              </p:cNvSpPr>
              <p:nvPr userDrawn="1"/>
            </p:nvSpPr>
            <p:spPr bwMode="auto">
              <a:xfrm>
                <a:off x="7504491" y="244827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28" name="Oval 420"/>
              <p:cNvSpPr>
                <a:spLocks noChangeAspect="1" noChangeArrowheads="1"/>
              </p:cNvSpPr>
              <p:nvPr userDrawn="1"/>
            </p:nvSpPr>
            <p:spPr bwMode="auto">
              <a:xfrm>
                <a:off x="7637213" y="244827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29" name="Oval 421"/>
              <p:cNvSpPr>
                <a:spLocks noChangeAspect="1" noChangeArrowheads="1"/>
              </p:cNvSpPr>
              <p:nvPr userDrawn="1"/>
            </p:nvSpPr>
            <p:spPr bwMode="auto">
              <a:xfrm>
                <a:off x="7771728"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30" name="Oval 422"/>
              <p:cNvSpPr>
                <a:spLocks noChangeAspect="1" noChangeArrowheads="1"/>
              </p:cNvSpPr>
              <p:nvPr userDrawn="1"/>
            </p:nvSpPr>
            <p:spPr bwMode="auto">
              <a:xfrm>
                <a:off x="7906244" y="244827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31" name="Oval 423"/>
              <p:cNvSpPr>
                <a:spLocks noChangeAspect="1" noChangeArrowheads="1"/>
              </p:cNvSpPr>
              <p:nvPr userDrawn="1"/>
            </p:nvSpPr>
            <p:spPr bwMode="auto">
              <a:xfrm>
                <a:off x="8038965" y="244827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32" name="Oval 424"/>
              <p:cNvSpPr>
                <a:spLocks noChangeAspect="1" noChangeArrowheads="1"/>
              </p:cNvSpPr>
              <p:nvPr userDrawn="1"/>
            </p:nvSpPr>
            <p:spPr bwMode="auto">
              <a:xfrm>
                <a:off x="8173481"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33" name="Oval 425"/>
              <p:cNvSpPr>
                <a:spLocks noChangeAspect="1" noChangeArrowheads="1"/>
              </p:cNvSpPr>
              <p:nvPr userDrawn="1"/>
            </p:nvSpPr>
            <p:spPr bwMode="auto">
              <a:xfrm>
                <a:off x="8306202"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34" name="Oval 426"/>
              <p:cNvSpPr>
                <a:spLocks noChangeAspect="1" noChangeArrowheads="1"/>
              </p:cNvSpPr>
              <p:nvPr userDrawn="1"/>
            </p:nvSpPr>
            <p:spPr bwMode="auto">
              <a:xfrm>
                <a:off x="8440717" y="244827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35" name="Oval 427"/>
              <p:cNvSpPr>
                <a:spLocks noChangeAspect="1" noChangeArrowheads="1"/>
              </p:cNvSpPr>
              <p:nvPr userDrawn="1"/>
            </p:nvSpPr>
            <p:spPr bwMode="auto">
              <a:xfrm>
                <a:off x="8573438" y="244827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36" name="Oval 428"/>
              <p:cNvSpPr>
                <a:spLocks noChangeAspect="1" noChangeArrowheads="1"/>
              </p:cNvSpPr>
              <p:nvPr userDrawn="1"/>
            </p:nvSpPr>
            <p:spPr bwMode="auto">
              <a:xfrm>
                <a:off x="8707955"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37" name="Oval 429"/>
              <p:cNvSpPr>
                <a:spLocks noChangeAspect="1" noChangeArrowheads="1"/>
              </p:cNvSpPr>
              <p:nvPr userDrawn="1"/>
            </p:nvSpPr>
            <p:spPr bwMode="auto">
              <a:xfrm>
                <a:off x="8840677"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38" name="Oval 430"/>
              <p:cNvSpPr>
                <a:spLocks noChangeAspect="1" noChangeArrowheads="1"/>
              </p:cNvSpPr>
              <p:nvPr userDrawn="1"/>
            </p:nvSpPr>
            <p:spPr bwMode="auto">
              <a:xfrm>
                <a:off x="8975191" y="244827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39" name="Oval 431"/>
              <p:cNvSpPr>
                <a:spLocks noChangeAspect="1" noChangeArrowheads="1"/>
              </p:cNvSpPr>
              <p:nvPr userDrawn="1"/>
            </p:nvSpPr>
            <p:spPr bwMode="auto">
              <a:xfrm>
                <a:off x="9107912" y="244827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40" name="Oval 432"/>
              <p:cNvSpPr>
                <a:spLocks noChangeAspect="1" noChangeArrowheads="1"/>
              </p:cNvSpPr>
              <p:nvPr userDrawn="1"/>
            </p:nvSpPr>
            <p:spPr bwMode="auto">
              <a:xfrm>
                <a:off x="9242428"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41" name="Oval 433"/>
              <p:cNvSpPr>
                <a:spLocks noChangeAspect="1" noChangeArrowheads="1"/>
              </p:cNvSpPr>
              <p:nvPr userDrawn="1"/>
            </p:nvSpPr>
            <p:spPr bwMode="auto">
              <a:xfrm>
                <a:off x="9375149"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42" name="Oval 434"/>
              <p:cNvSpPr>
                <a:spLocks noChangeAspect="1" noChangeArrowheads="1"/>
              </p:cNvSpPr>
              <p:nvPr userDrawn="1"/>
            </p:nvSpPr>
            <p:spPr bwMode="auto">
              <a:xfrm>
                <a:off x="9509665" y="244827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43" name="Oval 435"/>
              <p:cNvSpPr>
                <a:spLocks noChangeAspect="1" noChangeArrowheads="1"/>
              </p:cNvSpPr>
              <p:nvPr userDrawn="1"/>
            </p:nvSpPr>
            <p:spPr bwMode="auto">
              <a:xfrm>
                <a:off x="9642387" y="244827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44" name="Oval 436"/>
              <p:cNvSpPr>
                <a:spLocks noChangeAspect="1" noChangeArrowheads="1"/>
              </p:cNvSpPr>
              <p:nvPr userDrawn="1"/>
            </p:nvSpPr>
            <p:spPr bwMode="auto">
              <a:xfrm>
                <a:off x="9776902"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45" name="Oval 437"/>
              <p:cNvSpPr>
                <a:spLocks noChangeAspect="1" noChangeArrowheads="1"/>
              </p:cNvSpPr>
              <p:nvPr userDrawn="1"/>
            </p:nvSpPr>
            <p:spPr bwMode="auto">
              <a:xfrm>
                <a:off x="10311376"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46" name="Oval 438"/>
              <p:cNvSpPr>
                <a:spLocks noChangeAspect="1" noChangeArrowheads="1"/>
              </p:cNvSpPr>
              <p:nvPr userDrawn="1"/>
            </p:nvSpPr>
            <p:spPr bwMode="auto">
              <a:xfrm>
                <a:off x="10444098"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47" name="Oval 439"/>
              <p:cNvSpPr>
                <a:spLocks noChangeAspect="1" noChangeArrowheads="1"/>
              </p:cNvSpPr>
              <p:nvPr userDrawn="1"/>
            </p:nvSpPr>
            <p:spPr bwMode="auto">
              <a:xfrm>
                <a:off x="1356250" y="244827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48" name="Oval 440"/>
              <p:cNvSpPr>
                <a:spLocks noChangeAspect="1" noChangeArrowheads="1"/>
              </p:cNvSpPr>
              <p:nvPr userDrawn="1"/>
            </p:nvSpPr>
            <p:spPr bwMode="auto">
              <a:xfrm>
                <a:off x="1490765"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49" name="Oval 441"/>
              <p:cNvSpPr>
                <a:spLocks noChangeAspect="1" noChangeArrowheads="1"/>
              </p:cNvSpPr>
              <p:nvPr userDrawn="1"/>
            </p:nvSpPr>
            <p:spPr bwMode="auto">
              <a:xfrm>
                <a:off x="1623487" y="244827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50" name="Oval 442"/>
              <p:cNvSpPr>
                <a:spLocks noChangeAspect="1" noChangeArrowheads="1"/>
              </p:cNvSpPr>
              <p:nvPr userDrawn="1"/>
            </p:nvSpPr>
            <p:spPr bwMode="auto">
              <a:xfrm>
                <a:off x="2157961" y="2570205"/>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51" name="Oval 443"/>
              <p:cNvSpPr>
                <a:spLocks noChangeAspect="1" noChangeArrowheads="1"/>
              </p:cNvSpPr>
              <p:nvPr userDrawn="1"/>
            </p:nvSpPr>
            <p:spPr bwMode="auto">
              <a:xfrm>
                <a:off x="2292475" y="2570205"/>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52" name="Oval 444"/>
              <p:cNvSpPr>
                <a:spLocks noChangeAspect="1" noChangeArrowheads="1"/>
              </p:cNvSpPr>
              <p:nvPr userDrawn="1"/>
            </p:nvSpPr>
            <p:spPr bwMode="auto">
              <a:xfrm>
                <a:off x="2425197" y="2570205"/>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53" name="Oval 445"/>
              <p:cNvSpPr>
                <a:spLocks noChangeAspect="1" noChangeArrowheads="1"/>
              </p:cNvSpPr>
              <p:nvPr userDrawn="1"/>
            </p:nvSpPr>
            <p:spPr bwMode="auto">
              <a:xfrm>
                <a:off x="2559713" y="2570205"/>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54" name="Oval 446"/>
              <p:cNvSpPr>
                <a:spLocks noChangeAspect="1" noChangeArrowheads="1"/>
              </p:cNvSpPr>
              <p:nvPr userDrawn="1"/>
            </p:nvSpPr>
            <p:spPr bwMode="auto">
              <a:xfrm>
                <a:off x="2692435" y="2570205"/>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55" name="Oval 447"/>
              <p:cNvSpPr>
                <a:spLocks noChangeAspect="1" noChangeArrowheads="1"/>
              </p:cNvSpPr>
              <p:nvPr userDrawn="1"/>
            </p:nvSpPr>
            <p:spPr bwMode="auto">
              <a:xfrm>
                <a:off x="2826949" y="2570205"/>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56" name="Oval 448"/>
              <p:cNvSpPr>
                <a:spLocks noChangeAspect="1" noChangeArrowheads="1"/>
              </p:cNvSpPr>
              <p:nvPr userDrawn="1"/>
            </p:nvSpPr>
            <p:spPr bwMode="auto">
              <a:xfrm>
                <a:off x="2959671" y="2570205"/>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57" name="Oval 449"/>
              <p:cNvSpPr>
                <a:spLocks noChangeAspect="1" noChangeArrowheads="1"/>
              </p:cNvSpPr>
              <p:nvPr userDrawn="1"/>
            </p:nvSpPr>
            <p:spPr bwMode="auto">
              <a:xfrm>
                <a:off x="3094186" y="2570205"/>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58" name="Oval 450"/>
              <p:cNvSpPr>
                <a:spLocks noChangeAspect="1" noChangeArrowheads="1"/>
              </p:cNvSpPr>
              <p:nvPr userDrawn="1"/>
            </p:nvSpPr>
            <p:spPr bwMode="auto">
              <a:xfrm>
                <a:off x="3226908" y="2570205"/>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59" name="Oval 451"/>
              <p:cNvSpPr>
                <a:spLocks noChangeAspect="1" noChangeArrowheads="1"/>
              </p:cNvSpPr>
              <p:nvPr userDrawn="1"/>
            </p:nvSpPr>
            <p:spPr bwMode="auto">
              <a:xfrm>
                <a:off x="3361423" y="2570205"/>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60" name="Oval 452"/>
              <p:cNvSpPr>
                <a:spLocks noChangeAspect="1" noChangeArrowheads="1"/>
              </p:cNvSpPr>
              <p:nvPr userDrawn="1"/>
            </p:nvSpPr>
            <p:spPr bwMode="auto">
              <a:xfrm>
                <a:off x="3761382" y="2570205"/>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61" name="Oval 453"/>
              <p:cNvSpPr>
                <a:spLocks noChangeAspect="1" noChangeArrowheads="1"/>
              </p:cNvSpPr>
              <p:nvPr userDrawn="1"/>
            </p:nvSpPr>
            <p:spPr bwMode="auto">
              <a:xfrm>
                <a:off x="3895896" y="2570205"/>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62" name="Oval 454"/>
              <p:cNvSpPr>
                <a:spLocks noChangeAspect="1" noChangeArrowheads="1"/>
              </p:cNvSpPr>
              <p:nvPr userDrawn="1"/>
            </p:nvSpPr>
            <p:spPr bwMode="auto">
              <a:xfrm>
                <a:off x="4028618" y="2570205"/>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63" name="Oval 455"/>
              <p:cNvSpPr>
                <a:spLocks noChangeAspect="1" noChangeArrowheads="1"/>
              </p:cNvSpPr>
              <p:nvPr userDrawn="1"/>
            </p:nvSpPr>
            <p:spPr bwMode="auto">
              <a:xfrm>
                <a:off x="4163135" y="2570205"/>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64" name="Oval 456"/>
              <p:cNvSpPr>
                <a:spLocks noChangeAspect="1" noChangeArrowheads="1"/>
              </p:cNvSpPr>
              <p:nvPr userDrawn="1"/>
            </p:nvSpPr>
            <p:spPr bwMode="auto">
              <a:xfrm>
                <a:off x="5766556" y="2570205"/>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65" name="Oval 457"/>
              <p:cNvSpPr>
                <a:spLocks noChangeAspect="1" noChangeArrowheads="1"/>
              </p:cNvSpPr>
              <p:nvPr userDrawn="1"/>
            </p:nvSpPr>
            <p:spPr bwMode="auto">
              <a:xfrm>
                <a:off x="6168307" y="2570205"/>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66" name="Oval 458"/>
              <p:cNvSpPr>
                <a:spLocks noChangeAspect="1" noChangeArrowheads="1"/>
              </p:cNvSpPr>
              <p:nvPr userDrawn="1"/>
            </p:nvSpPr>
            <p:spPr bwMode="auto">
              <a:xfrm>
                <a:off x="6568266" y="2570205"/>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67" name="Oval 459"/>
              <p:cNvSpPr>
                <a:spLocks noChangeAspect="1" noChangeArrowheads="1"/>
              </p:cNvSpPr>
              <p:nvPr userDrawn="1"/>
            </p:nvSpPr>
            <p:spPr bwMode="auto">
              <a:xfrm>
                <a:off x="6702781" y="2570205"/>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68" name="Oval 460"/>
              <p:cNvSpPr>
                <a:spLocks noChangeAspect="1" noChangeArrowheads="1"/>
              </p:cNvSpPr>
              <p:nvPr userDrawn="1"/>
            </p:nvSpPr>
            <p:spPr bwMode="auto">
              <a:xfrm>
                <a:off x="6835503" y="2570205"/>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69" name="Oval 461"/>
              <p:cNvSpPr>
                <a:spLocks noChangeAspect="1" noChangeArrowheads="1"/>
              </p:cNvSpPr>
              <p:nvPr userDrawn="1"/>
            </p:nvSpPr>
            <p:spPr bwMode="auto">
              <a:xfrm>
                <a:off x="6970017" y="2570205"/>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70" name="Oval 462"/>
              <p:cNvSpPr>
                <a:spLocks noChangeAspect="1" noChangeArrowheads="1"/>
              </p:cNvSpPr>
              <p:nvPr userDrawn="1"/>
            </p:nvSpPr>
            <p:spPr bwMode="auto">
              <a:xfrm>
                <a:off x="7102739" y="2570205"/>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71" name="Oval 463"/>
              <p:cNvSpPr>
                <a:spLocks noChangeAspect="1" noChangeArrowheads="1"/>
              </p:cNvSpPr>
              <p:nvPr userDrawn="1"/>
            </p:nvSpPr>
            <p:spPr bwMode="auto">
              <a:xfrm>
                <a:off x="7237255" y="2570205"/>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72" name="Oval 464"/>
              <p:cNvSpPr>
                <a:spLocks noChangeAspect="1" noChangeArrowheads="1"/>
              </p:cNvSpPr>
              <p:nvPr userDrawn="1"/>
            </p:nvSpPr>
            <p:spPr bwMode="auto">
              <a:xfrm>
                <a:off x="7369977" y="2570205"/>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73" name="Oval 465"/>
              <p:cNvSpPr>
                <a:spLocks noChangeAspect="1" noChangeArrowheads="1"/>
              </p:cNvSpPr>
              <p:nvPr userDrawn="1"/>
            </p:nvSpPr>
            <p:spPr bwMode="auto">
              <a:xfrm>
                <a:off x="7504491" y="2570205"/>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74" name="Oval 466"/>
              <p:cNvSpPr>
                <a:spLocks noChangeAspect="1" noChangeArrowheads="1"/>
              </p:cNvSpPr>
              <p:nvPr userDrawn="1"/>
            </p:nvSpPr>
            <p:spPr bwMode="auto">
              <a:xfrm>
                <a:off x="7637213" y="2570205"/>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75" name="Oval 467"/>
              <p:cNvSpPr>
                <a:spLocks noChangeAspect="1" noChangeArrowheads="1"/>
              </p:cNvSpPr>
              <p:nvPr userDrawn="1"/>
            </p:nvSpPr>
            <p:spPr bwMode="auto">
              <a:xfrm>
                <a:off x="7771728" y="2570205"/>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76" name="Oval 468"/>
              <p:cNvSpPr>
                <a:spLocks noChangeAspect="1" noChangeArrowheads="1"/>
              </p:cNvSpPr>
              <p:nvPr userDrawn="1"/>
            </p:nvSpPr>
            <p:spPr bwMode="auto">
              <a:xfrm>
                <a:off x="7906244" y="2570205"/>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77" name="Oval 469"/>
              <p:cNvSpPr>
                <a:spLocks noChangeAspect="1" noChangeArrowheads="1"/>
              </p:cNvSpPr>
              <p:nvPr userDrawn="1"/>
            </p:nvSpPr>
            <p:spPr bwMode="auto">
              <a:xfrm>
                <a:off x="8038965" y="2570205"/>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78" name="Oval 470"/>
              <p:cNvSpPr>
                <a:spLocks noChangeAspect="1" noChangeArrowheads="1"/>
              </p:cNvSpPr>
              <p:nvPr userDrawn="1"/>
            </p:nvSpPr>
            <p:spPr bwMode="auto">
              <a:xfrm>
                <a:off x="8173481" y="2570205"/>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79" name="Oval 471"/>
              <p:cNvSpPr>
                <a:spLocks noChangeAspect="1" noChangeArrowheads="1"/>
              </p:cNvSpPr>
              <p:nvPr userDrawn="1"/>
            </p:nvSpPr>
            <p:spPr bwMode="auto">
              <a:xfrm>
                <a:off x="8306202" y="2570205"/>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80" name="Oval 472"/>
              <p:cNvSpPr>
                <a:spLocks noChangeAspect="1" noChangeArrowheads="1"/>
              </p:cNvSpPr>
              <p:nvPr userDrawn="1"/>
            </p:nvSpPr>
            <p:spPr bwMode="auto">
              <a:xfrm>
                <a:off x="8440717" y="2570205"/>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81" name="Oval 473"/>
              <p:cNvSpPr>
                <a:spLocks noChangeAspect="1" noChangeArrowheads="1"/>
              </p:cNvSpPr>
              <p:nvPr userDrawn="1"/>
            </p:nvSpPr>
            <p:spPr bwMode="auto">
              <a:xfrm>
                <a:off x="8573438" y="2570205"/>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82" name="Oval 474"/>
              <p:cNvSpPr>
                <a:spLocks noChangeAspect="1" noChangeArrowheads="1"/>
              </p:cNvSpPr>
              <p:nvPr userDrawn="1"/>
            </p:nvSpPr>
            <p:spPr bwMode="auto">
              <a:xfrm>
                <a:off x="8707955" y="2570205"/>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83" name="Oval 475"/>
              <p:cNvSpPr>
                <a:spLocks noChangeAspect="1" noChangeArrowheads="1"/>
              </p:cNvSpPr>
              <p:nvPr userDrawn="1"/>
            </p:nvSpPr>
            <p:spPr bwMode="auto">
              <a:xfrm>
                <a:off x="8840677" y="2570205"/>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84" name="Oval 476"/>
              <p:cNvSpPr>
                <a:spLocks noChangeAspect="1" noChangeArrowheads="1"/>
              </p:cNvSpPr>
              <p:nvPr userDrawn="1"/>
            </p:nvSpPr>
            <p:spPr bwMode="auto">
              <a:xfrm>
                <a:off x="8975191" y="2570205"/>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85" name="Oval 477"/>
              <p:cNvSpPr>
                <a:spLocks noChangeAspect="1" noChangeArrowheads="1"/>
              </p:cNvSpPr>
              <p:nvPr userDrawn="1"/>
            </p:nvSpPr>
            <p:spPr bwMode="auto">
              <a:xfrm>
                <a:off x="9107912" y="2570205"/>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86" name="Oval 478"/>
              <p:cNvSpPr>
                <a:spLocks noChangeAspect="1" noChangeArrowheads="1"/>
              </p:cNvSpPr>
              <p:nvPr userDrawn="1"/>
            </p:nvSpPr>
            <p:spPr bwMode="auto">
              <a:xfrm>
                <a:off x="9242428" y="2570205"/>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87" name="Oval 479"/>
              <p:cNvSpPr>
                <a:spLocks noChangeAspect="1" noChangeArrowheads="1"/>
              </p:cNvSpPr>
              <p:nvPr userDrawn="1"/>
            </p:nvSpPr>
            <p:spPr bwMode="auto">
              <a:xfrm>
                <a:off x="9375149" y="2570205"/>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88" name="Oval 480"/>
              <p:cNvSpPr>
                <a:spLocks noChangeAspect="1" noChangeArrowheads="1"/>
              </p:cNvSpPr>
              <p:nvPr userDrawn="1"/>
            </p:nvSpPr>
            <p:spPr bwMode="auto">
              <a:xfrm>
                <a:off x="9509665" y="2570205"/>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89" name="Oval 481"/>
              <p:cNvSpPr>
                <a:spLocks noChangeAspect="1" noChangeArrowheads="1"/>
              </p:cNvSpPr>
              <p:nvPr userDrawn="1"/>
            </p:nvSpPr>
            <p:spPr bwMode="auto">
              <a:xfrm>
                <a:off x="9642387" y="2570205"/>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90" name="Oval 482"/>
              <p:cNvSpPr>
                <a:spLocks noChangeAspect="1" noChangeArrowheads="1"/>
              </p:cNvSpPr>
              <p:nvPr userDrawn="1"/>
            </p:nvSpPr>
            <p:spPr bwMode="auto">
              <a:xfrm>
                <a:off x="10311376" y="2570205"/>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91" name="Oval 483"/>
              <p:cNvSpPr>
                <a:spLocks noChangeAspect="1" noChangeArrowheads="1"/>
              </p:cNvSpPr>
              <p:nvPr userDrawn="1"/>
            </p:nvSpPr>
            <p:spPr bwMode="auto">
              <a:xfrm>
                <a:off x="10444098" y="2570205"/>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92" name="Oval 484"/>
              <p:cNvSpPr>
                <a:spLocks noChangeAspect="1" noChangeArrowheads="1"/>
              </p:cNvSpPr>
              <p:nvPr userDrawn="1"/>
            </p:nvSpPr>
            <p:spPr bwMode="auto">
              <a:xfrm>
                <a:off x="1356250" y="2570205"/>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93" name="Oval 485"/>
              <p:cNvSpPr>
                <a:spLocks noChangeAspect="1" noChangeArrowheads="1"/>
              </p:cNvSpPr>
              <p:nvPr userDrawn="1"/>
            </p:nvSpPr>
            <p:spPr bwMode="auto">
              <a:xfrm>
                <a:off x="2157961"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94" name="Oval 486"/>
              <p:cNvSpPr>
                <a:spLocks noChangeAspect="1" noChangeArrowheads="1"/>
              </p:cNvSpPr>
              <p:nvPr userDrawn="1"/>
            </p:nvSpPr>
            <p:spPr bwMode="auto">
              <a:xfrm>
                <a:off x="2292475" y="269392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95" name="Oval 487"/>
              <p:cNvSpPr>
                <a:spLocks noChangeAspect="1" noChangeArrowheads="1"/>
              </p:cNvSpPr>
              <p:nvPr userDrawn="1"/>
            </p:nvSpPr>
            <p:spPr bwMode="auto">
              <a:xfrm>
                <a:off x="2425197" y="269392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96" name="Oval 488"/>
              <p:cNvSpPr>
                <a:spLocks noChangeAspect="1" noChangeArrowheads="1"/>
              </p:cNvSpPr>
              <p:nvPr userDrawn="1"/>
            </p:nvSpPr>
            <p:spPr bwMode="auto">
              <a:xfrm>
                <a:off x="2559713"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97" name="Oval 489"/>
              <p:cNvSpPr>
                <a:spLocks noChangeAspect="1" noChangeArrowheads="1"/>
              </p:cNvSpPr>
              <p:nvPr userDrawn="1"/>
            </p:nvSpPr>
            <p:spPr bwMode="auto">
              <a:xfrm>
                <a:off x="2692435"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98" name="Oval 490"/>
              <p:cNvSpPr>
                <a:spLocks noChangeAspect="1" noChangeArrowheads="1"/>
              </p:cNvSpPr>
              <p:nvPr userDrawn="1"/>
            </p:nvSpPr>
            <p:spPr bwMode="auto">
              <a:xfrm>
                <a:off x="2826949" y="269392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599" name="Oval 491"/>
              <p:cNvSpPr>
                <a:spLocks noChangeAspect="1" noChangeArrowheads="1"/>
              </p:cNvSpPr>
              <p:nvPr userDrawn="1"/>
            </p:nvSpPr>
            <p:spPr bwMode="auto">
              <a:xfrm>
                <a:off x="2959671" y="269392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00" name="Oval 492"/>
              <p:cNvSpPr>
                <a:spLocks noChangeAspect="1" noChangeArrowheads="1"/>
              </p:cNvSpPr>
              <p:nvPr userDrawn="1"/>
            </p:nvSpPr>
            <p:spPr bwMode="auto">
              <a:xfrm>
                <a:off x="3094186"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01" name="Oval 493"/>
              <p:cNvSpPr>
                <a:spLocks noChangeAspect="1" noChangeArrowheads="1"/>
              </p:cNvSpPr>
              <p:nvPr userDrawn="1"/>
            </p:nvSpPr>
            <p:spPr bwMode="auto">
              <a:xfrm>
                <a:off x="3226908"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02" name="Oval 494"/>
              <p:cNvSpPr>
                <a:spLocks noChangeAspect="1" noChangeArrowheads="1"/>
              </p:cNvSpPr>
              <p:nvPr userDrawn="1"/>
            </p:nvSpPr>
            <p:spPr bwMode="auto">
              <a:xfrm>
                <a:off x="3361423" y="269392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03" name="Oval 495"/>
              <p:cNvSpPr>
                <a:spLocks noChangeAspect="1" noChangeArrowheads="1"/>
              </p:cNvSpPr>
              <p:nvPr userDrawn="1"/>
            </p:nvSpPr>
            <p:spPr bwMode="auto">
              <a:xfrm>
                <a:off x="3494145" y="269392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04" name="Oval 496"/>
              <p:cNvSpPr>
                <a:spLocks noChangeAspect="1" noChangeArrowheads="1"/>
              </p:cNvSpPr>
              <p:nvPr userDrawn="1"/>
            </p:nvSpPr>
            <p:spPr bwMode="auto">
              <a:xfrm>
                <a:off x="3628660"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05" name="Oval 497"/>
              <p:cNvSpPr>
                <a:spLocks noChangeAspect="1" noChangeArrowheads="1"/>
              </p:cNvSpPr>
              <p:nvPr userDrawn="1"/>
            </p:nvSpPr>
            <p:spPr bwMode="auto">
              <a:xfrm>
                <a:off x="3761382"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06" name="Oval 498"/>
              <p:cNvSpPr>
                <a:spLocks noChangeAspect="1" noChangeArrowheads="1"/>
              </p:cNvSpPr>
              <p:nvPr userDrawn="1"/>
            </p:nvSpPr>
            <p:spPr bwMode="auto">
              <a:xfrm>
                <a:off x="3895896" y="269392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07" name="Oval 499"/>
              <p:cNvSpPr>
                <a:spLocks noChangeAspect="1" noChangeArrowheads="1"/>
              </p:cNvSpPr>
              <p:nvPr userDrawn="1"/>
            </p:nvSpPr>
            <p:spPr bwMode="auto">
              <a:xfrm>
                <a:off x="4028618" y="269392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08" name="Oval 500"/>
              <p:cNvSpPr>
                <a:spLocks noChangeAspect="1" noChangeArrowheads="1"/>
              </p:cNvSpPr>
              <p:nvPr userDrawn="1"/>
            </p:nvSpPr>
            <p:spPr bwMode="auto">
              <a:xfrm>
                <a:off x="4163135"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09" name="Oval 501"/>
              <p:cNvSpPr>
                <a:spLocks noChangeAspect="1" noChangeArrowheads="1"/>
              </p:cNvSpPr>
              <p:nvPr userDrawn="1"/>
            </p:nvSpPr>
            <p:spPr bwMode="auto">
              <a:xfrm>
                <a:off x="4295856"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10" name="Oval 502"/>
              <p:cNvSpPr>
                <a:spLocks noChangeAspect="1" noChangeArrowheads="1"/>
              </p:cNvSpPr>
              <p:nvPr userDrawn="1"/>
            </p:nvSpPr>
            <p:spPr bwMode="auto">
              <a:xfrm>
                <a:off x="5633834"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11" name="Oval 503"/>
              <p:cNvSpPr>
                <a:spLocks noChangeAspect="1" noChangeArrowheads="1"/>
              </p:cNvSpPr>
              <p:nvPr userDrawn="1"/>
            </p:nvSpPr>
            <p:spPr bwMode="auto">
              <a:xfrm>
                <a:off x="5766556"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12" name="Oval 504"/>
              <p:cNvSpPr>
                <a:spLocks noChangeAspect="1" noChangeArrowheads="1"/>
              </p:cNvSpPr>
              <p:nvPr userDrawn="1"/>
            </p:nvSpPr>
            <p:spPr bwMode="auto">
              <a:xfrm>
                <a:off x="5901070" y="269392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13" name="Oval 505"/>
              <p:cNvSpPr>
                <a:spLocks noChangeAspect="1" noChangeArrowheads="1"/>
              </p:cNvSpPr>
              <p:nvPr userDrawn="1"/>
            </p:nvSpPr>
            <p:spPr bwMode="auto">
              <a:xfrm>
                <a:off x="6033792" y="269392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14" name="Oval 506"/>
              <p:cNvSpPr>
                <a:spLocks noChangeAspect="1" noChangeArrowheads="1"/>
              </p:cNvSpPr>
              <p:nvPr userDrawn="1"/>
            </p:nvSpPr>
            <p:spPr bwMode="auto">
              <a:xfrm>
                <a:off x="6168307"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15" name="Oval 507"/>
              <p:cNvSpPr>
                <a:spLocks noChangeAspect="1" noChangeArrowheads="1"/>
              </p:cNvSpPr>
              <p:nvPr userDrawn="1"/>
            </p:nvSpPr>
            <p:spPr bwMode="auto">
              <a:xfrm>
                <a:off x="6301029"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16" name="Oval 508"/>
              <p:cNvSpPr>
                <a:spLocks noChangeAspect="1" noChangeArrowheads="1"/>
              </p:cNvSpPr>
              <p:nvPr userDrawn="1"/>
            </p:nvSpPr>
            <p:spPr bwMode="auto">
              <a:xfrm>
                <a:off x="6435544" y="269392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17" name="Oval 509"/>
              <p:cNvSpPr>
                <a:spLocks noChangeAspect="1" noChangeArrowheads="1"/>
              </p:cNvSpPr>
              <p:nvPr userDrawn="1"/>
            </p:nvSpPr>
            <p:spPr bwMode="auto">
              <a:xfrm>
                <a:off x="6568266" y="2693928"/>
                <a:ext cx="102232" cy="102204"/>
              </a:xfrm>
              <a:prstGeom prst="ellipse">
                <a:avLst/>
              </a:prstGeom>
              <a:grpFill/>
              <a:ln>
                <a:noFill/>
              </a:ln>
              <a:effectLst/>
            </p:spPr>
            <p:txBody>
              <a:bodyPr wrap="none" anchor="ctr"/>
              <a:lstStyle/>
              <a:p>
                <a:pPr defTabSz="932110"/>
                <a:endParaRPr lang="en-US" sz="1836" dirty="0">
                  <a:solidFill>
                    <a:srgbClr val="FF0000"/>
                  </a:solidFill>
                </a:endParaRPr>
              </a:p>
            </p:txBody>
          </p:sp>
          <p:sp>
            <p:nvSpPr>
              <p:cNvPr id="618" name="Oval 510"/>
              <p:cNvSpPr>
                <a:spLocks noChangeAspect="1" noChangeArrowheads="1"/>
              </p:cNvSpPr>
              <p:nvPr userDrawn="1"/>
            </p:nvSpPr>
            <p:spPr bwMode="auto">
              <a:xfrm>
                <a:off x="6702781"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19" name="Oval 511"/>
              <p:cNvSpPr>
                <a:spLocks noChangeAspect="1" noChangeArrowheads="1"/>
              </p:cNvSpPr>
              <p:nvPr userDrawn="1"/>
            </p:nvSpPr>
            <p:spPr bwMode="auto">
              <a:xfrm>
                <a:off x="6835503"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20" name="Oval 512"/>
              <p:cNvSpPr>
                <a:spLocks noChangeAspect="1" noChangeArrowheads="1"/>
              </p:cNvSpPr>
              <p:nvPr userDrawn="1"/>
            </p:nvSpPr>
            <p:spPr bwMode="auto">
              <a:xfrm>
                <a:off x="6970017" y="269392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21" name="Oval 513"/>
              <p:cNvSpPr>
                <a:spLocks noChangeAspect="1" noChangeArrowheads="1"/>
              </p:cNvSpPr>
              <p:nvPr userDrawn="1"/>
            </p:nvSpPr>
            <p:spPr bwMode="auto">
              <a:xfrm>
                <a:off x="7102739" y="269392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22" name="Oval 514"/>
              <p:cNvSpPr>
                <a:spLocks noChangeAspect="1" noChangeArrowheads="1"/>
              </p:cNvSpPr>
              <p:nvPr userDrawn="1"/>
            </p:nvSpPr>
            <p:spPr bwMode="auto">
              <a:xfrm>
                <a:off x="7237255"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23" name="Oval 515"/>
              <p:cNvSpPr>
                <a:spLocks noChangeAspect="1" noChangeArrowheads="1"/>
              </p:cNvSpPr>
              <p:nvPr userDrawn="1"/>
            </p:nvSpPr>
            <p:spPr bwMode="auto">
              <a:xfrm>
                <a:off x="7369977"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24" name="Oval 516"/>
              <p:cNvSpPr>
                <a:spLocks noChangeAspect="1" noChangeArrowheads="1"/>
              </p:cNvSpPr>
              <p:nvPr userDrawn="1"/>
            </p:nvSpPr>
            <p:spPr bwMode="auto">
              <a:xfrm>
                <a:off x="7504491" y="269392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25" name="Oval 517"/>
              <p:cNvSpPr>
                <a:spLocks noChangeAspect="1" noChangeArrowheads="1"/>
              </p:cNvSpPr>
              <p:nvPr userDrawn="1"/>
            </p:nvSpPr>
            <p:spPr bwMode="auto">
              <a:xfrm>
                <a:off x="7637213" y="269392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26" name="Oval 518"/>
              <p:cNvSpPr>
                <a:spLocks noChangeAspect="1" noChangeArrowheads="1"/>
              </p:cNvSpPr>
              <p:nvPr userDrawn="1"/>
            </p:nvSpPr>
            <p:spPr bwMode="auto">
              <a:xfrm>
                <a:off x="7771728"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27" name="Oval 519"/>
              <p:cNvSpPr>
                <a:spLocks noChangeAspect="1" noChangeArrowheads="1"/>
              </p:cNvSpPr>
              <p:nvPr userDrawn="1"/>
            </p:nvSpPr>
            <p:spPr bwMode="auto">
              <a:xfrm>
                <a:off x="7906244" y="269392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28" name="Oval 520"/>
              <p:cNvSpPr>
                <a:spLocks noChangeAspect="1" noChangeArrowheads="1"/>
              </p:cNvSpPr>
              <p:nvPr userDrawn="1"/>
            </p:nvSpPr>
            <p:spPr bwMode="auto">
              <a:xfrm>
                <a:off x="8038965" y="269392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29" name="Oval 521"/>
              <p:cNvSpPr>
                <a:spLocks noChangeAspect="1" noChangeArrowheads="1"/>
              </p:cNvSpPr>
              <p:nvPr userDrawn="1"/>
            </p:nvSpPr>
            <p:spPr bwMode="auto">
              <a:xfrm>
                <a:off x="8173481"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30" name="Oval 522"/>
              <p:cNvSpPr>
                <a:spLocks noChangeAspect="1" noChangeArrowheads="1"/>
              </p:cNvSpPr>
              <p:nvPr userDrawn="1"/>
            </p:nvSpPr>
            <p:spPr bwMode="auto">
              <a:xfrm>
                <a:off x="8306202"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31" name="Oval 523"/>
              <p:cNvSpPr>
                <a:spLocks noChangeAspect="1" noChangeArrowheads="1"/>
              </p:cNvSpPr>
              <p:nvPr userDrawn="1"/>
            </p:nvSpPr>
            <p:spPr bwMode="auto">
              <a:xfrm>
                <a:off x="8440717" y="269392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32" name="Oval 524"/>
              <p:cNvSpPr>
                <a:spLocks noChangeAspect="1" noChangeArrowheads="1"/>
              </p:cNvSpPr>
              <p:nvPr userDrawn="1"/>
            </p:nvSpPr>
            <p:spPr bwMode="auto">
              <a:xfrm>
                <a:off x="8573438" y="269392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33" name="Oval 525"/>
              <p:cNvSpPr>
                <a:spLocks noChangeAspect="1" noChangeArrowheads="1"/>
              </p:cNvSpPr>
              <p:nvPr userDrawn="1"/>
            </p:nvSpPr>
            <p:spPr bwMode="auto">
              <a:xfrm>
                <a:off x="8707955"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34" name="Oval 526"/>
              <p:cNvSpPr>
                <a:spLocks noChangeAspect="1" noChangeArrowheads="1"/>
              </p:cNvSpPr>
              <p:nvPr userDrawn="1"/>
            </p:nvSpPr>
            <p:spPr bwMode="auto">
              <a:xfrm>
                <a:off x="8840677"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35" name="Oval 527"/>
              <p:cNvSpPr>
                <a:spLocks noChangeAspect="1" noChangeArrowheads="1"/>
              </p:cNvSpPr>
              <p:nvPr userDrawn="1"/>
            </p:nvSpPr>
            <p:spPr bwMode="auto">
              <a:xfrm>
                <a:off x="8975191" y="269392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36" name="Oval 528"/>
              <p:cNvSpPr>
                <a:spLocks noChangeAspect="1" noChangeArrowheads="1"/>
              </p:cNvSpPr>
              <p:nvPr userDrawn="1"/>
            </p:nvSpPr>
            <p:spPr bwMode="auto">
              <a:xfrm>
                <a:off x="9107912" y="269392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37" name="Oval 529"/>
              <p:cNvSpPr>
                <a:spLocks noChangeAspect="1" noChangeArrowheads="1"/>
              </p:cNvSpPr>
              <p:nvPr userDrawn="1"/>
            </p:nvSpPr>
            <p:spPr bwMode="auto">
              <a:xfrm>
                <a:off x="9242428"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38" name="Oval 530"/>
              <p:cNvSpPr>
                <a:spLocks noChangeAspect="1" noChangeArrowheads="1"/>
              </p:cNvSpPr>
              <p:nvPr userDrawn="1"/>
            </p:nvSpPr>
            <p:spPr bwMode="auto">
              <a:xfrm>
                <a:off x="9375149"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39" name="Oval 531"/>
              <p:cNvSpPr>
                <a:spLocks noChangeAspect="1" noChangeArrowheads="1"/>
              </p:cNvSpPr>
              <p:nvPr userDrawn="1"/>
            </p:nvSpPr>
            <p:spPr bwMode="auto">
              <a:xfrm>
                <a:off x="9509665" y="269392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40" name="Oval 532"/>
              <p:cNvSpPr>
                <a:spLocks noChangeAspect="1" noChangeArrowheads="1"/>
              </p:cNvSpPr>
              <p:nvPr userDrawn="1"/>
            </p:nvSpPr>
            <p:spPr bwMode="auto">
              <a:xfrm>
                <a:off x="9642387" y="269392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41" name="Oval 533"/>
              <p:cNvSpPr>
                <a:spLocks noChangeAspect="1" noChangeArrowheads="1"/>
              </p:cNvSpPr>
              <p:nvPr userDrawn="1"/>
            </p:nvSpPr>
            <p:spPr bwMode="auto">
              <a:xfrm>
                <a:off x="9776902"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42" name="Oval 534"/>
              <p:cNvSpPr>
                <a:spLocks noChangeAspect="1" noChangeArrowheads="1"/>
              </p:cNvSpPr>
              <p:nvPr userDrawn="1"/>
            </p:nvSpPr>
            <p:spPr bwMode="auto">
              <a:xfrm>
                <a:off x="9909624"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43" name="Oval 535"/>
              <p:cNvSpPr>
                <a:spLocks noChangeAspect="1" noChangeArrowheads="1"/>
              </p:cNvSpPr>
              <p:nvPr userDrawn="1"/>
            </p:nvSpPr>
            <p:spPr bwMode="auto">
              <a:xfrm>
                <a:off x="10311376" y="269392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44" name="Oval 536"/>
              <p:cNvSpPr>
                <a:spLocks noChangeAspect="1" noChangeArrowheads="1"/>
              </p:cNvSpPr>
              <p:nvPr userDrawn="1"/>
            </p:nvSpPr>
            <p:spPr bwMode="auto">
              <a:xfrm>
                <a:off x="2425197" y="281764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45" name="Oval 537"/>
              <p:cNvSpPr>
                <a:spLocks noChangeAspect="1" noChangeArrowheads="1"/>
              </p:cNvSpPr>
              <p:nvPr userDrawn="1"/>
            </p:nvSpPr>
            <p:spPr bwMode="auto">
              <a:xfrm>
                <a:off x="2559713"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46" name="Oval 538"/>
              <p:cNvSpPr>
                <a:spLocks noChangeAspect="1" noChangeArrowheads="1"/>
              </p:cNvSpPr>
              <p:nvPr userDrawn="1"/>
            </p:nvSpPr>
            <p:spPr bwMode="auto">
              <a:xfrm>
                <a:off x="2692435"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47" name="Oval 539"/>
              <p:cNvSpPr>
                <a:spLocks noChangeAspect="1" noChangeArrowheads="1"/>
              </p:cNvSpPr>
              <p:nvPr userDrawn="1"/>
            </p:nvSpPr>
            <p:spPr bwMode="auto">
              <a:xfrm>
                <a:off x="2826949" y="281764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48" name="Oval 540"/>
              <p:cNvSpPr>
                <a:spLocks noChangeAspect="1" noChangeArrowheads="1"/>
              </p:cNvSpPr>
              <p:nvPr userDrawn="1"/>
            </p:nvSpPr>
            <p:spPr bwMode="auto">
              <a:xfrm>
                <a:off x="2959671" y="281764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49" name="Oval 541"/>
              <p:cNvSpPr>
                <a:spLocks noChangeAspect="1" noChangeArrowheads="1"/>
              </p:cNvSpPr>
              <p:nvPr userDrawn="1"/>
            </p:nvSpPr>
            <p:spPr bwMode="auto">
              <a:xfrm>
                <a:off x="3094186"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50" name="Oval 542"/>
              <p:cNvSpPr>
                <a:spLocks noChangeAspect="1" noChangeArrowheads="1"/>
              </p:cNvSpPr>
              <p:nvPr userDrawn="1"/>
            </p:nvSpPr>
            <p:spPr bwMode="auto">
              <a:xfrm>
                <a:off x="3226908"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51" name="Oval 543"/>
              <p:cNvSpPr>
                <a:spLocks noChangeAspect="1" noChangeArrowheads="1"/>
              </p:cNvSpPr>
              <p:nvPr userDrawn="1"/>
            </p:nvSpPr>
            <p:spPr bwMode="auto">
              <a:xfrm>
                <a:off x="3361423" y="281764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52" name="Oval 544"/>
              <p:cNvSpPr>
                <a:spLocks noChangeAspect="1" noChangeArrowheads="1"/>
              </p:cNvSpPr>
              <p:nvPr userDrawn="1"/>
            </p:nvSpPr>
            <p:spPr bwMode="auto">
              <a:xfrm>
                <a:off x="3494145" y="281764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53" name="Oval 545"/>
              <p:cNvSpPr>
                <a:spLocks noChangeAspect="1" noChangeArrowheads="1"/>
              </p:cNvSpPr>
              <p:nvPr userDrawn="1"/>
            </p:nvSpPr>
            <p:spPr bwMode="auto">
              <a:xfrm>
                <a:off x="3628660"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54" name="Oval 546"/>
              <p:cNvSpPr>
                <a:spLocks noChangeAspect="1" noChangeArrowheads="1"/>
              </p:cNvSpPr>
              <p:nvPr userDrawn="1"/>
            </p:nvSpPr>
            <p:spPr bwMode="auto">
              <a:xfrm>
                <a:off x="3761382"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55" name="Oval 547"/>
              <p:cNvSpPr>
                <a:spLocks noChangeAspect="1" noChangeArrowheads="1"/>
              </p:cNvSpPr>
              <p:nvPr userDrawn="1"/>
            </p:nvSpPr>
            <p:spPr bwMode="auto">
              <a:xfrm>
                <a:off x="3895896" y="281764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56" name="Oval 548"/>
              <p:cNvSpPr>
                <a:spLocks noChangeAspect="1" noChangeArrowheads="1"/>
              </p:cNvSpPr>
              <p:nvPr userDrawn="1"/>
            </p:nvSpPr>
            <p:spPr bwMode="auto">
              <a:xfrm>
                <a:off x="4028618" y="281764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57" name="Oval 549"/>
              <p:cNvSpPr>
                <a:spLocks noChangeAspect="1" noChangeArrowheads="1"/>
              </p:cNvSpPr>
              <p:nvPr userDrawn="1"/>
            </p:nvSpPr>
            <p:spPr bwMode="auto">
              <a:xfrm>
                <a:off x="4163135"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58" name="Oval 550"/>
              <p:cNvSpPr>
                <a:spLocks noChangeAspect="1" noChangeArrowheads="1"/>
              </p:cNvSpPr>
              <p:nvPr userDrawn="1"/>
            </p:nvSpPr>
            <p:spPr bwMode="auto">
              <a:xfrm>
                <a:off x="4295856"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59" name="Oval 551"/>
              <p:cNvSpPr>
                <a:spLocks noChangeAspect="1" noChangeArrowheads="1"/>
              </p:cNvSpPr>
              <p:nvPr userDrawn="1"/>
            </p:nvSpPr>
            <p:spPr bwMode="auto">
              <a:xfrm>
                <a:off x="5766556"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60" name="Oval 552"/>
              <p:cNvSpPr>
                <a:spLocks noChangeAspect="1" noChangeArrowheads="1"/>
              </p:cNvSpPr>
              <p:nvPr userDrawn="1"/>
            </p:nvSpPr>
            <p:spPr bwMode="auto">
              <a:xfrm>
                <a:off x="5901070" y="2817648"/>
                <a:ext cx="102232" cy="102205"/>
              </a:xfrm>
              <a:prstGeom prst="ellipse">
                <a:avLst/>
              </a:prstGeom>
              <a:grpFill/>
              <a:ln>
                <a:noFill/>
              </a:ln>
              <a:effectLst/>
            </p:spPr>
            <p:txBody>
              <a:bodyPr wrap="none" anchor="ctr"/>
              <a:lstStyle/>
              <a:p>
                <a:pPr defTabSz="932110"/>
                <a:endParaRPr lang="en-US" sz="1836" dirty="0">
                  <a:solidFill>
                    <a:srgbClr val="FF0000"/>
                  </a:solidFill>
                </a:endParaRPr>
              </a:p>
            </p:txBody>
          </p:sp>
          <p:sp>
            <p:nvSpPr>
              <p:cNvPr id="661" name="Oval 553"/>
              <p:cNvSpPr>
                <a:spLocks noChangeAspect="1" noChangeArrowheads="1"/>
              </p:cNvSpPr>
              <p:nvPr userDrawn="1"/>
            </p:nvSpPr>
            <p:spPr bwMode="auto">
              <a:xfrm>
                <a:off x="6033792" y="281764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62" name="Oval 554"/>
              <p:cNvSpPr>
                <a:spLocks noChangeAspect="1" noChangeArrowheads="1"/>
              </p:cNvSpPr>
              <p:nvPr userDrawn="1"/>
            </p:nvSpPr>
            <p:spPr bwMode="auto">
              <a:xfrm>
                <a:off x="6168307"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63" name="Oval 555"/>
              <p:cNvSpPr>
                <a:spLocks noChangeAspect="1" noChangeArrowheads="1"/>
              </p:cNvSpPr>
              <p:nvPr userDrawn="1"/>
            </p:nvSpPr>
            <p:spPr bwMode="auto">
              <a:xfrm>
                <a:off x="6301029"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64" name="Oval 556"/>
              <p:cNvSpPr>
                <a:spLocks noChangeAspect="1" noChangeArrowheads="1"/>
              </p:cNvSpPr>
              <p:nvPr userDrawn="1"/>
            </p:nvSpPr>
            <p:spPr bwMode="auto">
              <a:xfrm>
                <a:off x="6435544" y="281764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65" name="Oval 557"/>
              <p:cNvSpPr>
                <a:spLocks noChangeAspect="1" noChangeArrowheads="1"/>
              </p:cNvSpPr>
              <p:nvPr userDrawn="1"/>
            </p:nvSpPr>
            <p:spPr bwMode="auto">
              <a:xfrm>
                <a:off x="6568266" y="281764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66" name="Oval 558"/>
              <p:cNvSpPr>
                <a:spLocks noChangeAspect="1" noChangeArrowheads="1"/>
              </p:cNvSpPr>
              <p:nvPr userDrawn="1"/>
            </p:nvSpPr>
            <p:spPr bwMode="auto">
              <a:xfrm>
                <a:off x="6702781"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67" name="Oval 559"/>
              <p:cNvSpPr>
                <a:spLocks noChangeAspect="1" noChangeArrowheads="1"/>
              </p:cNvSpPr>
              <p:nvPr userDrawn="1"/>
            </p:nvSpPr>
            <p:spPr bwMode="auto">
              <a:xfrm>
                <a:off x="6835503"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68" name="Oval 560"/>
              <p:cNvSpPr>
                <a:spLocks noChangeAspect="1" noChangeArrowheads="1"/>
              </p:cNvSpPr>
              <p:nvPr userDrawn="1"/>
            </p:nvSpPr>
            <p:spPr bwMode="auto">
              <a:xfrm>
                <a:off x="6970017" y="281764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69" name="Oval 561"/>
              <p:cNvSpPr>
                <a:spLocks noChangeAspect="1" noChangeArrowheads="1"/>
              </p:cNvSpPr>
              <p:nvPr userDrawn="1"/>
            </p:nvSpPr>
            <p:spPr bwMode="auto">
              <a:xfrm>
                <a:off x="7102739" y="281764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70" name="Oval 562"/>
              <p:cNvSpPr>
                <a:spLocks noChangeAspect="1" noChangeArrowheads="1"/>
              </p:cNvSpPr>
              <p:nvPr userDrawn="1"/>
            </p:nvSpPr>
            <p:spPr bwMode="auto">
              <a:xfrm>
                <a:off x="7237255"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71" name="Oval 563"/>
              <p:cNvSpPr>
                <a:spLocks noChangeAspect="1" noChangeArrowheads="1"/>
              </p:cNvSpPr>
              <p:nvPr userDrawn="1"/>
            </p:nvSpPr>
            <p:spPr bwMode="auto">
              <a:xfrm>
                <a:off x="7369977"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72" name="Oval 564"/>
              <p:cNvSpPr>
                <a:spLocks noChangeAspect="1" noChangeArrowheads="1"/>
              </p:cNvSpPr>
              <p:nvPr userDrawn="1"/>
            </p:nvSpPr>
            <p:spPr bwMode="auto">
              <a:xfrm>
                <a:off x="7504491" y="281764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73" name="Oval 565"/>
              <p:cNvSpPr>
                <a:spLocks noChangeAspect="1" noChangeArrowheads="1"/>
              </p:cNvSpPr>
              <p:nvPr userDrawn="1"/>
            </p:nvSpPr>
            <p:spPr bwMode="auto">
              <a:xfrm>
                <a:off x="7637213" y="281764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74" name="Oval 566"/>
              <p:cNvSpPr>
                <a:spLocks noChangeAspect="1" noChangeArrowheads="1"/>
              </p:cNvSpPr>
              <p:nvPr userDrawn="1"/>
            </p:nvSpPr>
            <p:spPr bwMode="auto">
              <a:xfrm>
                <a:off x="7771728"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75" name="Oval 567"/>
              <p:cNvSpPr>
                <a:spLocks noChangeAspect="1" noChangeArrowheads="1"/>
              </p:cNvSpPr>
              <p:nvPr userDrawn="1"/>
            </p:nvSpPr>
            <p:spPr bwMode="auto">
              <a:xfrm>
                <a:off x="7906244" y="281764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76" name="Oval 568"/>
              <p:cNvSpPr>
                <a:spLocks noChangeAspect="1" noChangeArrowheads="1"/>
              </p:cNvSpPr>
              <p:nvPr userDrawn="1"/>
            </p:nvSpPr>
            <p:spPr bwMode="auto">
              <a:xfrm>
                <a:off x="8038965" y="281764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77" name="Oval 569"/>
              <p:cNvSpPr>
                <a:spLocks noChangeAspect="1" noChangeArrowheads="1"/>
              </p:cNvSpPr>
              <p:nvPr userDrawn="1"/>
            </p:nvSpPr>
            <p:spPr bwMode="auto">
              <a:xfrm>
                <a:off x="8173481"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78" name="Oval 570"/>
              <p:cNvSpPr>
                <a:spLocks noChangeAspect="1" noChangeArrowheads="1"/>
              </p:cNvSpPr>
              <p:nvPr userDrawn="1"/>
            </p:nvSpPr>
            <p:spPr bwMode="auto">
              <a:xfrm>
                <a:off x="8306202"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79" name="Oval 571"/>
              <p:cNvSpPr>
                <a:spLocks noChangeAspect="1" noChangeArrowheads="1"/>
              </p:cNvSpPr>
              <p:nvPr userDrawn="1"/>
            </p:nvSpPr>
            <p:spPr bwMode="auto">
              <a:xfrm>
                <a:off x="8440717" y="281764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80" name="Oval 572"/>
              <p:cNvSpPr>
                <a:spLocks noChangeAspect="1" noChangeArrowheads="1"/>
              </p:cNvSpPr>
              <p:nvPr userDrawn="1"/>
            </p:nvSpPr>
            <p:spPr bwMode="auto">
              <a:xfrm>
                <a:off x="8573438" y="281764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81" name="Oval 573"/>
              <p:cNvSpPr>
                <a:spLocks noChangeAspect="1" noChangeArrowheads="1"/>
              </p:cNvSpPr>
              <p:nvPr userDrawn="1"/>
            </p:nvSpPr>
            <p:spPr bwMode="auto">
              <a:xfrm>
                <a:off x="8707955"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82" name="Oval 574"/>
              <p:cNvSpPr>
                <a:spLocks noChangeAspect="1" noChangeArrowheads="1"/>
              </p:cNvSpPr>
              <p:nvPr userDrawn="1"/>
            </p:nvSpPr>
            <p:spPr bwMode="auto">
              <a:xfrm>
                <a:off x="8840677"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83" name="Oval 575"/>
              <p:cNvSpPr>
                <a:spLocks noChangeAspect="1" noChangeArrowheads="1"/>
              </p:cNvSpPr>
              <p:nvPr userDrawn="1"/>
            </p:nvSpPr>
            <p:spPr bwMode="auto">
              <a:xfrm>
                <a:off x="8975191" y="281764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84" name="Oval 576"/>
              <p:cNvSpPr>
                <a:spLocks noChangeAspect="1" noChangeArrowheads="1"/>
              </p:cNvSpPr>
              <p:nvPr userDrawn="1"/>
            </p:nvSpPr>
            <p:spPr bwMode="auto">
              <a:xfrm>
                <a:off x="9107912" y="281764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85" name="Oval 577"/>
              <p:cNvSpPr>
                <a:spLocks noChangeAspect="1" noChangeArrowheads="1"/>
              </p:cNvSpPr>
              <p:nvPr userDrawn="1"/>
            </p:nvSpPr>
            <p:spPr bwMode="auto">
              <a:xfrm>
                <a:off x="9242428"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86" name="Oval 578"/>
              <p:cNvSpPr>
                <a:spLocks noChangeAspect="1" noChangeArrowheads="1"/>
              </p:cNvSpPr>
              <p:nvPr userDrawn="1"/>
            </p:nvSpPr>
            <p:spPr bwMode="auto">
              <a:xfrm>
                <a:off x="9375149"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87" name="Oval 579"/>
              <p:cNvSpPr>
                <a:spLocks noChangeAspect="1" noChangeArrowheads="1"/>
              </p:cNvSpPr>
              <p:nvPr userDrawn="1"/>
            </p:nvSpPr>
            <p:spPr bwMode="auto">
              <a:xfrm>
                <a:off x="9509665" y="281764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88" name="Oval 580"/>
              <p:cNvSpPr>
                <a:spLocks noChangeAspect="1" noChangeArrowheads="1"/>
              </p:cNvSpPr>
              <p:nvPr userDrawn="1"/>
            </p:nvSpPr>
            <p:spPr bwMode="auto">
              <a:xfrm>
                <a:off x="9642387" y="281764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89" name="Oval 581"/>
              <p:cNvSpPr>
                <a:spLocks noChangeAspect="1" noChangeArrowheads="1"/>
              </p:cNvSpPr>
              <p:nvPr userDrawn="1"/>
            </p:nvSpPr>
            <p:spPr bwMode="auto">
              <a:xfrm>
                <a:off x="9776902"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90" name="Oval 582"/>
              <p:cNvSpPr>
                <a:spLocks noChangeAspect="1" noChangeArrowheads="1"/>
              </p:cNvSpPr>
              <p:nvPr userDrawn="1"/>
            </p:nvSpPr>
            <p:spPr bwMode="auto">
              <a:xfrm>
                <a:off x="9909624"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91" name="Oval 583"/>
              <p:cNvSpPr>
                <a:spLocks noChangeAspect="1" noChangeArrowheads="1"/>
              </p:cNvSpPr>
              <p:nvPr userDrawn="1"/>
            </p:nvSpPr>
            <p:spPr bwMode="auto">
              <a:xfrm>
                <a:off x="10311376" y="281764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92" name="Oval 584"/>
              <p:cNvSpPr>
                <a:spLocks noChangeAspect="1" noChangeArrowheads="1"/>
              </p:cNvSpPr>
              <p:nvPr userDrawn="1"/>
            </p:nvSpPr>
            <p:spPr bwMode="auto">
              <a:xfrm>
                <a:off x="2425197" y="294137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93" name="Oval 585"/>
              <p:cNvSpPr>
                <a:spLocks noChangeAspect="1" noChangeArrowheads="1"/>
              </p:cNvSpPr>
              <p:nvPr userDrawn="1"/>
            </p:nvSpPr>
            <p:spPr bwMode="auto">
              <a:xfrm>
                <a:off x="2559713" y="294137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94" name="Oval 586"/>
              <p:cNvSpPr>
                <a:spLocks noChangeAspect="1" noChangeArrowheads="1"/>
              </p:cNvSpPr>
              <p:nvPr userDrawn="1"/>
            </p:nvSpPr>
            <p:spPr bwMode="auto">
              <a:xfrm>
                <a:off x="2692435" y="294137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95" name="Oval 587"/>
              <p:cNvSpPr>
                <a:spLocks noChangeAspect="1" noChangeArrowheads="1"/>
              </p:cNvSpPr>
              <p:nvPr userDrawn="1"/>
            </p:nvSpPr>
            <p:spPr bwMode="auto">
              <a:xfrm>
                <a:off x="2826949" y="294137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96" name="Oval 588"/>
              <p:cNvSpPr>
                <a:spLocks noChangeAspect="1" noChangeArrowheads="1"/>
              </p:cNvSpPr>
              <p:nvPr userDrawn="1"/>
            </p:nvSpPr>
            <p:spPr bwMode="auto">
              <a:xfrm>
                <a:off x="2959671" y="294137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97" name="Oval 589"/>
              <p:cNvSpPr>
                <a:spLocks noChangeAspect="1" noChangeArrowheads="1"/>
              </p:cNvSpPr>
              <p:nvPr userDrawn="1"/>
            </p:nvSpPr>
            <p:spPr bwMode="auto">
              <a:xfrm>
                <a:off x="3094186" y="294137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98" name="Oval 590"/>
              <p:cNvSpPr>
                <a:spLocks noChangeAspect="1" noChangeArrowheads="1"/>
              </p:cNvSpPr>
              <p:nvPr userDrawn="1"/>
            </p:nvSpPr>
            <p:spPr bwMode="auto">
              <a:xfrm>
                <a:off x="3226908" y="294137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699" name="Oval 591"/>
              <p:cNvSpPr>
                <a:spLocks noChangeAspect="1" noChangeArrowheads="1"/>
              </p:cNvSpPr>
              <p:nvPr userDrawn="1"/>
            </p:nvSpPr>
            <p:spPr bwMode="auto">
              <a:xfrm>
                <a:off x="3361423" y="294137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00" name="Oval 592"/>
              <p:cNvSpPr>
                <a:spLocks noChangeAspect="1" noChangeArrowheads="1"/>
              </p:cNvSpPr>
              <p:nvPr userDrawn="1"/>
            </p:nvSpPr>
            <p:spPr bwMode="auto">
              <a:xfrm>
                <a:off x="3494145" y="294137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01" name="Oval 593"/>
              <p:cNvSpPr>
                <a:spLocks noChangeAspect="1" noChangeArrowheads="1"/>
              </p:cNvSpPr>
              <p:nvPr userDrawn="1"/>
            </p:nvSpPr>
            <p:spPr bwMode="auto">
              <a:xfrm>
                <a:off x="3628660" y="294137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02" name="Oval 594"/>
              <p:cNvSpPr>
                <a:spLocks noChangeAspect="1" noChangeArrowheads="1"/>
              </p:cNvSpPr>
              <p:nvPr userDrawn="1"/>
            </p:nvSpPr>
            <p:spPr bwMode="auto">
              <a:xfrm>
                <a:off x="3761382" y="294137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03" name="Oval 595"/>
              <p:cNvSpPr>
                <a:spLocks noChangeAspect="1" noChangeArrowheads="1"/>
              </p:cNvSpPr>
              <p:nvPr userDrawn="1"/>
            </p:nvSpPr>
            <p:spPr bwMode="auto">
              <a:xfrm>
                <a:off x="3895896" y="294137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04" name="Oval 596"/>
              <p:cNvSpPr>
                <a:spLocks noChangeAspect="1" noChangeArrowheads="1"/>
              </p:cNvSpPr>
              <p:nvPr userDrawn="1"/>
            </p:nvSpPr>
            <p:spPr bwMode="auto">
              <a:xfrm>
                <a:off x="4028618" y="294137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05" name="Oval 597"/>
              <p:cNvSpPr>
                <a:spLocks noChangeAspect="1" noChangeArrowheads="1"/>
              </p:cNvSpPr>
              <p:nvPr userDrawn="1"/>
            </p:nvSpPr>
            <p:spPr bwMode="auto">
              <a:xfrm>
                <a:off x="4163135" y="294137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06" name="Oval 598"/>
              <p:cNvSpPr>
                <a:spLocks noChangeAspect="1" noChangeArrowheads="1"/>
              </p:cNvSpPr>
              <p:nvPr userDrawn="1"/>
            </p:nvSpPr>
            <p:spPr bwMode="auto">
              <a:xfrm>
                <a:off x="4295856" y="294137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07" name="Oval 599"/>
              <p:cNvSpPr>
                <a:spLocks noChangeAspect="1" noChangeArrowheads="1"/>
              </p:cNvSpPr>
              <p:nvPr userDrawn="1"/>
            </p:nvSpPr>
            <p:spPr bwMode="auto">
              <a:xfrm>
                <a:off x="5901070" y="294137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08" name="Oval 600"/>
              <p:cNvSpPr>
                <a:spLocks noChangeAspect="1" noChangeArrowheads="1"/>
              </p:cNvSpPr>
              <p:nvPr userDrawn="1"/>
            </p:nvSpPr>
            <p:spPr bwMode="auto">
              <a:xfrm>
                <a:off x="6033792" y="294137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09" name="Oval 601"/>
              <p:cNvSpPr>
                <a:spLocks noChangeAspect="1" noChangeArrowheads="1"/>
              </p:cNvSpPr>
              <p:nvPr userDrawn="1"/>
            </p:nvSpPr>
            <p:spPr bwMode="auto">
              <a:xfrm>
                <a:off x="6168307" y="294137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10" name="Oval 602"/>
              <p:cNvSpPr>
                <a:spLocks noChangeAspect="1" noChangeArrowheads="1"/>
              </p:cNvSpPr>
              <p:nvPr userDrawn="1"/>
            </p:nvSpPr>
            <p:spPr bwMode="auto">
              <a:xfrm>
                <a:off x="6301029" y="294137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11" name="Oval 603"/>
              <p:cNvSpPr>
                <a:spLocks noChangeAspect="1" noChangeArrowheads="1"/>
              </p:cNvSpPr>
              <p:nvPr userDrawn="1"/>
            </p:nvSpPr>
            <p:spPr bwMode="auto">
              <a:xfrm>
                <a:off x="6435544" y="2941371"/>
                <a:ext cx="102232" cy="102204"/>
              </a:xfrm>
              <a:prstGeom prst="ellipse">
                <a:avLst/>
              </a:prstGeom>
              <a:grpFill/>
              <a:ln>
                <a:noFill/>
              </a:ln>
              <a:effectLst/>
            </p:spPr>
            <p:txBody>
              <a:bodyPr wrap="none" anchor="ctr"/>
              <a:lstStyle/>
              <a:p>
                <a:pPr defTabSz="932110"/>
                <a:endParaRPr lang="en-US" sz="1836" dirty="0">
                  <a:solidFill>
                    <a:srgbClr val="FF0000"/>
                  </a:solidFill>
                </a:endParaRPr>
              </a:p>
            </p:txBody>
          </p:sp>
          <p:sp>
            <p:nvSpPr>
              <p:cNvPr id="712" name="Oval 604"/>
              <p:cNvSpPr>
                <a:spLocks noChangeAspect="1" noChangeArrowheads="1"/>
              </p:cNvSpPr>
              <p:nvPr userDrawn="1"/>
            </p:nvSpPr>
            <p:spPr bwMode="auto">
              <a:xfrm>
                <a:off x="6568266" y="294137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13" name="Oval 605"/>
              <p:cNvSpPr>
                <a:spLocks noChangeAspect="1" noChangeArrowheads="1"/>
              </p:cNvSpPr>
              <p:nvPr userDrawn="1"/>
            </p:nvSpPr>
            <p:spPr bwMode="auto">
              <a:xfrm>
                <a:off x="6702781" y="294137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14" name="Oval 606"/>
              <p:cNvSpPr>
                <a:spLocks noChangeAspect="1" noChangeArrowheads="1"/>
              </p:cNvSpPr>
              <p:nvPr userDrawn="1"/>
            </p:nvSpPr>
            <p:spPr bwMode="auto">
              <a:xfrm>
                <a:off x="6835503" y="294137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15" name="Oval 607"/>
              <p:cNvSpPr>
                <a:spLocks noChangeAspect="1" noChangeArrowheads="1"/>
              </p:cNvSpPr>
              <p:nvPr userDrawn="1"/>
            </p:nvSpPr>
            <p:spPr bwMode="auto">
              <a:xfrm>
                <a:off x="6970017" y="294137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16" name="Oval 608"/>
              <p:cNvSpPr>
                <a:spLocks noChangeAspect="1" noChangeArrowheads="1"/>
              </p:cNvSpPr>
              <p:nvPr userDrawn="1"/>
            </p:nvSpPr>
            <p:spPr bwMode="auto">
              <a:xfrm>
                <a:off x="7102739" y="294137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17" name="Oval 609"/>
              <p:cNvSpPr>
                <a:spLocks noChangeAspect="1" noChangeArrowheads="1"/>
              </p:cNvSpPr>
              <p:nvPr userDrawn="1"/>
            </p:nvSpPr>
            <p:spPr bwMode="auto">
              <a:xfrm>
                <a:off x="7237255" y="294137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18" name="Oval 610"/>
              <p:cNvSpPr>
                <a:spLocks noChangeAspect="1" noChangeArrowheads="1"/>
              </p:cNvSpPr>
              <p:nvPr userDrawn="1"/>
            </p:nvSpPr>
            <p:spPr bwMode="auto">
              <a:xfrm>
                <a:off x="7369977" y="294137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19" name="Oval 611"/>
              <p:cNvSpPr>
                <a:spLocks noChangeAspect="1" noChangeArrowheads="1"/>
              </p:cNvSpPr>
              <p:nvPr userDrawn="1"/>
            </p:nvSpPr>
            <p:spPr bwMode="auto">
              <a:xfrm>
                <a:off x="7504491" y="294137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20" name="Oval 612"/>
              <p:cNvSpPr>
                <a:spLocks noChangeAspect="1" noChangeArrowheads="1"/>
              </p:cNvSpPr>
              <p:nvPr userDrawn="1"/>
            </p:nvSpPr>
            <p:spPr bwMode="auto">
              <a:xfrm>
                <a:off x="7637213" y="294137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21" name="Oval 613"/>
              <p:cNvSpPr>
                <a:spLocks noChangeAspect="1" noChangeArrowheads="1"/>
              </p:cNvSpPr>
              <p:nvPr userDrawn="1"/>
            </p:nvSpPr>
            <p:spPr bwMode="auto">
              <a:xfrm>
                <a:off x="7771728" y="294137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22" name="Oval 614"/>
              <p:cNvSpPr>
                <a:spLocks noChangeAspect="1" noChangeArrowheads="1"/>
              </p:cNvSpPr>
              <p:nvPr userDrawn="1"/>
            </p:nvSpPr>
            <p:spPr bwMode="auto">
              <a:xfrm>
                <a:off x="7906244" y="294137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23" name="Oval 615"/>
              <p:cNvSpPr>
                <a:spLocks noChangeAspect="1" noChangeArrowheads="1"/>
              </p:cNvSpPr>
              <p:nvPr userDrawn="1"/>
            </p:nvSpPr>
            <p:spPr bwMode="auto">
              <a:xfrm>
                <a:off x="8038965" y="294137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24" name="Oval 616"/>
              <p:cNvSpPr>
                <a:spLocks noChangeAspect="1" noChangeArrowheads="1"/>
              </p:cNvSpPr>
              <p:nvPr userDrawn="1"/>
            </p:nvSpPr>
            <p:spPr bwMode="auto">
              <a:xfrm>
                <a:off x="8173481" y="294137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25" name="Oval 617"/>
              <p:cNvSpPr>
                <a:spLocks noChangeAspect="1" noChangeArrowheads="1"/>
              </p:cNvSpPr>
              <p:nvPr userDrawn="1"/>
            </p:nvSpPr>
            <p:spPr bwMode="auto">
              <a:xfrm>
                <a:off x="8306202" y="294137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26" name="Oval 618"/>
              <p:cNvSpPr>
                <a:spLocks noChangeAspect="1" noChangeArrowheads="1"/>
              </p:cNvSpPr>
              <p:nvPr userDrawn="1"/>
            </p:nvSpPr>
            <p:spPr bwMode="auto">
              <a:xfrm>
                <a:off x="8440717" y="294137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27" name="Oval 619"/>
              <p:cNvSpPr>
                <a:spLocks noChangeAspect="1" noChangeArrowheads="1"/>
              </p:cNvSpPr>
              <p:nvPr userDrawn="1"/>
            </p:nvSpPr>
            <p:spPr bwMode="auto">
              <a:xfrm>
                <a:off x="8573438" y="294137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28" name="Oval 620"/>
              <p:cNvSpPr>
                <a:spLocks noChangeAspect="1" noChangeArrowheads="1"/>
              </p:cNvSpPr>
              <p:nvPr userDrawn="1"/>
            </p:nvSpPr>
            <p:spPr bwMode="auto">
              <a:xfrm>
                <a:off x="8707955" y="294137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29" name="Oval 621"/>
              <p:cNvSpPr>
                <a:spLocks noChangeAspect="1" noChangeArrowheads="1"/>
              </p:cNvSpPr>
              <p:nvPr userDrawn="1"/>
            </p:nvSpPr>
            <p:spPr bwMode="auto">
              <a:xfrm>
                <a:off x="8840677" y="294137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30" name="Oval 622"/>
              <p:cNvSpPr>
                <a:spLocks noChangeAspect="1" noChangeArrowheads="1"/>
              </p:cNvSpPr>
              <p:nvPr userDrawn="1"/>
            </p:nvSpPr>
            <p:spPr bwMode="auto">
              <a:xfrm>
                <a:off x="8975191" y="294137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31" name="Oval 623"/>
              <p:cNvSpPr>
                <a:spLocks noChangeAspect="1" noChangeArrowheads="1"/>
              </p:cNvSpPr>
              <p:nvPr userDrawn="1"/>
            </p:nvSpPr>
            <p:spPr bwMode="auto">
              <a:xfrm>
                <a:off x="9107912" y="294137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32" name="Oval 624"/>
              <p:cNvSpPr>
                <a:spLocks noChangeAspect="1" noChangeArrowheads="1"/>
              </p:cNvSpPr>
              <p:nvPr userDrawn="1"/>
            </p:nvSpPr>
            <p:spPr bwMode="auto">
              <a:xfrm>
                <a:off x="9242428" y="294137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33" name="Oval 625"/>
              <p:cNvSpPr>
                <a:spLocks noChangeAspect="1" noChangeArrowheads="1"/>
              </p:cNvSpPr>
              <p:nvPr userDrawn="1"/>
            </p:nvSpPr>
            <p:spPr bwMode="auto">
              <a:xfrm>
                <a:off x="9375149" y="294137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34" name="Oval 626"/>
              <p:cNvSpPr>
                <a:spLocks noChangeAspect="1" noChangeArrowheads="1"/>
              </p:cNvSpPr>
              <p:nvPr userDrawn="1"/>
            </p:nvSpPr>
            <p:spPr bwMode="auto">
              <a:xfrm>
                <a:off x="9509665" y="294137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35" name="Oval 627"/>
              <p:cNvSpPr>
                <a:spLocks noChangeAspect="1" noChangeArrowheads="1"/>
              </p:cNvSpPr>
              <p:nvPr userDrawn="1"/>
            </p:nvSpPr>
            <p:spPr bwMode="auto">
              <a:xfrm>
                <a:off x="9642387" y="294137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36" name="Oval 628"/>
              <p:cNvSpPr>
                <a:spLocks noChangeAspect="1" noChangeArrowheads="1"/>
              </p:cNvSpPr>
              <p:nvPr userDrawn="1"/>
            </p:nvSpPr>
            <p:spPr bwMode="auto">
              <a:xfrm>
                <a:off x="9776902" y="294137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37" name="Oval 629"/>
              <p:cNvSpPr>
                <a:spLocks noChangeAspect="1" noChangeArrowheads="1"/>
              </p:cNvSpPr>
              <p:nvPr userDrawn="1"/>
            </p:nvSpPr>
            <p:spPr bwMode="auto">
              <a:xfrm>
                <a:off x="9909624" y="294137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38" name="Oval 630"/>
              <p:cNvSpPr>
                <a:spLocks noChangeAspect="1" noChangeArrowheads="1"/>
              </p:cNvSpPr>
              <p:nvPr userDrawn="1"/>
            </p:nvSpPr>
            <p:spPr bwMode="auto">
              <a:xfrm>
                <a:off x="10044138" y="2941371"/>
                <a:ext cx="102232" cy="102204"/>
              </a:xfrm>
              <a:prstGeom prst="ellipse">
                <a:avLst/>
              </a:prstGeom>
              <a:grpFill/>
              <a:ln>
                <a:noFill/>
              </a:ln>
              <a:effectLst/>
            </p:spPr>
            <p:txBody>
              <a:bodyPr wrap="none" anchor="ctr"/>
              <a:lstStyle/>
              <a:p>
                <a:pPr defTabSz="932110"/>
                <a:endParaRPr lang="en-US" sz="1836" dirty="0">
                  <a:solidFill>
                    <a:srgbClr val="FF0000"/>
                  </a:solidFill>
                </a:endParaRPr>
              </a:p>
            </p:txBody>
          </p:sp>
          <p:sp>
            <p:nvSpPr>
              <p:cNvPr id="739" name="Oval 631"/>
              <p:cNvSpPr>
                <a:spLocks noChangeAspect="1" noChangeArrowheads="1"/>
              </p:cNvSpPr>
              <p:nvPr userDrawn="1"/>
            </p:nvSpPr>
            <p:spPr bwMode="auto">
              <a:xfrm>
                <a:off x="2425197" y="306509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40" name="Oval 632"/>
              <p:cNvSpPr>
                <a:spLocks noChangeAspect="1" noChangeArrowheads="1"/>
              </p:cNvSpPr>
              <p:nvPr userDrawn="1"/>
            </p:nvSpPr>
            <p:spPr bwMode="auto">
              <a:xfrm>
                <a:off x="2559713" y="306509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41" name="Oval 633"/>
              <p:cNvSpPr>
                <a:spLocks noChangeAspect="1" noChangeArrowheads="1"/>
              </p:cNvSpPr>
              <p:nvPr userDrawn="1"/>
            </p:nvSpPr>
            <p:spPr bwMode="auto">
              <a:xfrm>
                <a:off x="2692435" y="306509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42" name="Oval 634"/>
              <p:cNvSpPr>
                <a:spLocks noChangeAspect="1" noChangeArrowheads="1"/>
              </p:cNvSpPr>
              <p:nvPr userDrawn="1"/>
            </p:nvSpPr>
            <p:spPr bwMode="auto">
              <a:xfrm>
                <a:off x="2826949" y="306509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43" name="Oval 635"/>
              <p:cNvSpPr>
                <a:spLocks noChangeAspect="1" noChangeArrowheads="1"/>
              </p:cNvSpPr>
              <p:nvPr userDrawn="1"/>
            </p:nvSpPr>
            <p:spPr bwMode="auto">
              <a:xfrm>
                <a:off x="2959671" y="306509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44" name="Oval 636"/>
              <p:cNvSpPr>
                <a:spLocks noChangeAspect="1" noChangeArrowheads="1"/>
              </p:cNvSpPr>
              <p:nvPr userDrawn="1"/>
            </p:nvSpPr>
            <p:spPr bwMode="auto">
              <a:xfrm>
                <a:off x="3094186" y="306509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45" name="Oval 637"/>
              <p:cNvSpPr>
                <a:spLocks noChangeAspect="1" noChangeArrowheads="1"/>
              </p:cNvSpPr>
              <p:nvPr userDrawn="1"/>
            </p:nvSpPr>
            <p:spPr bwMode="auto">
              <a:xfrm>
                <a:off x="3226908" y="306509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46" name="Oval 638"/>
              <p:cNvSpPr>
                <a:spLocks noChangeAspect="1" noChangeArrowheads="1"/>
              </p:cNvSpPr>
              <p:nvPr userDrawn="1"/>
            </p:nvSpPr>
            <p:spPr bwMode="auto">
              <a:xfrm>
                <a:off x="3361423" y="306509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47" name="Oval 639"/>
              <p:cNvSpPr>
                <a:spLocks noChangeAspect="1" noChangeArrowheads="1"/>
              </p:cNvSpPr>
              <p:nvPr userDrawn="1"/>
            </p:nvSpPr>
            <p:spPr bwMode="auto">
              <a:xfrm>
                <a:off x="3494145" y="306509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48" name="Oval 640"/>
              <p:cNvSpPr>
                <a:spLocks noChangeAspect="1" noChangeArrowheads="1"/>
              </p:cNvSpPr>
              <p:nvPr userDrawn="1"/>
            </p:nvSpPr>
            <p:spPr bwMode="auto">
              <a:xfrm>
                <a:off x="3628660" y="306509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49" name="Oval 641"/>
              <p:cNvSpPr>
                <a:spLocks noChangeAspect="1" noChangeArrowheads="1"/>
              </p:cNvSpPr>
              <p:nvPr userDrawn="1"/>
            </p:nvSpPr>
            <p:spPr bwMode="auto">
              <a:xfrm>
                <a:off x="3761382" y="306509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50" name="Oval 642"/>
              <p:cNvSpPr>
                <a:spLocks noChangeAspect="1" noChangeArrowheads="1"/>
              </p:cNvSpPr>
              <p:nvPr userDrawn="1"/>
            </p:nvSpPr>
            <p:spPr bwMode="auto">
              <a:xfrm>
                <a:off x="3895896" y="306509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51" name="Oval 643"/>
              <p:cNvSpPr>
                <a:spLocks noChangeAspect="1" noChangeArrowheads="1"/>
              </p:cNvSpPr>
              <p:nvPr userDrawn="1"/>
            </p:nvSpPr>
            <p:spPr bwMode="auto">
              <a:xfrm>
                <a:off x="4028618" y="306509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52" name="Oval 644"/>
              <p:cNvSpPr>
                <a:spLocks noChangeAspect="1" noChangeArrowheads="1"/>
              </p:cNvSpPr>
              <p:nvPr userDrawn="1"/>
            </p:nvSpPr>
            <p:spPr bwMode="auto">
              <a:xfrm>
                <a:off x="5901070" y="306509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53" name="Oval 645"/>
              <p:cNvSpPr>
                <a:spLocks noChangeAspect="1" noChangeArrowheads="1"/>
              </p:cNvSpPr>
              <p:nvPr userDrawn="1"/>
            </p:nvSpPr>
            <p:spPr bwMode="auto">
              <a:xfrm>
                <a:off x="6033792" y="306509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54" name="Oval 646"/>
              <p:cNvSpPr>
                <a:spLocks noChangeAspect="1" noChangeArrowheads="1"/>
              </p:cNvSpPr>
              <p:nvPr userDrawn="1"/>
            </p:nvSpPr>
            <p:spPr bwMode="auto">
              <a:xfrm>
                <a:off x="6168307" y="306509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55" name="Oval 647"/>
              <p:cNvSpPr>
                <a:spLocks noChangeAspect="1" noChangeArrowheads="1"/>
              </p:cNvSpPr>
              <p:nvPr userDrawn="1"/>
            </p:nvSpPr>
            <p:spPr bwMode="auto">
              <a:xfrm>
                <a:off x="6301029" y="306509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56" name="Oval 648"/>
              <p:cNvSpPr>
                <a:spLocks noChangeAspect="1" noChangeArrowheads="1"/>
              </p:cNvSpPr>
              <p:nvPr userDrawn="1"/>
            </p:nvSpPr>
            <p:spPr bwMode="auto">
              <a:xfrm>
                <a:off x="6435544" y="306509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57" name="Oval 649"/>
              <p:cNvSpPr>
                <a:spLocks noChangeAspect="1" noChangeArrowheads="1"/>
              </p:cNvSpPr>
              <p:nvPr userDrawn="1"/>
            </p:nvSpPr>
            <p:spPr bwMode="auto">
              <a:xfrm>
                <a:off x="6568266" y="306509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58" name="Oval 650"/>
              <p:cNvSpPr>
                <a:spLocks noChangeAspect="1" noChangeArrowheads="1"/>
              </p:cNvSpPr>
              <p:nvPr userDrawn="1"/>
            </p:nvSpPr>
            <p:spPr bwMode="auto">
              <a:xfrm>
                <a:off x="6702781" y="306509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59" name="Oval 651"/>
              <p:cNvSpPr>
                <a:spLocks noChangeAspect="1" noChangeArrowheads="1"/>
              </p:cNvSpPr>
              <p:nvPr userDrawn="1"/>
            </p:nvSpPr>
            <p:spPr bwMode="auto">
              <a:xfrm>
                <a:off x="6970017" y="306509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60" name="Oval 652"/>
              <p:cNvSpPr>
                <a:spLocks noChangeAspect="1" noChangeArrowheads="1"/>
              </p:cNvSpPr>
              <p:nvPr userDrawn="1"/>
            </p:nvSpPr>
            <p:spPr bwMode="auto">
              <a:xfrm>
                <a:off x="7102739" y="306509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61" name="Oval 653"/>
              <p:cNvSpPr>
                <a:spLocks noChangeAspect="1" noChangeArrowheads="1"/>
              </p:cNvSpPr>
              <p:nvPr userDrawn="1"/>
            </p:nvSpPr>
            <p:spPr bwMode="auto">
              <a:xfrm>
                <a:off x="7237255" y="306509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62" name="Oval 654"/>
              <p:cNvSpPr>
                <a:spLocks noChangeAspect="1" noChangeArrowheads="1"/>
              </p:cNvSpPr>
              <p:nvPr userDrawn="1"/>
            </p:nvSpPr>
            <p:spPr bwMode="auto">
              <a:xfrm>
                <a:off x="7369977" y="306509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63" name="Oval 655"/>
              <p:cNvSpPr>
                <a:spLocks noChangeAspect="1" noChangeArrowheads="1"/>
              </p:cNvSpPr>
              <p:nvPr userDrawn="1"/>
            </p:nvSpPr>
            <p:spPr bwMode="auto">
              <a:xfrm>
                <a:off x="7504491" y="306509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64" name="Oval 656"/>
              <p:cNvSpPr>
                <a:spLocks noChangeAspect="1" noChangeArrowheads="1"/>
              </p:cNvSpPr>
              <p:nvPr userDrawn="1"/>
            </p:nvSpPr>
            <p:spPr bwMode="auto">
              <a:xfrm>
                <a:off x="7771728" y="306509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65" name="Oval 657"/>
              <p:cNvSpPr>
                <a:spLocks noChangeAspect="1" noChangeArrowheads="1"/>
              </p:cNvSpPr>
              <p:nvPr userDrawn="1"/>
            </p:nvSpPr>
            <p:spPr bwMode="auto">
              <a:xfrm>
                <a:off x="7906244" y="306509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66" name="Oval 658"/>
              <p:cNvSpPr>
                <a:spLocks noChangeAspect="1" noChangeArrowheads="1"/>
              </p:cNvSpPr>
              <p:nvPr userDrawn="1"/>
            </p:nvSpPr>
            <p:spPr bwMode="auto">
              <a:xfrm>
                <a:off x="8038965" y="306509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67" name="Oval 659"/>
              <p:cNvSpPr>
                <a:spLocks noChangeAspect="1" noChangeArrowheads="1"/>
              </p:cNvSpPr>
              <p:nvPr userDrawn="1"/>
            </p:nvSpPr>
            <p:spPr bwMode="auto">
              <a:xfrm>
                <a:off x="8173481" y="306509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68" name="Oval 660"/>
              <p:cNvSpPr>
                <a:spLocks noChangeAspect="1" noChangeArrowheads="1"/>
              </p:cNvSpPr>
              <p:nvPr userDrawn="1"/>
            </p:nvSpPr>
            <p:spPr bwMode="auto">
              <a:xfrm>
                <a:off x="8306202" y="306509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69" name="Oval 661"/>
              <p:cNvSpPr>
                <a:spLocks noChangeAspect="1" noChangeArrowheads="1"/>
              </p:cNvSpPr>
              <p:nvPr userDrawn="1"/>
            </p:nvSpPr>
            <p:spPr bwMode="auto">
              <a:xfrm>
                <a:off x="8440717" y="306509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70" name="Oval 662"/>
              <p:cNvSpPr>
                <a:spLocks noChangeAspect="1" noChangeArrowheads="1"/>
              </p:cNvSpPr>
              <p:nvPr userDrawn="1"/>
            </p:nvSpPr>
            <p:spPr bwMode="auto">
              <a:xfrm>
                <a:off x="8573438" y="306509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71" name="Oval 663"/>
              <p:cNvSpPr>
                <a:spLocks noChangeAspect="1" noChangeArrowheads="1"/>
              </p:cNvSpPr>
              <p:nvPr userDrawn="1"/>
            </p:nvSpPr>
            <p:spPr bwMode="auto">
              <a:xfrm>
                <a:off x="8707955" y="306509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72" name="Oval 664"/>
              <p:cNvSpPr>
                <a:spLocks noChangeAspect="1" noChangeArrowheads="1"/>
              </p:cNvSpPr>
              <p:nvPr userDrawn="1"/>
            </p:nvSpPr>
            <p:spPr bwMode="auto">
              <a:xfrm>
                <a:off x="8840677" y="306509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73" name="Oval 665"/>
              <p:cNvSpPr>
                <a:spLocks noChangeAspect="1" noChangeArrowheads="1"/>
              </p:cNvSpPr>
              <p:nvPr userDrawn="1"/>
            </p:nvSpPr>
            <p:spPr bwMode="auto">
              <a:xfrm>
                <a:off x="8975191" y="306509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74" name="Oval 666"/>
              <p:cNvSpPr>
                <a:spLocks noChangeAspect="1" noChangeArrowheads="1"/>
              </p:cNvSpPr>
              <p:nvPr userDrawn="1"/>
            </p:nvSpPr>
            <p:spPr bwMode="auto">
              <a:xfrm>
                <a:off x="9107912" y="306509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75" name="Oval 667"/>
              <p:cNvSpPr>
                <a:spLocks noChangeAspect="1" noChangeArrowheads="1"/>
              </p:cNvSpPr>
              <p:nvPr userDrawn="1"/>
            </p:nvSpPr>
            <p:spPr bwMode="auto">
              <a:xfrm>
                <a:off x="9242428" y="306509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76" name="Oval 668"/>
              <p:cNvSpPr>
                <a:spLocks noChangeAspect="1" noChangeArrowheads="1"/>
              </p:cNvSpPr>
              <p:nvPr userDrawn="1"/>
            </p:nvSpPr>
            <p:spPr bwMode="auto">
              <a:xfrm>
                <a:off x="9375149" y="306509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77" name="Oval 669"/>
              <p:cNvSpPr>
                <a:spLocks noChangeAspect="1" noChangeArrowheads="1"/>
              </p:cNvSpPr>
              <p:nvPr userDrawn="1"/>
            </p:nvSpPr>
            <p:spPr bwMode="auto">
              <a:xfrm>
                <a:off x="9509665" y="306509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78" name="Oval 670"/>
              <p:cNvSpPr>
                <a:spLocks noChangeAspect="1" noChangeArrowheads="1"/>
              </p:cNvSpPr>
              <p:nvPr userDrawn="1"/>
            </p:nvSpPr>
            <p:spPr bwMode="auto">
              <a:xfrm>
                <a:off x="9642387" y="306509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79" name="Oval 671"/>
              <p:cNvSpPr>
                <a:spLocks noChangeAspect="1" noChangeArrowheads="1"/>
              </p:cNvSpPr>
              <p:nvPr userDrawn="1"/>
            </p:nvSpPr>
            <p:spPr bwMode="auto">
              <a:xfrm>
                <a:off x="2425197" y="318702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80" name="Oval 672"/>
              <p:cNvSpPr>
                <a:spLocks noChangeAspect="1" noChangeArrowheads="1"/>
              </p:cNvSpPr>
              <p:nvPr userDrawn="1"/>
            </p:nvSpPr>
            <p:spPr bwMode="auto">
              <a:xfrm>
                <a:off x="2559713" y="318702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81" name="Oval 673"/>
              <p:cNvSpPr>
                <a:spLocks noChangeAspect="1" noChangeArrowheads="1"/>
              </p:cNvSpPr>
              <p:nvPr userDrawn="1"/>
            </p:nvSpPr>
            <p:spPr bwMode="auto">
              <a:xfrm>
                <a:off x="2692435" y="318702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82" name="Oval 674"/>
              <p:cNvSpPr>
                <a:spLocks noChangeAspect="1" noChangeArrowheads="1"/>
              </p:cNvSpPr>
              <p:nvPr userDrawn="1"/>
            </p:nvSpPr>
            <p:spPr bwMode="auto">
              <a:xfrm>
                <a:off x="2826949" y="318702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83" name="Oval 675"/>
              <p:cNvSpPr>
                <a:spLocks noChangeAspect="1" noChangeArrowheads="1"/>
              </p:cNvSpPr>
              <p:nvPr userDrawn="1"/>
            </p:nvSpPr>
            <p:spPr bwMode="auto">
              <a:xfrm>
                <a:off x="2959671" y="318702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84" name="Oval 676"/>
              <p:cNvSpPr>
                <a:spLocks noChangeAspect="1" noChangeArrowheads="1"/>
              </p:cNvSpPr>
              <p:nvPr userDrawn="1"/>
            </p:nvSpPr>
            <p:spPr bwMode="auto">
              <a:xfrm>
                <a:off x="3094186" y="318702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85" name="Oval 677"/>
              <p:cNvSpPr>
                <a:spLocks noChangeAspect="1" noChangeArrowheads="1"/>
              </p:cNvSpPr>
              <p:nvPr userDrawn="1"/>
            </p:nvSpPr>
            <p:spPr bwMode="auto">
              <a:xfrm>
                <a:off x="3226908" y="318702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86" name="Oval 678"/>
              <p:cNvSpPr>
                <a:spLocks noChangeAspect="1" noChangeArrowheads="1"/>
              </p:cNvSpPr>
              <p:nvPr userDrawn="1"/>
            </p:nvSpPr>
            <p:spPr bwMode="auto">
              <a:xfrm>
                <a:off x="3361423" y="318702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87" name="Oval 679"/>
              <p:cNvSpPr>
                <a:spLocks noChangeAspect="1" noChangeArrowheads="1"/>
              </p:cNvSpPr>
              <p:nvPr userDrawn="1"/>
            </p:nvSpPr>
            <p:spPr bwMode="auto">
              <a:xfrm>
                <a:off x="3494145" y="318702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88" name="Oval 680"/>
              <p:cNvSpPr>
                <a:spLocks noChangeAspect="1" noChangeArrowheads="1"/>
              </p:cNvSpPr>
              <p:nvPr userDrawn="1"/>
            </p:nvSpPr>
            <p:spPr bwMode="auto">
              <a:xfrm>
                <a:off x="3628660" y="318702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89" name="Oval 681"/>
              <p:cNvSpPr>
                <a:spLocks noChangeAspect="1" noChangeArrowheads="1"/>
              </p:cNvSpPr>
              <p:nvPr userDrawn="1"/>
            </p:nvSpPr>
            <p:spPr bwMode="auto">
              <a:xfrm>
                <a:off x="3761382" y="318702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90" name="Oval 682"/>
              <p:cNvSpPr>
                <a:spLocks noChangeAspect="1" noChangeArrowheads="1"/>
              </p:cNvSpPr>
              <p:nvPr userDrawn="1"/>
            </p:nvSpPr>
            <p:spPr bwMode="auto">
              <a:xfrm>
                <a:off x="3895896" y="318702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91" name="Oval 683"/>
              <p:cNvSpPr>
                <a:spLocks noChangeAspect="1" noChangeArrowheads="1"/>
              </p:cNvSpPr>
              <p:nvPr userDrawn="1"/>
            </p:nvSpPr>
            <p:spPr bwMode="auto">
              <a:xfrm>
                <a:off x="5633834" y="318702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92" name="Oval 684"/>
              <p:cNvSpPr>
                <a:spLocks noChangeAspect="1" noChangeArrowheads="1"/>
              </p:cNvSpPr>
              <p:nvPr userDrawn="1"/>
            </p:nvSpPr>
            <p:spPr bwMode="auto">
              <a:xfrm>
                <a:off x="5766556" y="318702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93" name="Oval 685"/>
              <p:cNvSpPr>
                <a:spLocks noChangeAspect="1" noChangeArrowheads="1"/>
              </p:cNvSpPr>
              <p:nvPr userDrawn="1"/>
            </p:nvSpPr>
            <p:spPr bwMode="auto">
              <a:xfrm>
                <a:off x="5901070" y="318702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94" name="Oval 686"/>
              <p:cNvSpPr>
                <a:spLocks noChangeAspect="1" noChangeArrowheads="1"/>
              </p:cNvSpPr>
              <p:nvPr userDrawn="1"/>
            </p:nvSpPr>
            <p:spPr bwMode="auto">
              <a:xfrm>
                <a:off x="6301029" y="318702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95" name="Oval 687"/>
              <p:cNvSpPr>
                <a:spLocks noChangeAspect="1" noChangeArrowheads="1"/>
              </p:cNvSpPr>
              <p:nvPr userDrawn="1"/>
            </p:nvSpPr>
            <p:spPr bwMode="auto">
              <a:xfrm>
                <a:off x="6435544" y="318702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96" name="Oval 688"/>
              <p:cNvSpPr>
                <a:spLocks noChangeAspect="1" noChangeArrowheads="1"/>
              </p:cNvSpPr>
              <p:nvPr userDrawn="1"/>
            </p:nvSpPr>
            <p:spPr bwMode="auto">
              <a:xfrm>
                <a:off x="6568266" y="318702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97" name="Oval 689"/>
              <p:cNvSpPr>
                <a:spLocks noChangeAspect="1" noChangeArrowheads="1"/>
              </p:cNvSpPr>
              <p:nvPr userDrawn="1"/>
            </p:nvSpPr>
            <p:spPr bwMode="auto">
              <a:xfrm>
                <a:off x="6702781" y="318702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98" name="Oval 690"/>
              <p:cNvSpPr>
                <a:spLocks noChangeAspect="1" noChangeArrowheads="1"/>
              </p:cNvSpPr>
              <p:nvPr userDrawn="1"/>
            </p:nvSpPr>
            <p:spPr bwMode="auto">
              <a:xfrm>
                <a:off x="6835503" y="318702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799" name="Oval 691"/>
              <p:cNvSpPr>
                <a:spLocks noChangeAspect="1" noChangeArrowheads="1"/>
              </p:cNvSpPr>
              <p:nvPr userDrawn="1"/>
            </p:nvSpPr>
            <p:spPr bwMode="auto">
              <a:xfrm>
                <a:off x="6970017" y="318702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00" name="Oval 692"/>
              <p:cNvSpPr>
                <a:spLocks noChangeAspect="1" noChangeArrowheads="1"/>
              </p:cNvSpPr>
              <p:nvPr userDrawn="1"/>
            </p:nvSpPr>
            <p:spPr bwMode="auto">
              <a:xfrm>
                <a:off x="7102739" y="318702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01" name="Oval 693"/>
              <p:cNvSpPr>
                <a:spLocks noChangeAspect="1" noChangeArrowheads="1"/>
              </p:cNvSpPr>
              <p:nvPr userDrawn="1"/>
            </p:nvSpPr>
            <p:spPr bwMode="auto">
              <a:xfrm>
                <a:off x="7237255" y="318702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02" name="Oval 694"/>
              <p:cNvSpPr>
                <a:spLocks noChangeAspect="1" noChangeArrowheads="1"/>
              </p:cNvSpPr>
              <p:nvPr userDrawn="1"/>
            </p:nvSpPr>
            <p:spPr bwMode="auto">
              <a:xfrm>
                <a:off x="7504491" y="318702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03" name="Oval 695"/>
              <p:cNvSpPr>
                <a:spLocks noChangeAspect="1" noChangeArrowheads="1"/>
              </p:cNvSpPr>
              <p:nvPr userDrawn="1"/>
            </p:nvSpPr>
            <p:spPr bwMode="auto">
              <a:xfrm>
                <a:off x="7637213" y="318702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04" name="Oval 696"/>
              <p:cNvSpPr>
                <a:spLocks noChangeAspect="1" noChangeArrowheads="1"/>
              </p:cNvSpPr>
              <p:nvPr userDrawn="1"/>
            </p:nvSpPr>
            <p:spPr bwMode="auto">
              <a:xfrm>
                <a:off x="7771728" y="318702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05" name="Oval 697"/>
              <p:cNvSpPr>
                <a:spLocks noChangeAspect="1" noChangeArrowheads="1"/>
              </p:cNvSpPr>
              <p:nvPr userDrawn="1"/>
            </p:nvSpPr>
            <p:spPr bwMode="auto">
              <a:xfrm>
                <a:off x="7906244" y="318702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06" name="Oval 698"/>
              <p:cNvSpPr>
                <a:spLocks noChangeAspect="1" noChangeArrowheads="1"/>
              </p:cNvSpPr>
              <p:nvPr userDrawn="1"/>
            </p:nvSpPr>
            <p:spPr bwMode="auto">
              <a:xfrm>
                <a:off x="8038965" y="318702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07" name="Oval 699"/>
              <p:cNvSpPr>
                <a:spLocks noChangeAspect="1" noChangeArrowheads="1"/>
              </p:cNvSpPr>
              <p:nvPr userDrawn="1"/>
            </p:nvSpPr>
            <p:spPr bwMode="auto">
              <a:xfrm>
                <a:off x="8173481" y="318702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08" name="Oval 700"/>
              <p:cNvSpPr>
                <a:spLocks noChangeAspect="1" noChangeArrowheads="1"/>
              </p:cNvSpPr>
              <p:nvPr userDrawn="1"/>
            </p:nvSpPr>
            <p:spPr bwMode="auto">
              <a:xfrm>
                <a:off x="8306202" y="318702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09" name="Oval 701"/>
              <p:cNvSpPr>
                <a:spLocks noChangeAspect="1" noChangeArrowheads="1"/>
              </p:cNvSpPr>
              <p:nvPr userDrawn="1"/>
            </p:nvSpPr>
            <p:spPr bwMode="auto">
              <a:xfrm>
                <a:off x="8440717" y="318702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10" name="Oval 702"/>
              <p:cNvSpPr>
                <a:spLocks noChangeAspect="1" noChangeArrowheads="1"/>
              </p:cNvSpPr>
              <p:nvPr userDrawn="1"/>
            </p:nvSpPr>
            <p:spPr bwMode="auto">
              <a:xfrm>
                <a:off x="8573438" y="318702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11" name="Oval 703"/>
              <p:cNvSpPr>
                <a:spLocks noChangeAspect="1" noChangeArrowheads="1"/>
              </p:cNvSpPr>
              <p:nvPr userDrawn="1"/>
            </p:nvSpPr>
            <p:spPr bwMode="auto">
              <a:xfrm>
                <a:off x="8707955" y="318702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12" name="Oval 704"/>
              <p:cNvSpPr>
                <a:spLocks noChangeAspect="1" noChangeArrowheads="1"/>
              </p:cNvSpPr>
              <p:nvPr userDrawn="1"/>
            </p:nvSpPr>
            <p:spPr bwMode="auto">
              <a:xfrm>
                <a:off x="8840677" y="318702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13" name="Oval 705"/>
              <p:cNvSpPr>
                <a:spLocks noChangeAspect="1" noChangeArrowheads="1"/>
              </p:cNvSpPr>
              <p:nvPr userDrawn="1"/>
            </p:nvSpPr>
            <p:spPr bwMode="auto">
              <a:xfrm>
                <a:off x="8975191" y="318702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14" name="Oval 706"/>
              <p:cNvSpPr>
                <a:spLocks noChangeAspect="1" noChangeArrowheads="1"/>
              </p:cNvSpPr>
              <p:nvPr userDrawn="1"/>
            </p:nvSpPr>
            <p:spPr bwMode="auto">
              <a:xfrm>
                <a:off x="9107912" y="318702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15" name="Oval 707"/>
              <p:cNvSpPr>
                <a:spLocks noChangeAspect="1" noChangeArrowheads="1"/>
              </p:cNvSpPr>
              <p:nvPr userDrawn="1"/>
            </p:nvSpPr>
            <p:spPr bwMode="auto">
              <a:xfrm>
                <a:off x="9242428" y="318702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16" name="Oval 708"/>
              <p:cNvSpPr>
                <a:spLocks noChangeAspect="1" noChangeArrowheads="1"/>
              </p:cNvSpPr>
              <p:nvPr userDrawn="1"/>
            </p:nvSpPr>
            <p:spPr bwMode="auto">
              <a:xfrm>
                <a:off x="9375149" y="318702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17" name="Oval 709"/>
              <p:cNvSpPr>
                <a:spLocks noChangeAspect="1" noChangeArrowheads="1"/>
              </p:cNvSpPr>
              <p:nvPr userDrawn="1"/>
            </p:nvSpPr>
            <p:spPr bwMode="auto">
              <a:xfrm>
                <a:off x="9509665" y="318702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18" name="Oval 710"/>
              <p:cNvSpPr>
                <a:spLocks noChangeAspect="1" noChangeArrowheads="1"/>
              </p:cNvSpPr>
              <p:nvPr userDrawn="1"/>
            </p:nvSpPr>
            <p:spPr bwMode="auto">
              <a:xfrm>
                <a:off x="9776902" y="318702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19" name="Oval 711"/>
              <p:cNvSpPr>
                <a:spLocks noChangeAspect="1" noChangeArrowheads="1"/>
              </p:cNvSpPr>
              <p:nvPr userDrawn="1"/>
            </p:nvSpPr>
            <p:spPr bwMode="auto">
              <a:xfrm>
                <a:off x="2425197" y="3310744"/>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20" name="Oval 712"/>
              <p:cNvSpPr>
                <a:spLocks noChangeAspect="1" noChangeArrowheads="1"/>
              </p:cNvSpPr>
              <p:nvPr userDrawn="1"/>
            </p:nvSpPr>
            <p:spPr bwMode="auto">
              <a:xfrm>
                <a:off x="2559713" y="3310744"/>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21" name="Oval 713"/>
              <p:cNvSpPr>
                <a:spLocks noChangeAspect="1" noChangeArrowheads="1"/>
              </p:cNvSpPr>
              <p:nvPr userDrawn="1"/>
            </p:nvSpPr>
            <p:spPr bwMode="auto">
              <a:xfrm>
                <a:off x="2692435" y="3310744"/>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22" name="Oval 714"/>
              <p:cNvSpPr>
                <a:spLocks noChangeAspect="1" noChangeArrowheads="1"/>
              </p:cNvSpPr>
              <p:nvPr userDrawn="1"/>
            </p:nvSpPr>
            <p:spPr bwMode="auto">
              <a:xfrm>
                <a:off x="2826949" y="3310744"/>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23" name="Oval 715"/>
              <p:cNvSpPr>
                <a:spLocks noChangeAspect="1" noChangeArrowheads="1"/>
              </p:cNvSpPr>
              <p:nvPr userDrawn="1"/>
            </p:nvSpPr>
            <p:spPr bwMode="auto">
              <a:xfrm>
                <a:off x="2959671" y="3310744"/>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24" name="Oval 716"/>
              <p:cNvSpPr>
                <a:spLocks noChangeAspect="1" noChangeArrowheads="1"/>
              </p:cNvSpPr>
              <p:nvPr userDrawn="1"/>
            </p:nvSpPr>
            <p:spPr bwMode="auto">
              <a:xfrm>
                <a:off x="3094186" y="3310744"/>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25" name="Oval 717"/>
              <p:cNvSpPr>
                <a:spLocks noChangeAspect="1" noChangeArrowheads="1"/>
              </p:cNvSpPr>
              <p:nvPr userDrawn="1"/>
            </p:nvSpPr>
            <p:spPr bwMode="auto">
              <a:xfrm>
                <a:off x="3226908" y="3310744"/>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26" name="Oval 718"/>
              <p:cNvSpPr>
                <a:spLocks noChangeAspect="1" noChangeArrowheads="1"/>
              </p:cNvSpPr>
              <p:nvPr userDrawn="1"/>
            </p:nvSpPr>
            <p:spPr bwMode="auto">
              <a:xfrm>
                <a:off x="3361423" y="3310744"/>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27" name="Oval 719"/>
              <p:cNvSpPr>
                <a:spLocks noChangeAspect="1" noChangeArrowheads="1"/>
              </p:cNvSpPr>
              <p:nvPr userDrawn="1"/>
            </p:nvSpPr>
            <p:spPr bwMode="auto">
              <a:xfrm>
                <a:off x="3494145" y="3310744"/>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28" name="Oval 720"/>
              <p:cNvSpPr>
                <a:spLocks noChangeAspect="1" noChangeArrowheads="1"/>
              </p:cNvSpPr>
              <p:nvPr userDrawn="1"/>
            </p:nvSpPr>
            <p:spPr bwMode="auto">
              <a:xfrm>
                <a:off x="3628660" y="3310744"/>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29" name="Oval 721"/>
              <p:cNvSpPr>
                <a:spLocks noChangeAspect="1" noChangeArrowheads="1"/>
              </p:cNvSpPr>
              <p:nvPr userDrawn="1"/>
            </p:nvSpPr>
            <p:spPr bwMode="auto">
              <a:xfrm>
                <a:off x="3761382" y="3310744"/>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30" name="Oval 722"/>
              <p:cNvSpPr>
                <a:spLocks noChangeAspect="1" noChangeArrowheads="1"/>
              </p:cNvSpPr>
              <p:nvPr userDrawn="1"/>
            </p:nvSpPr>
            <p:spPr bwMode="auto">
              <a:xfrm>
                <a:off x="5633834" y="3310744"/>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31" name="Oval 723"/>
              <p:cNvSpPr>
                <a:spLocks noChangeAspect="1" noChangeArrowheads="1"/>
              </p:cNvSpPr>
              <p:nvPr userDrawn="1"/>
            </p:nvSpPr>
            <p:spPr bwMode="auto">
              <a:xfrm>
                <a:off x="5766556" y="3310744"/>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32" name="Oval 724"/>
              <p:cNvSpPr>
                <a:spLocks noChangeAspect="1" noChangeArrowheads="1"/>
              </p:cNvSpPr>
              <p:nvPr userDrawn="1"/>
            </p:nvSpPr>
            <p:spPr bwMode="auto">
              <a:xfrm>
                <a:off x="6301029" y="3310744"/>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33" name="Oval 725"/>
              <p:cNvSpPr>
                <a:spLocks noChangeAspect="1" noChangeArrowheads="1"/>
              </p:cNvSpPr>
              <p:nvPr userDrawn="1"/>
            </p:nvSpPr>
            <p:spPr bwMode="auto">
              <a:xfrm>
                <a:off x="6568266" y="3310744"/>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34" name="Oval 726"/>
              <p:cNvSpPr>
                <a:spLocks noChangeAspect="1" noChangeArrowheads="1"/>
              </p:cNvSpPr>
              <p:nvPr userDrawn="1"/>
            </p:nvSpPr>
            <p:spPr bwMode="auto">
              <a:xfrm>
                <a:off x="6702781" y="3310744"/>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35" name="Oval 727"/>
              <p:cNvSpPr>
                <a:spLocks noChangeAspect="1" noChangeArrowheads="1"/>
              </p:cNvSpPr>
              <p:nvPr userDrawn="1"/>
            </p:nvSpPr>
            <p:spPr bwMode="auto">
              <a:xfrm>
                <a:off x="6835503" y="3310744"/>
                <a:ext cx="102231" cy="102204"/>
              </a:xfrm>
              <a:prstGeom prst="ellipse">
                <a:avLst/>
              </a:prstGeom>
              <a:grpFill/>
              <a:ln>
                <a:noFill/>
              </a:ln>
              <a:effectLst/>
            </p:spPr>
            <p:txBody>
              <a:bodyPr wrap="none" anchor="ctr"/>
              <a:lstStyle/>
              <a:p>
                <a:pPr defTabSz="932110"/>
                <a:endParaRPr lang="en-US" sz="1836" dirty="0">
                  <a:solidFill>
                    <a:srgbClr val="FF0000"/>
                  </a:solidFill>
                </a:endParaRPr>
              </a:p>
            </p:txBody>
          </p:sp>
          <p:sp>
            <p:nvSpPr>
              <p:cNvPr id="836" name="Oval 728"/>
              <p:cNvSpPr>
                <a:spLocks noChangeAspect="1" noChangeArrowheads="1"/>
              </p:cNvSpPr>
              <p:nvPr userDrawn="1"/>
            </p:nvSpPr>
            <p:spPr bwMode="auto">
              <a:xfrm>
                <a:off x="6970017" y="3310744"/>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37" name="Oval 729"/>
              <p:cNvSpPr>
                <a:spLocks noChangeAspect="1" noChangeArrowheads="1"/>
              </p:cNvSpPr>
              <p:nvPr userDrawn="1"/>
            </p:nvSpPr>
            <p:spPr bwMode="auto">
              <a:xfrm>
                <a:off x="7102739" y="3310744"/>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38" name="Oval 730"/>
              <p:cNvSpPr>
                <a:spLocks noChangeAspect="1" noChangeArrowheads="1"/>
              </p:cNvSpPr>
              <p:nvPr userDrawn="1"/>
            </p:nvSpPr>
            <p:spPr bwMode="auto">
              <a:xfrm>
                <a:off x="7237255" y="3310744"/>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39" name="Oval 731"/>
              <p:cNvSpPr>
                <a:spLocks noChangeAspect="1" noChangeArrowheads="1"/>
              </p:cNvSpPr>
              <p:nvPr userDrawn="1"/>
            </p:nvSpPr>
            <p:spPr bwMode="auto">
              <a:xfrm>
                <a:off x="7504491" y="3310744"/>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40" name="Oval 732"/>
              <p:cNvSpPr>
                <a:spLocks noChangeAspect="1" noChangeArrowheads="1"/>
              </p:cNvSpPr>
              <p:nvPr userDrawn="1"/>
            </p:nvSpPr>
            <p:spPr bwMode="auto">
              <a:xfrm>
                <a:off x="7637213" y="3310744"/>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41" name="Oval 733"/>
              <p:cNvSpPr>
                <a:spLocks noChangeAspect="1" noChangeArrowheads="1"/>
              </p:cNvSpPr>
              <p:nvPr userDrawn="1"/>
            </p:nvSpPr>
            <p:spPr bwMode="auto">
              <a:xfrm>
                <a:off x="7771728" y="3310744"/>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42" name="Oval 734"/>
              <p:cNvSpPr>
                <a:spLocks noChangeAspect="1" noChangeArrowheads="1"/>
              </p:cNvSpPr>
              <p:nvPr userDrawn="1"/>
            </p:nvSpPr>
            <p:spPr bwMode="auto">
              <a:xfrm>
                <a:off x="7906244" y="3310744"/>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43" name="Oval 735"/>
              <p:cNvSpPr>
                <a:spLocks noChangeAspect="1" noChangeArrowheads="1"/>
              </p:cNvSpPr>
              <p:nvPr userDrawn="1"/>
            </p:nvSpPr>
            <p:spPr bwMode="auto">
              <a:xfrm>
                <a:off x="8038965" y="3310744"/>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44" name="Oval 736"/>
              <p:cNvSpPr>
                <a:spLocks noChangeAspect="1" noChangeArrowheads="1"/>
              </p:cNvSpPr>
              <p:nvPr userDrawn="1"/>
            </p:nvSpPr>
            <p:spPr bwMode="auto">
              <a:xfrm>
                <a:off x="8173481" y="3310744"/>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45" name="Oval 737"/>
              <p:cNvSpPr>
                <a:spLocks noChangeAspect="1" noChangeArrowheads="1"/>
              </p:cNvSpPr>
              <p:nvPr userDrawn="1"/>
            </p:nvSpPr>
            <p:spPr bwMode="auto">
              <a:xfrm>
                <a:off x="8306202" y="3310744"/>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46" name="Oval 738"/>
              <p:cNvSpPr>
                <a:spLocks noChangeAspect="1" noChangeArrowheads="1"/>
              </p:cNvSpPr>
              <p:nvPr userDrawn="1"/>
            </p:nvSpPr>
            <p:spPr bwMode="auto">
              <a:xfrm>
                <a:off x="8440717" y="3310744"/>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47" name="Oval 739"/>
              <p:cNvSpPr>
                <a:spLocks noChangeAspect="1" noChangeArrowheads="1"/>
              </p:cNvSpPr>
              <p:nvPr userDrawn="1"/>
            </p:nvSpPr>
            <p:spPr bwMode="auto">
              <a:xfrm>
                <a:off x="8573438" y="3310744"/>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48" name="Oval 740"/>
              <p:cNvSpPr>
                <a:spLocks noChangeAspect="1" noChangeArrowheads="1"/>
              </p:cNvSpPr>
              <p:nvPr userDrawn="1"/>
            </p:nvSpPr>
            <p:spPr bwMode="auto">
              <a:xfrm>
                <a:off x="8707955" y="3310744"/>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49" name="Oval 741"/>
              <p:cNvSpPr>
                <a:spLocks noChangeAspect="1" noChangeArrowheads="1"/>
              </p:cNvSpPr>
              <p:nvPr userDrawn="1"/>
            </p:nvSpPr>
            <p:spPr bwMode="auto">
              <a:xfrm>
                <a:off x="8840677" y="3310744"/>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50" name="Oval 742"/>
              <p:cNvSpPr>
                <a:spLocks noChangeAspect="1" noChangeArrowheads="1"/>
              </p:cNvSpPr>
              <p:nvPr userDrawn="1"/>
            </p:nvSpPr>
            <p:spPr bwMode="auto">
              <a:xfrm>
                <a:off x="8975191" y="3310744"/>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51" name="Oval 743"/>
              <p:cNvSpPr>
                <a:spLocks noChangeAspect="1" noChangeArrowheads="1"/>
              </p:cNvSpPr>
              <p:nvPr userDrawn="1"/>
            </p:nvSpPr>
            <p:spPr bwMode="auto">
              <a:xfrm>
                <a:off x="9107912" y="3310744"/>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52" name="Oval 744"/>
              <p:cNvSpPr>
                <a:spLocks noChangeAspect="1" noChangeArrowheads="1"/>
              </p:cNvSpPr>
              <p:nvPr userDrawn="1"/>
            </p:nvSpPr>
            <p:spPr bwMode="auto">
              <a:xfrm>
                <a:off x="9242428" y="3310744"/>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53" name="Oval 745"/>
              <p:cNvSpPr>
                <a:spLocks noChangeAspect="1" noChangeArrowheads="1"/>
              </p:cNvSpPr>
              <p:nvPr userDrawn="1"/>
            </p:nvSpPr>
            <p:spPr bwMode="auto">
              <a:xfrm>
                <a:off x="9509665" y="3310744"/>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54" name="Oval 746"/>
              <p:cNvSpPr>
                <a:spLocks noChangeAspect="1" noChangeArrowheads="1"/>
              </p:cNvSpPr>
              <p:nvPr userDrawn="1"/>
            </p:nvSpPr>
            <p:spPr bwMode="auto">
              <a:xfrm>
                <a:off x="9776902" y="3310744"/>
                <a:ext cx="102231" cy="102204"/>
              </a:xfrm>
              <a:prstGeom prst="ellipse">
                <a:avLst/>
              </a:prstGeom>
              <a:grpFill/>
              <a:ln>
                <a:noFill/>
              </a:ln>
              <a:effectLst/>
            </p:spPr>
            <p:txBody>
              <a:bodyPr wrap="none" anchor="ctr"/>
              <a:lstStyle/>
              <a:p>
                <a:pPr defTabSz="932110"/>
                <a:endParaRPr lang="en-US" sz="1836" dirty="0">
                  <a:solidFill>
                    <a:srgbClr val="FF0000"/>
                  </a:solidFill>
                </a:endParaRPr>
              </a:p>
            </p:txBody>
          </p:sp>
          <p:sp>
            <p:nvSpPr>
              <p:cNvPr id="855" name="Oval 747"/>
              <p:cNvSpPr>
                <a:spLocks noChangeAspect="1" noChangeArrowheads="1"/>
              </p:cNvSpPr>
              <p:nvPr userDrawn="1"/>
            </p:nvSpPr>
            <p:spPr bwMode="auto">
              <a:xfrm>
                <a:off x="2559713" y="343446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56" name="Oval 748"/>
              <p:cNvSpPr>
                <a:spLocks noChangeAspect="1" noChangeArrowheads="1"/>
              </p:cNvSpPr>
              <p:nvPr userDrawn="1"/>
            </p:nvSpPr>
            <p:spPr bwMode="auto">
              <a:xfrm>
                <a:off x="2692435" y="343446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57" name="Oval 749"/>
              <p:cNvSpPr>
                <a:spLocks noChangeAspect="1" noChangeArrowheads="1"/>
              </p:cNvSpPr>
              <p:nvPr userDrawn="1"/>
            </p:nvSpPr>
            <p:spPr bwMode="auto">
              <a:xfrm>
                <a:off x="2826949" y="343446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58" name="Oval 750"/>
              <p:cNvSpPr>
                <a:spLocks noChangeAspect="1" noChangeArrowheads="1"/>
              </p:cNvSpPr>
              <p:nvPr userDrawn="1"/>
            </p:nvSpPr>
            <p:spPr bwMode="auto">
              <a:xfrm>
                <a:off x="2959671" y="343446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59" name="Oval 751"/>
              <p:cNvSpPr>
                <a:spLocks noChangeAspect="1" noChangeArrowheads="1"/>
              </p:cNvSpPr>
              <p:nvPr userDrawn="1"/>
            </p:nvSpPr>
            <p:spPr bwMode="auto">
              <a:xfrm>
                <a:off x="3094186" y="343446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60" name="Oval 752"/>
              <p:cNvSpPr>
                <a:spLocks noChangeAspect="1" noChangeArrowheads="1"/>
              </p:cNvSpPr>
              <p:nvPr userDrawn="1"/>
            </p:nvSpPr>
            <p:spPr bwMode="auto">
              <a:xfrm>
                <a:off x="3226908" y="343446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61" name="Oval 753"/>
              <p:cNvSpPr>
                <a:spLocks noChangeAspect="1" noChangeArrowheads="1"/>
              </p:cNvSpPr>
              <p:nvPr userDrawn="1"/>
            </p:nvSpPr>
            <p:spPr bwMode="auto">
              <a:xfrm>
                <a:off x="3361423" y="343446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62" name="Oval 754"/>
              <p:cNvSpPr>
                <a:spLocks noChangeAspect="1" noChangeArrowheads="1"/>
              </p:cNvSpPr>
              <p:nvPr userDrawn="1"/>
            </p:nvSpPr>
            <p:spPr bwMode="auto">
              <a:xfrm>
                <a:off x="3494145" y="343446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63" name="Oval 755"/>
              <p:cNvSpPr>
                <a:spLocks noChangeAspect="1" noChangeArrowheads="1"/>
              </p:cNvSpPr>
              <p:nvPr userDrawn="1"/>
            </p:nvSpPr>
            <p:spPr bwMode="auto">
              <a:xfrm>
                <a:off x="3628660" y="343446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64" name="Oval 756"/>
              <p:cNvSpPr>
                <a:spLocks noChangeAspect="1" noChangeArrowheads="1"/>
              </p:cNvSpPr>
              <p:nvPr userDrawn="1"/>
            </p:nvSpPr>
            <p:spPr bwMode="auto">
              <a:xfrm>
                <a:off x="5766556" y="343446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65" name="Oval 757"/>
              <p:cNvSpPr>
                <a:spLocks noChangeAspect="1" noChangeArrowheads="1"/>
              </p:cNvSpPr>
              <p:nvPr userDrawn="1"/>
            </p:nvSpPr>
            <p:spPr bwMode="auto">
              <a:xfrm>
                <a:off x="5901070" y="343446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66" name="Oval 758"/>
              <p:cNvSpPr>
                <a:spLocks noChangeAspect="1" noChangeArrowheads="1"/>
              </p:cNvSpPr>
              <p:nvPr userDrawn="1"/>
            </p:nvSpPr>
            <p:spPr bwMode="auto">
              <a:xfrm>
                <a:off x="6033792" y="343446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67" name="Oval 759"/>
              <p:cNvSpPr>
                <a:spLocks noChangeAspect="1" noChangeArrowheads="1"/>
              </p:cNvSpPr>
              <p:nvPr userDrawn="1"/>
            </p:nvSpPr>
            <p:spPr bwMode="auto">
              <a:xfrm>
                <a:off x="6168307" y="343446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68" name="Oval 760"/>
              <p:cNvSpPr>
                <a:spLocks noChangeAspect="1" noChangeArrowheads="1"/>
              </p:cNvSpPr>
              <p:nvPr userDrawn="1"/>
            </p:nvSpPr>
            <p:spPr bwMode="auto">
              <a:xfrm>
                <a:off x="6970017" y="343446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69" name="Oval 761"/>
              <p:cNvSpPr>
                <a:spLocks noChangeAspect="1" noChangeArrowheads="1"/>
              </p:cNvSpPr>
              <p:nvPr userDrawn="1"/>
            </p:nvSpPr>
            <p:spPr bwMode="auto">
              <a:xfrm>
                <a:off x="7102739" y="343446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70" name="Oval 762"/>
              <p:cNvSpPr>
                <a:spLocks noChangeAspect="1" noChangeArrowheads="1"/>
              </p:cNvSpPr>
              <p:nvPr userDrawn="1"/>
            </p:nvSpPr>
            <p:spPr bwMode="auto">
              <a:xfrm>
                <a:off x="7237255" y="343446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71" name="Oval 763"/>
              <p:cNvSpPr>
                <a:spLocks noChangeAspect="1" noChangeArrowheads="1"/>
              </p:cNvSpPr>
              <p:nvPr userDrawn="1"/>
            </p:nvSpPr>
            <p:spPr bwMode="auto">
              <a:xfrm>
                <a:off x="7369977" y="343446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72" name="Oval 764"/>
              <p:cNvSpPr>
                <a:spLocks noChangeAspect="1" noChangeArrowheads="1"/>
              </p:cNvSpPr>
              <p:nvPr userDrawn="1"/>
            </p:nvSpPr>
            <p:spPr bwMode="auto">
              <a:xfrm>
                <a:off x="7504491" y="343446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73" name="Oval 765"/>
              <p:cNvSpPr>
                <a:spLocks noChangeAspect="1" noChangeArrowheads="1"/>
              </p:cNvSpPr>
              <p:nvPr userDrawn="1"/>
            </p:nvSpPr>
            <p:spPr bwMode="auto">
              <a:xfrm>
                <a:off x="7637213" y="343446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74" name="Oval 766"/>
              <p:cNvSpPr>
                <a:spLocks noChangeAspect="1" noChangeArrowheads="1"/>
              </p:cNvSpPr>
              <p:nvPr userDrawn="1"/>
            </p:nvSpPr>
            <p:spPr bwMode="auto">
              <a:xfrm>
                <a:off x="7771728" y="343446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75" name="Oval 767"/>
              <p:cNvSpPr>
                <a:spLocks noChangeAspect="1" noChangeArrowheads="1"/>
              </p:cNvSpPr>
              <p:nvPr userDrawn="1"/>
            </p:nvSpPr>
            <p:spPr bwMode="auto">
              <a:xfrm>
                <a:off x="7906244" y="343446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76" name="Oval 768"/>
              <p:cNvSpPr>
                <a:spLocks noChangeAspect="1" noChangeArrowheads="1"/>
              </p:cNvSpPr>
              <p:nvPr userDrawn="1"/>
            </p:nvSpPr>
            <p:spPr bwMode="auto">
              <a:xfrm>
                <a:off x="8038965" y="343446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77" name="Oval 769"/>
              <p:cNvSpPr>
                <a:spLocks noChangeAspect="1" noChangeArrowheads="1"/>
              </p:cNvSpPr>
              <p:nvPr userDrawn="1"/>
            </p:nvSpPr>
            <p:spPr bwMode="auto">
              <a:xfrm>
                <a:off x="8173481" y="343446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78" name="Oval 770"/>
              <p:cNvSpPr>
                <a:spLocks noChangeAspect="1" noChangeArrowheads="1"/>
              </p:cNvSpPr>
              <p:nvPr userDrawn="1"/>
            </p:nvSpPr>
            <p:spPr bwMode="auto">
              <a:xfrm>
                <a:off x="8306202" y="343446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79" name="Oval 771"/>
              <p:cNvSpPr>
                <a:spLocks noChangeAspect="1" noChangeArrowheads="1"/>
              </p:cNvSpPr>
              <p:nvPr userDrawn="1"/>
            </p:nvSpPr>
            <p:spPr bwMode="auto">
              <a:xfrm>
                <a:off x="8440717" y="343446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80" name="Oval 772"/>
              <p:cNvSpPr>
                <a:spLocks noChangeAspect="1" noChangeArrowheads="1"/>
              </p:cNvSpPr>
              <p:nvPr userDrawn="1"/>
            </p:nvSpPr>
            <p:spPr bwMode="auto">
              <a:xfrm>
                <a:off x="8573438" y="343446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81" name="Oval 773"/>
              <p:cNvSpPr>
                <a:spLocks noChangeAspect="1" noChangeArrowheads="1"/>
              </p:cNvSpPr>
              <p:nvPr userDrawn="1"/>
            </p:nvSpPr>
            <p:spPr bwMode="auto">
              <a:xfrm>
                <a:off x="8707955" y="343446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82" name="Oval 774"/>
              <p:cNvSpPr>
                <a:spLocks noChangeAspect="1" noChangeArrowheads="1"/>
              </p:cNvSpPr>
              <p:nvPr userDrawn="1"/>
            </p:nvSpPr>
            <p:spPr bwMode="auto">
              <a:xfrm>
                <a:off x="8840677" y="343446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83" name="Oval 775"/>
              <p:cNvSpPr>
                <a:spLocks noChangeAspect="1" noChangeArrowheads="1"/>
              </p:cNvSpPr>
              <p:nvPr userDrawn="1"/>
            </p:nvSpPr>
            <p:spPr bwMode="auto">
              <a:xfrm>
                <a:off x="8975191" y="343446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84" name="Oval 776"/>
              <p:cNvSpPr>
                <a:spLocks noChangeAspect="1" noChangeArrowheads="1"/>
              </p:cNvSpPr>
              <p:nvPr userDrawn="1"/>
            </p:nvSpPr>
            <p:spPr bwMode="auto">
              <a:xfrm>
                <a:off x="9107912" y="343446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85" name="Oval 777"/>
              <p:cNvSpPr>
                <a:spLocks noChangeAspect="1" noChangeArrowheads="1"/>
              </p:cNvSpPr>
              <p:nvPr userDrawn="1"/>
            </p:nvSpPr>
            <p:spPr bwMode="auto">
              <a:xfrm>
                <a:off x="9242428" y="343446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86" name="Oval 778"/>
              <p:cNvSpPr>
                <a:spLocks noChangeAspect="1" noChangeArrowheads="1"/>
              </p:cNvSpPr>
              <p:nvPr userDrawn="1"/>
            </p:nvSpPr>
            <p:spPr bwMode="auto">
              <a:xfrm>
                <a:off x="9642387" y="343446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87" name="Oval 779"/>
              <p:cNvSpPr>
                <a:spLocks noChangeAspect="1" noChangeArrowheads="1"/>
              </p:cNvSpPr>
              <p:nvPr userDrawn="1"/>
            </p:nvSpPr>
            <p:spPr bwMode="auto">
              <a:xfrm>
                <a:off x="9776902" y="343446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88" name="Oval 780"/>
              <p:cNvSpPr>
                <a:spLocks noChangeAspect="1" noChangeArrowheads="1"/>
              </p:cNvSpPr>
              <p:nvPr userDrawn="1"/>
            </p:nvSpPr>
            <p:spPr bwMode="auto">
              <a:xfrm>
                <a:off x="2692435" y="3558187"/>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89" name="Oval 781"/>
              <p:cNvSpPr>
                <a:spLocks noChangeAspect="1" noChangeArrowheads="1"/>
              </p:cNvSpPr>
              <p:nvPr userDrawn="1"/>
            </p:nvSpPr>
            <p:spPr bwMode="auto">
              <a:xfrm>
                <a:off x="2826949" y="355818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90" name="Oval 782"/>
              <p:cNvSpPr>
                <a:spLocks noChangeAspect="1" noChangeArrowheads="1"/>
              </p:cNvSpPr>
              <p:nvPr userDrawn="1"/>
            </p:nvSpPr>
            <p:spPr bwMode="auto">
              <a:xfrm>
                <a:off x="2959671" y="355818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91" name="Oval 783"/>
              <p:cNvSpPr>
                <a:spLocks noChangeAspect="1" noChangeArrowheads="1"/>
              </p:cNvSpPr>
              <p:nvPr userDrawn="1"/>
            </p:nvSpPr>
            <p:spPr bwMode="auto">
              <a:xfrm>
                <a:off x="3094186" y="3558187"/>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92" name="Oval 784"/>
              <p:cNvSpPr>
                <a:spLocks noChangeAspect="1" noChangeArrowheads="1"/>
              </p:cNvSpPr>
              <p:nvPr userDrawn="1"/>
            </p:nvSpPr>
            <p:spPr bwMode="auto">
              <a:xfrm>
                <a:off x="3226908" y="3558187"/>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93" name="Oval 785"/>
              <p:cNvSpPr>
                <a:spLocks noChangeAspect="1" noChangeArrowheads="1"/>
              </p:cNvSpPr>
              <p:nvPr userDrawn="1"/>
            </p:nvSpPr>
            <p:spPr bwMode="auto">
              <a:xfrm>
                <a:off x="3361423" y="355818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94" name="Oval 786"/>
              <p:cNvSpPr>
                <a:spLocks noChangeAspect="1" noChangeArrowheads="1"/>
              </p:cNvSpPr>
              <p:nvPr userDrawn="1"/>
            </p:nvSpPr>
            <p:spPr bwMode="auto">
              <a:xfrm>
                <a:off x="3494145" y="355818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95" name="Oval 787"/>
              <p:cNvSpPr>
                <a:spLocks noChangeAspect="1" noChangeArrowheads="1"/>
              </p:cNvSpPr>
              <p:nvPr userDrawn="1"/>
            </p:nvSpPr>
            <p:spPr bwMode="auto">
              <a:xfrm>
                <a:off x="3628660" y="3558187"/>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96" name="Oval 788"/>
              <p:cNvSpPr>
                <a:spLocks noChangeAspect="1" noChangeArrowheads="1"/>
              </p:cNvSpPr>
              <p:nvPr userDrawn="1"/>
            </p:nvSpPr>
            <p:spPr bwMode="auto">
              <a:xfrm>
                <a:off x="5633834" y="3558187"/>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97" name="Oval 789"/>
              <p:cNvSpPr>
                <a:spLocks noChangeAspect="1" noChangeArrowheads="1"/>
              </p:cNvSpPr>
              <p:nvPr userDrawn="1"/>
            </p:nvSpPr>
            <p:spPr bwMode="auto">
              <a:xfrm>
                <a:off x="5766556" y="3558187"/>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98" name="Oval 790"/>
              <p:cNvSpPr>
                <a:spLocks noChangeAspect="1" noChangeArrowheads="1"/>
              </p:cNvSpPr>
              <p:nvPr userDrawn="1"/>
            </p:nvSpPr>
            <p:spPr bwMode="auto">
              <a:xfrm>
                <a:off x="5901070" y="355818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899" name="Oval 791"/>
              <p:cNvSpPr>
                <a:spLocks noChangeAspect="1" noChangeArrowheads="1"/>
              </p:cNvSpPr>
              <p:nvPr userDrawn="1"/>
            </p:nvSpPr>
            <p:spPr bwMode="auto">
              <a:xfrm>
                <a:off x="6033792" y="355818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00" name="Oval 792"/>
              <p:cNvSpPr>
                <a:spLocks noChangeAspect="1" noChangeArrowheads="1"/>
              </p:cNvSpPr>
              <p:nvPr userDrawn="1"/>
            </p:nvSpPr>
            <p:spPr bwMode="auto">
              <a:xfrm>
                <a:off x="6168307" y="3558187"/>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01" name="Oval 793"/>
              <p:cNvSpPr>
                <a:spLocks noChangeAspect="1" noChangeArrowheads="1"/>
              </p:cNvSpPr>
              <p:nvPr userDrawn="1"/>
            </p:nvSpPr>
            <p:spPr bwMode="auto">
              <a:xfrm>
                <a:off x="6301029" y="3558187"/>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02" name="Oval 794"/>
              <p:cNvSpPr>
                <a:spLocks noChangeAspect="1" noChangeArrowheads="1"/>
              </p:cNvSpPr>
              <p:nvPr userDrawn="1"/>
            </p:nvSpPr>
            <p:spPr bwMode="auto">
              <a:xfrm>
                <a:off x="6435544" y="355818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03" name="Oval 795"/>
              <p:cNvSpPr>
                <a:spLocks noChangeAspect="1" noChangeArrowheads="1"/>
              </p:cNvSpPr>
              <p:nvPr userDrawn="1"/>
            </p:nvSpPr>
            <p:spPr bwMode="auto">
              <a:xfrm>
                <a:off x="6568266" y="355818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04" name="Oval 796"/>
              <p:cNvSpPr>
                <a:spLocks noChangeAspect="1" noChangeArrowheads="1"/>
              </p:cNvSpPr>
              <p:nvPr userDrawn="1"/>
            </p:nvSpPr>
            <p:spPr bwMode="auto">
              <a:xfrm>
                <a:off x="6702781" y="3558187"/>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05" name="Oval 797"/>
              <p:cNvSpPr>
                <a:spLocks noChangeAspect="1" noChangeArrowheads="1"/>
              </p:cNvSpPr>
              <p:nvPr userDrawn="1"/>
            </p:nvSpPr>
            <p:spPr bwMode="auto">
              <a:xfrm>
                <a:off x="6970017" y="355818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06" name="Oval 798"/>
              <p:cNvSpPr>
                <a:spLocks noChangeAspect="1" noChangeArrowheads="1"/>
              </p:cNvSpPr>
              <p:nvPr userDrawn="1"/>
            </p:nvSpPr>
            <p:spPr bwMode="auto">
              <a:xfrm>
                <a:off x="7102739" y="355818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07" name="Oval 799"/>
              <p:cNvSpPr>
                <a:spLocks noChangeAspect="1" noChangeArrowheads="1"/>
              </p:cNvSpPr>
              <p:nvPr userDrawn="1"/>
            </p:nvSpPr>
            <p:spPr bwMode="auto">
              <a:xfrm>
                <a:off x="7237255" y="3558187"/>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08" name="Oval 800"/>
              <p:cNvSpPr>
                <a:spLocks noChangeAspect="1" noChangeArrowheads="1"/>
              </p:cNvSpPr>
              <p:nvPr userDrawn="1"/>
            </p:nvSpPr>
            <p:spPr bwMode="auto">
              <a:xfrm>
                <a:off x="7369977" y="3558187"/>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09" name="Oval 801"/>
              <p:cNvSpPr>
                <a:spLocks noChangeAspect="1" noChangeArrowheads="1"/>
              </p:cNvSpPr>
              <p:nvPr userDrawn="1"/>
            </p:nvSpPr>
            <p:spPr bwMode="auto">
              <a:xfrm>
                <a:off x="7504491" y="355818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10" name="Oval 802"/>
              <p:cNvSpPr>
                <a:spLocks noChangeAspect="1" noChangeArrowheads="1"/>
              </p:cNvSpPr>
              <p:nvPr userDrawn="1"/>
            </p:nvSpPr>
            <p:spPr bwMode="auto">
              <a:xfrm>
                <a:off x="7637213" y="355818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11" name="Oval 803"/>
              <p:cNvSpPr>
                <a:spLocks noChangeAspect="1" noChangeArrowheads="1"/>
              </p:cNvSpPr>
              <p:nvPr userDrawn="1"/>
            </p:nvSpPr>
            <p:spPr bwMode="auto">
              <a:xfrm>
                <a:off x="7771728" y="3558187"/>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12" name="Oval 804"/>
              <p:cNvSpPr>
                <a:spLocks noChangeAspect="1" noChangeArrowheads="1"/>
              </p:cNvSpPr>
              <p:nvPr userDrawn="1"/>
            </p:nvSpPr>
            <p:spPr bwMode="auto">
              <a:xfrm>
                <a:off x="7906244" y="355818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13" name="Oval 805"/>
              <p:cNvSpPr>
                <a:spLocks noChangeAspect="1" noChangeArrowheads="1"/>
              </p:cNvSpPr>
              <p:nvPr userDrawn="1"/>
            </p:nvSpPr>
            <p:spPr bwMode="auto">
              <a:xfrm>
                <a:off x="8038965" y="355818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14" name="Oval 806"/>
              <p:cNvSpPr>
                <a:spLocks noChangeAspect="1" noChangeArrowheads="1"/>
              </p:cNvSpPr>
              <p:nvPr userDrawn="1"/>
            </p:nvSpPr>
            <p:spPr bwMode="auto">
              <a:xfrm>
                <a:off x="8173481" y="3558187"/>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15" name="Oval 807"/>
              <p:cNvSpPr>
                <a:spLocks noChangeAspect="1" noChangeArrowheads="1"/>
              </p:cNvSpPr>
              <p:nvPr userDrawn="1"/>
            </p:nvSpPr>
            <p:spPr bwMode="auto">
              <a:xfrm>
                <a:off x="8306202" y="3558187"/>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16" name="Oval 808"/>
              <p:cNvSpPr>
                <a:spLocks noChangeAspect="1" noChangeArrowheads="1"/>
              </p:cNvSpPr>
              <p:nvPr userDrawn="1"/>
            </p:nvSpPr>
            <p:spPr bwMode="auto">
              <a:xfrm>
                <a:off x="8440717" y="355818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17" name="Oval 809"/>
              <p:cNvSpPr>
                <a:spLocks noChangeAspect="1" noChangeArrowheads="1"/>
              </p:cNvSpPr>
              <p:nvPr userDrawn="1"/>
            </p:nvSpPr>
            <p:spPr bwMode="auto">
              <a:xfrm>
                <a:off x="8573438" y="355818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18" name="Oval 810"/>
              <p:cNvSpPr>
                <a:spLocks noChangeAspect="1" noChangeArrowheads="1"/>
              </p:cNvSpPr>
              <p:nvPr userDrawn="1"/>
            </p:nvSpPr>
            <p:spPr bwMode="auto">
              <a:xfrm>
                <a:off x="8707955" y="3558187"/>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19" name="Oval 811"/>
              <p:cNvSpPr>
                <a:spLocks noChangeAspect="1" noChangeArrowheads="1"/>
              </p:cNvSpPr>
              <p:nvPr userDrawn="1"/>
            </p:nvSpPr>
            <p:spPr bwMode="auto">
              <a:xfrm>
                <a:off x="8840677" y="3558187"/>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20" name="Oval 812"/>
              <p:cNvSpPr>
                <a:spLocks noChangeAspect="1" noChangeArrowheads="1"/>
              </p:cNvSpPr>
              <p:nvPr userDrawn="1"/>
            </p:nvSpPr>
            <p:spPr bwMode="auto">
              <a:xfrm>
                <a:off x="8975191" y="355818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21" name="Oval 813"/>
              <p:cNvSpPr>
                <a:spLocks noChangeAspect="1" noChangeArrowheads="1"/>
              </p:cNvSpPr>
              <p:nvPr userDrawn="1"/>
            </p:nvSpPr>
            <p:spPr bwMode="auto">
              <a:xfrm>
                <a:off x="9107912" y="355818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22" name="Oval 814"/>
              <p:cNvSpPr>
                <a:spLocks noChangeAspect="1" noChangeArrowheads="1"/>
              </p:cNvSpPr>
              <p:nvPr userDrawn="1"/>
            </p:nvSpPr>
            <p:spPr bwMode="auto">
              <a:xfrm>
                <a:off x="9242428" y="3558187"/>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23" name="Oval 815"/>
              <p:cNvSpPr>
                <a:spLocks noChangeAspect="1" noChangeArrowheads="1"/>
              </p:cNvSpPr>
              <p:nvPr userDrawn="1"/>
            </p:nvSpPr>
            <p:spPr bwMode="auto">
              <a:xfrm>
                <a:off x="2692435" y="368190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24" name="Oval 816"/>
              <p:cNvSpPr>
                <a:spLocks noChangeAspect="1" noChangeArrowheads="1"/>
              </p:cNvSpPr>
              <p:nvPr userDrawn="1"/>
            </p:nvSpPr>
            <p:spPr bwMode="auto">
              <a:xfrm>
                <a:off x="2826949" y="368190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25" name="Oval 817"/>
              <p:cNvSpPr>
                <a:spLocks noChangeAspect="1" noChangeArrowheads="1"/>
              </p:cNvSpPr>
              <p:nvPr userDrawn="1"/>
            </p:nvSpPr>
            <p:spPr bwMode="auto">
              <a:xfrm>
                <a:off x="2959671" y="368190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26" name="Oval 818"/>
              <p:cNvSpPr>
                <a:spLocks noChangeAspect="1" noChangeArrowheads="1"/>
              </p:cNvSpPr>
              <p:nvPr userDrawn="1"/>
            </p:nvSpPr>
            <p:spPr bwMode="auto">
              <a:xfrm>
                <a:off x="3094186" y="368190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27" name="Oval 819"/>
              <p:cNvSpPr>
                <a:spLocks noChangeAspect="1" noChangeArrowheads="1"/>
              </p:cNvSpPr>
              <p:nvPr userDrawn="1"/>
            </p:nvSpPr>
            <p:spPr bwMode="auto">
              <a:xfrm>
                <a:off x="3628660" y="368190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28" name="Oval 820"/>
              <p:cNvSpPr>
                <a:spLocks noChangeAspect="1" noChangeArrowheads="1"/>
              </p:cNvSpPr>
              <p:nvPr userDrawn="1"/>
            </p:nvSpPr>
            <p:spPr bwMode="auto">
              <a:xfrm>
                <a:off x="5633834" y="368190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29" name="Oval 821"/>
              <p:cNvSpPr>
                <a:spLocks noChangeAspect="1" noChangeArrowheads="1"/>
              </p:cNvSpPr>
              <p:nvPr userDrawn="1"/>
            </p:nvSpPr>
            <p:spPr bwMode="auto">
              <a:xfrm>
                <a:off x="5766556" y="368190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30" name="Oval 822"/>
              <p:cNvSpPr>
                <a:spLocks noChangeAspect="1" noChangeArrowheads="1"/>
              </p:cNvSpPr>
              <p:nvPr userDrawn="1"/>
            </p:nvSpPr>
            <p:spPr bwMode="auto">
              <a:xfrm>
                <a:off x="5901070" y="368190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31" name="Oval 823"/>
              <p:cNvSpPr>
                <a:spLocks noChangeAspect="1" noChangeArrowheads="1"/>
              </p:cNvSpPr>
              <p:nvPr userDrawn="1"/>
            </p:nvSpPr>
            <p:spPr bwMode="auto">
              <a:xfrm>
                <a:off x="6033792" y="368190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32" name="Oval 824"/>
              <p:cNvSpPr>
                <a:spLocks noChangeAspect="1" noChangeArrowheads="1"/>
              </p:cNvSpPr>
              <p:nvPr userDrawn="1"/>
            </p:nvSpPr>
            <p:spPr bwMode="auto">
              <a:xfrm>
                <a:off x="6168307" y="368190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33" name="Oval 825"/>
              <p:cNvSpPr>
                <a:spLocks noChangeAspect="1" noChangeArrowheads="1"/>
              </p:cNvSpPr>
              <p:nvPr userDrawn="1"/>
            </p:nvSpPr>
            <p:spPr bwMode="auto">
              <a:xfrm>
                <a:off x="6301029" y="368190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34" name="Oval 826"/>
              <p:cNvSpPr>
                <a:spLocks noChangeAspect="1" noChangeArrowheads="1"/>
              </p:cNvSpPr>
              <p:nvPr userDrawn="1"/>
            </p:nvSpPr>
            <p:spPr bwMode="auto">
              <a:xfrm>
                <a:off x="6435544" y="368190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35" name="Oval 827"/>
              <p:cNvSpPr>
                <a:spLocks noChangeAspect="1" noChangeArrowheads="1"/>
              </p:cNvSpPr>
              <p:nvPr userDrawn="1"/>
            </p:nvSpPr>
            <p:spPr bwMode="auto">
              <a:xfrm>
                <a:off x="6568266" y="368190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36" name="Oval 828"/>
              <p:cNvSpPr>
                <a:spLocks noChangeAspect="1" noChangeArrowheads="1"/>
              </p:cNvSpPr>
              <p:nvPr userDrawn="1"/>
            </p:nvSpPr>
            <p:spPr bwMode="auto">
              <a:xfrm>
                <a:off x="6702781" y="368190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37" name="Oval 829"/>
              <p:cNvSpPr>
                <a:spLocks noChangeAspect="1" noChangeArrowheads="1"/>
              </p:cNvSpPr>
              <p:nvPr userDrawn="1"/>
            </p:nvSpPr>
            <p:spPr bwMode="auto">
              <a:xfrm>
                <a:off x="6835503" y="368190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38" name="Oval 830"/>
              <p:cNvSpPr>
                <a:spLocks noChangeAspect="1" noChangeArrowheads="1"/>
              </p:cNvSpPr>
              <p:nvPr userDrawn="1"/>
            </p:nvSpPr>
            <p:spPr bwMode="auto">
              <a:xfrm>
                <a:off x="6970017" y="368190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39" name="Oval 831"/>
              <p:cNvSpPr>
                <a:spLocks noChangeAspect="1" noChangeArrowheads="1"/>
              </p:cNvSpPr>
              <p:nvPr userDrawn="1"/>
            </p:nvSpPr>
            <p:spPr bwMode="auto">
              <a:xfrm>
                <a:off x="7102739" y="368190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40" name="Oval 832"/>
              <p:cNvSpPr>
                <a:spLocks noChangeAspect="1" noChangeArrowheads="1"/>
              </p:cNvSpPr>
              <p:nvPr userDrawn="1"/>
            </p:nvSpPr>
            <p:spPr bwMode="auto">
              <a:xfrm>
                <a:off x="7237255" y="368190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41" name="Oval 833"/>
              <p:cNvSpPr>
                <a:spLocks noChangeAspect="1" noChangeArrowheads="1"/>
              </p:cNvSpPr>
              <p:nvPr userDrawn="1"/>
            </p:nvSpPr>
            <p:spPr bwMode="auto">
              <a:xfrm>
                <a:off x="7369977" y="368190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42" name="Oval 834"/>
              <p:cNvSpPr>
                <a:spLocks noChangeAspect="1" noChangeArrowheads="1"/>
              </p:cNvSpPr>
              <p:nvPr userDrawn="1"/>
            </p:nvSpPr>
            <p:spPr bwMode="auto">
              <a:xfrm>
                <a:off x="7504491" y="368190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43" name="Oval 835"/>
              <p:cNvSpPr>
                <a:spLocks noChangeAspect="1" noChangeArrowheads="1"/>
              </p:cNvSpPr>
              <p:nvPr userDrawn="1"/>
            </p:nvSpPr>
            <p:spPr bwMode="auto">
              <a:xfrm>
                <a:off x="7637213" y="368190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44" name="Oval 836"/>
              <p:cNvSpPr>
                <a:spLocks noChangeAspect="1" noChangeArrowheads="1"/>
              </p:cNvSpPr>
              <p:nvPr userDrawn="1"/>
            </p:nvSpPr>
            <p:spPr bwMode="auto">
              <a:xfrm>
                <a:off x="7771728" y="368190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45" name="Oval 837"/>
              <p:cNvSpPr>
                <a:spLocks noChangeAspect="1" noChangeArrowheads="1"/>
              </p:cNvSpPr>
              <p:nvPr userDrawn="1"/>
            </p:nvSpPr>
            <p:spPr bwMode="auto">
              <a:xfrm>
                <a:off x="7906244" y="368190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46" name="Oval 838"/>
              <p:cNvSpPr>
                <a:spLocks noChangeAspect="1" noChangeArrowheads="1"/>
              </p:cNvSpPr>
              <p:nvPr userDrawn="1"/>
            </p:nvSpPr>
            <p:spPr bwMode="auto">
              <a:xfrm>
                <a:off x="8038965" y="368190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47" name="Oval 839"/>
              <p:cNvSpPr>
                <a:spLocks noChangeAspect="1" noChangeArrowheads="1"/>
              </p:cNvSpPr>
              <p:nvPr userDrawn="1"/>
            </p:nvSpPr>
            <p:spPr bwMode="auto">
              <a:xfrm>
                <a:off x="8173481" y="368190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48" name="Oval 840"/>
              <p:cNvSpPr>
                <a:spLocks noChangeAspect="1" noChangeArrowheads="1"/>
              </p:cNvSpPr>
              <p:nvPr userDrawn="1"/>
            </p:nvSpPr>
            <p:spPr bwMode="auto">
              <a:xfrm>
                <a:off x="8306202" y="368190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49" name="Oval 841"/>
              <p:cNvSpPr>
                <a:spLocks noChangeAspect="1" noChangeArrowheads="1"/>
              </p:cNvSpPr>
              <p:nvPr userDrawn="1"/>
            </p:nvSpPr>
            <p:spPr bwMode="auto">
              <a:xfrm>
                <a:off x="8440717" y="368190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50" name="Oval 842"/>
              <p:cNvSpPr>
                <a:spLocks noChangeAspect="1" noChangeArrowheads="1"/>
              </p:cNvSpPr>
              <p:nvPr userDrawn="1"/>
            </p:nvSpPr>
            <p:spPr bwMode="auto">
              <a:xfrm>
                <a:off x="8573438" y="368190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51" name="Oval 843"/>
              <p:cNvSpPr>
                <a:spLocks noChangeAspect="1" noChangeArrowheads="1"/>
              </p:cNvSpPr>
              <p:nvPr userDrawn="1"/>
            </p:nvSpPr>
            <p:spPr bwMode="auto">
              <a:xfrm>
                <a:off x="8707955" y="368190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52" name="Oval 844"/>
              <p:cNvSpPr>
                <a:spLocks noChangeAspect="1" noChangeArrowheads="1"/>
              </p:cNvSpPr>
              <p:nvPr userDrawn="1"/>
            </p:nvSpPr>
            <p:spPr bwMode="auto">
              <a:xfrm>
                <a:off x="8840677" y="368190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53" name="Oval 845"/>
              <p:cNvSpPr>
                <a:spLocks noChangeAspect="1" noChangeArrowheads="1"/>
              </p:cNvSpPr>
              <p:nvPr userDrawn="1"/>
            </p:nvSpPr>
            <p:spPr bwMode="auto">
              <a:xfrm>
                <a:off x="8975191" y="368190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54" name="Oval 846"/>
              <p:cNvSpPr>
                <a:spLocks noChangeAspect="1" noChangeArrowheads="1"/>
              </p:cNvSpPr>
              <p:nvPr userDrawn="1"/>
            </p:nvSpPr>
            <p:spPr bwMode="auto">
              <a:xfrm>
                <a:off x="9107912" y="368190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55" name="Oval 847"/>
              <p:cNvSpPr>
                <a:spLocks noChangeAspect="1" noChangeArrowheads="1"/>
              </p:cNvSpPr>
              <p:nvPr userDrawn="1"/>
            </p:nvSpPr>
            <p:spPr bwMode="auto">
              <a:xfrm>
                <a:off x="9242428" y="368190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56" name="Oval 848"/>
              <p:cNvSpPr>
                <a:spLocks noChangeAspect="1" noChangeArrowheads="1"/>
              </p:cNvSpPr>
              <p:nvPr userDrawn="1"/>
            </p:nvSpPr>
            <p:spPr bwMode="auto">
              <a:xfrm>
                <a:off x="2826949" y="380383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57" name="Oval 849"/>
              <p:cNvSpPr>
                <a:spLocks noChangeAspect="1" noChangeArrowheads="1"/>
              </p:cNvSpPr>
              <p:nvPr userDrawn="1"/>
            </p:nvSpPr>
            <p:spPr bwMode="auto">
              <a:xfrm>
                <a:off x="2959671" y="380383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58" name="Oval 850"/>
              <p:cNvSpPr>
                <a:spLocks noChangeAspect="1" noChangeArrowheads="1"/>
              </p:cNvSpPr>
              <p:nvPr userDrawn="1"/>
            </p:nvSpPr>
            <p:spPr bwMode="auto">
              <a:xfrm>
                <a:off x="3094186" y="380383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59" name="Oval 851"/>
              <p:cNvSpPr>
                <a:spLocks noChangeAspect="1" noChangeArrowheads="1"/>
              </p:cNvSpPr>
              <p:nvPr userDrawn="1"/>
            </p:nvSpPr>
            <p:spPr bwMode="auto">
              <a:xfrm>
                <a:off x="5499317" y="380383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60" name="Oval 852"/>
              <p:cNvSpPr>
                <a:spLocks noChangeAspect="1" noChangeArrowheads="1"/>
              </p:cNvSpPr>
              <p:nvPr userDrawn="1"/>
            </p:nvSpPr>
            <p:spPr bwMode="auto">
              <a:xfrm>
                <a:off x="5633834" y="380383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61" name="Oval 853"/>
              <p:cNvSpPr>
                <a:spLocks noChangeAspect="1" noChangeArrowheads="1"/>
              </p:cNvSpPr>
              <p:nvPr userDrawn="1"/>
            </p:nvSpPr>
            <p:spPr bwMode="auto">
              <a:xfrm>
                <a:off x="5766556" y="380383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62" name="Oval 854"/>
              <p:cNvSpPr>
                <a:spLocks noChangeAspect="1" noChangeArrowheads="1"/>
              </p:cNvSpPr>
              <p:nvPr userDrawn="1"/>
            </p:nvSpPr>
            <p:spPr bwMode="auto">
              <a:xfrm>
                <a:off x="5901070" y="380383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63" name="Oval 855"/>
              <p:cNvSpPr>
                <a:spLocks noChangeAspect="1" noChangeArrowheads="1"/>
              </p:cNvSpPr>
              <p:nvPr userDrawn="1"/>
            </p:nvSpPr>
            <p:spPr bwMode="auto">
              <a:xfrm>
                <a:off x="6033792" y="380383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64" name="Oval 856"/>
              <p:cNvSpPr>
                <a:spLocks noChangeAspect="1" noChangeArrowheads="1"/>
              </p:cNvSpPr>
              <p:nvPr userDrawn="1"/>
            </p:nvSpPr>
            <p:spPr bwMode="auto">
              <a:xfrm>
                <a:off x="6168307" y="380383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65" name="Oval 857"/>
              <p:cNvSpPr>
                <a:spLocks noChangeAspect="1" noChangeArrowheads="1"/>
              </p:cNvSpPr>
              <p:nvPr userDrawn="1"/>
            </p:nvSpPr>
            <p:spPr bwMode="auto">
              <a:xfrm>
                <a:off x="6301029" y="380383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66" name="Oval 858"/>
              <p:cNvSpPr>
                <a:spLocks noChangeAspect="1" noChangeArrowheads="1"/>
              </p:cNvSpPr>
              <p:nvPr userDrawn="1"/>
            </p:nvSpPr>
            <p:spPr bwMode="auto">
              <a:xfrm>
                <a:off x="6435544" y="380383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67" name="Oval 859"/>
              <p:cNvSpPr>
                <a:spLocks noChangeAspect="1" noChangeArrowheads="1"/>
              </p:cNvSpPr>
              <p:nvPr userDrawn="1"/>
            </p:nvSpPr>
            <p:spPr bwMode="auto">
              <a:xfrm>
                <a:off x="6568266" y="380383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68" name="Oval 860"/>
              <p:cNvSpPr>
                <a:spLocks noChangeAspect="1" noChangeArrowheads="1"/>
              </p:cNvSpPr>
              <p:nvPr userDrawn="1"/>
            </p:nvSpPr>
            <p:spPr bwMode="auto">
              <a:xfrm>
                <a:off x="6702781" y="380383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69" name="Oval 861"/>
              <p:cNvSpPr>
                <a:spLocks noChangeAspect="1" noChangeArrowheads="1"/>
              </p:cNvSpPr>
              <p:nvPr userDrawn="1"/>
            </p:nvSpPr>
            <p:spPr bwMode="auto">
              <a:xfrm>
                <a:off x="6835503" y="380383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70" name="Oval 862"/>
              <p:cNvSpPr>
                <a:spLocks noChangeAspect="1" noChangeArrowheads="1"/>
              </p:cNvSpPr>
              <p:nvPr userDrawn="1"/>
            </p:nvSpPr>
            <p:spPr bwMode="auto">
              <a:xfrm>
                <a:off x="6970017" y="380383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71" name="Oval 863"/>
              <p:cNvSpPr>
                <a:spLocks noChangeAspect="1" noChangeArrowheads="1"/>
              </p:cNvSpPr>
              <p:nvPr userDrawn="1"/>
            </p:nvSpPr>
            <p:spPr bwMode="auto">
              <a:xfrm>
                <a:off x="7102739" y="380383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72" name="Oval 864"/>
              <p:cNvSpPr>
                <a:spLocks noChangeAspect="1" noChangeArrowheads="1"/>
              </p:cNvSpPr>
              <p:nvPr userDrawn="1"/>
            </p:nvSpPr>
            <p:spPr bwMode="auto">
              <a:xfrm>
                <a:off x="7237255" y="380383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73" name="Oval 865"/>
              <p:cNvSpPr>
                <a:spLocks noChangeAspect="1" noChangeArrowheads="1"/>
              </p:cNvSpPr>
              <p:nvPr userDrawn="1"/>
            </p:nvSpPr>
            <p:spPr bwMode="auto">
              <a:xfrm>
                <a:off x="7369977" y="380383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74" name="Oval 866"/>
              <p:cNvSpPr>
                <a:spLocks noChangeAspect="1" noChangeArrowheads="1"/>
              </p:cNvSpPr>
              <p:nvPr userDrawn="1"/>
            </p:nvSpPr>
            <p:spPr bwMode="auto">
              <a:xfrm>
                <a:off x="7504491" y="380383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75" name="Oval 867"/>
              <p:cNvSpPr>
                <a:spLocks noChangeAspect="1" noChangeArrowheads="1"/>
              </p:cNvSpPr>
              <p:nvPr userDrawn="1"/>
            </p:nvSpPr>
            <p:spPr bwMode="auto">
              <a:xfrm>
                <a:off x="7637213" y="380383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76" name="Oval 868"/>
              <p:cNvSpPr>
                <a:spLocks noChangeAspect="1" noChangeArrowheads="1"/>
              </p:cNvSpPr>
              <p:nvPr userDrawn="1"/>
            </p:nvSpPr>
            <p:spPr bwMode="auto">
              <a:xfrm>
                <a:off x="7771728" y="380383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77" name="Oval 869"/>
              <p:cNvSpPr>
                <a:spLocks noChangeAspect="1" noChangeArrowheads="1"/>
              </p:cNvSpPr>
              <p:nvPr userDrawn="1"/>
            </p:nvSpPr>
            <p:spPr bwMode="auto">
              <a:xfrm>
                <a:off x="7906244" y="380383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78" name="Oval 870"/>
              <p:cNvSpPr>
                <a:spLocks noChangeAspect="1" noChangeArrowheads="1"/>
              </p:cNvSpPr>
              <p:nvPr userDrawn="1"/>
            </p:nvSpPr>
            <p:spPr bwMode="auto">
              <a:xfrm>
                <a:off x="8038965" y="380383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79" name="Oval 871"/>
              <p:cNvSpPr>
                <a:spLocks noChangeAspect="1" noChangeArrowheads="1"/>
              </p:cNvSpPr>
              <p:nvPr userDrawn="1"/>
            </p:nvSpPr>
            <p:spPr bwMode="auto">
              <a:xfrm>
                <a:off x="8173481" y="380383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80" name="Oval 872"/>
              <p:cNvSpPr>
                <a:spLocks noChangeAspect="1" noChangeArrowheads="1"/>
              </p:cNvSpPr>
              <p:nvPr userDrawn="1"/>
            </p:nvSpPr>
            <p:spPr bwMode="auto">
              <a:xfrm>
                <a:off x="8306202" y="380383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81" name="Oval 873"/>
              <p:cNvSpPr>
                <a:spLocks noChangeAspect="1" noChangeArrowheads="1"/>
              </p:cNvSpPr>
              <p:nvPr userDrawn="1"/>
            </p:nvSpPr>
            <p:spPr bwMode="auto">
              <a:xfrm>
                <a:off x="8440717" y="380383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82" name="Oval 874"/>
              <p:cNvSpPr>
                <a:spLocks noChangeAspect="1" noChangeArrowheads="1"/>
              </p:cNvSpPr>
              <p:nvPr userDrawn="1"/>
            </p:nvSpPr>
            <p:spPr bwMode="auto">
              <a:xfrm>
                <a:off x="8573438" y="380383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83" name="Oval 875"/>
              <p:cNvSpPr>
                <a:spLocks noChangeAspect="1" noChangeArrowheads="1"/>
              </p:cNvSpPr>
              <p:nvPr userDrawn="1"/>
            </p:nvSpPr>
            <p:spPr bwMode="auto">
              <a:xfrm>
                <a:off x="8707955" y="380383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84" name="Oval 876"/>
              <p:cNvSpPr>
                <a:spLocks noChangeAspect="1" noChangeArrowheads="1"/>
              </p:cNvSpPr>
              <p:nvPr userDrawn="1"/>
            </p:nvSpPr>
            <p:spPr bwMode="auto">
              <a:xfrm>
                <a:off x="8840677" y="380383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85" name="Oval 877"/>
              <p:cNvSpPr>
                <a:spLocks noChangeAspect="1" noChangeArrowheads="1"/>
              </p:cNvSpPr>
              <p:nvPr userDrawn="1"/>
            </p:nvSpPr>
            <p:spPr bwMode="auto">
              <a:xfrm>
                <a:off x="8975191" y="380383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86" name="Oval 878"/>
              <p:cNvSpPr>
                <a:spLocks noChangeAspect="1" noChangeArrowheads="1"/>
              </p:cNvSpPr>
              <p:nvPr userDrawn="1"/>
            </p:nvSpPr>
            <p:spPr bwMode="auto">
              <a:xfrm>
                <a:off x="9107912" y="380383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87" name="Oval 879"/>
              <p:cNvSpPr>
                <a:spLocks noChangeAspect="1" noChangeArrowheads="1"/>
              </p:cNvSpPr>
              <p:nvPr userDrawn="1"/>
            </p:nvSpPr>
            <p:spPr bwMode="auto">
              <a:xfrm>
                <a:off x="9242428" y="380383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88" name="Oval 880"/>
              <p:cNvSpPr>
                <a:spLocks noChangeAspect="1" noChangeArrowheads="1"/>
              </p:cNvSpPr>
              <p:nvPr userDrawn="1"/>
            </p:nvSpPr>
            <p:spPr bwMode="auto">
              <a:xfrm>
                <a:off x="2959671" y="392755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89" name="Oval 881"/>
              <p:cNvSpPr>
                <a:spLocks noChangeAspect="1" noChangeArrowheads="1"/>
              </p:cNvSpPr>
              <p:nvPr userDrawn="1"/>
            </p:nvSpPr>
            <p:spPr bwMode="auto">
              <a:xfrm>
                <a:off x="3094186" y="392755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90" name="Oval 882"/>
              <p:cNvSpPr>
                <a:spLocks noChangeAspect="1" noChangeArrowheads="1"/>
              </p:cNvSpPr>
              <p:nvPr userDrawn="1"/>
            </p:nvSpPr>
            <p:spPr bwMode="auto">
              <a:xfrm>
                <a:off x="3361423" y="392755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91" name="Oval 883"/>
              <p:cNvSpPr>
                <a:spLocks noChangeAspect="1" noChangeArrowheads="1"/>
              </p:cNvSpPr>
              <p:nvPr userDrawn="1"/>
            </p:nvSpPr>
            <p:spPr bwMode="auto">
              <a:xfrm>
                <a:off x="3628660" y="392755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92" name="Oval 884"/>
              <p:cNvSpPr>
                <a:spLocks noChangeAspect="1" noChangeArrowheads="1"/>
              </p:cNvSpPr>
              <p:nvPr userDrawn="1"/>
            </p:nvSpPr>
            <p:spPr bwMode="auto">
              <a:xfrm>
                <a:off x="5499317" y="392755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93" name="Oval 885"/>
              <p:cNvSpPr>
                <a:spLocks noChangeAspect="1" noChangeArrowheads="1"/>
              </p:cNvSpPr>
              <p:nvPr userDrawn="1"/>
            </p:nvSpPr>
            <p:spPr bwMode="auto">
              <a:xfrm>
                <a:off x="5633834" y="392755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94" name="Oval 886"/>
              <p:cNvSpPr>
                <a:spLocks noChangeAspect="1" noChangeArrowheads="1"/>
              </p:cNvSpPr>
              <p:nvPr userDrawn="1"/>
            </p:nvSpPr>
            <p:spPr bwMode="auto">
              <a:xfrm>
                <a:off x="5766556" y="392755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95" name="Oval 887"/>
              <p:cNvSpPr>
                <a:spLocks noChangeAspect="1" noChangeArrowheads="1"/>
              </p:cNvSpPr>
              <p:nvPr userDrawn="1"/>
            </p:nvSpPr>
            <p:spPr bwMode="auto">
              <a:xfrm>
                <a:off x="5901070" y="392755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96" name="Oval 888"/>
              <p:cNvSpPr>
                <a:spLocks noChangeAspect="1" noChangeArrowheads="1"/>
              </p:cNvSpPr>
              <p:nvPr userDrawn="1"/>
            </p:nvSpPr>
            <p:spPr bwMode="auto">
              <a:xfrm>
                <a:off x="6033792" y="392755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97" name="Oval 889"/>
              <p:cNvSpPr>
                <a:spLocks noChangeAspect="1" noChangeArrowheads="1"/>
              </p:cNvSpPr>
              <p:nvPr userDrawn="1"/>
            </p:nvSpPr>
            <p:spPr bwMode="auto">
              <a:xfrm>
                <a:off x="6168307" y="392755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98" name="Oval 890"/>
              <p:cNvSpPr>
                <a:spLocks noChangeAspect="1" noChangeArrowheads="1"/>
              </p:cNvSpPr>
              <p:nvPr userDrawn="1"/>
            </p:nvSpPr>
            <p:spPr bwMode="auto">
              <a:xfrm>
                <a:off x="6301029" y="392755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999" name="Oval 891"/>
              <p:cNvSpPr>
                <a:spLocks noChangeAspect="1" noChangeArrowheads="1"/>
              </p:cNvSpPr>
              <p:nvPr userDrawn="1"/>
            </p:nvSpPr>
            <p:spPr bwMode="auto">
              <a:xfrm>
                <a:off x="6435544" y="392755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00" name="Oval 892"/>
              <p:cNvSpPr>
                <a:spLocks noChangeAspect="1" noChangeArrowheads="1"/>
              </p:cNvSpPr>
              <p:nvPr userDrawn="1"/>
            </p:nvSpPr>
            <p:spPr bwMode="auto">
              <a:xfrm>
                <a:off x="6568266" y="392755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01" name="Oval 893"/>
              <p:cNvSpPr>
                <a:spLocks noChangeAspect="1" noChangeArrowheads="1"/>
              </p:cNvSpPr>
              <p:nvPr userDrawn="1"/>
            </p:nvSpPr>
            <p:spPr bwMode="auto">
              <a:xfrm>
                <a:off x="6702781" y="392755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02" name="Oval 894"/>
              <p:cNvSpPr>
                <a:spLocks noChangeAspect="1" noChangeArrowheads="1"/>
              </p:cNvSpPr>
              <p:nvPr userDrawn="1"/>
            </p:nvSpPr>
            <p:spPr bwMode="auto">
              <a:xfrm>
                <a:off x="6835503" y="392755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03" name="Oval 895"/>
              <p:cNvSpPr>
                <a:spLocks noChangeAspect="1" noChangeArrowheads="1"/>
              </p:cNvSpPr>
              <p:nvPr userDrawn="1"/>
            </p:nvSpPr>
            <p:spPr bwMode="auto">
              <a:xfrm>
                <a:off x="7102739" y="392755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04" name="Oval 896"/>
              <p:cNvSpPr>
                <a:spLocks noChangeAspect="1" noChangeArrowheads="1"/>
              </p:cNvSpPr>
              <p:nvPr userDrawn="1"/>
            </p:nvSpPr>
            <p:spPr bwMode="auto">
              <a:xfrm>
                <a:off x="7237255" y="392755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05" name="Oval 897"/>
              <p:cNvSpPr>
                <a:spLocks noChangeAspect="1" noChangeArrowheads="1"/>
              </p:cNvSpPr>
              <p:nvPr userDrawn="1"/>
            </p:nvSpPr>
            <p:spPr bwMode="auto">
              <a:xfrm>
                <a:off x="7369977" y="392755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06" name="Oval 898"/>
              <p:cNvSpPr>
                <a:spLocks noChangeAspect="1" noChangeArrowheads="1"/>
              </p:cNvSpPr>
              <p:nvPr userDrawn="1"/>
            </p:nvSpPr>
            <p:spPr bwMode="auto">
              <a:xfrm>
                <a:off x="7504491" y="392755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07" name="Oval 899"/>
              <p:cNvSpPr>
                <a:spLocks noChangeAspect="1" noChangeArrowheads="1"/>
              </p:cNvSpPr>
              <p:nvPr userDrawn="1"/>
            </p:nvSpPr>
            <p:spPr bwMode="auto">
              <a:xfrm>
                <a:off x="7906244" y="392755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08" name="Oval 900"/>
              <p:cNvSpPr>
                <a:spLocks noChangeAspect="1" noChangeArrowheads="1"/>
              </p:cNvSpPr>
              <p:nvPr userDrawn="1"/>
            </p:nvSpPr>
            <p:spPr bwMode="auto">
              <a:xfrm>
                <a:off x="8038965" y="392755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09" name="Oval 901"/>
              <p:cNvSpPr>
                <a:spLocks noChangeAspect="1" noChangeArrowheads="1"/>
              </p:cNvSpPr>
              <p:nvPr userDrawn="1"/>
            </p:nvSpPr>
            <p:spPr bwMode="auto">
              <a:xfrm>
                <a:off x="8173481" y="392755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10" name="Oval 902"/>
              <p:cNvSpPr>
                <a:spLocks noChangeAspect="1" noChangeArrowheads="1"/>
              </p:cNvSpPr>
              <p:nvPr userDrawn="1"/>
            </p:nvSpPr>
            <p:spPr bwMode="auto">
              <a:xfrm>
                <a:off x="8306202" y="392755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11" name="Oval 903"/>
              <p:cNvSpPr>
                <a:spLocks noChangeAspect="1" noChangeArrowheads="1"/>
              </p:cNvSpPr>
              <p:nvPr userDrawn="1"/>
            </p:nvSpPr>
            <p:spPr bwMode="auto">
              <a:xfrm>
                <a:off x="8573438" y="3927559"/>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12" name="Oval 904"/>
              <p:cNvSpPr>
                <a:spLocks noChangeAspect="1" noChangeArrowheads="1"/>
              </p:cNvSpPr>
              <p:nvPr userDrawn="1"/>
            </p:nvSpPr>
            <p:spPr bwMode="auto">
              <a:xfrm>
                <a:off x="8707955" y="392755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13" name="Oval 905"/>
              <p:cNvSpPr>
                <a:spLocks noChangeAspect="1" noChangeArrowheads="1"/>
              </p:cNvSpPr>
              <p:nvPr userDrawn="1"/>
            </p:nvSpPr>
            <p:spPr bwMode="auto">
              <a:xfrm>
                <a:off x="8840677" y="3927559"/>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14" name="Oval 906"/>
              <p:cNvSpPr>
                <a:spLocks noChangeAspect="1" noChangeArrowheads="1"/>
              </p:cNvSpPr>
              <p:nvPr userDrawn="1"/>
            </p:nvSpPr>
            <p:spPr bwMode="auto">
              <a:xfrm>
                <a:off x="2959671" y="405128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15" name="Oval 907"/>
              <p:cNvSpPr>
                <a:spLocks noChangeAspect="1" noChangeArrowheads="1"/>
              </p:cNvSpPr>
              <p:nvPr userDrawn="1"/>
            </p:nvSpPr>
            <p:spPr bwMode="auto">
              <a:xfrm>
                <a:off x="3094186" y="405128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16" name="Oval 908"/>
              <p:cNvSpPr>
                <a:spLocks noChangeAspect="1" noChangeArrowheads="1"/>
              </p:cNvSpPr>
              <p:nvPr userDrawn="1"/>
            </p:nvSpPr>
            <p:spPr bwMode="auto">
              <a:xfrm>
                <a:off x="3226908" y="405128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17" name="Oval 909"/>
              <p:cNvSpPr>
                <a:spLocks noChangeAspect="1" noChangeArrowheads="1"/>
              </p:cNvSpPr>
              <p:nvPr userDrawn="1"/>
            </p:nvSpPr>
            <p:spPr bwMode="auto">
              <a:xfrm>
                <a:off x="3361423" y="405128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18" name="Oval 910"/>
              <p:cNvSpPr>
                <a:spLocks noChangeAspect="1" noChangeArrowheads="1"/>
              </p:cNvSpPr>
              <p:nvPr userDrawn="1"/>
            </p:nvSpPr>
            <p:spPr bwMode="auto">
              <a:xfrm>
                <a:off x="3895896" y="405128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19" name="Oval 911"/>
              <p:cNvSpPr>
                <a:spLocks noChangeAspect="1" noChangeArrowheads="1"/>
              </p:cNvSpPr>
              <p:nvPr userDrawn="1"/>
            </p:nvSpPr>
            <p:spPr bwMode="auto">
              <a:xfrm>
                <a:off x="5499317" y="405128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20" name="Oval 912"/>
              <p:cNvSpPr>
                <a:spLocks noChangeAspect="1" noChangeArrowheads="1"/>
              </p:cNvSpPr>
              <p:nvPr userDrawn="1"/>
            </p:nvSpPr>
            <p:spPr bwMode="auto">
              <a:xfrm>
                <a:off x="5633834" y="405128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21" name="Oval 913"/>
              <p:cNvSpPr>
                <a:spLocks noChangeAspect="1" noChangeArrowheads="1"/>
              </p:cNvSpPr>
              <p:nvPr userDrawn="1"/>
            </p:nvSpPr>
            <p:spPr bwMode="auto">
              <a:xfrm>
                <a:off x="5766556" y="405128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22" name="Oval 914"/>
              <p:cNvSpPr>
                <a:spLocks noChangeAspect="1" noChangeArrowheads="1"/>
              </p:cNvSpPr>
              <p:nvPr userDrawn="1"/>
            </p:nvSpPr>
            <p:spPr bwMode="auto">
              <a:xfrm>
                <a:off x="5901070" y="405128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23" name="Oval 915"/>
              <p:cNvSpPr>
                <a:spLocks noChangeAspect="1" noChangeArrowheads="1"/>
              </p:cNvSpPr>
              <p:nvPr userDrawn="1"/>
            </p:nvSpPr>
            <p:spPr bwMode="auto">
              <a:xfrm>
                <a:off x="6033792" y="405128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24" name="Oval 916"/>
              <p:cNvSpPr>
                <a:spLocks noChangeAspect="1" noChangeArrowheads="1"/>
              </p:cNvSpPr>
              <p:nvPr userDrawn="1"/>
            </p:nvSpPr>
            <p:spPr bwMode="auto">
              <a:xfrm>
                <a:off x="6168307" y="405128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25" name="Oval 917"/>
              <p:cNvSpPr>
                <a:spLocks noChangeAspect="1" noChangeArrowheads="1"/>
              </p:cNvSpPr>
              <p:nvPr userDrawn="1"/>
            </p:nvSpPr>
            <p:spPr bwMode="auto">
              <a:xfrm>
                <a:off x="6301029" y="405128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26" name="Oval 918"/>
              <p:cNvSpPr>
                <a:spLocks noChangeAspect="1" noChangeArrowheads="1"/>
              </p:cNvSpPr>
              <p:nvPr userDrawn="1"/>
            </p:nvSpPr>
            <p:spPr bwMode="auto">
              <a:xfrm>
                <a:off x="6435544" y="405128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27" name="Oval 919"/>
              <p:cNvSpPr>
                <a:spLocks noChangeAspect="1" noChangeArrowheads="1"/>
              </p:cNvSpPr>
              <p:nvPr userDrawn="1"/>
            </p:nvSpPr>
            <p:spPr bwMode="auto">
              <a:xfrm>
                <a:off x="6568266" y="405128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28" name="Oval 920"/>
              <p:cNvSpPr>
                <a:spLocks noChangeAspect="1" noChangeArrowheads="1"/>
              </p:cNvSpPr>
              <p:nvPr userDrawn="1"/>
            </p:nvSpPr>
            <p:spPr bwMode="auto">
              <a:xfrm>
                <a:off x="6702781" y="405128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29" name="Oval 921"/>
              <p:cNvSpPr>
                <a:spLocks noChangeAspect="1" noChangeArrowheads="1"/>
              </p:cNvSpPr>
              <p:nvPr userDrawn="1"/>
            </p:nvSpPr>
            <p:spPr bwMode="auto">
              <a:xfrm>
                <a:off x="6835503" y="405128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30" name="Oval 922"/>
              <p:cNvSpPr>
                <a:spLocks noChangeAspect="1" noChangeArrowheads="1"/>
              </p:cNvSpPr>
              <p:nvPr userDrawn="1"/>
            </p:nvSpPr>
            <p:spPr bwMode="auto">
              <a:xfrm>
                <a:off x="7102739" y="405128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31" name="Oval 923"/>
              <p:cNvSpPr>
                <a:spLocks noChangeAspect="1" noChangeArrowheads="1"/>
              </p:cNvSpPr>
              <p:nvPr userDrawn="1"/>
            </p:nvSpPr>
            <p:spPr bwMode="auto">
              <a:xfrm>
                <a:off x="7237255" y="405128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32" name="Oval 924"/>
              <p:cNvSpPr>
                <a:spLocks noChangeAspect="1" noChangeArrowheads="1"/>
              </p:cNvSpPr>
              <p:nvPr userDrawn="1"/>
            </p:nvSpPr>
            <p:spPr bwMode="auto">
              <a:xfrm>
                <a:off x="7369977" y="405128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33" name="Oval 925"/>
              <p:cNvSpPr>
                <a:spLocks noChangeAspect="1" noChangeArrowheads="1"/>
              </p:cNvSpPr>
              <p:nvPr userDrawn="1"/>
            </p:nvSpPr>
            <p:spPr bwMode="auto">
              <a:xfrm>
                <a:off x="8038965" y="405128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34" name="Oval 926"/>
              <p:cNvSpPr>
                <a:spLocks noChangeAspect="1" noChangeArrowheads="1"/>
              </p:cNvSpPr>
              <p:nvPr userDrawn="1"/>
            </p:nvSpPr>
            <p:spPr bwMode="auto">
              <a:xfrm>
                <a:off x="8173481" y="405128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35" name="Oval 927"/>
              <p:cNvSpPr>
                <a:spLocks noChangeAspect="1" noChangeArrowheads="1"/>
              </p:cNvSpPr>
              <p:nvPr userDrawn="1"/>
            </p:nvSpPr>
            <p:spPr bwMode="auto">
              <a:xfrm>
                <a:off x="8573438" y="405128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36" name="Oval 928"/>
              <p:cNvSpPr>
                <a:spLocks noChangeAspect="1" noChangeArrowheads="1"/>
              </p:cNvSpPr>
              <p:nvPr userDrawn="1"/>
            </p:nvSpPr>
            <p:spPr bwMode="auto">
              <a:xfrm>
                <a:off x="8707955" y="405128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37" name="Oval 929"/>
              <p:cNvSpPr>
                <a:spLocks noChangeAspect="1" noChangeArrowheads="1"/>
              </p:cNvSpPr>
              <p:nvPr userDrawn="1"/>
            </p:nvSpPr>
            <p:spPr bwMode="auto">
              <a:xfrm>
                <a:off x="8840677" y="405128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38" name="Oval 930"/>
              <p:cNvSpPr>
                <a:spLocks noChangeAspect="1" noChangeArrowheads="1"/>
              </p:cNvSpPr>
              <p:nvPr userDrawn="1"/>
            </p:nvSpPr>
            <p:spPr bwMode="auto">
              <a:xfrm>
                <a:off x="8975191" y="4051281"/>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39" name="Oval 931"/>
              <p:cNvSpPr>
                <a:spLocks noChangeAspect="1" noChangeArrowheads="1"/>
              </p:cNvSpPr>
              <p:nvPr userDrawn="1"/>
            </p:nvSpPr>
            <p:spPr bwMode="auto">
              <a:xfrm>
                <a:off x="9242428" y="4051281"/>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40" name="Oval 932"/>
              <p:cNvSpPr>
                <a:spLocks noChangeAspect="1" noChangeArrowheads="1"/>
              </p:cNvSpPr>
              <p:nvPr userDrawn="1"/>
            </p:nvSpPr>
            <p:spPr bwMode="auto">
              <a:xfrm>
                <a:off x="9375149" y="4051281"/>
                <a:ext cx="102231" cy="102205"/>
              </a:xfrm>
              <a:prstGeom prst="ellipse">
                <a:avLst/>
              </a:prstGeom>
              <a:grpFill/>
              <a:ln>
                <a:noFill/>
              </a:ln>
              <a:effectLst/>
            </p:spPr>
            <p:txBody>
              <a:bodyPr wrap="none" anchor="ctr"/>
              <a:lstStyle/>
              <a:p>
                <a:pPr defTabSz="932110"/>
                <a:endParaRPr lang="en-US" sz="1836" dirty="0">
                  <a:solidFill>
                    <a:srgbClr val="FF0000"/>
                  </a:solidFill>
                </a:endParaRPr>
              </a:p>
            </p:txBody>
          </p:sp>
          <p:sp>
            <p:nvSpPr>
              <p:cNvPr id="1041" name="Oval 933"/>
              <p:cNvSpPr>
                <a:spLocks noChangeAspect="1" noChangeArrowheads="1"/>
              </p:cNvSpPr>
              <p:nvPr userDrawn="1"/>
            </p:nvSpPr>
            <p:spPr bwMode="auto">
              <a:xfrm>
                <a:off x="3361423" y="4175003"/>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42" name="Oval 934"/>
              <p:cNvSpPr>
                <a:spLocks noChangeAspect="1" noChangeArrowheads="1"/>
              </p:cNvSpPr>
              <p:nvPr userDrawn="1"/>
            </p:nvSpPr>
            <p:spPr bwMode="auto">
              <a:xfrm>
                <a:off x="3494145" y="4175003"/>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43" name="Oval 935"/>
              <p:cNvSpPr>
                <a:spLocks noChangeAspect="1" noChangeArrowheads="1"/>
              </p:cNvSpPr>
              <p:nvPr userDrawn="1"/>
            </p:nvSpPr>
            <p:spPr bwMode="auto">
              <a:xfrm>
                <a:off x="5499317" y="4175003"/>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44" name="Oval 936"/>
              <p:cNvSpPr>
                <a:spLocks noChangeAspect="1" noChangeArrowheads="1"/>
              </p:cNvSpPr>
              <p:nvPr userDrawn="1"/>
            </p:nvSpPr>
            <p:spPr bwMode="auto">
              <a:xfrm>
                <a:off x="5633834" y="4175003"/>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45" name="Oval 937"/>
              <p:cNvSpPr>
                <a:spLocks noChangeAspect="1" noChangeArrowheads="1"/>
              </p:cNvSpPr>
              <p:nvPr userDrawn="1"/>
            </p:nvSpPr>
            <p:spPr bwMode="auto">
              <a:xfrm>
                <a:off x="5766556" y="4175003"/>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46" name="Oval 938"/>
              <p:cNvSpPr>
                <a:spLocks noChangeAspect="1" noChangeArrowheads="1"/>
              </p:cNvSpPr>
              <p:nvPr userDrawn="1"/>
            </p:nvSpPr>
            <p:spPr bwMode="auto">
              <a:xfrm>
                <a:off x="5901070" y="4175003"/>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47" name="Oval 939"/>
              <p:cNvSpPr>
                <a:spLocks noChangeAspect="1" noChangeArrowheads="1"/>
              </p:cNvSpPr>
              <p:nvPr userDrawn="1"/>
            </p:nvSpPr>
            <p:spPr bwMode="auto">
              <a:xfrm>
                <a:off x="6033792" y="4175003"/>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48" name="Oval 940"/>
              <p:cNvSpPr>
                <a:spLocks noChangeAspect="1" noChangeArrowheads="1"/>
              </p:cNvSpPr>
              <p:nvPr userDrawn="1"/>
            </p:nvSpPr>
            <p:spPr bwMode="auto">
              <a:xfrm>
                <a:off x="6168307" y="4175003"/>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49" name="Oval 941"/>
              <p:cNvSpPr>
                <a:spLocks noChangeAspect="1" noChangeArrowheads="1"/>
              </p:cNvSpPr>
              <p:nvPr userDrawn="1"/>
            </p:nvSpPr>
            <p:spPr bwMode="auto">
              <a:xfrm>
                <a:off x="6301029" y="4175003"/>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50" name="Oval 942"/>
              <p:cNvSpPr>
                <a:spLocks noChangeAspect="1" noChangeArrowheads="1"/>
              </p:cNvSpPr>
              <p:nvPr userDrawn="1"/>
            </p:nvSpPr>
            <p:spPr bwMode="auto">
              <a:xfrm>
                <a:off x="6435544" y="4175003"/>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51" name="Oval 943"/>
              <p:cNvSpPr>
                <a:spLocks noChangeAspect="1" noChangeArrowheads="1"/>
              </p:cNvSpPr>
              <p:nvPr userDrawn="1"/>
            </p:nvSpPr>
            <p:spPr bwMode="auto">
              <a:xfrm>
                <a:off x="6568266" y="4175003"/>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52" name="Oval 944"/>
              <p:cNvSpPr>
                <a:spLocks noChangeAspect="1" noChangeArrowheads="1"/>
              </p:cNvSpPr>
              <p:nvPr userDrawn="1"/>
            </p:nvSpPr>
            <p:spPr bwMode="auto">
              <a:xfrm>
                <a:off x="6702781" y="4175003"/>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53" name="Oval 945"/>
              <p:cNvSpPr>
                <a:spLocks noChangeAspect="1" noChangeArrowheads="1"/>
              </p:cNvSpPr>
              <p:nvPr userDrawn="1"/>
            </p:nvSpPr>
            <p:spPr bwMode="auto">
              <a:xfrm>
                <a:off x="6835503" y="4175003"/>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54" name="Oval 946"/>
              <p:cNvSpPr>
                <a:spLocks noChangeAspect="1" noChangeArrowheads="1"/>
              </p:cNvSpPr>
              <p:nvPr userDrawn="1"/>
            </p:nvSpPr>
            <p:spPr bwMode="auto">
              <a:xfrm>
                <a:off x="6970017" y="4175003"/>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55" name="Oval 947"/>
              <p:cNvSpPr>
                <a:spLocks noChangeAspect="1" noChangeArrowheads="1"/>
              </p:cNvSpPr>
              <p:nvPr userDrawn="1"/>
            </p:nvSpPr>
            <p:spPr bwMode="auto">
              <a:xfrm>
                <a:off x="8038965" y="4175003"/>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56" name="Oval 948"/>
              <p:cNvSpPr>
                <a:spLocks noChangeAspect="1" noChangeArrowheads="1"/>
              </p:cNvSpPr>
              <p:nvPr userDrawn="1"/>
            </p:nvSpPr>
            <p:spPr bwMode="auto">
              <a:xfrm>
                <a:off x="8173481" y="4175003"/>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57" name="Oval 949"/>
              <p:cNvSpPr>
                <a:spLocks noChangeAspect="1" noChangeArrowheads="1"/>
              </p:cNvSpPr>
              <p:nvPr userDrawn="1"/>
            </p:nvSpPr>
            <p:spPr bwMode="auto">
              <a:xfrm>
                <a:off x="8707955" y="4175003"/>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58" name="Oval 950"/>
              <p:cNvSpPr>
                <a:spLocks noChangeAspect="1" noChangeArrowheads="1"/>
              </p:cNvSpPr>
              <p:nvPr userDrawn="1"/>
            </p:nvSpPr>
            <p:spPr bwMode="auto">
              <a:xfrm>
                <a:off x="8840677" y="4175003"/>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59" name="Oval 951"/>
              <p:cNvSpPr>
                <a:spLocks noChangeAspect="1" noChangeArrowheads="1"/>
              </p:cNvSpPr>
              <p:nvPr userDrawn="1"/>
            </p:nvSpPr>
            <p:spPr bwMode="auto">
              <a:xfrm>
                <a:off x="9375149" y="4175003"/>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60" name="Oval 952"/>
              <p:cNvSpPr>
                <a:spLocks noChangeAspect="1" noChangeArrowheads="1"/>
              </p:cNvSpPr>
              <p:nvPr userDrawn="1"/>
            </p:nvSpPr>
            <p:spPr bwMode="auto">
              <a:xfrm>
                <a:off x="3494145" y="429872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61" name="Oval 953"/>
              <p:cNvSpPr>
                <a:spLocks noChangeAspect="1" noChangeArrowheads="1"/>
              </p:cNvSpPr>
              <p:nvPr userDrawn="1"/>
            </p:nvSpPr>
            <p:spPr bwMode="auto">
              <a:xfrm>
                <a:off x="3628660" y="429872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62" name="Oval 954"/>
              <p:cNvSpPr>
                <a:spLocks noChangeAspect="1" noChangeArrowheads="1"/>
              </p:cNvSpPr>
              <p:nvPr userDrawn="1"/>
            </p:nvSpPr>
            <p:spPr bwMode="auto">
              <a:xfrm>
                <a:off x="3761382" y="429872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63" name="Oval 955"/>
              <p:cNvSpPr>
                <a:spLocks noChangeAspect="1" noChangeArrowheads="1"/>
              </p:cNvSpPr>
              <p:nvPr userDrawn="1"/>
            </p:nvSpPr>
            <p:spPr bwMode="auto">
              <a:xfrm>
                <a:off x="3895896" y="429872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64" name="Oval 956"/>
              <p:cNvSpPr>
                <a:spLocks noChangeAspect="1" noChangeArrowheads="1"/>
              </p:cNvSpPr>
              <p:nvPr userDrawn="1"/>
            </p:nvSpPr>
            <p:spPr bwMode="auto">
              <a:xfrm>
                <a:off x="4028618" y="429872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65" name="Oval 957"/>
              <p:cNvSpPr>
                <a:spLocks noChangeAspect="1" noChangeArrowheads="1"/>
              </p:cNvSpPr>
              <p:nvPr userDrawn="1"/>
            </p:nvSpPr>
            <p:spPr bwMode="auto">
              <a:xfrm>
                <a:off x="5499317" y="429872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66" name="Oval 958"/>
              <p:cNvSpPr>
                <a:spLocks noChangeAspect="1" noChangeArrowheads="1"/>
              </p:cNvSpPr>
              <p:nvPr userDrawn="1"/>
            </p:nvSpPr>
            <p:spPr bwMode="auto">
              <a:xfrm>
                <a:off x="5633834" y="429872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67" name="Oval 959"/>
              <p:cNvSpPr>
                <a:spLocks noChangeAspect="1" noChangeArrowheads="1"/>
              </p:cNvSpPr>
              <p:nvPr userDrawn="1"/>
            </p:nvSpPr>
            <p:spPr bwMode="auto">
              <a:xfrm>
                <a:off x="5766556" y="429872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68" name="Oval 960"/>
              <p:cNvSpPr>
                <a:spLocks noChangeAspect="1" noChangeArrowheads="1"/>
              </p:cNvSpPr>
              <p:nvPr userDrawn="1"/>
            </p:nvSpPr>
            <p:spPr bwMode="auto">
              <a:xfrm>
                <a:off x="5901070" y="429872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69" name="Oval 961"/>
              <p:cNvSpPr>
                <a:spLocks noChangeAspect="1" noChangeArrowheads="1"/>
              </p:cNvSpPr>
              <p:nvPr userDrawn="1"/>
            </p:nvSpPr>
            <p:spPr bwMode="auto">
              <a:xfrm>
                <a:off x="6033792" y="429872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70" name="Oval 962"/>
              <p:cNvSpPr>
                <a:spLocks noChangeAspect="1" noChangeArrowheads="1"/>
              </p:cNvSpPr>
              <p:nvPr userDrawn="1"/>
            </p:nvSpPr>
            <p:spPr bwMode="auto">
              <a:xfrm>
                <a:off x="6168307" y="429872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71" name="Oval 963"/>
              <p:cNvSpPr>
                <a:spLocks noChangeAspect="1" noChangeArrowheads="1"/>
              </p:cNvSpPr>
              <p:nvPr userDrawn="1"/>
            </p:nvSpPr>
            <p:spPr bwMode="auto">
              <a:xfrm>
                <a:off x="6301029" y="429872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72" name="Oval 964"/>
              <p:cNvSpPr>
                <a:spLocks noChangeAspect="1" noChangeArrowheads="1"/>
              </p:cNvSpPr>
              <p:nvPr userDrawn="1"/>
            </p:nvSpPr>
            <p:spPr bwMode="auto">
              <a:xfrm>
                <a:off x="6435544" y="429872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73" name="Oval 965"/>
              <p:cNvSpPr>
                <a:spLocks noChangeAspect="1" noChangeArrowheads="1"/>
              </p:cNvSpPr>
              <p:nvPr userDrawn="1"/>
            </p:nvSpPr>
            <p:spPr bwMode="auto">
              <a:xfrm>
                <a:off x="6568266" y="429872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74" name="Oval 966"/>
              <p:cNvSpPr>
                <a:spLocks noChangeAspect="1" noChangeArrowheads="1"/>
              </p:cNvSpPr>
              <p:nvPr userDrawn="1"/>
            </p:nvSpPr>
            <p:spPr bwMode="auto">
              <a:xfrm>
                <a:off x="6702781" y="429872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75" name="Oval 967"/>
              <p:cNvSpPr>
                <a:spLocks noChangeAspect="1" noChangeArrowheads="1"/>
              </p:cNvSpPr>
              <p:nvPr userDrawn="1"/>
            </p:nvSpPr>
            <p:spPr bwMode="auto">
              <a:xfrm>
                <a:off x="6835503" y="429872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76" name="Oval 968"/>
              <p:cNvSpPr>
                <a:spLocks noChangeAspect="1" noChangeArrowheads="1"/>
              </p:cNvSpPr>
              <p:nvPr userDrawn="1"/>
            </p:nvSpPr>
            <p:spPr bwMode="auto">
              <a:xfrm>
                <a:off x="6970017" y="429872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77" name="Oval 969"/>
              <p:cNvSpPr>
                <a:spLocks noChangeAspect="1" noChangeArrowheads="1"/>
              </p:cNvSpPr>
              <p:nvPr userDrawn="1"/>
            </p:nvSpPr>
            <p:spPr bwMode="auto">
              <a:xfrm>
                <a:off x="7102739" y="429872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78" name="Oval 970"/>
              <p:cNvSpPr>
                <a:spLocks noChangeAspect="1" noChangeArrowheads="1"/>
              </p:cNvSpPr>
              <p:nvPr userDrawn="1"/>
            </p:nvSpPr>
            <p:spPr bwMode="auto">
              <a:xfrm>
                <a:off x="7237255" y="429872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79" name="Oval 971"/>
              <p:cNvSpPr>
                <a:spLocks noChangeAspect="1" noChangeArrowheads="1"/>
              </p:cNvSpPr>
              <p:nvPr userDrawn="1"/>
            </p:nvSpPr>
            <p:spPr bwMode="auto">
              <a:xfrm>
                <a:off x="7369977" y="429872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80" name="Oval 972"/>
              <p:cNvSpPr>
                <a:spLocks noChangeAspect="1" noChangeArrowheads="1"/>
              </p:cNvSpPr>
              <p:nvPr userDrawn="1"/>
            </p:nvSpPr>
            <p:spPr bwMode="auto">
              <a:xfrm>
                <a:off x="8038965" y="429872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81" name="Oval 973"/>
              <p:cNvSpPr>
                <a:spLocks noChangeAspect="1" noChangeArrowheads="1"/>
              </p:cNvSpPr>
              <p:nvPr userDrawn="1"/>
            </p:nvSpPr>
            <p:spPr bwMode="auto">
              <a:xfrm>
                <a:off x="8707955" y="429872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82" name="Oval 974"/>
              <p:cNvSpPr>
                <a:spLocks noChangeAspect="1" noChangeArrowheads="1"/>
              </p:cNvSpPr>
              <p:nvPr userDrawn="1"/>
            </p:nvSpPr>
            <p:spPr bwMode="auto">
              <a:xfrm>
                <a:off x="8840677" y="429872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83" name="Oval 975"/>
              <p:cNvSpPr>
                <a:spLocks noChangeAspect="1" noChangeArrowheads="1"/>
              </p:cNvSpPr>
              <p:nvPr userDrawn="1"/>
            </p:nvSpPr>
            <p:spPr bwMode="auto">
              <a:xfrm>
                <a:off x="9375149" y="4298724"/>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84" name="Oval 976"/>
              <p:cNvSpPr>
                <a:spLocks noChangeAspect="1" noChangeArrowheads="1"/>
              </p:cNvSpPr>
              <p:nvPr userDrawn="1"/>
            </p:nvSpPr>
            <p:spPr bwMode="auto">
              <a:xfrm>
                <a:off x="3761382" y="442065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85" name="Oval 977"/>
              <p:cNvSpPr>
                <a:spLocks noChangeAspect="1" noChangeArrowheads="1"/>
              </p:cNvSpPr>
              <p:nvPr userDrawn="1"/>
            </p:nvSpPr>
            <p:spPr bwMode="auto">
              <a:xfrm>
                <a:off x="3895896" y="442065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86" name="Oval 978"/>
              <p:cNvSpPr>
                <a:spLocks noChangeAspect="1" noChangeArrowheads="1"/>
              </p:cNvSpPr>
              <p:nvPr userDrawn="1"/>
            </p:nvSpPr>
            <p:spPr bwMode="auto">
              <a:xfrm>
                <a:off x="4028618" y="442065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87" name="Oval 979"/>
              <p:cNvSpPr>
                <a:spLocks noChangeAspect="1" noChangeArrowheads="1"/>
              </p:cNvSpPr>
              <p:nvPr userDrawn="1"/>
            </p:nvSpPr>
            <p:spPr bwMode="auto">
              <a:xfrm>
                <a:off x="4163135" y="442065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88" name="Oval 980"/>
              <p:cNvSpPr>
                <a:spLocks noChangeAspect="1" noChangeArrowheads="1"/>
              </p:cNvSpPr>
              <p:nvPr userDrawn="1"/>
            </p:nvSpPr>
            <p:spPr bwMode="auto">
              <a:xfrm>
                <a:off x="5633834" y="442065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89" name="Oval 981"/>
              <p:cNvSpPr>
                <a:spLocks noChangeAspect="1" noChangeArrowheads="1"/>
              </p:cNvSpPr>
              <p:nvPr userDrawn="1"/>
            </p:nvSpPr>
            <p:spPr bwMode="auto">
              <a:xfrm>
                <a:off x="5766556" y="442065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90" name="Oval 982"/>
              <p:cNvSpPr>
                <a:spLocks noChangeAspect="1" noChangeArrowheads="1"/>
              </p:cNvSpPr>
              <p:nvPr userDrawn="1"/>
            </p:nvSpPr>
            <p:spPr bwMode="auto">
              <a:xfrm>
                <a:off x="5901070" y="442065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91" name="Oval 983"/>
              <p:cNvSpPr>
                <a:spLocks noChangeAspect="1" noChangeArrowheads="1"/>
              </p:cNvSpPr>
              <p:nvPr userDrawn="1"/>
            </p:nvSpPr>
            <p:spPr bwMode="auto">
              <a:xfrm>
                <a:off x="6033792" y="442065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92" name="Oval 984"/>
              <p:cNvSpPr>
                <a:spLocks noChangeAspect="1" noChangeArrowheads="1"/>
              </p:cNvSpPr>
              <p:nvPr userDrawn="1"/>
            </p:nvSpPr>
            <p:spPr bwMode="auto">
              <a:xfrm>
                <a:off x="6168307" y="442065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93" name="Oval 985"/>
              <p:cNvSpPr>
                <a:spLocks noChangeAspect="1" noChangeArrowheads="1"/>
              </p:cNvSpPr>
              <p:nvPr userDrawn="1"/>
            </p:nvSpPr>
            <p:spPr bwMode="auto">
              <a:xfrm>
                <a:off x="6301029" y="442065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94" name="Oval 986"/>
              <p:cNvSpPr>
                <a:spLocks noChangeAspect="1" noChangeArrowheads="1"/>
              </p:cNvSpPr>
              <p:nvPr userDrawn="1"/>
            </p:nvSpPr>
            <p:spPr bwMode="auto">
              <a:xfrm>
                <a:off x="6435544" y="442065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95" name="Oval 987"/>
              <p:cNvSpPr>
                <a:spLocks noChangeAspect="1" noChangeArrowheads="1"/>
              </p:cNvSpPr>
              <p:nvPr userDrawn="1"/>
            </p:nvSpPr>
            <p:spPr bwMode="auto">
              <a:xfrm>
                <a:off x="6568266" y="442065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96" name="Oval 988"/>
              <p:cNvSpPr>
                <a:spLocks noChangeAspect="1" noChangeArrowheads="1"/>
              </p:cNvSpPr>
              <p:nvPr userDrawn="1"/>
            </p:nvSpPr>
            <p:spPr bwMode="auto">
              <a:xfrm>
                <a:off x="6702781" y="442065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97" name="Oval 989"/>
              <p:cNvSpPr>
                <a:spLocks noChangeAspect="1" noChangeArrowheads="1"/>
              </p:cNvSpPr>
              <p:nvPr userDrawn="1"/>
            </p:nvSpPr>
            <p:spPr bwMode="auto">
              <a:xfrm>
                <a:off x="6835503" y="442065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98" name="Oval 990"/>
              <p:cNvSpPr>
                <a:spLocks noChangeAspect="1" noChangeArrowheads="1"/>
              </p:cNvSpPr>
              <p:nvPr userDrawn="1"/>
            </p:nvSpPr>
            <p:spPr bwMode="auto">
              <a:xfrm>
                <a:off x="6970017" y="442065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099" name="Oval 991"/>
              <p:cNvSpPr>
                <a:spLocks noChangeAspect="1" noChangeArrowheads="1"/>
              </p:cNvSpPr>
              <p:nvPr userDrawn="1"/>
            </p:nvSpPr>
            <p:spPr bwMode="auto">
              <a:xfrm>
                <a:off x="7102739" y="442065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00" name="Oval 992"/>
              <p:cNvSpPr>
                <a:spLocks noChangeAspect="1" noChangeArrowheads="1"/>
              </p:cNvSpPr>
              <p:nvPr userDrawn="1"/>
            </p:nvSpPr>
            <p:spPr bwMode="auto">
              <a:xfrm>
                <a:off x="7237255" y="442065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01" name="Oval 993"/>
              <p:cNvSpPr>
                <a:spLocks noChangeAspect="1" noChangeArrowheads="1"/>
              </p:cNvSpPr>
              <p:nvPr userDrawn="1"/>
            </p:nvSpPr>
            <p:spPr bwMode="auto">
              <a:xfrm>
                <a:off x="8173481" y="442065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02" name="Oval 994"/>
              <p:cNvSpPr>
                <a:spLocks noChangeAspect="1" noChangeArrowheads="1"/>
              </p:cNvSpPr>
              <p:nvPr userDrawn="1"/>
            </p:nvSpPr>
            <p:spPr bwMode="auto">
              <a:xfrm>
                <a:off x="8707955" y="442065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03" name="Oval 995"/>
              <p:cNvSpPr>
                <a:spLocks noChangeAspect="1" noChangeArrowheads="1"/>
              </p:cNvSpPr>
              <p:nvPr userDrawn="1"/>
            </p:nvSpPr>
            <p:spPr bwMode="auto">
              <a:xfrm>
                <a:off x="9375149" y="442065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04" name="Oval 996"/>
              <p:cNvSpPr>
                <a:spLocks noChangeAspect="1" noChangeArrowheads="1"/>
              </p:cNvSpPr>
              <p:nvPr userDrawn="1"/>
            </p:nvSpPr>
            <p:spPr bwMode="auto">
              <a:xfrm>
                <a:off x="3761382" y="454437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05" name="Oval 997"/>
              <p:cNvSpPr>
                <a:spLocks noChangeAspect="1" noChangeArrowheads="1"/>
              </p:cNvSpPr>
              <p:nvPr userDrawn="1"/>
            </p:nvSpPr>
            <p:spPr bwMode="auto">
              <a:xfrm>
                <a:off x="3895896" y="454437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06" name="Oval 998"/>
              <p:cNvSpPr>
                <a:spLocks noChangeAspect="1" noChangeArrowheads="1"/>
              </p:cNvSpPr>
              <p:nvPr userDrawn="1"/>
            </p:nvSpPr>
            <p:spPr bwMode="auto">
              <a:xfrm>
                <a:off x="4028618" y="454437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07" name="Oval 999"/>
              <p:cNvSpPr>
                <a:spLocks noChangeAspect="1" noChangeArrowheads="1"/>
              </p:cNvSpPr>
              <p:nvPr userDrawn="1"/>
            </p:nvSpPr>
            <p:spPr bwMode="auto">
              <a:xfrm>
                <a:off x="4163135" y="454437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08" name="Oval 1000"/>
              <p:cNvSpPr>
                <a:spLocks noChangeAspect="1" noChangeArrowheads="1"/>
              </p:cNvSpPr>
              <p:nvPr userDrawn="1"/>
            </p:nvSpPr>
            <p:spPr bwMode="auto">
              <a:xfrm>
                <a:off x="4295856" y="454437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09" name="Oval 1001"/>
              <p:cNvSpPr>
                <a:spLocks noChangeAspect="1" noChangeArrowheads="1"/>
              </p:cNvSpPr>
              <p:nvPr userDrawn="1"/>
            </p:nvSpPr>
            <p:spPr bwMode="auto">
              <a:xfrm>
                <a:off x="4430370" y="454437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10" name="Oval 1002"/>
              <p:cNvSpPr>
                <a:spLocks noChangeAspect="1" noChangeArrowheads="1"/>
              </p:cNvSpPr>
              <p:nvPr userDrawn="1"/>
            </p:nvSpPr>
            <p:spPr bwMode="auto">
              <a:xfrm>
                <a:off x="6168307" y="454437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11" name="Oval 1003"/>
              <p:cNvSpPr>
                <a:spLocks noChangeAspect="1" noChangeArrowheads="1"/>
              </p:cNvSpPr>
              <p:nvPr userDrawn="1"/>
            </p:nvSpPr>
            <p:spPr bwMode="auto">
              <a:xfrm>
                <a:off x="6301029" y="454437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12" name="Oval 1004"/>
              <p:cNvSpPr>
                <a:spLocks noChangeAspect="1" noChangeArrowheads="1"/>
              </p:cNvSpPr>
              <p:nvPr userDrawn="1"/>
            </p:nvSpPr>
            <p:spPr bwMode="auto">
              <a:xfrm>
                <a:off x="6435544" y="454437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13" name="Oval 1005"/>
              <p:cNvSpPr>
                <a:spLocks noChangeAspect="1" noChangeArrowheads="1"/>
              </p:cNvSpPr>
              <p:nvPr userDrawn="1"/>
            </p:nvSpPr>
            <p:spPr bwMode="auto">
              <a:xfrm>
                <a:off x="6568266" y="454437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14" name="Oval 1006"/>
              <p:cNvSpPr>
                <a:spLocks noChangeAspect="1" noChangeArrowheads="1"/>
              </p:cNvSpPr>
              <p:nvPr userDrawn="1"/>
            </p:nvSpPr>
            <p:spPr bwMode="auto">
              <a:xfrm>
                <a:off x="6702781" y="454437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15" name="Oval 1007"/>
              <p:cNvSpPr>
                <a:spLocks noChangeAspect="1" noChangeArrowheads="1"/>
              </p:cNvSpPr>
              <p:nvPr userDrawn="1"/>
            </p:nvSpPr>
            <p:spPr bwMode="auto">
              <a:xfrm>
                <a:off x="6835503" y="454437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16" name="Oval 1008"/>
              <p:cNvSpPr>
                <a:spLocks noChangeAspect="1" noChangeArrowheads="1"/>
              </p:cNvSpPr>
              <p:nvPr userDrawn="1"/>
            </p:nvSpPr>
            <p:spPr bwMode="auto">
              <a:xfrm>
                <a:off x="6970017" y="454437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17" name="Oval 1009"/>
              <p:cNvSpPr>
                <a:spLocks noChangeAspect="1" noChangeArrowheads="1"/>
              </p:cNvSpPr>
              <p:nvPr userDrawn="1"/>
            </p:nvSpPr>
            <p:spPr bwMode="auto">
              <a:xfrm>
                <a:off x="7102739" y="454437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18" name="Oval 1010"/>
              <p:cNvSpPr>
                <a:spLocks noChangeAspect="1" noChangeArrowheads="1"/>
              </p:cNvSpPr>
              <p:nvPr userDrawn="1"/>
            </p:nvSpPr>
            <p:spPr bwMode="auto">
              <a:xfrm>
                <a:off x="7237255" y="454437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19" name="Oval 1011"/>
              <p:cNvSpPr>
                <a:spLocks noChangeAspect="1" noChangeArrowheads="1"/>
              </p:cNvSpPr>
              <p:nvPr userDrawn="1"/>
            </p:nvSpPr>
            <p:spPr bwMode="auto">
              <a:xfrm>
                <a:off x="8707955" y="454437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20" name="Oval 1012"/>
              <p:cNvSpPr>
                <a:spLocks noChangeAspect="1" noChangeArrowheads="1"/>
              </p:cNvSpPr>
              <p:nvPr userDrawn="1"/>
            </p:nvSpPr>
            <p:spPr bwMode="auto">
              <a:xfrm>
                <a:off x="9107912" y="4544375"/>
                <a:ext cx="102232" cy="102204"/>
              </a:xfrm>
              <a:prstGeom prst="ellipse">
                <a:avLst/>
              </a:prstGeom>
              <a:grpFill/>
              <a:ln>
                <a:noFill/>
              </a:ln>
              <a:effectLst/>
            </p:spPr>
            <p:txBody>
              <a:bodyPr wrap="none" anchor="ctr"/>
              <a:lstStyle/>
              <a:p>
                <a:pPr defTabSz="932110"/>
                <a:endParaRPr lang="en-US" sz="1836" dirty="0">
                  <a:solidFill>
                    <a:srgbClr val="FF0000"/>
                  </a:solidFill>
                </a:endParaRPr>
              </a:p>
            </p:txBody>
          </p:sp>
          <p:sp>
            <p:nvSpPr>
              <p:cNvPr id="1121" name="Oval 1013"/>
              <p:cNvSpPr>
                <a:spLocks noChangeAspect="1" noChangeArrowheads="1"/>
              </p:cNvSpPr>
              <p:nvPr userDrawn="1"/>
            </p:nvSpPr>
            <p:spPr bwMode="auto">
              <a:xfrm>
                <a:off x="3628660" y="466809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22" name="Oval 1014"/>
              <p:cNvSpPr>
                <a:spLocks noChangeAspect="1" noChangeArrowheads="1"/>
              </p:cNvSpPr>
              <p:nvPr userDrawn="1"/>
            </p:nvSpPr>
            <p:spPr bwMode="auto">
              <a:xfrm>
                <a:off x="3761382" y="466809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23" name="Oval 1015"/>
              <p:cNvSpPr>
                <a:spLocks noChangeAspect="1" noChangeArrowheads="1"/>
              </p:cNvSpPr>
              <p:nvPr userDrawn="1"/>
            </p:nvSpPr>
            <p:spPr bwMode="auto">
              <a:xfrm>
                <a:off x="3895896" y="466809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24" name="Oval 1016"/>
              <p:cNvSpPr>
                <a:spLocks noChangeAspect="1" noChangeArrowheads="1"/>
              </p:cNvSpPr>
              <p:nvPr userDrawn="1"/>
            </p:nvSpPr>
            <p:spPr bwMode="auto">
              <a:xfrm>
                <a:off x="4028618" y="466809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25" name="Oval 1017"/>
              <p:cNvSpPr>
                <a:spLocks noChangeAspect="1" noChangeArrowheads="1"/>
              </p:cNvSpPr>
              <p:nvPr userDrawn="1"/>
            </p:nvSpPr>
            <p:spPr bwMode="auto">
              <a:xfrm>
                <a:off x="4163135" y="466809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26" name="Oval 1018"/>
              <p:cNvSpPr>
                <a:spLocks noChangeAspect="1" noChangeArrowheads="1"/>
              </p:cNvSpPr>
              <p:nvPr userDrawn="1"/>
            </p:nvSpPr>
            <p:spPr bwMode="auto">
              <a:xfrm>
                <a:off x="4295856" y="466809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27" name="Oval 1019"/>
              <p:cNvSpPr>
                <a:spLocks noChangeAspect="1" noChangeArrowheads="1"/>
              </p:cNvSpPr>
              <p:nvPr userDrawn="1"/>
            </p:nvSpPr>
            <p:spPr bwMode="auto">
              <a:xfrm>
                <a:off x="4430370" y="466809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28" name="Oval 1020"/>
              <p:cNvSpPr>
                <a:spLocks noChangeAspect="1" noChangeArrowheads="1"/>
              </p:cNvSpPr>
              <p:nvPr userDrawn="1"/>
            </p:nvSpPr>
            <p:spPr bwMode="auto">
              <a:xfrm>
                <a:off x="4564886" y="466809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29" name="Oval 1021"/>
              <p:cNvSpPr>
                <a:spLocks noChangeAspect="1" noChangeArrowheads="1"/>
              </p:cNvSpPr>
              <p:nvPr userDrawn="1"/>
            </p:nvSpPr>
            <p:spPr bwMode="auto">
              <a:xfrm>
                <a:off x="6168307" y="466809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30" name="Oval 1022"/>
              <p:cNvSpPr>
                <a:spLocks noChangeAspect="1" noChangeArrowheads="1"/>
              </p:cNvSpPr>
              <p:nvPr userDrawn="1"/>
            </p:nvSpPr>
            <p:spPr bwMode="auto">
              <a:xfrm>
                <a:off x="6301029" y="466809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31" name="Oval 1023"/>
              <p:cNvSpPr>
                <a:spLocks noChangeAspect="1" noChangeArrowheads="1"/>
              </p:cNvSpPr>
              <p:nvPr userDrawn="1"/>
            </p:nvSpPr>
            <p:spPr bwMode="auto">
              <a:xfrm>
                <a:off x="6435544" y="466809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32" name="Oval 1024"/>
              <p:cNvSpPr>
                <a:spLocks noChangeAspect="1" noChangeArrowheads="1"/>
              </p:cNvSpPr>
              <p:nvPr userDrawn="1"/>
            </p:nvSpPr>
            <p:spPr bwMode="auto">
              <a:xfrm>
                <a:off x="6568266" y="466809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33" name="Oval 1025"/>
              <p:cNvSpPr>
                <a:spLocks noChangeAspect="1" noChangeArrowheads="1"/>
              </p:cNvSpPr>
              <p:nvPr userDrawn="1"/>
            </p:nvSpPr>
            <p:spPr bwMode="auto">
              <a:xfrm>
                <a:off x="6702781" y="466809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34" name="Oval 1026"/>
              <p:cNvSpPr>
                <a:spLocks noChangeAspect="1" noChangeArrowheads="1"/>
              </p:cNvSpPr>
              <p:nvPr userDrawn="1"/>
            </p:nvSpPr>
            <p:spPr bwMode="auto">
              <a:xfrm>
                <a:off x="6835503" y="466809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35" name="Oval 1027"/>
              <p:cNvSpPr>
                <a:spLocks noChangeAspect="1" noChangeArrowheads="1"/>
              </p:cNvSpPr>
              <p:nvPr userDrawn="1"/>
            </p:nvSpPr>
            <p:spPr bwMode="auto">
              <a:xfrm>
                <a:off x="6970017" y="466809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36" name="Oval 1028"/>
              <p:cNvSpPr>
                <a:spLocks noChangeAspect="1" noChangeArrowheads="1"/>
              </p:cNvSpPr>
              <p:nvPr userDrawn="1"/>
            </p:nvSpPr>
            <p:spPr bwMode="auto">
              <a:xfrm>
                <a:off x="7102739" y="466809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37" name="Oval 1029"/>
              <p:cNvSpPr>
                <a:spLocks noChangeAspect="1" noChangeArrowheads="1"/>
              </p:cNvSpPr>
              <p:nvPr userDrawn="1"/>
            </p:nvSpPr>
            <p:spPr bwMode="auto">
              <a:xfrm>
                <a:off x="8707955" y="466809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38" name="Oval 1030"/>
              <p:cNvSpPr>
                <a:spLocks noChangeAspect="1" noChangeArrowheads="1"/>
              </p:cNvSpPr>
              <p:nvPr userDrawn="1"/>
            </p:nvSpPr>
            <p:spPr bwMode="auto">
              <a:xfrm>
                <a:off x="8975191" y="466809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39" name="Oval 1031"/>
              <p:cNvSpPr>
                <a:spLocks noChangeAspect="1" noChangeArrowheads="1"/>
              </p:cNvSpPr>
              <p:nvPr userDrawn="1"/>
            </p:nvSpPr>
            <p:spPr bwMode="auto">
              <a:xfrm>
                <a:off x="9107912" y="4668097"/>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40" name="Oval 1032"/>
              <p:cNvSpPr>
                <a:spLocks noChangeAspect="1" noChangeArrowheads="1"/>
              </p:cNvSpPr>
              <p:nvPr userDrawn="1"/>
            </p:nvSpPr>
            <p:spPr bwMode="auto">
              <a:xfrm>
                <a:off x="9242428" y="4668097"/>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41" name="Oval 1033"/>
              <p:cNvSpPr>
                <a:spLocks noChangeAspect="1" noChangeArrowheads="1"/>
              </p:cNvSpPr>
              <p:nvPr userDrawn="1"/>
            </p:nvSpPr>
            <p:spPr bwMode="auto">
              <a:xfrm>
                <a:off x="3628660" y="479181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42" name="Oval 1034"/>
              <p:cNvSpPr>
                <a:spLocks noChangeAspect="1" noChangeArrowheads="1"/>
              </p:cNvSpPr>
              <p:nvPr userDrawn="1"/>
            </p:nvSpPr>
            <p:spPr bwMode="auto">
              <a:xfrm>
                <a:off x="3761382" y="479181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43" name="Oval 1035"/>
              <p:cNvSpPr>
                <a:spLocks noChangeAspect="1" noChangeArrowheads="1"/>
              </p:cNvSpPr>
              <p:nvPr userDrawn="1"/>
            </p:nvSpPr>
            <p:spPr bwMode="auto">
              <a:xfrm>
                <a:off x="3895896" y="479181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44" name="Oval 1036"/>
              <p:cNvSpPr>
                <a:spLocks noChangeAspect="1" noChangeArrowheads="1"/>
              </p:cNvSpPr>
              <p:nvPr userDrawn="1"/>
            </p:nvSpPr>
            <p:spPr bwMode="auto">
              <a:xfrm>
                <a:off x="4028618" y="479181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45" name="Oval 1037"/>
              <p:cNvSpPr>
                <a:spLocks noChangeAspect="1" noChangeArrowheads="1"/>
              </p:cNvSpPr>
              <p:nvPr userDrawn="1"/>
            </p:nvSpPr>
            <p:spPr bwMode="auto">
              <a:xfrm>
                <a:off x="4163135" y="479181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46" name="Oval 1038"/>
              <p:cNvSpPr>
                <a:spLocks noChangeAspect="1" noChangeArrowheads="1"/>
              </p:cNvSpPr>
              <p:nvPr userDrawn="1"/>
            </p:nvSpPr>
            <p:spPr bwMode="auto">
              <a:xfrm>
                <a:off x="4295856" y="479181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47" name="Oval 1039"/>
              <p:cNvSpPr>
                <a:spLocks noChangeAspect="1" noChangeArrowheads="1"/>
              </p:cNvSpPr>
              <p:nvPr userDrawn="1"/>
            </p:nvSpPr>
            <p:spPr bwMode="auto">
              <a:xfrm>
                <a:off x="4430370" y="479181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48" name="Oval 1040"/>
              <p:cNvSpPr>
                <a:spLocks noChangeAspect="1" noChangeArrowheads="1"/>
              </p:cNvSpPr>
              <p:nvPr userDrawn="1"/>
            </p:nvSpPr>
            <p:spPr bwMode="auto">
              <a:xfrm>
                <a:off x="4564886" y="479181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49" name="Oval 1041"/>
              <p:cNvSpPr>
                <a:spLocks noChangeAspect="1" noChangeArrowheads="1"/>
              </p:cNvSpPr>
              <p:nvPr userDrawn="1"/>
            </p:nvSpPr>
            <p:spPr bwMode="auto">
              <a:xfrm>
                <a:off x="4697607" y="479181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50" name="Oval 1042"/>
              <p:cNvSpPr>
                <a:spLocks noChangeAspect="1" noChangeArrowheads="1"/>
              </p:cNvSpPr>
              <p:nvPr userDrawn="1"/>
            </p:nvSpPr>
            <p:spPr bwMode="auto">
              <a:xfrm>
                <a:off x="4832123" y="479181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51" name="Oval 1043"/>
              <p:cNvSpPr>
                <a:spLocks noChangeAspect="1" noChangeArrowheads="1"/>
              </p:cNvSpPr>
              <p:nvPr userDrawn="1"/>
            </p:nvSpPr>
            <p:spPr bwMode="auto">
              <a:xfrm>
                <a:off x="6301029" y="479181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52" name="Oval 1044"/>
              <p:cNvSpPr>
                <a:spLocks noChangeAspect="1" noChangeArrowheads="1"/>
              </p:cNvSpPr>
              <p:nvPr userDrawn="1"/>
            </p:nvSpPr>
            <p:spPr bwMode="auto">
              <a:xfrm>
                <a:off x="6435544" y="479181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53" name="Oval 1045"/>
              <p:cNvSpPr>
                <a:spLocks noChangeAspect="1" noChangeArrowheads="1"/>
              </p:cNvSpPr>
              <p:nvPr userDrawn="1"/>
            </p:nvSpPr>
            <p:spPr bwMode="auto">
              <a:xfrm>
                <a:off x="6568266" y="479181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54" name="Oval 1046"/>
              <p:cNvSpPr>
                <a:spLocks noChangeAspect="1" noChangeArrowheads="1"/>
              </p:cNvSpPr>
              <p:nvPr userDrawn="1"/>
            </p:nvSpPr>
            <p:spPr bwMode="auto">
              <a:xfrm>
                <a:off x="6702781" y="479181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55" name="Oval 1047"/>
              <p:cNvSpPr>
                <a:spLocks noChangeAspect="1" noChangeArrowheads="1"/>
              </p:cNvSpPr>
              <p:nvPr userDrawn="1"/>
            </p:nvSpPr>
            <p:spPr bwMode="auto">
              <a:xfrm>
                <a:off x="6835503" y="479181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56" name="Oval 1048"/>
              <p:cNvSpPr>
                <a:spLocks noChangeAspect="1" noChangeArrowheads="1"/>
              </p:cNvSpPr>
              <p:nvPr userDrawn="1"/>
            </p:nvSpPr>
            <p:spPr bwMode="auto">
              <a:xfrm>
                <a:off x="6970017" y="479181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57" name="Oval 1049"/>
              <p:cNvSpPr>
                <a:spLocks noChangeAspect="1" noChangeArrowheads="1"/>
              </p:cNvSpPr>
              <p:nvPr userDrawn="1"/>
            </p:nvSpPr>
            <p:spPr bwMode="auto">
              <a:xfrm>
                <a:off x="8840677" y="479181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58" name="Oval 1050"/>
              <p:cNvSpPr>
                <a:spLocks noChangeAspect="1" noChangeArrowheads="1"/>
              </p:cNvSpPr>
              <p:nvPr userDrawn="1"/>
            </p:nvSpPr>
            <p:spPr bwMode="auto">
              <a:xfrm>
                <a:off x="9242428" y="479181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59" name="Oval 1051"/>
              <p:cNvSpPr>
                <a:spLocks noChangeAspect="1" noChangeArrowheads="1"/>
              </p:cNvSpPr>
              <p:nvPr userDrawn="1"/>
            </p:nvSpPr>
            <p:spPr bwMode="auto">
              <a:xfrm>
                <a:off x="9642387" y="479181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60" name="Oval 1052"/>
              <p:cNvSpPr>
                <a:spLocks noChangeAspect="1" noChangeArrowheads="1"/>
              </p:cNvSpPr>
              <p:nvPr userDrawn="1"/>
            </p:nvSpPr>
            <p:spPr bwMode="auto">
              <a:xfrm>
                <a:off x="9776902" y="479181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61" name="Oval 1053"/>
              <p:cNvSpPr>
                <a:spLocks noChangeAspect="1" noChangeArrowheads="1"/>
              </p:cNvSpPr>
              <p:nvPr userDrawn="1"/>
            </p:nvSpPr>
            <p:spPr bwMode="auto">
              <a:xfrm>
                <a:off x="9909624" y="479181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62" name="Oval 1054"/>
              <p:cNvSpPr>
                <a:spLocks noChangeAspect="1" noChangeArrowheads="1"/>
              </p:cNvSpPr>
              <p:nvPr userDrawn="1"/>
            </p:nvSpPr>
            <p:spPr bwMode="auto">
              <a:xfrm>
                <a:off x="3761382" y="4915540"/>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63" name="Oval 1055"/>
              <p:cNvSpPr>
                <a:spLocks noChangeAspect="1" noChangeArrowheads="1"/>
              </p:cNvSpPr>
              <p:nvPr userDrawn="1"/>
            </p:nvSpPr>
            <p:spPr bwMode="auto">
              <a:xfrm>
                <a:off x="3895896" y="4915540"/>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64" name="Oval 1056"/>
              <p:cNvSpPr>
                <a:spLocks noChangeAspect="1" noChangeArrowheads="1"/>
              </p:cNvSpPr>
              <p:nvPr userDrawn="1"/>
            </p:nvSpPr>
            <p:spPr bwMode="auto">
              <a:xfrm>
                <a:off x="4028618" y="4915540"/>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65" name="Oval 1057"/>
              <p:cNvSpPr>
                <a:spLocks noChangeAspect="1" noChangeArrowheads="1"/>
              </p:cNvSpPr>
              <p:nvPr userDrawn="1"/>
            </p:nvSpPr>
            <p:spPr bwMode="auto">
              <a:xfrm>
                <a:off x="4163135" y="4915540"/>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66" name="Oval 1058"/>
              <p:cNvSpPr>
                <a:spLocks noChangeAspect="1" noChangeArrowheads="1"/>
              </p:cNvSpPr>
              <p:nvPr userDrawn="1"/>
            </p:nvSpPr>
            <p:spPr bwMode="auto">
              <a:xfrm>
                <a:off x="4295856" y="4915540"/>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67" name="Oval 1059"/>
              <p:cNvSpPr>
                <a:spLocks noChangeAspect="1" noChangeArrowheads="1"/>
              </p:cNvSpPr>
              <p:nvPr userDrawn="1"/>
            </p:nvSpPr>
            <p:spPr bwMode="auto">
              <a:xfrm>
                <a:off x="4430370" y="4915540"/>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68" name="Oval 1060"/>
              <p:cNvSpPr>
                <a:spLocks noChangeAspect="1" noChangeArrowheads="1"/>
              </p:cNvSpPr>
              <p:nvPr userDrawn="1"/>
            </p:nvSpPr>
            <p:spPr bwMode="auto">
              <a:xfrm>
                <a:off x="4564886" y="4915540"/>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69" name="Oval 1061"/>
              <p:cNvSpPr>
                <a:spLocks noChangeAspect="1" noChangeArrowheads="1"/>
              </p:cNvSpPr>
              <p:nvPr userDrawn="1"/>
            </p:nvSpPr>
            <p:spPr bwMode="auto">
              <a:xfrm>
                <a:off x="4697607" y="4915540"/>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70" name="Oval 1062"/>
              <p:cNvSpPr>
                <a:spLocks noChangeAspect="1" noChangeArrowheads="1"/>
              </p:cNvSpPr>
              <p:nvPr userDrawn="1"/>
            </p:nvSpPr>
            <p:spPr bwMode="auto">
              <a:xfrm>
                <a:off x="4832123" y="4915540"/>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71" name="Oval 1063"/>
              <p:cNvSpPr>
                <a:spLocks noChangeAspect="1" noChangeArrowheads="1"/>
              </p:cNvSpPr>
              <p:nvPr userDrawn="1"/>
            </p:nvSpPr>
            <p:spPr bwMode="auto">
              <a:xfrm>
                <a:off x="6301029" y="4915540"/>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72" name="Oval 1064"/>
              <p:cNvSpPr>
                <a:spLocks noChangeAspect="1" noChangeArrowheads="1"/>
              </p:cNvSpPr>
              <p:nvPr userDrawn="1"/>
            </p:nvSpPr>
            <p:spPr bwMode="auto">
              <a:xfrm>
                <a:off x="6435544" y="4915540"/>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73" name="Oval 1065"/>
              <p:cNvSpPr>
                <a:spLocks noChangeAspect="1" noChangeArrowheads="1"/>
              </p:cNvSpPr>
              <p:nvPr userDrawn="1"/>
            </p:nvSpPr>
            <p:spPr bwMode="auto">
              <a:xfrm>
                <a:off x="6568266" y="4915540"/>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74" name="Oval 1066"/>
              <p:cNvSpPr>
                <a:spLocks noChangeAspect="1" noChangeArrowheads="1"/>
              </p:cNvSpPr>
              <p:nvPr userDrawn="1"/>
            </p:nvSpPr>
            <p:spPr bwMode="auto">
              <a:xfrm>
                <a:off x="6702781" y="4915540"/>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75" name="Oval 1067"/>
              <p:cNvSpPr>
                <a:spLocks noChangeAspect="1" noChangeArrowheads="1"/>
              </p:cNvSpPr>
              <p:nvPr userDrawn="1"/>
            </p:nvSpPr>
            <p:spPr bwMode="auto">
              <a:xfrm>
                <a:off x="6835503" y="4915540"/>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76" name="Oval 1068"/>
              <p:cNvSpPr>
                <a:spLocks noChangeAspect="1" noChangeArrowheads="1"/>
              </p:cNvSpPr>
              <p:nvPr userDrawn="1"/>
            </p:nvSpPr>
            <p:spPr bwMode="auto">
              <a:xfrm>
                <a:off x="6970017" y="4915540"/>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77" name="Oval 1069"/>
              <p:cNvSpPr>
                <a:spLocks noChangeAspect="1" noChangeArrowheads="1"/>
              </p:cNvSpPr>
              <p:nvPr userDrawn="1"/>
            </p:nvSpPr>
            <p:spPr bwMode="auto">
              <a:xfrm>
                <a:off x="8975191" y="4915540"/>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78" name="Oval 1070"/>
              <p:cNvSpPr>
                <a:spLocks noChangeAspect="1" noChangeArrowheads="1"/>
              </p:cNvSpPr>
              <p:nvPr userDrawn="1"/>
            </p:nvSpPr>
            <p:spPr bwMode="auto">
              <a:xfrm>
                <a:off x="9107912" y="4915540"/>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79" name="Oval 1071"/>
              <p:cNvSpPr>
                <a:spLocks noChangeAspect="1" noChangeArrowheads="1"/>
              </p:cNvSpPr>
              <p:nvPr userDrawn="1"/>
            </p:nvSpPr>
            <p:spPr bwMode="auto">
              <a:xfrm>
                <a:off x="9909624" y="4915540"/>
                <a:ext cx="102231" cy="102205"/>
              </a:xfrm>
              <a:prstGeom prst="ellipse">
                <a:avLst/>
              </a:prstGeom>
              <a:grpFill/>
              <a:ln>
                <a:noFill/>
              </a:ln>
              <a:effectLst/>
            </p:spPr>
            <p:txBody>
              <a:bodyPr wrap="none" anchor="ctr"/>
              <a:lstStyle/>
              <a:p>
                <a:pPr defTabSz="932110"/>
                <a:endParaRPr lang="en-US" sz="1836" dirty="0">
                  <a:solidFill>
                    <a:srgbClr val="FF0000"/>
                  </a:solidFill>
                </a:endParaRPr>
              </a:p>
            </p:txBody>
          </p:sp>
          <p:sp>
            <p:nvSpPr>
              <p:cNvPr id="1180" name="Oval 1072"/>
              <p:cNvSpPr>
                <a:spLocks noChangeAspect="1" noChangeArrowheads="1"/>
              </p:cNvSpPr>
              <p:nvPr userDrawn="1"/>
            </p:nvSpPr>
            <p:spPr bwMode="auto">
              <a:xfrm>
                <a:off x="3761382" y="5039263"/>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81" name="Oval 1073"/>
              <p:cNvSpPr>
                <a:spLocks noChangeAspect="1" noChangeArrowheads="1"/>
              </p:cNvSpPr>
              <p:nvPr userDrawn="1"/>
            </p:nvSpPr>
            <p:spPr bwMode="auto">
              <a:xfrm>
                <a:off x="3895896" y="5039263"/>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82" name="Oval 1074"/>
              <p:cNvSpPr>
                <a:spLocks noChangeAspect="1" noChangeArrowheads="1"/>
              </p:cNvSpPr>
              <p:nvPr userDrawn="1"/>
            </p:nvSpPr>
            <p:spPr bwMode="auto">
              <a:xfrm>
                <a:off x="4028618" y="5039263"/>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83" name="Oval 1075"/>
              <p:cNvSpPr>
                <a:spLocks noChangeAspect="1" noChangeArrowheads="1"/>
              </p:cNvSpPr>
              <p:nvPr userDrawn="1"/>
            </p:nvSpPr>
            <p:spPr bwMode="auto">
              <a:xfrm>
                <a:off x="4163135" y="5039263"/>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84" name="Oval 1076"/>
              <p:cNvSpPr>
                <a:spLocks noChangeAspect="1" noChangeArrowheads="1"/>
              </p:cNvSpPr>
              <p:nvPr userDrawn="1"/>
            </p:nvSpPr>
            <p:spPr bwMode="auto">
              <a:xfrm>
                <a:off x="4295856" y="5039263"/>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85" name="Oval 1077"/>
              <p:cNvSpPr>
                <a:spLocks noChangeAspect="1" noChangeArrowheads="1"/>
              </p:cNvSpPr>
              <p:nvPr userDrawn="1"/>
            </p:nvSpPr>
            <p:spPr bwMode="auto">
              <a:xfrm>
                <a:off x="4430370" y="5039263"/>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86" name="Oval 1078"/>
              <p:cNvSpPr>
                <a:spLocks noChangeAspect="1" noChangeArrowheads="1"/>
              </p:cNvSpPr>
              <p:nvPr userDrawn="1"/>
            </p:nvSpPr>
            <p:spPr bwMode="auto">
              <a:xfrm>
                <a:off x="4564886" y="5039263"/>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87" name="Oval 1079"/>
              <p:cNvSpPr>
                <a:spLocks noChangeAspect="1" noChangeArrowheads="1"/>
              </p:cNvSpPr>
              <p:nvPr userDrawn="1"/>
            </p:nvSpPr>
            <p:spPr bwMode="auto">
              <a:xfrm>
                <a:off x="4697607" y="5039263"/>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88" name="Oval 1080"/>
              <p:cNvSpPr>
                <a:spLocks noChangeAspect="1" noChangeArrowheads="1"/>
              </p:cNvSpPr>
              <p:nvPr userDrawn="1"/>
            </p:nvSpPr>
            <p:spPr bwMode="auto">
              <a:xfrm>
                <a:off x="4832123" y="5039263"/>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89" name="Oval 1081"/>
              <p:cNvSpPr>
                <a:spLocks noChangeAspect="1" noChangeArrowheads="1"/>
              </p:cNvSpPr>
              <p:nvPr userDrawn="1"/>
            </p:nvSpPr>
            <p:spPr bwMode="auto">
              <a:xfrm>
                <a:off x="6301029" y="5039263"/>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90" name="Oval 1082"/>
              <p:cNvSpPr>
                <a:spLocks noChangeAspect="1" noChangeArrowheads="1"/>
              </p:cNvSpPr>
              <p:nvPr userDrawn="1"/>
            </p:nvSpPr>
            <p:spPr bwMode="auto">
              <a:xfrm>
                <a:off x="6435544" y="5039263"/>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91" name="Oval 1083"/>
              <p:cNvSpPr>
                <a:spLocks noChangeAspect="1" noChangeArrowheads="1"/>
              </p:cNvSpPr>
              <p:nvPr userDrawn="1"/>
            </p:nvSpPr>
            <p:spPr bwMode="auto">
              <a:xfrm>
                <a:off x="6568266" y="5039263"/>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92" name="Oval 1084"/>
              <p:cNvSpPr>
                <a:spLocks noChangeAspect="1" noChangeArrowheads="1"/>
              </p:cNvSpPr>
              <p:nvPr userDrawn="1"/>
            </p:nvSpPr>
            <p:spPr bwMode="auto">
              <a:xfrm>
                <a:off x="6702781" y="5039263"/>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93" name="Oval 1085"/>
              <p:cNvSpPr>
                <a:spLocks noChangeAspect="1" noChangeArrowheads="1"/>
              </p:cNvSpPr>
              <p:nvPr userDrawn="1"/>
            </p:nvSpPr>
            <p:spPr bwMode="auto">
              <a:xfrm>
                <a:off x="6835503" y="5039263"/>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94" name="Oval 1086"/>
              <p:cNvSpPr>
                <a:spLocks noChangeAspect="1" noChangeArrowheads="1"/>
              </p:cNvSpPr>
              <p:nvPr userDrawn="1"/>
            </p:nvSpPr>
            <p:spPr bwMode="auto">
              <a:xfrm>
                <a:off x="6970017" y="5039263"/>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95" name="Oval 1087"/>
              <p:cNvSpPr>
                <a:spLocks noChangeAspect="1" noChangeArrowheads="1"/>
              </p:cNvSpPr>
              <p:nvPr userDrawn="1"/>
            </p:nvSpPr>
            <p:spPr bwMode="auto">
              <a:xfrm>
                <a:off x="9642387" y="5039263"/>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96" name="Oval 1088"/>
              <p:cNvSpPr>
                <a:spLocks noChangeAspect="1" noChangeArrowheads="1"/>
              </p:cNvSpPr>
              <p:nvPr userDrawn="1"/>
            </p:nvSpPr>
            <p:spPr bwMode="auto">
              <a:xfrm>
                <a:off x="3895896" y="516119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97" name="Oval 1089"/>
              <p:cNvSpPr>
                <a:spLocks noChangeAspect="1" noChangeArrowheads="1"/>
              </p:cNvSpPr>
              <p:nvPr userDrawn="1"/>
            </p:nvSpPr>
            <p:spPr bwMode="auto">
              <a:xfrm>
                <a:off x="4028618" y="516119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98" name="Oval 1090"/>
              <p:cNvSpPr>
                <a:spLocks noChangeAspect="1" noChangeArrowheads="1"/>
              </p:cNvSpPr>
              <p:nvPr userDrawn="1"/>
            </p:nvSpPr>
            <p:spPr bwMode="auto">
              <a:xfrm>
                <a:off x="4163135" y="516119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199" name="Oval 1091"/>
              <p:cNvSpPr>
                <a:spLocks noChangeAspect="1" noChangeArrowheads="1"/>
              </p:cNvSpPr>
              <p:nvPr userDrawn="1"/>
            </p:nvSpPr>
            <p:spPr bwMode="auto">
              <a:xfrm>
                <a:off x="4295856" y="516119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00" name="Oval 1092"/>
              <p:cNvSpPr>
                <a:spLocks noChangeAspect="1" noChangeArrowheads="1"/>
              </p:cNvSpPr>
              <p:nvPr userDrawn="1"/>
            </p:nvSpPr>
            <p:spPr bwMode="auto">
              <a:xfrm>
                <a:off x="4430370" y="516119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01" name="Oval 1093"/>
              <p:cNvSpPr>
                <a:spLocks noChangeAspect="1" noChangeArrowheads="1"/>
              </p:cNvSpPr>
              <p:nvPr userDrawn="1"/>
            </p:nvSpPr>
            <p:spPr bwMode="auto">
              <a:xfrm>
                <a:off x="4564886" y="516119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02" name="Oval 1094"/>
              <p:cNvSpPr>
                <a:spLocks noChangeAspect="1" noChangeArrowheads="1"/>
              </p:cNvSpPr>
              <p:nvPr userDrawn="1"/>
            </p:nvSpPr>
            <p:spPr bwMode="auto">
              <a:xfrm>
                <a:off x="4697607" y="516119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03" name="Oval 1095"/>
              <p:cNvSpPr>
                <a:spLocks noChangeAspect="1" noChangeArrowheads="1"/>
              </p:cNvSpPr>
              <p:nvPr userDrawn="1"/>
            </p:nvSpPr>
            <p:spPr bwMode="auto">
              <a:xfrm>
                <a:off x="6301029" y="516119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04" name="Oval 1096"/>
              <p:cNvSpPr>
                <a:spLocks noChangeAspect="1" noChangeArrowheads="1"/>
              </p:cNvSpPr>
              <p:nvPr userDrawn="1"/>
            </p:nvSpPr>
            <p:spPr bwMode="auto">
              <a:xfrm>
                <a:off x="6435544" y="516119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05" name="Oval 1097"/>
              <p:cNvSpPr>
                <a:spLocks noChangeAspect="1" noChangeArrowheads="1"/>
              </p:cNvSpPr>
              <p:nvPr userDrawn="1"/>
            </p:nvSpPr>
            <p:spPr bwMode="auto">
              <a:xfrm>
                <a:off x="6568266" y="516119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06" name="Oval 1098"/>
              <p:cNvSpPr>
                <a:spLocks noChangeAspect="1" noChangeArrowheads="1"/>
              </p:cNvSpPr>
              <p:nvPr userDrawn="1"/>
            </p:nvSpPr>
            <p:spPr bwMode="auto">
              <a:xfrm>
                <a:off x="6702781" y="516119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07" name="Oval 1099"/>
              <p:cNvSpPr>
                <a:spLocks noChangeAspect="1" noChangeArrowheads="1"/>
              </p:cNvSpPr>
              <p:nvPr userDrawn="1"/>
            </p:nvSpPr>
            <p:spPr bwMode="auto">
              <a:xfrm>
                <a:off x="6835503" y="516119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08" name="Oval 1100"/>
              <p:cNvSpPr>
                <a:spLocks noChangeAspect="1" noChangeArrowheads="1"/>
              </p:cNvSpPr>
              <p:nvPr userDrawn="1"/>
            </p:nvSpPr>
            <p:spPr bwMode="auto">
              <a:xfrm>
                <a:off x="6970017" y="516119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09" name="Oval 1101"/>
              <p:cNvSpPr>
                <a:spLocks noChangeAspect="1" noChangeArrowheads="1"/>
              </p:cNvSpPr>
              <p:nvPr userDrawn="1"/>
            </p:nvSpPr>
            <p:spPr bwMode="auto">
              <a:xfrm>
                <a:off x="7237255" y="516119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10" name="Oval 1102"/>
              <p:cNvSpPr>
                <a:spLocks noChangeAspect="1" noChangeArrowheads="1"/>
              </p:cNvSpPr>
              <p:nvPr userDrawn="1"/>
            </p:nvSpPr>
            <p:spPr bwMode="auto">
              <a:xfrm>
                <a:off x="9509665" y="516119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11" name="Oval 1103"/>
              <p:cNvSpPr>
                <a:spLocks noChangeAspect="1" noChangeArrowheads="1"/>
              </p:cNvSpPr>
              <p:nvPr userDrawn="1"/>
            </p:nvSpPr>
            <p:spPr bwMode="auto">
              <a:xfrm>
                <a:off x="9642387" y="516119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12" name="Oval 1104"/>
              <p:cNvSpPr>
                <a:spLocks noChangeAspect="1" noChangeArrowheads="1"/>
              </p:cNvSpPr>
              <p:nvPr userDrawn="1"/>
            </p:nvSpPr>
            <p:spPr bwMode="auto">
              <a:xfrm>
                <a:off x="9909624" y="516119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13" name="Oval 1105"/>
              <p:cNvSpPr>
                <a:spLocks noChangeAspect="1" noChangeArrowheads="1"/>
              </p:cNvSpPr>
              <p:nvPr userDrawn="1"/>
            </p:nvSpPr>
            <p:spPr bwMode="auto">
              <a:xfrm>
                <a:off x="4028618" y="528491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14" name="Oval 1106"/>
              <p:cNvSpPr>
                <a:spLocks noChangeAspect="1" noChangeArrowheads="1"/>
              </p:cNvSpPr>
              <p:nvPr userDrawn="1"/>
            </p:nvSpPr>
            <p:spPr bwMode="auto">
              <a:xfrm>
                <a:off x="4163135" y="528491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15" name="Oval 1107"/>
              <p:cNvSpPr>
                <a:spLocks noChangeAspect="1" noChangeArrowheads="1"/>
              </p:cNvSpPr>
              <p:nvPr userDrawn="1"/>
            </p:nvSpPr>
            <p:spPr bwMode="auto">
              <a:xfrm>
                <a:off x="4295856" y="528491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16" name="Oval 1108"/>
              <p:cNvSpPr>
                <a:spLocks noChangeAspect="1" noChangeArrowheads="1"/>
              </p:cNvSpPr>
              <p:nvPr userDrawn="1"/>
            </p:nvSpPr>
            <p:spPr bwMode="auto">
              <a:xfrm>
                <a:off x="4430370" y="528491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17" name="Oval 1109"/>
              <p:cNvSpPr>
                <a:spLocks noChangeAspect="1" noChangeArrowheads="1"/>
              </p:cNvSpPr>
              <p:nvPr userDrawn="1"/>
            </p:nvSpPr>
            <p:spPr bwMode="auto">
              <a:xfrm>
                <a:off x="4564886" y="528491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18" name="Oval 1110"/>
              <p:cNvSpPr>
                <a:spLocks noChangeAspect="1" noChangeArrowheads="1"/>
              </p:cNvSpPr>
              <p:nvPr userDrawn="1"/>
            </p:nvSpPr>
            <p:spPr bwMode="auto">
              <a:xfrm>
                <a:off x="4697607" y="528491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19" name="Oval 1111"/>
              <p:cNvSpPr>
                <a:spLocks noChangeAspect="1" noChangeArrowheads="1"/>
              </p:cNvSpPr>
              <p:nvPr userDrawn="1"/>
            </p:nvSpPr>
            <p:spPr bwMode="auto">
              <a:xfrm>
                <a:off x="6301029" y="528491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20" name="Oval 1112"/>
              <p:cNvSpPr>
                <a:spLocks noChangeAspect="1" noChangeArrowheads="1"/>
              </p:cNvSpPr>
              <p:nvPr userDrawn="1"/>
            </p:nvSpPr>
            <p:spPr bwMode="auto">
              <a:xfrm>
                <a:off x="6435544" y="528491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21" name="Oval 1113"/>
              <p:cNvSpPr>
                <a:spLocks noChangeAspect="1" noChangeArrowheads="1"/>
              </p:cNvSpPr>
              <p:nvPr userDrawn="1"/>
            </p:nvSpPr>
            <p:spPr bwMode="auto">
              <a:xfrm>
                <a:off x="6568266" y="528491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22" name="Oval 1114"/>
              <p:cNvSpPr>
                <a:spLocks noChangeAspect="1" noChangeArrowheads="1"/>
              </p:cNvSpPr>
              <p:nvPr userDrawn="1"/>
            </p:nvSpPr>
            <p:spPr bwMode="auto">
              <a:xfrm>
                <a:off x="6702781" y="528491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23" name="Oval 1115"/>
              <p:cNvSpPr>
                <a:spLocks noChangeAspect="1" noChangeArrowheads="1"/>
              </p:cNvSpPr>
              <p:nvPr userDrawn="1"/>
            </p:nvSpPr>
            <p:spPr bwMode="auto">
              <a:xfrm>
                <a:off x="6835503" y="528491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24" name="Oval 1116"/>
              <p:cNvSpPr>
                <a:spLocks noChangeAspect="1" noChangeArrowheads="1"/>
              </p:cNvSpPr>
              <p:nvPr userDrawn="1"/>
            </p:nvSpPr>
            <p:spPr bwMode="auto">
              <a:xfrm>
                <a:off x="6970017" y="528491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25" name="Oval 1117"/>
              <p:cNvSpPr>
                <a:spLocks noChangeAspect="1" noChangeArrowheads="1"/>
              </p:cNvSpPr>
              <p:nvPr userDrawn="1"/>
            </p:nvSpPr>
            <p:spPr bwMode="auto">
              <a:xfrm>
                <a:off x="7237255" y="528491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26" name="Oval 1118"/>
              <p:cNvSpPr>
                <a:spLocks noChangeAspect="1" noChangeArrowheads="1"/>
              </p:cNvSpPr>
              <p:nvPr userDrawn="1"/>
            </p:nvSpPr>
            <p:spPr bwMode="auto">
              <a:xfrm>
                <a:off x="9375149" y="528491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27" name="Oval 1119"/>
              <p:cNvSpPr>
                <a:spLocks noChangeAspect="1" noChangeArrowheads="1"/>
              </p:cNvSpPr>
              <p:nvPr userDrawn="1"/>
            </p:nvSpPr>
            <p:spPr bwMode="auto">
              <a:xfrm>
                <a:off x="9509665" y="528491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28" name="Oval 1120"/>
              <p:cNvSpPr>
                <a:spLocks noChangeAspect="1" noChangeArrowheads="1"/>
              </p:cNvSpPr>
              <p:nvPr userDrawn="1"/>
            </p:nvSpPr>
            <p:spPr bwMode="auto">
              <a:xfrm>
                <a:off x="9642387" y="5284913"/>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29" name="Oval 1121"/>
              <p:cNvSpPr>
                <a:spLocks noChangeAspect="1" noChangeArrowheads="1"/>
              </p:cNvSpPr>
              <p:nvPr userDrawn="1"/>
            </p:nvSpPr>
            <p:spPr bwMode="auto">
              <a:xfrm>
                <a:off x="9776902" y="528491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30" name="Oval 1122"/>
              <p:cNvSpPr>
                <a:spLocks noChangeAspect="1" noChangeArrowheads="1"/>
              </p:cNvSpPr>
              <p:nvPr userDrawn="1"/>
            </p:nvSpPr>
            <p:spPr bwMode="auto">
              <a:xfrm>
                <a:off x="9909624" y="528491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31" name="Oval 1123"/>
              <p:cNvSpPr>
                <a:spLocks noChangeAspect="1" noChangeArrowheads="1"/>
              </p:cNvSpPr>
              <p:nvPr userDrawn="1"/>
            </p:nvSpPr>
            <p:spPr bwMode="auto">
              <a:xfrm>
                <a:off x="4028618" y="540863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32" name="Oval 1124"/>
              <p:cNvSpPr>
                <a:spLocks noChangeAspect="1" noChangeArrowheads="1"/>
              </p:cNvSpPr>
              <p:nvPr userDrawn="1"/>
            </p:nvSpPr>
            <p:spPr bwMode="auto">
              <a:xfrm>
                <a:off x="4163135" y="540863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33" name="Oval 1125"/>
              <p:cNvSpPr>
                <a:spLocks noChangeAspect="1" noChangeArrowheads="1"/>
              </p:cNvSpPr>
              <p:nvPr userDrawn="1"/>
            </p:nvSpPr>
            <p:spPr bwMode="auto">
              <a:xfrm>
                <a:off x="4295856" y="540863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34" name="Oval 1126"/>
              <p:cNvSpPr>
                <a:spLocks noChangeAspect="1" noChangeArrowheads="1"/>
              </p:cNvSpPr>
              <p:nvPr userDrawn="1"/>
            </p:nvSpPr>
            <p:spPr bwMode="auto">
              <a:xfrm>
                <a:off x="4430370" y="540863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35" name="Oval 1127"/>
              <p:cNvSpPr>
                <a:spLocks noChangeAspect="1" noChangeArrowheads="1"/>
              </p:cNvSpPr>
              <p:nvPr userDrawn="1"/>
            </p:nvSpPr>
            <p:spPr bwMode="auto">
              <a:xfrm>
                <a:off x="4564886" y="540863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36" name="Oval 1128"/>
              <p:cNvSpPr>
                <a:spLocks noChangeAspect="1" noChangeArrowheads="1"/>
              </p:cNvSpPr>
              <p:nvPr userDrawn="1"/>
            </p:nvSpPr>
            <p:spPr bwMode="auto">
              <a:xfrm>
                <a:off x="4697607" y="540863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37" name="Oval 1129"/>
              <p:cNvSpPr>
                <a:spLocks noChangeAspect="1" noChangeArrowheads="1"/>
              </p:cNvSpPr>
              <p:nvPr userDrawn="1"/>
            </p:nvSpPr>
            <p:spPr bwMode="auto">
              <a:xfrm>
                <a:off x="6301029" y="540863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38" name="Oval 1130"/>
              <p:cNvSpPr>
                <a:spLocks noChangeAspect="1" noChangeArrowheads="1"/>
              </p:cNvSpPr>
              <p:nvPr userDrawn="1"/>
            </p:nvSpPr>
            <p:spPr bwMode="auto">
              <a:xfrm>
                <a:off x="6435544" y="540863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39" name="Oval 1131"/>
              <p:cNvSpPr>
                <a:spLocks noChangeAspect="1" noChangeArrowheads="1"/>
              </p:cNvSpPr>
              <p:nvPr userDrawn="1"/>
            </p:nvSpPr>
            <p:spPr bwMode="auto">
              <a:xfrm>
                <a:off x="6568266" y="540863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40" name="Oval 1132"/>
              <p:cNvSpPr>
                <a:spLocks noChangeAspect="1" noChangeArrowheads="1"/>
              </p:cNvSpPr>
              <p:nvPr userDrawn="1"/>
            </p:nvSpPr>
            <p:spPr bwMode="auto">
              <a:xfrm>
                <a:off x="6702781" y="540863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41" name="Oval 1133"/>
              <p:cNvSpPr>
                <a:spLocks noChangeAspect="1" noChangeArrowheads="1"/>
              </p:cNvSpPr>
              <p:nvPr userDrawn="1"/>
            </p:nvSpPr>
            <p:spPr bwMode="auto">
              <a:xfrm>
                <a:off x="6835503" y="540863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42" name="Oval 1134"/>
              <p:cNvSpPr>
                <a:spLocks noChangeAspect="1" noChangeArrowheads="1"/>
              </p:cNvSpPr>
              <p:nvPr userDrawn="1"/>
            </p:nvSpPr>
            <p:spPr bwMode="auto">
              <a:xfrm>
                <a:off x="7237255" y="540863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43" name="Oval 1135"/>
              <p:cNvSpPr>
                <a:spLocks noChangeAspect="1" noChangeArrowheads="1"/>
              </p:cNvSpPr>
              <p:nvPr userDrawn="1"/>
            </p:nvSpPr>
            <p:spPr bwMode="auto">
              <a:xfrm>
                <a:off x="9242428" y="540863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44" name="Oval 1136"/>
              <p:cNvSpPr>
                <a:spLocks noChangeAspect="1" noChangeArrowheads="1"/>
              </p:cNvSpPr>
              <p:nvPr userDrawn="1"/>
            </p:nvSpPr>
            <p:spPr bwMode="auto">
              <a:xfrm>
                <a:off x="9375149" y="540863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45" name="Oval 1137"/>
              <p:cNvSpPr>
                <a:spLocks noChangeAspect="1" noChangeArrowheads="1"/>
              </p:cNvSpPr>
              <p:nvPr userDrawn="1"/>
            </p:nvSpPr>
            <p:spPr bwMode="auto">
              <a:xfrm>
                <a:off x="9509665" y="540863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46" name="Oval 1138"/>
              <p:cNvSpPr>
                <a:spLocks noChangeAspect="1" noChangeArrowheads="1"/>
              </p:cNvSpPr>
              <p:nvPr userDrawn="1"/>
            </p:nvSpPr>
            <p:spPr bwMode="auto">
              <a:xfrm>
                <a:off x="9642387" y="540863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47" name="Oval 1139"/>
              <p:cNvSpPr>
                <a:spLocks noChangeAspect="1" noChangeArrowheads="1"/>
              </p:cNvSpPr>
              <p:nvPr userDrawn="1"/>
            </p:nvSpPr>
            <p:spPr bwMode="auto">
              <a:xfrm>
                <a:off x="9776902" y="540863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48" name="Oval 1140"/>
              <p:cNvSpPr>
                <a:spLocks noChangeAspect="1" noChangeArrowheads="1"/>
              </p:cNvSpPr>
              <p:nvPr userDrawn="1"/>
            </p:nvSpPr>
            <p:spPr bwMode="auto">
              <a:xfrm>
                <a:off x="9909624" y="5408635"/>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49" name="Oval 1141"/>
              <p:cNvSpPr>
                <a:spLocks noChangeAspect="1" noChangeArrowheads="1"/>
              </p:cNvSpPr>
              <p:nvPr userDrawn="1"/>
            </p:nvSpPr>
            <p:spPr bwMode="auto">
              <a:xfrm>
                <a:off x="10044138" y="5408635"/>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50" name="Oval 1142"/>
              <p:cNvSpPr>
                <a:spLocks noChangeAspect="1" noChangeArrowheads="1"/>
              </p:cNvSpPr>
              <p:nvPr userDrawn="1"/>
            </p:nvSpPr>
            <p:spPr bwMode="auto">
              <a:xfrm>
                <a:off x="3895896" y="553235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51" name="Oval 1143"/>
              <p:cNvSpPr>
                <a:spLocks noChangeAspect="1" noChangeArrowheads="1"/>
              </p:cNvSpPr>
              <p:nvPr userDrawn="1"/>
            </p:nvSpPr>
            <p:spPr bwMode="auto">
              <a:xfrm>
                <a:off x="4028618" y="553235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52" name="Oval 1144"/>
              <p:cNvSpPr>
                <a:spLocks noChangeAspect="1" noChangeArrowheads="1"/>
              </p:cNvSpPr>
              <p:nvPr userDrawn="1"/>
            </p:nvSpPr>
            <p:spPr bwMode="auto">
              <a:xfrm>
                <a:off x="4163135" y="553235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53" name="Oval 1145"/>
              <p:cNvSpPr>
                <a:spLocks noChangeAspect="1" noChangeArrowheads="1"/>
              </p:cNvSpPr>
              <p:nvPr userDrawn="1"/>
            </p:nvSpPr>
            <p:spPr bwMode="auto">
              <a:xfrm>
                <a:off x="4295856" y="553235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54" name="Oval 1146"/>
              <p:cNvSpPr>
                <a:spLocks noChangeAspect="1" noChangeArrowheads="1"/>
              </p:cNvSpPr>
              <p:nvPr userDrawn="1"/>
            </p:nvSpPr>
            <p:spPr bwMode="auto">
              <a:xfrm>
                <a:off x="4430370" y="553235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55" name="Oval 1147"/>
              <p:cNvSpPr>
                <a:spLocks noChangeAspect="1" noChangeArrowheads="1"/>
              </p:cNvSpPr>
              <p:nvPr userDrawn="1"/>
            </p:nvSpPr>
            <p:spPr bwMode="auto">
              <a:xfrm>
                <a:off x="4564886" y="553235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56" name="Oval 1148"/>
              <p:cNvSpPr>
                <a:spLocks noChangeAspect="1" noChangeArrowheads="1"/>
              </p:cNvSpPr>
              <p:nvPr userDrawn="1"/>
            </p:nvSpPr>
            <p:spPr bwMode="auto">
              <a:xfrm>
                <a:off x="6301029" y="553235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57" name="Oval 1149"/>
              <p:cNvSpPr>
                <a:spLocks noChangeAspect="1" noChangeArrowheads="1"/>
              </p:cNvSpPr>
              <p:nvPr userDrawn="1"/>
            </p:nvSpPr>
            <p:spPr bwMode="auto">
              <a:xfrm>
                <a:off x="6435544" y="553235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58" name="Oval 1150"/>
              <p:cNvSpPr>
                <a:spLocks noChangeAspect="1" noChangeArrowheads="1"/>
              </p:cNvSpPr>
              <p:nvPr userDrawn="1"/>
            </p:nvSpPr>
            <p:spPr bwMode="auto">
              <a:xfrm>
                <a:off x="6568266" y="553235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59" name="Oval 1151"/>
              <p:cNvSpPr>
                <a:spLocks noChangeAspect="1" noChangeArrowheads="1"/>
              </p:cNvSpPr>
              <p:nvPr userDrawn="1"/>
            </p:nvSpPr>
            <p:spPr bwMode="auto">
              <a:xfrm>
                <a:off x="6702781" y="553235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60" name="Oval 1152"/>
              <p:cNvSpPr>
                <a:spLocks noChangeAspect="1" noChangeArrowheads="1"/>
              </p:cNvSpPr>
              <p:nvPr userDrawn="1"/>
            </p:nvSpPr>
            <p:spPr bwMode="auto">
              <a:xfrm>
                <a:off x="6835503" y="553235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61" name="Oval 1153"/>
              <p:cNvSpPr>
                <a:spLocks noChangeAspect="1" noChangeArrowheads="1"/>
              </p:cNvSpPr>
              <p:nvPr userDrawn="1"/>
            </p:nvSpPr>
            <p:spPr bwMode="auto">
              <a:xfrm>
                <a:off x="7237255" y="553235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62" name="Oval 1154"/>
              <p:cNvSpPr>
                <a:spLocks noChangeAspect="1" noChangeArrowheads="1"/>
              </p:cNvSpPr>
              <p:nvPr userDrawn="1"/>
            </p:nvSpPr>
            <p:spPr bwMode="auto">
              <a:xfrm>
                <a:off x="9107912" y="553235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63" name="Oval 1155"/>
              <p:cNvSpPr>
                <a:spLocks noChangeAspect="1" noChangeArrowheads="1"/>
              </p:cNvSpPr>
              <p:nvPr userDrawn="1"/>
            </p:nvSpPr>
            <p:spPr bwMode="auto">
              <a:xfrm>
                <a:off x="9242428" y="553235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64" name="Oval 1156"/>
              <p:cNvSpPr>
                <a:spLocks noChangeAspect="1" noChangeArrowheads="1"/>
              </p:cNvSpPr>
              <p:nvPr userDrawn="1"/>
            </p:nvSpPr>
            <p:spPr bwMode="auto">
              <a:xfrm>
                <a:off x="9375149" y="553235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65" name="Oval 1157"/>
              <p:cNvSpPr>
                <a:spLocks noChangeAspect="1" noChangeArrowheads="1"/>
              </p:cNvSpPr>
              <p:nvPr userDrawn="1"/>
            </p:nvSpPr>
            <p:spPr bwMode="auto">
              <a:xfrm>
                <a:off x="9509665" y="553235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66" name="Oval 1158"/>
              <p:cNvSpPr>
                <a:spLocks noChangeAspect="1" noChangeArrowheads="1"/>
              </p:cNvSpPr>
              <p:nvPr userDrawn="1"/>
            </p:nvSpPr>
            <p:spPr bwMode="auto">
              <a:xfrm>
                <a:off x="9642387" y="553235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67" name="Oval 1159"/>
              <p:cNvSpPr>
                <a:spLocks noChangeAspect="1" noChangeArrowheads="1"/>
              </p:cNvSpPr>
              <p:nvPr userDrawn="1"/>
            </p:nvSpPr>
            <p:spPr bwMode="auto">
              <a:xfrm>
                <a:off x="9776902" y="553235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68" name="Oval 1160"/>
              <p:cNvSpPr>
                <a:spLocks noChangeAspect="1" noChangeArrowheads="1"/>
              </p:cNvSpPr>
              <p:nvPr userDrawn="1"/>
            </p:nvSpPr>
            <p:spPr bwMode="auto">
              <a:xfrm>
                <a:off x="9909624" y="5532356"/>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69" name="Oval 1161"/>
              <p:cNvSpPr>
                <a:spLocks noChangeAspect="1" noChangeArrowheads="1"/>
              </p:cNvSpPr>
              <p:nvPr userDrawn="1"/>
            </p:nvSpPr>
            <p:spPr bwMode="auto">
              <a:xfrm>
                <a:off x="10044138" y="553235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70" name="Oval 1162"/>
              <p:cNvSpPr>
                <a:spLocks noChangeAspect="1" noChangeArrowheads="1"/>
              </p:cNvSpPr>
              <p:nvPr userDrawn="1"/>
            </p:nvSpPr>
            <p:spPr bwMode="auto">
              <a:xfrm>
                <a:off x="10176859" y="5532356"/>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71" name="Oval 1163"/>
              <p:cNvSpPr>
                <a:spLocks noChangeAspect="1" noChangeArrowheads="1"/>
              </p:cNvSpPr>
              <p:nvPr userDrawn="1"/>
            </p:nvSpPr>
            <p:spPr bwMode="auto">
              <a:xfrm>
                <a:off x="3895896" y="565607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72" name="Oval 1164"/>
              <p:cNvSpPr>
                <a:spLocks noChangeAspect="1" noChangeArrowheads="1"/>
              </p:cNvSpPr>
              <p:nvPr userDrawn="1"/>
            </p:nvSpPr>
            <p:spPr bwMode="auto">
              <a:xfrm>
                <a:off x="4028618" y="565607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73" name="Oval 1165"/>
              <p:cNvSpPr>
                <a:spLocks noChangeAspect="1" noChangeArrowheads="1"/>
              </p:cNvSpPr>
              <p:nvPr userDrawn="1"/>
            </p:nvSpPr>
            <p:spPr bwMode="auto">
              <a:xfrm>
                <a:off x="4163135" y="565607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74" name="Oval 1166"/>
              <p:cNvSpPr>
                <a:spLocks noChangeAspect="1" noChangeArrowheads="1"/>
              </p:cNvSpPr>
              <p:nvPr userDrawn="1"/>
            </p:nvSpPr>
            <p:spPr bwMode="auto">
              <a:xfrm>
                <a:off x="4295856" y="565607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75" name="Oval 1167"/>
              <p:cNvSpPr>
                <a:spLocks noChangeAspect="1" noChangeArrowheads="1"/>
              </p:cNvSpPr>
              <p:nvPr userDrawn="1"/>
            </p:nvSpPr>
            <p:spPr bwMode="auto">
              <a:xfrm>
                <a:off x="4430370" y="565607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76" name="Oval 1168"/>
              <p:cNvSpPr>
                <a:spLocks noChangeAspect="1" noChangeArrowheads="1"/>
              </p:cNvSpPr>
              <p:nvPr userDrawn="1"/>
            </p:nvSpPr>
            <p:spPr bwMode="auto">
              <a:xfrm>
                <a:off x="6301029" y="565607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77" name="Oval 1169"/>
              <p:cNvSpPr>
                <a:spLocks noChangeAspect="1" noChangeArrowheads="1"/>
              </p:cNvSpPr>
              <p:nvPr userDrawn="1"/>
            </p:nvSpPr>
            <p:spPr bwMode="auto">
              <a:xfrm>
                <a:off x="6435544" y="565607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78" name="Oval 1170"/>
              <p:cNvSpPr>
                <a:spLocks noChangeAspect="1" noChangeArrowheads="1"/>
              </p:cNvSpPr>
              <p:nvPr userDrawn="1"/>
            </p:nvSpPr>
            <p:spPr bwMode="auto">
              <a:xfrm>
                <a:off x="6568266" y="565607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79" name="Oval 1171"/>
              <p:cNvSpPr>
                <a:spLocks noChangeAspect="1" noChangeArrowheads="1"/>
              </p:cNvSpPr>
              <p:nvPr userDrawn="1"/>
            </p:nvSpPr>
            <p:spPr bwMode="auto">
              <a:xfrm>
                <a:off x="6702781" y="565607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80" name="Oval 1172"/>
              <p:cNvSpPr>
                <a:spLocks noChangeAspect="1" noChangeArrowheads="1"/>
              </p:cNvSpPr>
              <p:nvPr userDrawn="1"/>
            </p:nvSpPr>
            <p:spPr bwMode="auto">
              <a:xfrm>
                <a:off x="9107912" y="565607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81" name="Oval 1173"/>
              <p:cNvSpPr>
                <a:spLocks noChangeAspect="1" noChangeArrowheads="1"/>
              </p:cNvSpPr>
              <p:nvPr userDrawn="1"/>
            </p:nvSpPr>
            <p:spPr bwMode="auto">
              <a:xfrm>
                <a:off x="9242428" y="565607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82" name="Oval 1174"/>
              <p:cNvSpPr>
                <a:spLocks noChangeAspect="1" noChangeArrowheads="1"/>
              </p:cNvSpPr>
              <p:nvPr userDrawn="1"/>
            </p:nvSpPr>
            <p:spPr bwMode="auto">
              <a:xfrm>
                <a:off x="9375149" y="565607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83" name="Oval 1175"/>
              <p:cNvSpPr>
                <a:spLocks noChangeAspect="1" noChangeArrowheads="1"/>
              </p:cNvSpPr>
              <p:nvPr userDrawn="1"/>
            </p:nvSpPr>
            <p:spPr bwMode="auto">
              <a:xfrm>
                <a:off x="9509665" y="565607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84" name="Oval 1176"/>
              <p:cNvSpPr>
                <a:spLocks noChangeAspect="1" noChangeArrowheads="1"/>
              </p:cNvSpPr>
              <p:nvPr userDrawn="1"/>
            </p:nvSpPr>
            <p:spPr bwMode="auto">
              <a:xfrm>
                <a:off x="9642387" y="565607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85" name="Oval 1177"/>
              <p:cNvSpPr>
                <a:spLocks noChangeAspect="1" noChangeArrowheads="1"/>
              </p:cNvSpPr>
              <p:nvPr userDrawn="1"/>
            </p:nvSpPr>
            <p:spPr bwMode="auto">
              <a:xfrm>
                <a:off x="9776902" y="565607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86" name="Oval 1178"/>
              <p:cNvSpPr>
                <a:spLocks noChangeAspect="1" noChangeArrowheads="1"/>
              </p:cNvSpPr>
              <p:nvPr userDrawn="1"/>
            </p:nvSpPr>
            <p:spPr bwMode="auto">
              <a:xfrm>
                <a:off x="9909624" y="5656078"/>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87" name="Oval 1179"/>
              <p:cNvSpPr>
                <a:spLocks noChangeAspect="1" noChangeArrowheads="1"/>
              </p:cNvSpPr>
              <p:nvPr userDrawn="1"/>
            </p:nvSpPr>
            <p:spPr bwMode="auto">
              <a:xfrm>
                <a:off x="10044138" y="5656078"/>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88" name="Oval 1180"/>
              <p:cNvSpPr>
                <a:spLocks noChangeAspect="1" noChangeArrowheads="1"/>
              </p:cNvSpPr>
              <p:nvPr userDrawn="1"/>
            </p:nvSpPr>
            <p:spPr bwMode="auto">
              <a:xfrm>
                <a:off x="10176859" y="5656078"/>
                <a:ext cx="102232" cy="102204"/>
              </a:xfrm>
              <a:prstGeom prst="ellipse">
                <a:avLst/>
              </a:prstGeom>
              <a:grpFill/>
              <a:ln>
                <a:noFill/>
              </a:ln>
              <a:effectLst/>
            </p:spPr>
            <p:txBody>
              <a:bodyPr wrap="none" anchor="ctr"/>
              <a:lstStyle/>
              <a:p>
                <a:pPr defTabSz="932110"/>
                <a:endParaRPr lang="en-US" sz="1836" dirty="0">
                  <a:solidFill>
                    <a:srgbClr val="FF0000"/>
                  </a:solidFill>
                </a:endParaRPr>
              </a:p>
            </p:txBody>
          </p:sp>
          <p:sp>
            <p:nvSpPr>
              <p:cNvPr id="1289" name="Oval 1181"/>
              <p:cNvSpPr>
                <a:spLocks noChangeAspect="1" noChangeArrowheads="1"/>
              </p:cNvSpPr>
              <p:nvPr userDrawn="1"/>
            </p:nvSpPr>
            <p:spPr bwMode="auto">
              <a:xfrm>
                <a:off x="3895896" y="577800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90" name="Oval 1182"/>
              <p:cNvSpPr>
                <a:spLocks noChangeAspect="1" noChangeArrowheads="1"/>
              </p:cNvSpPr>
              <p:nvPr userDrawn="1"/>
            </p:nvSpPr>
            <p:spPr bwMode="auto">
              <a:xfrm>
                <a:off x="4028618" y="577800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91" name="Oval 1183"/>
              <p:cNvSpPr>
                <a:spLocks noChangeAspect="1" noChangeArrowheads="1"/>
              </p:cNvSpPr>
              <p:nvPr userDrawn="1"/>
            </p:nvSpPr>
            <p:spPr bwMode="auto">
              <a:xfrm>
                <a:off x="4163135" y="5778007"/>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92" name="Oval 1184"/>
              <p:cNvSpPr>
                <a:spLocks noChangeAspect="1" noChangeArrowheads="1"/>
              </p:cNvSpPr>
              <p:nvPr userDrawn="1"/>
            </p:nvSpPr>
            <p:spPr bwMode="auto">
              <a:xfrm>
                <a:off x="4295856" y="5778007"/>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93" name="Oval 1185"/>
              <p:cNvSpPr>
                <a:spLocks noChangeAspect="1" noChangeArrowheads="1"/>
              </p:cNvSpPr>
              <p:nvPr userDrawn="1"/>
            </p:nvSpPr>
            <p:spPr bwMode="auto">
              <a:xfrm>
                <a:off x="4430370" y="577800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94" name="Oval 1186"/>
              <p:cNvSpPr>
                <a:spLocks noChangeAspect="1" noChangeArrowheads="1"/>
              </p:cNvSpPr>
              <p:nvPr userDrawn="1"/>
            </p:nvSpPr>
            <p:spPr bwMode="auto">
              <a:xfrm>
                <a:off x="6435544" y="577800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95" name="Oval 1187"/>
              <p:cNvSpPr>
                <a:spLocks noChangeAspect="1" noChangeArrowheads="1"/>
              </p:cNvSpPr>
              <p:nvPr userDrawn="1"/>
            </p:nvSpPr>
            <p:spPr bwMode="auto">
              <a:xfrm>
                <a:off x="6568266" y="577800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96" name="Oval 1188"/>
              <p:cNvSpPr>
                <a:spLocks noChangeAspect="1" noChangeArrowheads="1"/>
              </p:cNvSpPr>
              <p:nvPr userDrawn="1"/>
            </p:nvSpPr>
            <p:spPr bwMode="auto">
              <a:xfrm>
                <a:off x="6702781" y="5778007"/>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97" name="Oval 1189"/>
              <p:cNvSpPr>
                <a:spLocks noChangeAspect="1" noChangeArrowheads="1"/>
              </p:cNvSpPr>
              <p:nvPr userDrawn="1"/>
            </p:nvSpPr>
            <p:spPr bwMode="auto">
              <a:xfrm>
                <a:off x="9107912" y="577800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98" name="Oval 1190"/>
              <p:cNvSpPr>
                <a:spLocks noChangeAspect="1" noChangeArrowheads="1"/>
              </p:cNvSpPr>
              <p:nvPr userDrawn="1"/>
            </p:nvSpPr>
            <p:spPr bwMode="auto">
              <a:xfrm>
                <a:off x="9242428" y="5778007"/>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299" name="Oval 1191"/>
              <p:cNvSpPr>
                <a:spLocks noChangeAspect="1" noChangeArrowheads="1"/>
              </p:cNvSpPr>
              <p:nvPr userDrawn="1"/>
            </p:nvSpPr>
            <p:spPr bwMode="auto">
              <a:xfrm>
                <a:off x="9642387" y="577800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00" name="Oval 1192"/>
              <p:cNvSpPr>
                <a:spLocks noChangeAspect="1" noChangeArrowheads="1"/>
              </p:cNvSpPr>
              <p:nvPr userDrawn="1"/>
            </p:nvSpPr>
            <p:spPr bwMode="auto">
              <a:xfrm>
                <a:off x="9776902" y="5778007"/>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01" name="Oval 1193"/>
              <p:cNvSpPr>
                <a:spLocks noChangeAspect="1" noChangeArrowheads="1"/>
              </p:cNvSpPr>
              <p:nvPr userDrawn="1"/>
            </p:nvSpPr>
            <p:spPr bwMode="auto">
              <a:xfrm>
                <a:off x="9909624" y="5778007"/>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02" name="Oval 1194"/>
              <p:cNvSpPr>
                <a:spLocks noChangeAspect="1" noChangeArrowheads="1"/>
              </p:cNvSpPr>
              <p:nvPr userDrawn="1"/>
            </p:nvSpPr>
            <p:spPr bwMode="auto">
              <a:xfrm>
                <a:off x="10044138" y="577800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03" name="Oval 1195"/>
              <p:cNvSpPr>
                <a:spLocks noChangeAspect="1" noChangeArrowheads="1"/>
              </p:cNvSpPr>
              <p:nvPr userDrawn="1"/>
            </p:nvSpPr>
            <p:spPr bwMode="auto">
              <a:xfrm>
                <a:off x="3895896" y="590172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04" name="Oval 1196"/>
              <p:cNvSpPr>
                <a:spLocks noChangeAspect="1" noChangeArrowheads="1"/>
              </p:cNvSpPr>
              <p:nvPr userDrawn="1"/>
            </p:nvSpPr>
            <p:spPr bwMode="auto">
              <a:xfrm>
                <a:off x="4028618" y="590172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05" name="Oval 1197"/>
              <p:cNvSpPr>
                <a:spLocks noChangeAspect="1" noChangeArrowheads="1"/>
              </p:cNvSpPr>
              <p:nvPr userDrawn="1"/>
            </p:nvSpPr>
            <p:spPr bwMode="auto">
              <a:xfrm>
                <a:off x="4163135" y="590172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06" name="Oval 1198"/>
              <p:cNvSpPr>
                <a:spLocks noChangeAspect="1" noChangeArrowheads="1"/>
              </p:cNvSpPr>
              <p:nvPr userDrawn="1"/>
            </p:nvSpPr>
            <p:spPr bwMode="auto">
              <a:xfrm>
                <a:off x="4295856" y="590172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07" name="Oval 1199"/>
              <p:cNvSpPr>
                <a:spLocks noChangeAspect="1" noChangeArrowheads="1"/>
              </p:cNvSpPr>
              <p:nvPr userDrawn="1"/>
            </p:nvSpPr>
            <p:spPr bwMode="auto">
              <a:xfrm>
                <a:off x="6435544" y="590172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08" name="Oval 1200"/>
              <p:cNvSpPr>
                <a:spLocks noChangeAspect="1" noChangeArrowheads="1"/>
              </p:cNvSpPr>
              <p:nvPr userDrawn="1"/>
            </p:nvSpPr>
            <p:spPr bwMode="auto">
              <a:xfrm>
                <a:off x="9776902" y="590172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09" name="Oval 1201"/>
              <p:cNvSpPr>
                <a:spLocks noChangeAspect="1" noChangeArrowheads="1"/>
              </p:cNvSpPr>
              <p:nvPr userDrawn="1"/>
            </p:nvSpPr>
            <p:spPr bwMode="auto">
              <a:xfrm>
                <a:off x="9909624" y="590172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10" name="Oval 1202"/>
              <p:cNvSpPr>
                <a:spLocks noChangeAspect="1" noChangeArrowheads="1"/>
              </p:cNvSpPr>
              <p:nvPr userDrawn="1"/>
            </p:nvSpPr>
            <p:spPr bwMode="auto">
              <a:xfrm>
                <a:off x="10044138" y="5901728"/>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11" name="Oval 1203"/>
              <p:cNvSpPr>
                <a:spLocks noChangeAspect="1" noChangeArrowheads="1"/>
              </p:cNvSpPr>
              <p:nvPr userDrawn="1"/>
            </p:nvSpPr>
            <p:spPr bwMode="auto">
              <a:xfrm>
                <a:off x="10845849" y="5901728"/>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12" name="Oval 1204"/>
              <p:cNvSpPr>
                <a:spLocks noChangeAspect="1" noChangeArrowheads="1"/>
              </p:cNvSpPr>
              <p:nvPr userDrawn="1"/>
            </p:nvSpPr>
            <p:spPr bwMode="auto">
              <a:xfrm>
                <a:off x="3895896" y="602545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13" name="Oval 1205"/>
              <p:cNvSpPr>
                <a:spLocks noChangeAspect="1" noChangeArrowheads="1"/>
              </p:cNvSpPr>
              <p:nvPr userDrawn="1"/>
            </p:nvSpPr>
            <p:spPr bwMode="auto">
              <a:xfrm>
                <a:off x="4028618" y="602545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14" name="Oval 1206"/>
              <p:cNvSpPr>
                <a:spLocks noChangeAspect="1" noChangeArrowheads="1"/>
              </p:cNvSpPr>
              <p:nvPr userDrawn="1"/>
            </p:nvSpPr>
            <p:spPr bwMode="auto">
              <a:xfrm>
                <a:off x="4163135" y="602545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15" name="Oval 1207"/>
              <p:cNvSpPr>
                <a:spLocks noChangeAspect="1" noChangeArrowheads="1"/>
              </p:cNvSpPr>
              <p:nvPr userDrawn="1"/>
            </p:nvSpPr>
            <p:spPr bwMode="auto">
              <a:xfrm>
                <a:off x="9909624" y="602545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16" name="Oval 1208"/>
              <p:cNvSpPr>
                <a:spLocks noChangeAspect="1" noChangeArrowheads="1"/>
              </p:cNvSpPr>
              <p:nvPr userDrawn="1"/>
            </p:nvSpPr>
            <p:spPr bwMode="auto">
              <a:xfrm>
                <a:off x="10044138" y="6025451"/>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17" name="Oval 1209"/>
              <p:cNvSpPr>
                <a:spLocks noChangeAspect="1" noChangeArrowheads="1"/>
              </p:cNvSpPr>
              <p:nvPr userDrawn="1"/>
            </p:nvSpPr>
            <p:spPr bwMode="auto">
              <a:xfrm>
                <a:off x="10845849" y="6025451"/>
                <a:ext cx="102231"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18" name="Oval 1210"/>
              <p:cNvSpPr>
                <a:spLocks noChangeAspect="1" noChangeArrowheads="1"/>
              </p:cNvSpPr>
              <p:nvPr userDrawn="1"/>
            </p:nvSpPr>
            <p:spPr bwMode="auto">
              <a:xfrm>
                <a:off x="3895896" y="6149172"/>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19" name="Oval 1211"/>
              <p:cNvSpPr>
                <a:spLocks noChangeAspect="1" noChangeArrowheads="1"/>
              </p:cNvSpPr>
              <p:nvPr userDrawn="1"/>
            </p:nvSpPr>
            <p:spPr bwMode="auto">
              <a:xfrm>
                <a:off x="4028618" y="6149172"/>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20" name="Oval 1212"/>
              <p:cNvSpPr>
                <a:spLocks noChangeAspect="1" noChangeArrowheads="1"/>
              </p:cNvSpPr>
              <p:nvPr userDrawn="1"/>
            </p:nvSpPr>
            <p:spPr bwMode="auto">
              <a:xfrm>
                <a:off x="10044138" y="6149172"/>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21" name="Oval 1213"/>
              <p:cNvSpPr>
                <a:spLocks noChangeAspect="1" noChangeArrowheads="1"/>
              </p:cNvSpPr>
              <p:nvPr userDrawn="1"/>
            </p:nvSpPr>
            <p:spPr bwMode="auto">
              <a:xfrm>
                <a:off x="10711334" y="6149172"/>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22" name="Oval 1214"/>
              <p:cNvSpPr>
                <a:spLocks noChangeAspect="1" noChangeArrowheads="1"/>
              </p:cNvSpPr>
              <p:nvPr userDrawn="1"/>
            </p:nvSpPr>
            <p:spPr bwMode="auto">
              <a:xfrm>
                <a:off x="3895896" y="6272894"/>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23" name="Oval 1215"/>
              <p:cNvSpPr>
                <a:spLocks noChangeAspect="1" noChangeArrowheads="1"/>
              </p:cNvSpPr>
              <p:nvPr userDrawn="1"/>
            </p:nvSpPr>
            <p:spPr bwMode="auto">
              <a:xfrm>
                <a:off x="4028618" y="6272894"/>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24" name="Oval 1216"/>
              <p:cNvSpPr>
                <a:spLocks noChangeAspect="1" noChangeArrowheads="1"/>
              </p:cNvSpPr>
              <p:nvPr userDrawn="1"/>
            </p:nvSpPr>
            <p:spPr bwMode="auto">
              <a:xfrm>
                <a:off x="10578612" y="6272894"/>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25" name="Oval 1217"/>
              <p:cNvSpPr>
                <a:spLocks noChangeAspect="1" noChangeArrowheads="1"/>
              </p:cNvSpPr>
              <p:nvPr userDrawn="1"/>
            </p:nvSpPr>
            <p:spPr bwMode="auto">
              <a:xfrm>
                <a:off x="3895896" y="6394824"/>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26" name="Oval 1218"/>
              <p:cNvSpPr>
                <a:spLocks noChangeAspect="1" noChangeArrowheads="1"/>
              </p:cNvSpPr>
              <p:nvPr userDrawn="1"/>
            </p:nvSpPr>
            <p:spPr bwMode="auto">
              <a:xfrm>
                <a:off x="4028618" y="6394824"/>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27" name="Oval 1219"/>
              <p:cNvSpPr>
                <a:spLocks noChangeAspect="1" noChangeArrowheads="1"/>
              </p:cNvSpPr>
              <p:nvPr userDrawn="1"/>
            </p:nvSpPr>
            <p:spPr bwMode="auto">
              <a:xfrm>
                <a:off x="3895896" y="6518544"/>
                <a:ext cx="102232"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28" name="Oval 1220"/>
              <p:cNvSpPr>
                <a:spLocks noChangeAspect="1" noChangeArrowheads="1"/>
              </p:cNvSpPr>
              <p:nvPr userDrawn="1"/>
            </p:nvSpPr>
            <p:spPr bwMode="auto">
              <a:xfrm>
                <a:off x="3895896" y="664226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29" name="Oval 1221"/>
              <p:cNvSpPr>
                <a:spLocks noChangeAspect="1" noChangeArrowheads="1"/>
              </p:cNvSpPr>
              <p:nvPr userDrawn="1"/>
            </p:nvSpPr>
            <p:spPr bwMode="auto">
              <a:xfrm>
                <a:off x="4028618" y="6642267"/>
                <a:ext cx="102232" cy="102204"/>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30" name="Oval 1222"/>
              <p:cNvSpPr>
                <a:spLocks noChangeAspect="1" noChangeArrowheads="1"/>
              </p:cNvSpPr>
              <p:nvPr userDrawn="1"/>
            </p:nvSpPr>
            <p:spPr bwMode="auto">
              <a:xfrm>
                <a:off x="5633834" y="306509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sp>
            <p:nvSpPr>
              <p:cNvPr id="1331" name="Oval 1223"/>
              <p:cNvSpPr>
                <a:spLocks noChangeAspect="1" noChangeArrowheads="1"/>
              </p:cNvSpPr>
              <p:nvPr userDrawn="1"/>
            </p:nvSpPr>
            <p:spPr bwMode="auto">
              <a:xfrm>
                <a:off x="5766556" y="3065093"/>
                <a:ext cx="102231" cy="102205"/>
              </a:xfrm>
              <a:prstGeom prst="ellipse">
                <a:avLst/>
              </a:prstGeom>
              <a:grpFill/>
              <a:ln>
                <a:noFill/>
              </a:ln>
              <a:effectLst/>
              <a:extLst/>
            </p:spPr>
            <p:txBody>
              <a:bodyPr wrap="none" anchor="ctr"/>
              <a:lstStyle/>
              <a:p>
                <a:pPr defTabSz="932110"/>
                <a:endParaRPr lang="en-US" sz="1836" dirty="0">
                  <a:solidFill>
                    <a:srgbClr val="FF0000"/>
                  </a:solidFill>
                </a:endParaRPr>
              </a:p>
            </p:txBody>
          </p:sp>
        </p:grpSp>
        <p:sp>
          <p:nvSpPr>
            <p:cNvPr id="58" name="Oval 57"/>
            <p:cNvSpPr/>
            <p:nvPr/>
          </p:nvSpPr>
          <p:spPr bwMode="auto">
            <a:xfrm>
              <a:off x="7706862" y="5455553"/>
              <a:ext cx="181270" cy="181270"/>
            </a:xfrm>
            <a:prstGeom prst="ellipse">
              <a:avLst/>
            </a:prstGeom>
            <a:solidFill>
              <a:schemeClr val="accent5"/>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93" tIns="46598" rIns="93193" bIns="46598" numCol="1" rtlCol="0" anchor="ctr" anchorCtr="0" compatLnSpc="1">
              <a:prstTxWarp prst="textNoShape">
                <a:avLst/>
              </a:prstTxWarp>
            </a:bodyPr>
            <a:lstStyle/>
            <a:p>
              <a:pPr algn="ctr" defTabSz="931562" fontAlgn="base">
                <a:spcBef>
                  <a:spcPct val="0"/>
                </a:spcBef>
                <a:spcAft>
                  <a:spcPct val="0"/>
                </a:spcAft>
              </a:pPr>
              <a:endParaRPr lang="en-US" sz="2346" dirty="0">
                <a:solidFill>
                  <a:srgbClr val="FF0000"/>
                </a:solidFill>
              </a:endParaRPr>
            </a:p>
          </p:txBody>
        </p:sp>
        <p:sp>
          <p:nvSpPr>
            <p:cNvPr id="59" name="Oval 58"/>
            <p:cNvSpPr/>
            <p:nvPr/>
          </p:nvSpPr>
          <p:spPr bwMode="auto">
            <a:xfrm>
              <a:off x="7293863" y="4215980"/>
              <a:ext cx="181270" cy="181270"/>
            </a:xfrm>
            <a:prstGeom prst="ellipse">
              <a:avLst/>
            </a:prstGeom>
            <a:solidFill>
              <a:schemeClr val="accent5"/>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0" tIns="46615" rIns="93230" bIns="46615" numCol="1" rtlCol="0" anchor="ctr" anchorCtr="0" compatLnSpc="1">
              <a:prstTxWarp prst="textNoShape">
                <a:avLst/>
              </a:prstTxWarp>
            </a:bodyPr>
            <a:lstStyle/>
            <a:p>
              <a:pPr algn="ctr" defTabSz="931562" fontAlgn="base">
                <a:spcBef>
                  <a:spcPct val="0"/>
                </a:spcBef>
                <a:spcAft>
                  <a:spcPct val="0"/>
                </a:spcAft>
              </a:pPr>
              <a:endParaRPr lang="en-US" sz="2346" dirty="0">
                <a:solidFill>
                  <a:srgbClr val="FF0000"/>
                </a:solidFill>
              </a:endParaRPr>
            </a:p>
          </p:txBody>
        </p:sp>
        <p:sp>
          <p:nvSpPr>
            <p:cNvPr id="60" name="Oval 59"/>
            <p:cNvSpPr/>
            <p:nvPr/>
          </p:nvSpPr>
          <p:spPr bwMode="auto">
            <a:xfrm>
              <a:off x="6578594" y="4194309"/>
              <a:ext cx="181270" cy="181270"/>
            </a:xfrm>
            <a:prstGeom prst="ellipse">
              <a:avLst/>
            </a:prstGeom>
            <a:solidFill>
              <a:schemeClr val="accent5"/>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0" tIns="46615" rIns="93230" bIns="46615" numCol="1" rtlCol="0" anchor="ctr" anchorCtr="0" compatLnSpc="1">
              <a:prstTxWarp prst="textNoShape">
                <a:avLst/>
              </a:prstTxWarp>
            </a:bodyPr>
            <a:lstStyle/>
            <a:p>
              <a:pPr algn="ctr" defTabSz="931562" fontAlgn="base">
                <a:spcBef>
                  <a:spcPct val="0"/>
                </a:spcBef>
                <a:spcAft>
                  <a:spcPct val="0"/>
                </a:spcAft>
              </a:pPr>
              <a:endParaRPr lang="en-US" sz="2346" dirty="0">
                <a:solidFill>
                  <a:srgbClr val="FF0000"/>
                </a:solidFill>
              </a:endParaRPr>
            </a:p>
          </p:txBody>
        </p:sp>
        <p:sp>
          <p:nvSpPr>
            <p:cNvPr id="61" name="Oval 60"/>
            <p:cNvSpPr/>
            <p:nvPr/>
          </p:nvSpPr>
          <p:spPr bwMode="auto">
            <a:xfrm>
              <a:off x="10094095" y="4381023"/>
              <a:ext cx="181270" cy="181270"/>
            </a:xfrm>
            <a:prstGeom prst="ellipse">
              <a:avLst/>
            </a:prstGeom>
            <a:solidFill>
              <a:schemeClr val="accent5"/>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0" tIns="46615" rIns="93230" bIns="46615" numCol="1" rtlCol="0" anchor="ctr" anchorCtr="0" compatLnSpc="1">
              <a:prstTxWarp prst="textNoShape">
                <a:avLst/>
              </a:prstTxWarp>
            </a:bodyPr>
            <a:lstStyle/>
            <a:p>
              <a:pPr algn="ctr" defTabSz="931562" fontAlgn="base">
                <a:spcBef>
                  <a:spcPct val="0"/>
                </a:spcBef>
                <a:spcAft>
                  <a:spcPct val="0"/>
                </a:spcAft>
              </a:pPr>
              <a:endParaRPr lang="en-US" sz="2346" dirty="0">
                <a:solidFill>
                  <a:srgbClr val="FF0000"/>
                </a:solidFill>
              </a:endParaRPr>
            </a:p>
          </p:txBody>
        </p:sp>
        <p:sp>
          <p:nvSpPr>
            <p:cNvPr id="62" name="Oval 61"/>
            <p:cNvSpPr/>
            <p:nvPr/>
          </p:nvSpPr>
          <p:spPr bwMode="auto">
            <a:xfrm>
              <a:off x="10049113" y="4990950"/>
              <a:ext cx="181270" cy="181270"/>
            </a:xfrm>
            <a:prstGeom prst="ellipse">
              <a:avLst/>
            </a:prstGeom>
            <a:solidFill>
              <a:schemeClr val="accent5"/>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0" tIns="46615" rIns="93230" bIns="46615" numCol="1" rtlCol="0" anchor="ctr" anchorCtr="0" compatLnSpc="1">
              <a:prstTxWarp prst="textNoShape">
                <a:avLst/>
              </a:prstTxWarp>
            </a:bodyPr>
            <a:lstStyle/>
            <a:p>
              <a:pPr algn="ctr" defTabSz="931562" fontAlgn="base">
                <a:spcBef>
                  <a:spcPct val="0"/>
                </a:spcBef>
                <a:spcAft>
                  <a:spcPct val="0"/>
                </a:spcAft>
              </a:pPr>
              <a:endParaRPr lang="en-US" sz="2346" dirty="0">
                <a:solidFill>
                  <a:srgbClr val="FF0000"/>
                </a:solidFill>
              </a:endParaRPr>
            </a:p>
          </p:txBody>
        </p:sp>
        <p:sp>
          <p:nvSpPr>
            <p:cNvPr id="63" name="Oval 62"/>
            <p:cNvSpPr/>
            <p:nvPr/>
          </p:nvSpPr>
          <p:spPr bwMode="auto">
            <a:xfrm>
              <a:off x="7140992" y="3967922"/>
              <a:ext cx="181270" cy="181270"/>
            </a:xfrm>
            <a:prstGeom prst="ellipse">
              <a:avLst/>
            </a:prstGeom>
            <a:solidFill>
              <a:schemeClr val="accent5"/>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0" tIns="46615" rIns="93230" bIns="46615" numCol="1" rtlCol="0" anchor="ctr" anchorCtr="0" compatLnSpc="1">
              <a:prstTxWarp prst="textNoShape">
                <a:avLst/>
              </a:prstTxWarp>
            </a:bodyPr>
            <a:lstStyle/>
            <a:p>
              <a:pPr algn="ctr" defTabSz="931562" fontAlgn="base">
                <a:spcBef>
                  <a:spcPct val="0"/>
                </a:spcBef>
                <a:spcAft>
                  <a:spcPct val="0"/>
                </a:spcAft>
              </a:pPr>
              <a:endParaRPr lang="en-US" sz="2346" dirty="0">
                <a:solidFill>
                  <a:srgbClr val="FF0000"/>
                </a:solidFill>
              </a:endParaRPr>
            </a:p>
          </p:txBody>
        </p:sp>
        <p:sp>
          <p:nvSpPr>
            <p:cNvPr id="64" name="Oval 63"/>
            <p:cNvSpPr/>
            <p:nvPr/>
          </p:nvSpPr>
          <p:spPr bwMode="auto">
            <a:xfrm>
              <a:off x="6946388" y="4353142"/>
              <a:ext cx="181270" cy="181270"/>
            </a:xfrm>
            <a:prstGeom prst="ellipse">
              <a:avLst/>
            </a:prstGeom>
            <a:solidFill>
              <a:schemeClr val="accent5"/>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0" tIns="46615" rIns="93230" bIns="46615" numCol="1" rtlCol="0" anchor="ctr" anchorCtr="0" compatLnSpc="1">
              <a:prstTxWarp prst="textNoShape">
                <a:avLst/>
              </a:prstTxWarp>
            </a:bodyPr>
            <a:lstStyle/>
            <a:p>
              <a:pPr algn="ctr" defTabSz="931562" fontAlgn="base">
                <a:spcBef>
                  <a:spcPct val="0"/>
                </a:spcBef>
                <a:spcAft>
                  <a:spcPct val="0"/>
                </a:spcAft>
              </a:pPr>
              <a:endParaRPr lang="en-US" sz="2346" dirty="0">
                <a:solidFill>
                  <a:srgbClr val="FF0000"/>
                </a:solidFill>
              </a:endParaRPr>
            </a:p>
          </p:txBody>
        </p:sp>
        <p:sp>
          <p:nvSpPr>
            <p:cNvPr id="65" name="Oval 64"/>
            <p:cNvSpPr/>
            <p:nvPr/>
          </p:nvSpPr>
          <p:spPr bwMode="auto">
            <a:xfrm>
              <a:off x="8551538" y="3886345"/>
              <a:ext cx="181270" cy="181270"/>
            </a:xfrm>
            <a:prstGeom prst="ellipse">
              <a:avLst/>
            </a:prstGeom>
            <a:solidFill>
              <a:schemeClr val="accent5"/>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0" tIns="46615" rIns="93230" bIns="46615" numCol="1" rtlCol="0" anchor="ctr" anchorCtr="0" compatLnSpc="1">
              <a:prstTxWarp prst="textNoShape">
                <a:avLst/>
              </a:prstTxWarp>
            </a:bodyPr>
            <a:lstStyle/>
            <a:p>
              <a:pPr algn="ctr" defTabSz="931562" fontAlgn="base">
                <a:spcBef>
                  <a:spcPct val="0"/>
                </a:spcBef>
                <a:spcAft>
                  <a:spcPct val="0"/>
                </a:spcAft>
              </a:pPr>
              <a:endParaRPr lang="en-US" sz="2346" dirty="0">
                <a:solidFill>
                  <a:srgbClr val="FF0000"/>
                </a:solidFill>
              </a:endParaRPr>
            </a:p>
          </p:txBody>
        </p:sp>
        <p:sp>
          <p:nvSpPr>
            <p:cNvPr id="66" name="Oval 65"/>
            <p:cNvSpPr/>
            <p:nvPr/>
          </p:nvSpPr>
          <p:spPr bwMode="auto">
            <a:xfrm>
              <a:off x="8325377" y="3871005"/>
              <a:ext cx="181270" cy="181270"/>
            </a:xfrm>
            <a:prstGeom prst="ellipse">
              <a:avLst/>
            </a:prstGeom>
            <a:solidFill>
              <a:schemeClr val="accent5"/>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0" tIns="46615" rIns="93230" bIns="46615" numCol="1" rtlCol="0" anchor="ctr" anchorCtr="0" compatLnSpc="1">
              <a:prstTxWarp prst="textNoShape">
                <a:avLst/>
              </a:prstTxWarp>
            </a:bodyPr>
            <a:lstStyle/>
            <a:p>
              <a:pPr algn="ctr" defTabSz="931562" fontAlgn="base">
                <a:spcBef>
                  <a:spcPct val="0"/>
                </a:spcBef>
                <a:spcAft>
                  <a:spcPct val="0"/>
                </a:spcAft>
              </a:pPr>
              <a:endParaRPr lang="en-US" sz="2346" dirty="0">
                <a:solidFill>
                  <a:srgbClr val="FF0000"/>
                </a:solidFill>
              </a:endParaRPr>
            </a:p>
          </p:txBody>
        </p:sp>
        <p:sp>
          <p:nvSpPr>
            <p:cNvPr id="67" name="Oval 66"/>
            <p:cNvSpPr/>
            <p:nvPr/>
          </p:nvSpPr>
          <p:spPr bwMode="auto">
            <a:xfrm>
              <a:off x="10289880" y="3973821"/>
              <a:ext cx="181270" cy="181270"/>
            </a:xfrm>
            <a:prstGeom prst="ellipse">
              <a:avLst/>
            </a:prstGeom>
            <a:solidFill>
              <a:schemeClr val="accent5"/>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93" tIns="46598" rIns="93193" bIns="46598" numCol="1" rtlCol="0" anchor="ctr" anchorCtr="0" compatLnSpc="1">
              <a:prstTxWarp prst="textNoShape">
                <a:avLst/>
              </a:prstTxWarp>
            </a:bodyPr>
            <a:lstStyle/>
            <a:p>
              <a:pPr algn="ctr" defTabSz="931562" fontAlgn="base">
                <a:spcBef>
                  <a:spcPct val="0"/>
                </a:spcBef>
                <a:spcAft>
                  <a:spcPct val="0"/>
                </a:spcAft>
              </a:pPr>
              <a:endParaRPr lang="en-US" sz="2346" dirty="0">
                <a:solidFill>
                  <a:srgbClr val="FF0000"/>
                </a:solidFill>
              </a:endParaRPr>
            </a:p>
          </p:txBody>
        </p:sp>
        <p:sp>
          <p:nvSpPr>
            <p:cNvPr id="68" name="Oval 67"/>
            <p:cNvSpPr/>
            <p:nvPr/>
          </p:nvSpPr>
          <p:spPr bwMode="auto">
            <a:xfrm>
              <a:off x="10685525" y="5387963"/>
              <a:ext cx="181270" cy="181270"/>
            </a:xfrm>
            <a:prstGeom prst="ellipse">
              <a:avLst/>
            </a:prstGeom>
            <a:solidFill>
              <a:schemeClr val="accent5"/>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0" tIns="46615" rIns="93230" bIns="46615" numCol="1" rtlCol="0" anchor="ctr" anchorCtr="0" compatLnSpc="1">
              <a:prstTxWarp prst="textNoShape">
                <a:avLst/>
              </a:prstTxWarp>
            </a:bodyPr>
            <a:lstStyle/>
            <a:p>
              <a:pPr algn="ctr" defTabSz="931562" fontAlgn="base">
                <a:spcBef>
                  <a:spcPct val="0"/>
                </a:spcBef>
                <a:spcAft>
                  <a:spcPct val="0"/>
                </a:spcAft>
              </a:pPr>
              <a:endParaRPr lang="en-US" sz="2346" dirty="0">
                <a:solidFill>
                  <a:srgbClr val="FF0000"/>
                </a:solidFill>
              </a:endParaRPr>
            </a:p>
          </p:txBody>
        </p:sp>
        <p:sp>
          <p:nvSpPr>
            <p:cNvPr id="70" name="Oval 69"/>
            <p:cNvSpPr/>
            <p:nvPr/>
          </p:nvSpPr>
          <p:spPr bwMode="auto">
            <a:xfrm>
              <a:off x="10594890" y="4110268"/>
              <a:ext cx="181270" cy="181270"/>
            </a:xfrm>
            <a:prstGeom prst="ellipse">
              <a:avLst/>
            </a:prstGeom>
            <a:solidFill>
              <a:schemeClr val="accent5"/>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93" tIns="46598" rIns="93193" bIns="46598" numCol="1" rtlCol="0" anchor="ctr" anchorCtr="0" compatLnSpc="1">
              <a:prstTxWarp prst="textNoShape">
                <a:avLst/>
              </a:prstTxWarp>
            </a:bodyPr>
            <a:lstStyle/>
            <a:p>
              <a:pPr algn="ctr" defTabSz="931562" fontAlgn="base">
                <a:spcBef>
                  <a:spcPct val="0"/>
                </a:spcBef>
                <a:spcAft>
                  <a:spcPct val="0"/>
                </a:spcAft>
              </a:pPr>
              <a:endParaRPr lang="en-US" sz="2346" dirty="0">
                <a:solidFill>
                  <a:srgbClr val="FF0000"/>
                </a:solidFill>
              </a:endParaRPr>
            </a:p>
          </p:txBody>
        </p:sp>
        <p:sp>
          <p:nvSpPr>
            <p:cNvPr id="71" name="Oval 70"/>
            <p:cNvSpPr/>
            <p:nvPr/>
          </p:nvSpPr>
          <p:spPr bwMode="auto">
            <a:xfrm>
              <a:off x="10535539" y="4291723"/>
              <a:ext cx="181270" cy="181270"/>
            </a:xfrm>
            <a:prstGeom prst="ellipse">
              <a:avLst/>
            </a:prstGeom>
            <a:solidFill>
              <a:schemeClr val="accent5"/>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93" tIns="46598" rIns="93193" bIns="46598" numCol="1" rtlCol="0" anchor="ctr" anchorCtr="0" compatLnSpc="1">
              <a:prstTxWarp prst="textNoShape">
                <a:avLst/>
              </a:prstTxWarp>
            </a:bodyPr>
            <a:lstStyle/>
            <a:p>
              <a:pPr algn="ctr" defTabSz="931562" fontAlgn="base">
                <a:spcBef>
                  <a:spcPct val="0"/>
                </a:spcBef>
                <a:spcAft>
                  <a:spcPct val="0"/>
                </a:spcAft>
              </a:pPr>
              <a:endParaRPr lang="en-US" sz="2346" dirty="0">
                <a:solidFill>
                  <a:srgbClr val="FF0000"/>
                </a:solidFill>
              </a:endParaRPr>
            </a:p>
          </p:txBody>
        </p:sp>
        <p:sp>
          <p:nvSpPr>
            <p:cNvPr id="72" name="Oval 71"/>
            <p:cNvSpPr/>
            <p:nvPr/>
          </p:nvSpPr>
          <p:spPr bwMode="auto">
            <a:xfrm>
              <a:off x="10289880" y="4474078"/>
              <a:ext cx="181270" cy="181270"/>
            </a:xfrm>
            <a:prstGeom prst="ellipse">
              <a:avLst/>
            </a:prstGeom>
            <a:solidFill>
              <a:schemeClr val="accent5"/>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93" tIns="46598" rIns="93193" bIns="46598" numCol="1" rtlCol="0" anchor="ctr" anchorCtr="0" compatLnSpc="1">
              <a:prstTxWarp prst="textNoShape">
                <a:avLst/>
              </a:prstTxWarp>
            </a:bodyPr>
            <a:lstStyle/>
            <a:p>
              <a:pPr algn="ctr" defTabSz="931562" fontAlgn="base">
                <a:spcBef>
                  <a:spcPct val="0"/>
                </a:spcBef>
                <a:spcAft>
                  <a:spcPct val="0"/>
                </a:spcAft>
              </a:pPr>
              <a:endParaRPr lang="en-US" sz="2346" dirty="0">
                <a:solidFill>
                  <a:srgbClr val="FF0000"/>
                </a:solidFill>
              </a:endParaRPr>
            </a:p>
          </p:txBody>
        </p:sp>
        <p:sp>
          <p:nvSpPr>
            <p:cNvPr id="73" name="Oval 72"/>
            <p:cNvSpPr/>
            <p:nvPr/>
          </p:nvSpPr>
          <p:spPr bwMode="auto">
            <a:xfrm>
              <a:off x="10658438" y="5641767"/>
              <a:ext cx="181270" cy="181270"/>
            </a:xfrm>
            <a:prstGeom prst="ellipse">
              <a:avLst/>
            </a:prstGeom>
            <a:solidFill>
              <a:schemeClr val="accent5"/>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0" tIns="46615" rIns="93230" bIns="46615" numCol="1" rtlCol="0" anchor="ctr" anchorCtr="0" compatLnSpc="1">
              <a:prstTxWarp prst="textNoShape">
                <a:avLst/>
              </a:prstTxWarp>
            </a:bodyPr>
            <a:lstStyle/>
            <a:p>
              <a:pPr algn="ctr" defTabSz="931562" fontAlgn="base">
                <a:spcBef>
                  <a:spcPct val="0"/>
                </a:spcBef>
                <a:spcAft>
                  <a:spcPct val="0"/>
                </a:spcAft>
              </a:pPr>
              <a:endParaRPr lang="en-US" sz="2346" dirty="0">
                <a:solidFill>
                  <a:srgbClr val="FF0000"/>
                </a:solidFill>
              </a:endParaRPr>
            </a:p>
          </p:txBody>
        </p:sp>
        <p:sp>
          <p:nvSpPr>
            <p:cNvPr id="108" name="Rectangle 107"/>
            <p:cNvSpPr/>
            <p:nvPr/>
          </p:nvSpPr>
          <p:spPr>
            <a:xfrm>
              <a:off x="676294" y="3077570"/>
              <a:ext cx="5122471" cy="1200329"/>
            </a:xfrm>
            <a:prstGeom prst="rect">
              <a:avLst/>
            </a:prstGeom>
          </p:spPr>
          <p:txBody>
            <a:bodyPr wrap="square">
              <a:spAutoFit/>
            </a:bodyPr>
            <a:lstStyle/>
            <a:p>
              <a:pPr defTabSz="1478999">
                <a:defRPr/>
              </a:pPr>
              <a:r>
                <a:rPr lang="en-US" sz="3600" kern="0" dirty="0">
                  <a:solidFill>
                    <a:schemeClr val="tx2"/>
                  </a:solidFill>
                  <a:latin typeface="+mj-lt"/>
                  <a:ea typeface="Segoe UI" pitchFamily="34" charset="0"/>
                  <a:cs typeface="Segoe UI Semibold" panose="020B0702040204020203" pitchFamily="34" charset="0"/>
                </a:rPr>
                <a:t>Global Physical </a:t>
              </a:r>
              <a:r>
                <a:rPr lang="en-US" sz="3600" kern="0" dirty="0" smtClean="0">
                  <a:solidFill>
                    <a:schemeClr val="tx2"/>
                  </a:solidFill>
                  <a:latin typeface="+mj-lt"/>
                  <a:ea typeface="Segoe UI" pitchFamily="34" charset="0"/>
                  <a:cs typeface="Segoe UI Semibold" panose="020B0702040204020203" pitchFamily="34" charset="0"/>
                </a:rPr>
                <a:t>Infrastructure</a:t>
              </a:r>
              <a:endParaRPr lang="en-US" sz="3600" kern="0" dirty="0">
                <a:solidFill>
                  <a:schemeClr val="tx2"/>
                </a:solidFill>
                <a:latin typeface="+mj-lt"/>
                <a:ea typeface="Segoe UI" pitchFamily="34" charset="0"/>
                <a:cs typeface="Segoe UI Semibold" panose="020B0702040204020203" pitchFamily="34" charset="0"/>
              </a:endParaRPr>
            </a:p>
          </p:txBody>
        </p:sp>
        <p:sp>
          <p:nvSpPr>
            <p:cNvPr id="8" name="Rectangle 7"/>
            <p:cNvSpPr/>
            <p:nvPr/>
          </p:nvSpPr>
          <p:spPr>
            <a:xfrm>
              <a:off x="676294" y="4870250"/>
              <a:ext cx="6017549" cy="1200329"/>
            </a:xfrm>
            <a:prstGeom prst="rect">
              <a:avLst/>
            </a:prstGeom>
          </p:spPr>
          <p:txBody>
            <a:bodyPr wrap="square">
              <a:spAutoFit/>
            </a:bodyPr>
            <a:lstStyle/>
            <a:p>
              <a:r>
                <a:rPr lang="en-US" sz="2400" dirty="0">
                  <a:solidFill>
                    <a:schemeClr val="tx2"/>
                  </a:solidFill>
                  <a:latin typeface="+mj-lt"/>
                </a:rPr>
                <a:t>Stores over 4 trillion objects </a:t>
              </a:r>
            </a:p>
            <a:p>
              <a:r>
                <a:rPr lang="en-US" sz="2400" dirty="0">
                  <a:solidFill>
                    <a:schemeClr val="tx2"/>
                  </a:solidFill>
                  <a:latin typeface="+mj-lt"/>
                </a:rPr>
                <a:t>Handles on average 127,000 requests/second </a:t>
              </a:r>
            </a:p>
            <a:p>
              <a:r>
                <a:rPr lang="en-US" sz="2400" dirty="0">
                  <a:solidFill>
                    <a:schemeClr val="tx2"/>
                  </a:solidFill>
                  <a:latin typeface="+mj-lt"/>
                </a:rPr>
                <a:t>Peak of 880,000 requests/second</a:t>
              </a:r>
            </a:p>
          </p:txBody>
        </p:sp>
        <p:sp>
          <p:nvSpPr>
            <p:cNvPr id="1332" name="Oval 1331"/>
            <p:cNvSpPr/>
            <p:nvPr/>
          </p:nvSpPr>
          <p:spPr bwMode="auto">
            <a:xfrm>
              <a:off x="7059945" y="4132546"/>
              <a:ext cx="181270" cy="181270"/>
            </a:xfrm>
            <a:prstGeom prst="ellipse">
              <a:avLst/>
            </a:prstGeom>
            <a:solidFill>
              <a:schemeClr val="accent5"/>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0" tIns="46615" rIns="93230" bIns="46615" numCol="1" rtlCol="0" anchor="ctr" anchorCtr="0" compatLnSpc="1">
              <a:prstTxWarp prst="textNoShape">
                <a:avLst/>
              </a:prstTxWarp>
            </a:bodyPr>
            <a:lstStyle/>
            <a:p>
              <a:pPr algn="ctr" defTabSz="931562" fontAlgn="base">
                <a:spcBef>
                  <a:spcPct val="0"/>
                </a:spcBef>
                <a:spcAft>
                  <a:spcPct val="0"/>
                </a:spcAft>
              </a:pPr>
              <a:endParaRPr lang="en-US" sz="2346" dirty="0">
                <a:solidFill>
                  <a:srgbClr val="FF0000"/>
                </a:solidFill>
              </a:endParaRPr>
            </a:p>
          </p:txBody>
        </p:sp>
        <p:sp>
          <p:nvSpPr>
            <p:cNvPr id="1336" name="Oval 1335"/>
            <p:cNvSpPr/>
            <p:nvPr/>
          </p:nvSpPr>
          <p:spPr bwMode="auto">
            <a:xfrm>
              <a:off x="7392222" y="4052342"/>
              <a:ext cx="181270" cy="181270"/>
            </a:xfrm>
            <a:prstGeom prst="ellipse">
              <a:avLst/>
            </a:prstGeom>
            <a:solidFill>
              <a:schemeClr val="accent5"/>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0" tIns="46615" rIns="93230" bIns="46615" numCol="1" rtlCol="0" anchor="ctr" anchorCtr="0" compatLnSpc="1">
              <a:prstTxWarp prst="textNoShape">
                <a:avLst/>
              </a:prstTxWarp>
            </a:bodyPr>
            <a:lstStyle/>
            <a:p>
              <a:pPr algn="ctr" defTabSz="931562" fontAlgn="base">
                <a:spcBef>
                  <a:spcPct val="0"/>
                </a:spcBef>
                <a:spcAft>
                  <a:spcPct val="0"/>
                </a:spcAft>
              </a:pPr>
              <a:endParaRPr lang="en-US" sz="2346" dirty="0">
                <a:solidFill>
                  <a:srgbClr val="FF0000"/>
                </a:solidFill>
              </a:endParaRPr>
            </a:p>
          </p:txBody>
        </p:sp>
      </p:grpSp>
      <p:sp>
        <p:nvSpPr>
          <p:cNvPr id="4" name="Rectangle 3"/>
          <p:cNvSpPr/>
          <p:nvPr/>
        </p:nvSpPr>
        <p:spPr bwMode="auto">
          <a:xfrm>
            <a:off x="585216" y="6483117"/>
            <a:ext cx="11271821" cy="51140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27258FFF-F925-446B-8502-81C933981705}" type="slidenum">
              <a:rPr lang="en-US" smtClean="0"/>
              <a:pPr/>
              <a:t>6</a:t>
            </a:fld>
            <a:endParaRPr lang="en-US" dirty="0"/>
          </a:p>
        </p:txBody>
      </p:sp>
    </p:spTree>
    <p:extLst>
      <p:ext uri="{BB962C8B-B14F-4D97-AF65-F5344CB8AC3E}">
        <p14:creationId xmlns:p14="http://schemas.microsoft.com/office/powerpoint/2010/main" val="247106301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childTnLst>
                          </p:cTn>
                        </p:par>
                        <p:par>
                          <p:cTn id="20" fill="hold">
                            <p:stCondLst>
                              <p:cond delay="2000"/>
                            </p:stCondLst>
                            <p:childTnLst>
                              <p:par>
                                <p:cTn id="21" presetID="2" presetClass="entr" presetSubtype="4" decel="100000" fill="hold" nodeType="afterEffect">
                                  <p:stCondLst>
                                    <p:cond delay="0"/>
                                  </p:stCondLst>
                                  <p:childTnLst>
                                    <p:set>
                                      <p:cBhvr>
                                        <p:cTn id="22" dur="1" fill="hold">
                                          <p:stCondLst>
                                            <p:cond delay="0"/>
                                          </p:stCondLst>
                                        </p:cTn>
                                        <p:tgtEl>
                                          <p:spTgt spid="2"/>
                                        </p:tgtEl>
                                        <p:attrNameLst>
                                          <p:attrName>style.visibility</p:attrName>
                                        </p:attrNameLst>
                                      </p:cBhvr>
                                      <p:to>
                                        <p:strVal val="visible"/>
                                      </p:to>
                                    </p:set>
                                    <p:anim calcmode="lin" valueType="num">
                                      <p:cBhvr additive="base">
                                        <p:cTn id="23" dur="750" fill="hold"/>
                                        <p:tgtEl>
                                          <p:spTgt spid="2"/>
                                        </p:tgtEl>
                                        <p:attrNameLst>
                                          <p:attrName>ppt_x</p:attrName>
                                        </p:attrNameLst>
                                      </p:cBhvr>
                                      <p:tavLst>
                                        <p:tav tm="0">
                                          <p:val>
                                            <p:strVal val="#ppt_x"/>
                                          </p:val>
                                        </p:tav>
                                        <p:tav tm="100000">
                                          <p:val>
                                            <p:strVal val="#ppt_x"/>
                                          </p:val>
                                        </p:tav>
                                      </p:tavLst>
                                    </p:anim>
                                    <p:anim calcmode="lin" valueType="num">
                                      <p:cBhvr additive="base">
                                        <p:cTn id="24" dur="75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162"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IN" dirty="0"/>
              <a:t>Microsoft Azure – a trusted foundation</a:t>
            </a:r>
          </a:p>
        </p:txBody>
      </p:sp>
      <p:grpSp>
        <p:nvGrpSpPr>
          <p:cNvPr id="11" name="Group 10"/>
          <p:cNvGrpSpPr/>
          <p:nvPr/>
        </p:nvGrpSpPr>
        <p:grpSpPr>
          <a:xfrm>
            <a:off x="3417837" y="1401763"/>
            <a:ext cx="2779776" cy="3103563"/>
            <a:chOff x="3417837" y="1401763"/>
            <a:chExt cx="2779776" cy="3103563"/>
          </a:xfrm>
        </p:grpSpPr>
        <p:sp>
          <p:nvSpPr>
            <p:cNvPr id="61" name="Rectangle 60"/>
            <p:cNvSpPr/>
            <p:nvPr/>
          </p:nvSpPr>
          <p:spPr bwMode="auto">
            <a:xfrm>
              <a:off x="3417837" y="1401763"/>
              <a:ext cx="2779776" cy="822960"/>
            </a:xfrm>
            <a:prstGeom prst="rect">
              <a:avLst/>
            </a:prstGeom>
            <a:solidFill>
              <a:schemeClr val="accent2"/>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l" defTabSz="932563" fontAlgn="auto">
                <a:spcAft>
                  <a:spcPts val="587"/>
                </a:spcAft>
              </a:pPr>
              <a:r>
                <a:rPr lang="en-US" sz="2200" dirty="0" smtClean="0">
                  <a:solidFill>
                    <a:schemeClr val="bg1"/>
                  </a:solidFill>
                  <a:latin typeface="+mj-lt"/>
                  <a:cs typeface="Segoe UI Semibold" panose="020B0702040204020203" pitchFamily="34" charset="0"/>
                </a:rPr>
                <a:t>Privacy and </a:t>
              </a:r>
              <a:br>
                <a:rPr lang="en-US" sz="2200" dirty="0" smtClean="0">
                  <a:solidFill>
                    <a:schemeClr val="bg1"/>
                  </a:solidFill>
                  <a:latin typeface="+mj-lt"/>
                  <a:cs typeface="Segoe UI Semibold" panose="020B0702040204020203" pitchFamily="34" charset="0"/>
                </a:rPr>
              </a:br>
              <a:r>
                <a:rPr lang="en-US" sz="2200" dirty="0" smtClean="0">
                  <a:solidFill>
                    <a:schemeClr val="bg1"/>
                  </a:solidFill>
                  <a:latin typeface="+mj-lt"/>
                  <a:cs typeface="Segoe UI Semibold" panose="020B0702040204020203" pitchFamily="34" charset="0"/>
                </a:rPr>
                <a:t>Control</a:t>
              </a:r>
              <a:endParaRPr lang="en-US" sz="2200" dirty="0">
                <a:solidFill>
                  <a:schemeClr val="bg1"/>
                </a:solidFill>
                <a:latin typeface="+mj-lt"/>
                <a:cs typeface="Segoe UI Semibold" panose="020B0702040204020203" pitchFamily="34" charset="0"/>
              </a:endParaRPr>
            </a:p>
          </p:txBody>
        </p:sp>
        <p:sp>
          <p:nvSpPr>
            <p:cNvPr id="63" name="Rectangle 62"/>
            <p:cNvSpPr/>
            <p:nvPr/>
          </p:nvSpPr>
          <p:spPr>
            <a:xfrm>
              <a:off x="3417837" y="2169859"/>
              <a:ext cx="2779776" cy="54864"/>
            </a:xfrm>
            <a:prstGeom prst="rect">
              <a:avLst/>
            </a:prstGeom>
            <a:solidFill>
              <a:schemeClr val="bg1">
                <a:alpha val="30000"/>
              </a:schemeClr>
            </a:solidFill>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endParaRPr lang="en-US" sz="2000" dirty="0">
                <a:solidFill>
                  <a:srgbClr val="FFFFFF"/>
                </a:solidFill>
                <a:cs typeface="Segoe UI Light"/>
              </a:endParaRPr>
            </a:p>
          </p:txBody>
        </p:sp>
        <p:sp>
          <p:nvSpPr>
            <p:cNvPr id="72" name="Freeform 71"/>
            <p:cNvSpPr>
              <a:spLocks noEditPoints="1"/>
            </p:cNvSpPr>
            <p:nvPr/>
          </p:nvSpPr>
          <p:spPr bwMode="black">
            <a:xfrm>
              <a:off x="5771952" y="1594086"/>
              <a:ext cx="316151" cy="438314"/>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alpha val="22000"/>
              </a:schemeClr>
            </a:solidFill>
            <a:ln w="0">
              <a:noFill/>
              <a:prstDash val="solid"/>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pic>
          <p:nvPicPr>
            <p:cNvPr id="73" name="Picture 72"/>
            <p:cNvPicPr>
              <a:picLocks noChangeAspect="1"/>
            </p:cNvPicPr>
            <p:nvPr/>
          </p:nvPicPr>
          <p:blipFill rotWithShape="1">
            <a:blip r:embed="rId7" cstate="email">
              <a:extLst>
                <a:ext uri="{28A0092B-C50C-407E-A947-70E740481C1C}">
                  <a14:useLocalDpi xmlns:a14="http://schemas.microsoft.com/office/drawing/2010/main"/>
                </a:ext>
              </a:extLst>
            </a:blip>
            <a:srcRect t="2345" b="21483"/>
            <a:stretch/>
          </p:blipFill>
          <p:spPr>
            <a:xfrm>
              <a:off x="3454413" y="2215398"/>
              <a:ext cx="2743200" cy="2289928"/>
            </a:xfrm>
            <a:prstGeom prst="rect">
              <a:avLst/>
            </a:prstGeom>
            <a:noFill/>
            <a:ln>
              <a:noFill/>
            </a:ln>
          </p:spPr>
        </p:pic>
      </p:grpSp>
      <p:grpSp>
        <p:nvGrpSpPr>
          <p:cNvPr id="10" name="Group 9"/>
          <p:cNvGrpSpPr/>
          <p:nvPr/>
        </p:nvGrpSpPr>
        <p:grpSpPr>
          <a:xfrm>
            <a:off x="588216" y="1401763"/>
            <a:ext cx="2779776" cy="3103563"/>
            <a:chOff x="588216" y="1401763"/>
            <a:chExt cx="2779776" cy="3103563"/>
          </a:xfrm>
        </p:grpSpPr>
        <p:sp>
          <p:nvSpPr>
            <p:cNvPr id="66" name="Rectangle 65"/>
            <p:cNvSpPr/>
            <p:nvPr/>
          </p:nvSpPr>
          <p:spPr bwMode="auto">
            <a:xfrm>
              <a:off x="588216" y="1401763"/>
              <a:ext cx="2779776" cy="822960"/>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32563">
                <a:spcAft>
                  <a:spcPts val="587"/>
                </a:spcAft>
              </a:pPr>
              <a:r>
                <a:rPr lang="en-US" sz="2200" dirty="0">
                  <a:solidFill>
                    <a:schemeClr val="bg1"/>
                  </a:solidFill>
                  <a:latin typeface="+mj-lt"/>
                  <a:cs typeface="Segoe UI Semibold" panose="020B0702040204020203" pitchFamily="34" charset="0"/>
                </a:rPr>
                <a:t>Security</a:t>
              </a:r>
            </a:p>
          </p:txBody>
        </p:sp>
        <p:sp>
          <p:nvSpPr>
            <p:cNvPr id="68" name="Rectangle 67"/>
            <p:cNvSpPr/>
            <p:nvPr/>
          </p:nvSpPr>
          <p:spPr>
            <a:xfrm>
              <a:off x="588216" y="2169859"/>
              <a:ext cx="2779776" cy="54864"/>
            </a:xfrm>
            <a:prstGeom prst="rect">
              <a:avLst/>
            </a:prstGeom>
            <a:solidFill>
              <a:schemeClr val="bg1">
                <a:alpha val="30000"/>
              </a:schemeClr>
            </a:solidFill>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endParaRPr lang="en-US" sz="2000" dirty="0">
                <a:solidFill>
                  <a:srgbClr val="FFFFFF"/>
                </a:solidFill>
                <a:cs typeface="Segoe UI Light"/>
              </a:endParaRPr>
            </a:p>
          </p:txBody>
        </p:sp>
        <p:sp>
          <p:nvSpPr>
            <p:cNvPr id="71" name="Freeform 70"/>
            <p:cNvSpPr>
              <a:spLocks noChangeAspect="1" noEditPoints="1"/>
            </p:cNvSpPr>
            <p:nvPr/>
          </p:nvSpPr>
          <p:spPr bwMode="auto">
            <a:xfrm>
              <a:off x="2956753" y="1594506"/>
              <a:ext cx="303659" cy="437474"/>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alpha val="22000"/>
              </a:schemeClr>
            </a:solidFill>
            <a:ln w="0">
              <a:noFill/>
              <a:prstDash val="solid"/>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pic>
          <p:nvPicPr>
            <p:cNvPr id="74" name="Picture 73"/>
            <p:cNvPicPr>
              <a:picLocks noChangeAspect="1"/>
            </p:cNvPicPr>
            <p:nvPr/>
          </p:nvPicPr>
          <p:blipFill rotWithShape="1">
            <a:blip r:embed="rId8">
              <a:extLst>
                <a:ext uri="{28A0092B-C50C-407E-A947-70E740481C1C}">
                  <a14:useLocalDpi xmlns:a14="http://schemas.microsoft.com/office/drawing/2010/main" val="0"/>
                </a:ext>
              </a:extLst>
            </a:blip>
            <a:srcRect l="5030" r="13880"/>
            <a:stretch/>
          </p:blipFill>
          <p:spPr>
            <a:xfrm>
              <a:off x="588217" y="2215397"/>
              <a:ext cx="2779774" cy="2289929"/>
            </a:xfrm>
            <a:prstGeom prst="rect">
              <a:avLst/>
            </a:prstGeom>
            <a:noFill/>
            <a:ln>
              <a:noFill/>
            </a:ln>
          </p:spPr>
        </p:pic>
      </p:grpSp>
      <p:grpSp>
        <p:nvGrpSpPr>
          <p:cNvPr id="12" name="Group 11"/>
          <p:cNvGrpSpPr/>
          <p:nvPr/>
        </p:nvGrpSpPr>
        <p:grpSpPr>
          <a:xfrm>
            <a:off x="6247460" y="1401763"/>
            <a:ext cx="2779776" cy="3099635"/>
            <a:chOff x="6247460" y="1401763"/>
            <a:chExt cx="2779776" cy="3099635"/>
          </a:xfrm>
        </p:grpSpPr>
        <p:sp>
          <p:nvSpPr>
            <p:cNvPr id="43" name="Rectangle 42"/>
            <p:cNvSpPr/>
            <p:nvPr/>
          </p:nvSpPr>
          <p:spPr bwMode="auto">
            <a:xfrm>
              <a:off x="6247460" y="1401763"/>
              <a:ext cx="2779776" cy="822960"/>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l" defTabSz="932563" fontAlgn="auto">
                <a:spcAft>
                  <a:spcPts val="587"/>
                </a:spcAft>
              </a:pPr>
              <a:r>
                <a:rPr lang="en-US" sz="2200" dirty="0">
                  <a:solidFill>
                    <a:schemeClr val="bg1"/>
                  </a:solidFill>
                  <a:latin typeface="+mj-lt"/>
                  <a:cs typeface="Segoe UI Semibold" panose="020B0702040204020203" pitchFamily="34" charset="0"/>
                </a:rPr>
                <a:t>Transparency</a:t>
              </a:r>
            </a:p>
          </p:txBody>
        </p:sp>
        <p:sp>
          <p:nvSpPr>
            <p:cNvPr id="45" name="Rectangle 44"/>
            <p:cNvSpPr/>
            <p:nvPr/>
          </p:nvSpPr>
          <p:spPr>
            <a:xfrm>
              <a:off x="6247460" y="2169859"/>
              <a:ext cx="2779776" cy="54864"/>
            </a:xfrm>
            <a:prstGeom prst="rect">
              <a:avLst/>
            </a:prstGeom>
            <a:solidFill>
              <a:schemeClr val="bg1">
                <a:alpha val="30000"/>
              </a:schemeClr>
            </a:solidFill>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endParaRPr lang="en-US" sz="2000" dirty="0">
                <a:solidFill>
                  <a:srgbClr val="FFFFFF"/>
                </a:solidFill>
                <a:cs typeface="Segoe UI Light"/>
              </a:endParaRPr>
            </a:p>
          </p:txBody>
        </p:sp>
        <p:grpSp>
          <p:nvGrpSpPr>
            <p:cNvPr id="65" name="Group 64"/>
            <p:cNvGrpSpPr/>
            <p:nvPr/>
          </p:nvGrpSpPr>
          <p:grpSpPr>
            <a:xfrm>
              <a:off x="8520835" y="1621267"/>
              <a:ext cx="398821" cy="383953"/>
              <a:chOff x="11677282" y="2098248"/>
              <a:chExt cx="398821" cy="383953"/>
            </a:xfrm>
          </p:grpSpPr>
          <p:sp>
            <p:nvSpPr>
              <p:cNvPr id="67" name="Rounded Rectangle 10"/>
              <p:cNvSpPr/>
              <p:nvPr/>
            </p:nvSpPr>
            <p:spPr bwMode="auto">
              <a:xfrm>
                <a:off x="11824146" y="2098248"/>
                <a:ext cx="251957" cy="286218"/>
              </a:xfrm>
              <a:custGeom>
                <a:avLst/>
                <a:gdLst/>
                <a:ahLst/>
                <a:cxnLst/>
                <a:rect l="l" t="t" r="r" b="b"/>
                <a:pathLst>
                  <a:path w="457200" h="457200">
                    <a:moveTo>
                      <a:pt x="76202" y="0"/>
                    </a:moveTo>
                    <a:lnTo>
                      <a:pt x="380998" y="0"/>
                    </a:lnTo>
                    <a:cubicBezTo>
                      <a:pt x="423083" y="0"/>
                      <a:pt x="457200" y="34117"/>
                      <a:pt x="457200" y="76202"/>
                    </a:cubicBezTo>
                    <a:lnTo>
                      <a:pt x="457200" y="380998"/>
                    </a:lnTo>
                    <a:cubicBezTo>
                      <a:pt x="457200" y="423083"/>
                      <a:pt x="423083" y="457200"/>
                      <a:pt x="380998" y="457200"/>
                    </a:cubicBezTo>
                    <a:lnTo>
                      <a:pt x="190701" y="457200"/>
                    </a:lnTo>
                    <a:lnTo>
                      <a:pt x="190701" y="232559"/>
                    </a:lnTo>
                    <a:cubicBezTo>
                      <a:pt x="190701" y="190474"/>
                      <a:pt x="156584" y="156357"/>
                      <a:pt x="114499" y="156357"/>
                    </a:cubicBezTo>
                    <a:lnTo>
                      <a:pt x="0" y="156357"/>
                    </a:lnTo>
                    <a:lnTo>
                      <a:pt x="0" y="76202"/>
                    </a:lnTo>
                    <a:cubicBezTo>
                      <a:pt x="0" y="34117"/>
                      <a:pt x="34117" y="0"/>
                      <a:pt x="76202" y="0"/>
                    </a:cubicBezTo>
                    <a:close/>
                  </a:path>
                </a:pathLst>
              </a:custGeom>
              <a:noFill/>
              <a:ln w="9525">
                <a:solidFill>
                  <a:schemeClr val="bg1">
                    <a:alpha val="23000"/>
                  </a:scheme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sp>
            <p:nvSpPr>
              <p:cNvPr id="69" name="Rounded Rectangle 11"/>
              <p:cNvSpPr/>
              <p:nvPr/>
            </p:nvSpPr>
            <p:spPr bwMode="auto">
              <a:xfrm>
                <a:off x="11677282" y="2195983"/>
                <a:ext cx="251957" cy="286218"/>
              </a:xfrm>
              <a:custGeom>
                <a:avLst/>
                <a:gdLst/>
                <a:ahLst/>
                <a:cxnLst/>
                <a:rect l="l" t="t" r="r" b="b"/>
                <a:pathLst>
                  <a:path w="457200" h="457200">
                    <a:moveTo>
                      <a:pt x="76202" y="0"/>
                    </a:moveTo>
                    <a:lnTo>
                      <a:pt x="266499" y="0"/>
                    </a:lnTo>
                    <a:lnTo>
                      <a:pt x="266499" y="224641"/>
                    </a:lnTo>
                    <a:cubicBezTo>
                      <a:pt x="266499" y="266726"/>
                      <a:pt x="300616" y="300843"/>
                      <a:pt x="342701" y="300843"/>
                    </a:cubicBezTo>
                    <a:lnTo>
                      <a:pt x="457200" y="300843"/>
                    </a:lnTo>
                    <a:lnTo>
                      <a:pt x="457200" y="380998"/>
                    </a:lnTo>
                    <a:cubicBezTo>
                      <a:pt x="457200" y="423083"/>
                      <a:pt x="423083" y="457200"/>
                      <a:pt x="380998" y="457200"/>
                    </a:cubicBezTo>
                    <a:lnTo>
                      <a:pt x="76202" y="457200"/>
                    </a:lnTo>
                    <a:cubicBezTo>
                      <a:pt x="34117" y="457200"/>
                      <a:pt x="0" y="423083"/>
                      <a:pt x="0" y="380998"/>
                    </a:cubicBezTo>
                    <a:lnTo>
                      <a:pt x="0" y="76202"/>
                    </a:lnTo>
                    <a:cubicBezTo>
                      <a:pt x="0" y="34117"/>
                      <a:pt x="34117" y="0"/>
                      <a:pt x="76202" y="0"/>
                    </a:cubicBezTo>
                    <a:close/>
                  </a:path>
                </a:pathLst>
              </a:custGeom>
              <a:noFill/>
              <a:ln w="9525">
                <a:solidFill>
                  <a:schemeClr val="bg1">
                    <a:alpha val="23000"/>
                  </a:scheme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grpSp>
        <p:pic>
          <p:nvPicPr>
            <p:cNvPr id="76" name="Picture 75"/>
            <p:cNvPicPr>
              <a:picLocks noChangeAspect="1"/>
            </p:cNvPicPr>
            <p:nvPr/>
          </p:nvPicPr>
          <p:blipFill rotWithShape="1">
            <a:blip r:embed="rId9">
              <a:extLst>
                <a:ext uri="{28A0092B-C50C-407E-A947-70E740481C1C}">
                  <a14:useLocalDpi xmlns:a14="http://schemas.microsoft.com/office/drawing/2010/main" val="0"/>
                </a:ext>
              </a:extLst>
            </a:blip>
            <a:srcRect r="18934"/>
            <a:stretch/>
          </p:blipFill>
          <p:spPr>
            <a:xfrm>
              <a:off x="6247460" y="2215398"/>
              <a:ext cx="2779776" cy="2286000"/>
            </a:xfrm>
            <a:prstGeom prst="rect">
              <a:avLst/>
            </a:prstGeom>
            <a:noFill/>
            <a:ln>
              <a:noFill/>
            </a:ln>
          </p:spPr>
        </p:pic>
      </p:grpSp>
      <p:grpSp>
        <p:nvGrpSpPr>
          <p:cNvPr id="13" name="Group 12"/>
          <p:cNvGrpSpPr/>
          <p:nvPr/>
        </p:nvGrpSpPr>
        <p:grpSpPr>
          <a:xfrm>
            <a:off x="9077083" y="1401763"/>
            <a:ext cx="2779955" cy="3099634"/>
            <a:chOff x="9077083" y="1401763"/>
            <a:chExt cx="2779955" cy="3099634"/>
          </a:xfrm>
        </p:grpSpPr>
        <p:sp>
          <p:nvSpPr>
            <p:cNvPr id="50" name="Rectangle 49"/>
            <p:cNvSpPr/>
            <p:nvPr/>
          </p:nvSpPr>
          <p:spPr bwMode="auto">
            <a:xfrm>
              <a:off x="9077083" y="1401763"/>
              <a:ext cx="2779776" cy="822960"/>
            </a:xfrm>
            <a:prstGeom prst="rect">
              <a:avLst/>
            </a:prstGeom>
            <a:solidFill>
              <a:schemeClr val="accent4"/>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32563">
                <a:spcAft>
                  <a:spcPts val="587"/>
                </a:spcAft>
              </a:pPr>
              <a:r>
                <a:rPr lang="en-US" sz="2200" dirty="0">
                  <a:solidFill>
                    <a:schemeClr val="bg1"/>
                  </a:solidFill>
                  <a:latin typeface="+mj-lt"/>
                  <a:cs typeface="Segoe UI Semibold" panose="020B0702040204020203" pitchFamily="34" charset="0"/>
                </a:rPr>
                <a:t>Compliance</a:t>
              </a:r>
            </a:p>
          </p:txBody>
        </p:sp>
        <p:sp>
          <p:nvSpPr>
            <p:cNvPr id="52" name="Rectangle 51"/>
            <p:cNvSpPr/>
            <p:nvPr/>
          </p:nvSpPr>
          <p:spPr>
            <a:xfrm>
              <a:off x="9077083" y="2169859"/>
              <a:ext cx="2779776" cy="54864"/>
            </a:xfrm>
            <a:prstGeom prst="rect">
              <a:avLst/>
            </a:prstGeom>
            <a:solidFill>
              <a:schemeClr val="bg1">
                <a:alpha val="30000"/>
              </a:schemeClr>
            </a:solidFill>
          </p:spPr>
          <p:txBody>
            <a:bodyPr wrap="square" rtlCol="0" anchor="ctr">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endParaRPr lang="en-US" sz="2000" dirty="0">
                <a:solidFill>
                  <a:srgbClr val="FFFFFF"/>
                </a:solidFill>
                <a:cs typeface="Segoe UI Light"/>
              </a:endParaRPr>
            </a:p>
          </p:txBody>
        </p:sp>
        <p:grpSp>
          <p:nvGrpSpPr>
            <p:cNvPr id="60" name="Group 59"/>
            <p:cNvGrpSpPr/>
            <p:nvPr/>
          </p:nvGrpSpPr>
          <p:grpSpPr>
            <a:xfrm>
              <a:off x="11338369" y="1607676"/>
              <a:ext cx="410910" cy="411134"/>
              <a:chOff x="-4292600" y="-1301750"/>
              <a:chExt cx="5827713" cy="5830888"/>
            </a:xfrm>
            <a:solidFill>
              <a:schemeClr val="bg1">
                <a:alpha val="22000"/>
              </a:schemeClr>
            </a:solidFill>
          </p:grpSpPr>
          <p:sp>
            <p:nvSpPr>
              <p:cNvPr id="62" name="Freeform 61"/>
              <p:cNvSpPr>
                <a:spLocks noEditPoints="1"/>
              </p:cNvSpPr>
              <p:nvPr/>
            </p:nvSpPr>
            <p:spPr bwMode="auto">
              <a:xfrm>
                <a:off x="-4292600" y="-1301750"/>
                <a:ext cx="5827713" cy="5830888"/>
              </a:xfrm>
              <a:custGeom>
                <a:avLst/>
                <a:gdLst>
                  <a:gd name="T0" fmla="*/ 2874 w 3671"/>
                  <a:gd name="T1" fmla="*/ 3100 h 3673"/>
                  <a:gd name="T2" fmla="*/ 3236 w 3671"/>
                  <a:gd name="T3" fmla="*/ 2924 h 3673"/>
                  <a:gd name="T4" fmla="*/ 1108 w 3671"/>
                  <a:gd name="T5" fmla="*/ 1714 h 3673"/>
                  <a:gd name="T6" fmla="*/ 888 w 3671"/>
                  <a:gd name="T7" fmla="*/ 1739 h 3673"/>
                  <a:gd name="T8" fmla="*/ 687 w 3671"/>
                  <a:gd name="T9" fmla="*/ 1816 h 3673"/>
                  <a:gd name="T10" fmla="*/ 514 w 3671"/>
                  <a:gd name="T11" fmla="*/ 1937 h 3673"/>
                  <a:gd name="T12" fmla="*/ 376 w 3671"/>
                  <a:gd name="T13" fmla="*/ 2098 h 3673"/>
                  <a:gd name="T14" fmla="*/ 279 w 3671"/>
                  <a:gd name="T15" fmla="*/ 2289 h 3673"/>
                  <a:gd name="T16" fmla="*/ 231 w 3671"/>
                  <a:gd name="T17" fmla="*/ 2504 h 3673"/>
                  <a:gd name="T18" fmla="*/ 238 w 3671"/>
                  <a:gd name="T19" fmla="*/ 2730 h 3673"/>
                  <a:gd name="T20" fmla="*/ 305 w 3671"/>
                  <a:gd name="T21" fmla="*/ 2941 h 3673"/>
                  <a:gd name="T22" fmla="*/ 423 w 3671"/>
                  <a:gd name="T23" fmla="*/ 3129 h 3673"/>
                  <a:gd name="T24" fmla="*/ 581 w 3671"/>
                  <a:gd name="T25" fmla="*/ 3280 h 3673"/>
                  <a:gd name="T26" fmla="*/ 772 w 3671"/>
                  <a:gd name="T27" fmla="*/ 3390 h 3673"/>
                  <a:gd name="T28" fmla="*/ 986 w 3671"/>
                  <a:gd name="T29" fmla="*/ 3444 h 3673"/>
                  <a:gd name="T30" fmla="*/ 1214 w 3671"/>
                  <a:gd name="T31" fmla="*/ 3440 h 3673"/>
                  <a:gd name="T32" fmla="*/ 1428 w 3671"/>
                  <a:gd name="T33" fmla="*/ 3381 h 3673"/>
                  <a:gd name="T34" fmla="*/ 1614 w 3671"/>
                  <a:gd name="T35" fmla="*/ 3276 h 3673"/>
                  <a:gd name="T36" fmla="*/ 1767 w 3671"/>
                  <a:gd name="T37" fmla="*/ 3130 h 3673"/>
                  <a:gd name="T38" fmla="*/ 1880 w 3671"/>
                  <a:gd name="T39" fmla="*/ 2950 h 3673"/>
                  <a:gd name="T40" fmla="*/ 1946 w 3671"/>
                  <a:gd name="T41" fmla="*/ 2743 h 3673"/>
                  <a:gd name="T42" fmla="*/ 1959 w 3671"/>
                  <a:gd name="T43" fmla="*/ 2513 h 3673"/>
                  <a:gd name="T44" fmla="*/ 1911 w 3671"/>
                  <a:gd name="T45" fmla="*/ 2290 h 3673"/>
                  <a:gd name="T46" fmla="*/ 1809 w 3671"/>
                  <a:gd name="T47" fmla="*/ 2091 h 3673"/>
                  <a:gd name="T48" fmla="*/ 1661 w 3671"/>
                  <a:gd name="T49" fmla="*/ 1926 h 3673"/>
                  <a:gd name="T50" fmla="*/ 1477 w 3671"/>
                  <a:gd name="T51" fmla="*/ 1802 h 3673"/>
                  <a:gd name="T52" fmla="*/ 1263 w 3671"/>
                  <a:gd name="T53" fmla="*/ 1730 h 3673"/>
                  <a:gd name="T54" fmla="*/ 1210 w 3671"/>
                  <a:gd name="T55" fmla="*/ 225 h 3673"/>
                  <a:gd name="T56" fmla="*/ 1370 w 3671"/>
                  <a:gd name="T57" fmla="*/ 1526 h 3673"/>
                  <a:gd name="T58" fmla="*/ 1586 w 3671"/>
                  <a:gd name="T59" fmla="*/ 1605 h 3673"/>
                  <a:gd name="T60" fmla="*/ 1774 w 3671"/>
                  <a:gd name="T61" fmla="*/ 1721 h 3673"/>
                  <a:gd name="T62" fmla="*/ 1931 w 3671"/>
                  <a:gd name="T63" fmla="*/ 1874 h 3673"/>
                  <a:gd name="T64" fmla="*/ 2056 w 3671"/>
                  <a:gd name="T65" fmla="*/ 2064 h 3673"/>
                  <a:gd name="T66" fmla="*/ 2147 w 3671"/>
                  <a:gd name="T67" fmla="*/ 2297 h 3673"/>
                  <a:gd name="T68" fmla="*/ 2190 w 3671"/>
                  <a:gd name="T69" fmla="*/ 2543 h 3673"/>
                  <a:gd name="T70" fmla="*/ 2174 w 3671"/>
                  <a:gd name="T71" fmla="*/ 2777 h 3673"/>
                  <a:gd name="T72" fmla="*/ 2105 w 3671"/>
                  <a:gd name="T73" fmla="*/ 3001 h 3673"/>
                  <a:gd name="T74" fmla="*/ 1984 w 3671"/>
                  <a:gd name="T75" fmla="*/ 3214 h 3673"/>
                  <a:gd name="T76" fmla="*/ 2648 w 3671"/>
                  <a:gd name="T77" fmla="*/ 3351 h 3673"/>
                  <a:gd name="T78" fmla="*/ 3441 w 3671"/>
                  <a:gd name="T79" fmla="*/ 225 h 3673"/>
                  <a:gd name="T80" fmla="*/ 3668 w 3671"/>
                  <a:gd name="T81" fmla="*/ 0 h 3673"/>
                  <a:gd name="T82" fmla="*/ 3671 w 3671"/>
                  <a:gd name="T83" fmla="*/ 2178 h 3673"/>
                  <a:gd name="T84" fmla="*/ 3670 w 3671"/>
                  <a:gd name="T85" fmla="*/ 2793 h 3673"/>
                  <a:gd name="T86" fmla="*/ 3644 w 3671"/>
                  <a:gd name="T87" fmla="*/ 2841 h 3673"/>
                  <a:gd name="T88" fmla="*/ 2891 w 3671"/>
                  <a:gd name="T89" fmla="*/ 3571 h 3673"/>
                  <a:gd name="T90" fmla="*/ 1573 w 3671"/>
                  <a:gd name="T91" fmla="*/ 3578 h 3673"/>
                  <a:gd name="T92" fmla="*/ 1443 w 3671"/>
                  <a:gd name="T93" fmla="*/ 3617 h 3673"/>
                  <a:gd name="T94" fmla="*/ 1207 w 3671"/>
                  <a:gd name="T95" fmla="*/ 3667 h 3673"/>
                  <a:gd name="T96" fmla="*/ 973 w 3671"/>
                  <a:gd name="T97" fmla="*/ 3667 h 3673"/>
                  <a:gd name="T98" fmla="*/ 750 w 3671"/>
                  <a:gd name="T99" fmla="*/ 3619 h 3673"/>
                  <a:gd name="T100" fmla="*/ 543 w 3671"/>
                  <a:gd name="T101" fmla="*/ 3527 h 3673"/>
                  <a:gd name="T102" fmla="*/ 359 w 3671"/>
                  <a:gd name="T103" fmla="*/ 3391 h 3673"/>
                  <a:gd name="T104" fmla="*/ 205 w 3671"/>
                  <a:gd name="T105" fmla="*/ 3217 h 3673"/>
                  <a:gd name="T106" fmla="*/ 87 w 3671"/>
                  <a:gd name="T107" fmla="*/ 3005 h 3673"/>
                  <a:gd name="T108" fmla="*/ 17 w 3671"/>
                  <a:gd name="T109" fmla="*/ 2777 h 3673"/>
                  <a:gd name="T110" fmla="*/ 0 w 3671"/>
                  <a:gd name="T111" fmla="*/ 2548 h 3673"/>
                  <a:gd name="T112" fmla="*/ 32 w 3671"/>
                  <a:gd name="T113" fmla="*/ 2323 h 3673"/>
                  <a:gd name="T114" fmla="*/ 110 w 3671"/>
                  <a:gd name="T115" fmla="*/ 2109 h 3673"/>
                  <a:gd name="T116" fmla="*/ 230 w 3671"/>
                  <a:gd name="T117" fmla="*/ 1914 h 3673"/>
                  <a:gd name="T118" fmla="*/ 388 w 3671"/>
                  <a:gd name="T119" fmla="*/ 1748 h 3673"/>
                  <a:gd name="T120" fmla="*/ 582 w 3671"/>
                  <a:gd name="T121" fmla="*/ 1616 h 3673"/>
                  <a:gd name="T122" fmla="*/ 815 w 3671"/>
                  <a:gd name="T123" fmla="*/ 1526 h 3673"/>
                  <a:gd name="T124" fmla="*/ 983 w 3671"/>
                  <a:gd name="T125" fmla="*/ 0 h 3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71" h="3673">
                    <a:moveTo>
                      <a:pt x="2874" y="2746"/>
                    </a:moveTo>
                    <a:lnTo>
                      <a:pt x="2874" y="2922"/>
                    </a:lnTo>
                    <a:lnTo>
                      <a:pt x="2874" y="3100"/>
                    </a:lnTo>
                    <a:lnTo>
                      <a:pt x="2874" y="3278"/>
                    </a:lnTo>
                    <a:lnTo>
                      <a:pt x="3056" y="3101"/>
                    </a:lnTo>
                    <a:lnTo>
                      <a:pt x="3236" y="2924"/>
                    </a:lnTo>
                    <a:lnTo>
                      <a:pt x="3417" y="2746"/>
                    </a:lnTo>
                    <a:lnTo>
                      <a:pt x="2874" y="2746"/>
                    </a:lnTo>
                    <a:close/>
                    <a:moveTo>
                      <a:pt x="1108" y="1714"/>
                    </a:moveTo>
                    <a:lnTo>
                      <a:pt x="1033" y="1716"/>
                    </a:lnTo>
                    <a:lnTo>
                      <a:pt x="959" y="1724"/>
                    </a:lnTo>
                    <a:lnTo>
                      <a:pt x="888" y="1739"/>
                    </a:lnTo>
                    <a:lnTo>
                      <a:pt x="818" y="1759"/>
                    </a:lnTo>
                    <a:lnTo>
                      <a:pt x="751" y="1784"/>
                    </a:lnTo>
                    <a:lnTo>
                      <a:pt x="687" y="1816"/>
                    </a:lnTo>
                    <a:lnTo>
                      <a:pt x="626" y="1851"/>
                    </a:lnTo>
                    <a:lnTo>
                      <a:pt x="569" y="1893"/>
                    </a:lnTo>
                    <a:lnTo>
                      <a:pt x="514" y="1937"/>
                    </a:lnTo>
                    <a:lnTo>
                      <a:pt x="464" y="1987"/>
                    </a:lnTo>
                    <a:lnTo>
                      <a:pt x="418" y="2041"/>
                    </a:lnTo>
                    <a:lnTo>
                      <a:pt x="376" y="2098"/>
                    </a:lnTo>
                    <a:lnTo>
                      <a:pt x="339" y="2158"/>
                    </a:lnTo>
                    <a:lnTo>
                      <a:pt x="307" y="2222"/>
                    </a:lnTo>
                    <a:lnTo>
                      <a:pt x="279" y="2289"/>
                    </a:lnTo>
                    <a:lnTo>
                      <a:pt x="258" y="2358"/>
                    </a:lnTo>
                    <a:lnTo>
                      <a:pt x="241" y="2430"/>
                    </a:lnTo>
                    <a:lnTo>
                      <a:pt x="231" y="2504"/>
                    </a:lnTo>
                    <a:lnTo>
                      <a:pt x="226" y="2581"/>
                    </a:lnTo>
                    <a:lnTo>
                      <a:pt x="229" y="2656"/>
                    </a:lnTo>
                    <a:lnTo>
                      <a:pt x="238" y="2730"/>
                    </a:lnTo>
                    <a:lnTo>
                      <a:pt x="254" y="2803"/>
                    </a:lnTo>
                    <a:lnTo>
                      <a:pt x="277" y="2873"/>
                    </a:lnTo>
                    <a:lnTo>
                      <a:pt x="305" y="2941"/>
                    </a:lnTo>
                    <a:lnTo>
                      <a:pt x="339" y="3007"/>
                    </a:lnTo>
                    <a:lnTo>
                      <a:pt x="378" y="3069"/>
                    </a:lnTo>
                    <a:lnTo>
                      <a:pt x="423" y="3129"/>
                    </a:lnTo>
                    <a:lnTo>
                      <a:pt x="471" y="3183"/>
                    </a:lnTo>
                    <a:lnTo>
                      <a:pt x="524" y="3234"/>
                    </a:lnTo>
                    <a:lnTo>
                      <a:pt x="581" y="3280"/>
                    </a:lnTo>
                    <a:lnTo>
                      <a:pt x="641" y="3323"/>
                    </a:lnTo>
                    <a:lnTo>
                      <a:pt x="705" y="3358"/>
                    </a:lnTo>
                    <a:lnTo>
                      <a:pt x="772" y="3390"/>
                    </a:lnTo>
                    <a:lnTo>
                      <a:pt x="841" y="3414"/>
                    </a:lnTo>
                    <a:lnTo>
                      <a:pt x="912" y="3432"/>
                    </a:lnTo>
                    <a:lnTo>
                      <a:pt x="986" y="3444"/>
                    </a:lnTo>
                    <a:lnTo>
                      <a:pt x="1061" y="3449"/>
                    </a:lnTo>
                    <a:lnTo>
                      <a:pt x="1138" y="3448"/>
                    </a:lnTo>
                    <a:lnTo>
                      <a:pt x="1214" y="3440"/>
                    </a:lnTo>
                    <a:lnTo>
                      <a:pt x="1287" y="3425"/>
                    </a:lnTo>
                    <a:lnTo>
                      <a:pt x="1359" y="3406"/>
                    </a:lnTo>
                    <a:lnTo>
                      <a:pt x="1428" y="3381"/>
                    </a:lnTo>
                    <a:lnTo>
                      <a:pt x="1492" y="3351"/>
                    </a:lnTo>
                    <a:lnTo>
                      <a:pt x="1555" y="3316"/>
                    </a:lnTo>
                    <a:lnTo>
                      <a:pt x="1614" y="3276"/>
                    </a:lnTo>
                    <a:lnTo>
                      <a:pt x="1669" y="3231"/>
                    </a:lnTo>
                    <a:lnTo>
                      <a:pt x="1720" y="3182"/>
                    </a:lnTo>
                    <a:lnTo>
                      <a:pt x="1767" y="3130"/>
                    </a:lnTo>
                    <a:lnTo>
                      <a:pt x="1809" y="3073"/>
                    </a:lnTo>
                    <a:lnTo>
                      <a:pt x="1847" y="3014"/>
                    </a:lnTo>
                    <a:lnTo>
                      <a:pt x="1880" y="2950"/>
                    </a:lnTo>
                    <a:lnTo>
                      <a:pt x="1907" y="2883"/>
                    </a:lnTo>
                    <a:lnTo>
                      <a:pt x="1930" y="2814"/>
                    </a:lnTo>
                    <a:lnTo>
                      <a:pt x="1946" y="2743"/>
                    </a:lnTo>
                    <a:lnTo>
                      <a:pt x="1956" y="2668"/>
                    </a:lnTo>
                    <a:lnTo>
                      <a:pt x="1961" y="2592"/>
                    </a:lnTo>
                    <a:lnTo>
                      <a:pt x="1959" y="2513"/>
                    </a:lnTo>
                    <a:lnTo>
                      <a:pt x="1949" y="2437"/>
                    </a:lnTo>
                    <a:lnTo>
                      <a:pt x="1933" y="2362"/>
                    </a:lnTo>
                    <a:lnTo>
                      <a:pt x="1911" y="2290"/>
                    </a:lnTo>
                    <a:lnTo>
                      <a:pt x="1883" y="2221"/>
                    </a:lnTo>
                    <a:lnTo>
                      <a:pt x="1848" y="2155"/>
                    </a:lnTo>
                    <a:lnTo>
                      <a:pt x="1809" y="2091"/>
                    </a:lnTo>
                    <a:lnTo>
                      <a:pt x="1765" y="2032"/>
                    </a:lnTo>
                    <a:lnTo>
                      <a:pt x="1716" y="1977"/>
                    </a:lnTo>
                    <a:lnTo>
                      <a:pt x="1661" y="1926"/>
                    </a:lnTo>
                    <a:lnTo>
                      <a:pt x="1604" y="1880"/>
                    </a:lnTo>
                    <a:lnTo>
                      <a:pt x="1542" y="1839"/>
                    </a:lnTo>
                    <a:lnTo>
                      <a:pt x="1477" y="1802"/>
                    </a:lnTo>
                    <a:lnTo>
                      <a:pt x="1408" y="1772"/>
                    </a:lnTo>
                    <a:lnTo>
                      <a:pt x="1336" y="1748"/>
                    </a:lnTo>
                    <a:lnTo>
                      <a:pt x="1263" y="1730"/>
                    </a:lnTo>
                    <a:lnTo>
                      <a:pt x="1186" y="1719"/>
                    </a:lnTo>
                    <a:lnTo>
                      <a:pt x="1108" y="1714"/>
                    </a:lnTo>
                    <a:close/>
                    <a:moveTo>
                      <a:pt x="1210" y="225"/>
                    </a:moveTo>
                    <a:lnTo>
                      <a:pt x="1210" y="1491"/>
                    </a:lnTo>
                    <a:lnTo>
                      <a:pt x="1291" y="1507"/>
                    </a:lnTo>
                    <a:lnTo>
                      <a:pt x="1370" y="1526"/>
                    </a:lnTo>
                    <a:lnTo>
                      <a:pt x="1444" y="1548"/>
                    </a:lnTo>
                    <a:lnTo>
                      <a:pt x="1517" y="1575"/>
                    </a:lnTo>
                    <a:lnTo>
                      <a:pt x="1586" y="1605"/>
                    </a:lnTo>
                    <a:lnTo>
                      <a:pt x="1652" y="1639"/>
                    </a:lnTo>
                    <a:lnTo>
                      <a:pt x="1714" y="1678"/>
                    </a:lnTo>
                    <a:lnTo>
                      <a:pt x="1774" y="1721"/>
                    </a:lnTo>
                    <a:lnTo>
                      <a:pt x="1829" y="1768"/>
                    </a:lnTo>
                    <a:lnTo>
                      <a:pt x="1882" y="1819"/>
                    </a:lnTo>
                    <a:lnTo>
                      <a:pt x="1931" y="1874"/>
                    </a:lnTo>
                    <a:lnTo>
                      <a:pt x="1975" y="1933"/>
                    </a:lnTo>
                    <a:lnTo>
                      <a:pt x="2018" y="1996"/>
                    </a:lnTo>
                    <a:lnTo>
                      <a:pt x="2056" y="2064"/>
                    </a:lnTo>
                    <a:lnTo>
                      <a:pt x="2090" y="2137"/>
                    </a:lnTo>
                    <a:lnTo>
                      <a:pt x="2120" y="2214"/>
                    </a:lnTo>
                    <a:lnTo>
                      <a:pt x="2147" y="2297"/>
                    </a:lnTo>
                    <a:lnTo>
                      <a:pt x="2168" y="2380"/>
                    </a:lnTo>
                    <a:lnTo>
                      <a:pt x="2182" y="2463"/>
                    </a:lnTo>
                    <a:lnTo>
                      <a:pt x="2190" y="2543"/>
                    </a:lnTo>
                    <a:lnTo>
                      <a:pt x="2191" y="2622"/>
                    </a:lnTo>
                    <a:lnTo>
                      <a:pt x="2185" y="2700"/>
                    </a:lnTo>
                    <a:lnTo>
                      <a:pt x="2174" y="2777"/>
                    </a:lnTo>
                    <a:lnTo>
                      <a:pt x="2157" y="2853"/>
                    </a:lnTo>
                    <a:lnTo>
                      <a:pt x="2134" y="2928"/>
                    </a:lnTo>
                    <a:lnTo>
                      <a:pt x="2105" y="3001"/>
                    </a:lnTo>
                    <a:lnTo>
                      <a:pt x="2070" y="3074"/>
                    </a:lnTo>
                    <a:lnTo>
                      <a:pt x="2030" y="3144"/>
                    </a:lnTo>
                    <a:lnTo>
                      <a:pt x="1984" y="3214"/>
                    </a:lnTo>
                    <a:lnTo>
                      <a:pt x="1933" y="3282"/>
                    </a:lnTo>
                    <a:lnTo>
                      <a:pt x="1876" y="3351"/>
                    </a:lnTo>
                    <a:lnTo>
                      <a:pt x="2648" y="3351"/>
                    </a:lnTo>
                    <a:lnTo>
                      <a:pt x="2648" y="2519"/>
                    </a:lnTo>
                    <a:lnTo>
                      <a:pt x="3441" y="2519"/>
                    </a:lnTo>
                    <a:lnTo>
                      <a:pt x="3441" y="225"/>
                    </a:lnTo>
                    <a:lnTo>
                      <a:pt x="1210" y="225"/>
                    </a:lnTo>
                    <a:close/>
                    <a:moveTo>
                      <a:pt x="983" y="0"/>
                    </a:moveTo>
                    <a:lnTo>
                      <a:pt x="3668" y="0"/>
                    </a:lnTo>
                    <a:lnTo>
                      <a:pt x="3670" y="21"/>
                    </a:lnTo>
                    <a:lnTo>
                      <a:pt x="3670" y="42"/>
                    </a:lnTo>
                    <a:lnTo>
                      <a:pt x="3671" y="2178"/>
                    </a:lnTo>
                    <a:lnTo>
                      <a:pt x="3670" y="2476"/>
                    </a:lnTo>
                    <a:lnTo>
                      <a:pt x="3671" y="2774"/>
                    </a:lnTo>
                    <a:lnTo>
                      <a:pt x="3670" y="2793"/>
                    </a:lnTo>
                    <a:lnTo>
                      <a:pt x="3665" y="2811"/>
                    </a:lnTo>
                    <a:lnTo>
                      <a:pt x="3657" y="2825"/>
                    </a:lnTo>
                    <a:lnTo>
                      <a:pt x="3644" y="2841"/>
                    </a:lnTo>
                    <a:lnTo>
                      <a:pt x="2919" y="3552"/>
                    </a:lnTo>
                    <a:lnTo>
                      <a:pt x="2906" y="3564"/>
                    </a:lnTo>
                    <a:lnTo>
                      <a:pt x="2891" y="3571"/>
                    </a:lnTo>
                    <a:lnTo>
                      <a:pt x="2874" y="3577"/>
                    </a:lnTo>
                    <a:lnTo>
                      <a:pt x="2857" y="3578"/>
                    </a:lnTo>
                    <a:lnTo>
                      <a:pt x="1573" y="3578"/>
                    </a:lnTo>
                    <a:lnTo>
                      <a:pt x="1547" y="3580"/>
                    </a:lnTo>
                    <a:lnTo>
                      <a:pt x="1523" y="3588"/>
                    </a:lnTo>
                    <a:lnTo>
                      <a:pt x="1443" y="3617"/>
                    </a:lnTo>
                    <a:lnTo>
                      <a:pt x="1364" y="3639"/>
                    </a:lnTo>
                    <a:lnTo>
                      <a:pt x="1285" y="3656"/>
                    </a:lnTo>
                    <a:lnTo>
                      <a:pt x="1207" y="3667"/>
                    </a:lnTo>
                    <a:lnTo>
                      <a:pt x="1128" y="3673"/>
                    </a:lnTo>
                    <a:lnTo>
                      <a:pt x="1050" y="3673"/>
                    </a:lnTo>
                    <a:lnTo>
                      <a:pt x="973" y="3667"/>
                    </a:lnTo>
                    <a:lnTo>
                      <a:pt x="897" y="3657"/>
                    </a:lnTo>
                    <a:lnTo>
                      <a:pt x="823" y="3641"/>
                    </a:lnTo>
                    <a:lnTo>
                      <a:pt x="750" y="3619"/>
                    </a:lnTo>
                    <a:lnTo>
                      <a:pt x="679" y="3594"/>
                    </a:lnTo>
                    <a:lnTo>
                      <a:pt x="610" y="3562"/>
                    </a:lnTo>
                    <a:lnTo>
                      <a:pt x="543" y="3527"/>
                    </a:lnTo>
                    <a:lnTo>
                      <a:pt x="479" y="3485"/>
                    </a:lnTo>
                    <a:lnTo>
                      <a:pt x="417" y="3441"/>
                    </a:lnTo>
                    <a:lnTo>
                      <a:pt x="359" y="3391"/>
                    </a:lnTo>
                    <a:lnTo>
                      <a:pt x="305" y="3337"/>
                    </a:lnTo>
                    <a:lnTo>
                      <a:pt x="253" y="3279"/>
                    </a:lnTo>
                    <a:lnTo>
                      <a:pt x="205" y="3217"/>
                    </a:lnTo>
                    <a:lnTo>
                      <a:pt x="162" y="3150"/>
                    </a:lnTo>
                    <a:lnTo>
                      <a:pt x="122" y="3079"/>
                    </a:lnTo>
                    <a:lnTo>
                      <a:pt x="87" y="3005"/>
                    </a:lnTo>
                    <a:lnTo>
                      <a:pt x="57" y="2927"/>
                    </a:lnTo>
                    <a:lnTo>
                      <a:pt x="33" y="2852"/>
                    </a:lnTo>
                    <a:lnTo>
                      <a:pt x="17" y="2777"/>
                    </a:lnTo>
                    <a:lnTo>
                      <a:pt x="6" y="2700"/>
                    </a:lnTo>
                    <a:lnTo>
                      <a:pt x="0" y="2624"/>
                    </a:lnTo>
                    <a:lnTo>
                      <a:pt x="0" y="2548"/>
                    </a:lnTo>
                    <a:lnTo>
                      <a:pt x="6" y="2473"/>
                    </a:lnTo>
                    <a:lnTo>
                      <a:pt x="17" y="2397"/>
                    </a:lnTo>
                    <a:lnTo>
                      <a:pt x="32" y="2323"/>
                    </a:lnTo>
                    <a:lnTo>
                      <a:pt x="54" y="2250"/>
                    </a:lnTo>
                    <a:lnTo>
                      <a:pt x="79" y="2178"/>
                    </a:lnTo>
                    <a:lnTo>
                      <a:pt x="110" y="2109"/>
                    </a:lnTo>
                    <a:lnTo>
                      <a:pt x="145" y="2041"/>
                    </a:lnTo>
                    <a:lnTo>
                      <a:pt x="185" y="1976"/>
                    </a:lnTo>
                    <a:lnTo>
                      <a:pt x="230" y="1914"/>
                    </a:lnTo>
                    <a:lnTo>
                      <a:pt x="279" y="1855"/>
                    </a:lnTo>
                    <a:lnTo>
                      <a:pt x="331" y="1799"/>
                    </a:lnTo>
                    <a:lnTo>
                      <a:pt x="388" y="1748"/>
                    </a:lnTo>
                    <a:lnTo>
                      <a:pt x="450" y="1700"/>
                    </a:lnTo>
                    <a:lnTo>
                      <a:pt x="514" y="1655"/>
                    </a:lnTo>
                    <a:lnTo>
                      <a:pt x="582" y="1616"/>
                    </a:lnTo>
                    <a:lnTo>
                      <a:pt x="658" y="1580"/>
                    </a:lnTo>
                    <a:lnTo>
                      <a:pt x="735" y="1550"/>
                    </a:lnTo>
                    <a:lnTo>
                      <a:pt x="815" y="1526"/>
                    </a:lnTo>
                    <a:lnTo>
                      <a:pt x="897" y="1507"/>
                    </a:lnTo>
                    <a:lnTo>
                      <a:pt x="983" y="1494"/>
                    </a:lnTo>
                    <a:lnTo>
                      <a:pt x="983" y="0"/>
                    </a:lnTo>
                    <a:close/>
                  </a:path>
                </a:pathLst>
              </a:custGeom>
              <a:solidFill>
                <a:schemeClr val="bg1">
                  <a:alpha val="22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sp>
            <p:nvSpPr>
              <p:cNvPr id="64" name="Freeform 63"/>
              <p:cNvSpPr>
                <a:spLocks/>
              </p:cNvSpPr>
              <p:nvPr/>
            </p:nvSpPr>
            <p:spPr bwMode="auto">
              <a:xfrm>
                <a:off x="-3602038" y="2185988"/>
                <a:ext cx="1951038" cy="1366838"/>
              </a:xfrm>
              <a:custGeom>
                <a:avLst/>
                <a:gdLst>
                  <a:gd name="T0" fmla="*/ 1115 w 1229"/>
                  <a:gd name="T1" fmla="*/ 0 h 861"/>
                  <a:gd name="T2" fmla="*/ 1136 w 1229"/>
                  <a:gd name="T3" fmla="*/ 0 h 861"/>
                  <a:gd name="T4" fmla="*/ 1156 w 1229"/>
                  <a:gd name="T5" fmla="*/ 6 h 861"/>
                  <a:gd name="T6" fmla="*/ 1173 w 1229"/>
                  <a:gd name="T7" fmla="*/ 15 h 861"/>
                  <a:gd name="T8" fmla="*/ 1190 w 1229"/>
                  <a:gd name="T9" fmla="*/ 28 h 861"/>
                  <a:gd name="T10" fmla="*/ 1206 w 1229"/>
                  <a:gd name="T11" fmla="*/ 46 h 861"/>
                  <a:gd name="T12" fmla="*/ 1219 w 1229"/>
                  <a:gd name="T13" fmla="*/ 68 h 861"/>
                  <a:gd name="T14" fmla="*/ 1227 w 1229"/>
                  <a:gd name="T15" fmla="*/ 92 h 861"/>
                  <a:gd name="T16" fmla="*/ 1229 w 1229"/>
                  <a:gd name="T17" fmla="*/ 116 h 861"/>
                  <a:gd name="T18" fmla="*/ 1225 w 1229"/>
                  <a:gd name="T19" fmla="*/ 141 h 861"/>
                  <a:gd name="T20" fmla="*/ 1214 w 1229"/>
                  <a:gd name="T21" fmla="*/ 165 h 861"/>
                  <a:gd name="T22" fmla="*/ 1199 w 1229"/>
                  <a:gd name="T23" fmla="*/ 186 h 861"/>
                  <a:gd name="T24" fmla="*/ 1181 w 1229"/>
                  <a:gd name="T25" fmla="*/ 205 h 861"/>
                  <a:gd name="T26" fmla="*/ 577 w 1229"/>
                  <a:gd name="T27" fmla="*/ 811 h 861"/>
                  <a:gd name="T28" fmla="*/ 552 w 1229"/>
                  <a:gd name="T29" fmla="*/ 833 h 861"/>
                  <a:gd name="T30" fmla="*/ 528 w 1229"/>
                  <a:gd name="T31" fmla="*/ 849 h 861"/>
                  <a:gd name="T32" fmla="*/ 503 w 1229"/>
                  <a:gd name="T33" fmla="*/ 858 h 861"/>
                  <a:gd name="T34" fmla="*/ 480 w 1229"/>
                  <a:gd name="T35" fmla="*/ 861 h 861"/>
                  <a:gd name="T36" fmla="*/ 456 w 1229"/>
                  <a:gd name="T37" fmla="*/ 859 h 861"/>
                  <a:gd name="T38" fmla="*/ 433 w 1229"/>
                  <a:gd name="T39" fmla="*/ 849 h 861"/>
                  <a:gd name="T40" fmla="*/ 408 w 1229"/>
                  <a:gd name="T41" fmla="*/ 833 h 861"/>
                  <a:gd name="T42" fmla="*/ 384 w 1229"/>
                  <a:gd name="T43" fmla="*/ 812 h 861"/>
                  <a:gd name="T44" fmla="*/ 41 w 1229"/>
                  <a:gd name="T45" fmla="*/ 470 h 861"/>
                  <a:gd name="T46" fmla="*/ 22 w 1229"/>
                  <a:gd name="T47" fmla="*/ 446 h 861"/>
                  <a:gd name="T48" fmla="*/ 9 w 1229"/>
                  <a:gd name="T49" fmla="*/ 423 h 861"/>
                  <a:gd name="T50" fmla="*/ 2 w 1229"/>
                  <a:gd name="T51" fmla="*/ 397 h 861"/>
                  <a:gd name="T52" fmla="*/ 0 w 1229"/>
                  <a:gd name="T53" fmla="*/ 372 h 861"/>
                  <a:gd name="T54" fmla="*/ 6 w 1229"/>
                  <a:gd name="T55" fmla="*/ 347 h 861"/>
                  <a:gd name="T56" fmla="*/ 16 w 1229"/>
                  <a:gd name="T57" fmla="*/ 324 h 861"/>
                  <a:gd name="T58" fmla="*/ 32 w 1229"/>
                  <a:gd name="T59" fmla="*/ 302 h 861"/>
                  <a:gd name="T60" fmla="*/ 54 w 1229"/>
                  <a:gd name="T61" fmla="*/ 286 h 861"/>
                  <a:gd name="T62" fmla="*/ 76 w 1229"/>
                  <a:gd name="T63" fmla="*/ 275 h 861"/>
                  <a:gd name="T64" fmla="*/ 102 w 1229"/>
                  <a:gd name="T65" fmla="*/ 269 h 861"/>
                  <a:gd name="T66" fmla="*/ 126 w 1229"/>
                  <a:gd name="T67" fmla="*/ 270 h 861"/>
                  <a:gd name="T68" fmla="*/ 152 w 1229"/>
                  <a:gd name="T69" fmla="*/ 277 h 861"/>
                  <a:gd name="T70" fmla="*/ 176 w 1229"/>
                  <a:gd name="T71" fmla="*/ 290 h 861"/>
                  <a:gd name="T72" fmla="*/ 200 w 1229"/>
                  <a:gd name="T73" fmla="*/ 309 h 861"/>
                  <a:gd name="T74" fmla="*/ 291 w 1229"/>
                  <a:gd name="T75" fmla="*/ 402 h 861"/>
                  <a:gd name="T76" fmla="*/ 384 w 1229"/>
                  <a:gd name="T77" fmla="*/ 495 h 861"/>
                  <a:gd name="T78" fmla="*/ 479 w 1229"/>
                  <a:gd name="T79" fmla="*/ 591 h 861"/>
                  <a:gd name="T80" fmla="*/ 660 w 1229"/>
                  <a:gd name="T81" fmla="*/ 409 h 861"/>
                  <a:gd name="T82" fmla="*/ 839 w 1229"/>
                  <a:gd name="T83" fmla="*/ 230 h 861"/>
                  <a:gd name="T84" fmla="*/ 1017 w 1229"/>
                  <a:gd name="T85" fmla="*/ 53 h 861"/>
                  <a:gd name="T86" fmla="*/ 1041 w 1229"/>
                  <a:gd name="T87" fmla="*/ 32 h 861"/>
                  <a:gd name="T88" fmla="*/ 1066 w 1229"/>
                  <a:gd name="T89" fmla="*/ 16 h 861"/>
                  <a:gd name="T90" fmla="*/ 1093 w 1229"/>
                  <a:gd name="T91" fmla="*/ 5 h 861"/>
                  <a:gd name="T92" fmla="*/ 1115 w 1229"/>
                  <a:gd name="T93" fmla="*/ 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29" h="861">
                    <a:moveTo>
                      <a:pt x="1115" y="0"/>
                    </a:moveTo>
                    <a:lnTo>
                      <a:pt x="1136" y="0"/>
                    </a:lnTo>
                    <a:lnTo>
                      <a:pt x="1156" y="6"/>
                    </a:lnTo>
                    <a:lnTo>
                      <a:pt x="1173" y="15"/>
                    </a:lnTo>
                    <a:lnTo>
                      <a:pt x="1190" y="28"/>
                    </a:lnTo>
                    <a:lnTo>
                      <a:pt x="1206" y="46"/>
                    </a:lnTo>
                    <a:lnTo>
                      <a:pt x="1219" y="68"/>
                    </a:lnTo>
                    <a:lnTo>
                      <a:pt x="1227" y="92"/>
                    </a:lnTo>
                    <a:lnTo>
                      <a:pt x="1229" y="116"/>
                    </a:lnTo>
                    <a:lnTo>
                      <a:pt x="1225" y="141"/>
                    </a:lnTo>
                    <a:lnTo>
                      <a:pt x="1214" y="165"/>
                    </a:lnTo>
                    <a:lnTo>
                      <a:pt x="1199" y="186"/>
                    </a:lnTo>
                    <a:lnTo>
                      <a:pt x="1181" y="205"/>
                    </a:lnTo>
                    <a:lnTo>
                      <a:pt x="577" y="811"/>
                    </a:lnTo>
                    <a:lnTo>
                      <a:pt x="552" y="833"/>
                    </a:lnTo>
                    <a:lnTo>
                      <a:pt x="528" y="849"/>
                    </a:lnTo>
                    <a:lnTo>
                      <a:pt x="503" y="858"/>
                    </a:lnTo>
                    <a:lnTo>
                      <a:pt x="480" y="861"/>
                    </a:lnTo>
                    <a:lnTo>
                      <a:pt x="456" y="859"/>
                    </a:lnTo>
                    <a:lnTo>
                      <a:pt x="433" y="849"/>
                    </a:lnTo>
                    <a:lnTo>
                      <a:pt x="408" y="833"/>
                    </a:lnTo>
                    <a:lnTo>
                      <a:pt x="384" y="812"/>
                    </a:lnTo>
                    <a:lnTo>
                      <a:pt x="41" y="470"/>
                    </a:lnTo>
                    <a:lnTo>
                      <a:pt x="22" y="446"/>
                    </a:lnTo>
                    <a:lnTo>
                      <a:pt x="9" y="423"/>
                    </a:lnTo>
                    <a:lnTo>
                      <a:pt x="2" y="397"/>
                    </a:lnTo>
                    <a:lnTo>
                      <a:pt x="0" y="372"/>
                    </a:lnTo>
                    <a:lnTo>
                      <a:pt x="6" y="347"/>
                    </a:lnTo>
                    <a:lnTo>
                      <a:pt x="16" y="324"/>
                    </a:lnTo>
                    <a:lnTo>
                      <a:pt x="32" y="302"/>
                    </a:lnTo>
                    <a:lnTo>
                      <a:pt x="54" y="286"/>
                    </a:lnTo>
                    <a:lnTo>
                      <a:pt x="76" y="275"/>
                    </a:lnTo>
                    <a:lnTo>
                      <a:pt x="102" y="269"/>
                    </a:lnTo>
                    <a:lnTo>
                      <a:pt x="126" y="270"/>
                    </a:lnTo>
                    <a:lnTo>
                      <a:pt x="152" y="277"/>
                    </a:lnTo>
                    <a:lnTo>
                      <a:pt x="176" y="290"/>
                    </a:lnTo>
                    <a:lnTo>
                      <a:pt x="200" y="309"/>
                    </a:lnTo>
                    <a:lnTo>
                      <a:pt x="291" y="402"/>
                    </a:lnTo>
                    <a:lnTo>
                      <a:pt x="384" y="495"/>
                    </a:lnTo>
                    <a:lnTo>
                      <a:pt x="479" y="591"/>
                    </a:lnTo>
                    <a:lnTo>
                      <a:pt x="660" y="409"/>
                    </a:lnTo>
                    <a:lnTo>
                      <a:pt x="839" y="230"/>
                    </a:lnTo>
                    <a:lnTo>
                      <a:pt x="1017" y="53"/>
                    </a:lnTo>
                    <a:lnTo>
                      <a:pt x="1041" y="32"/>
                    </a:lnTo>
                    <a:lnTo>
                      <a:pt x="1066" y="16"/>
                    </a:lnTo>
                    <a:lnTo>
                      <a:pt x="1093" y="5"/>
                    </a:lnTo>
                    <a:lnTo>
                      <a:pt x="1115" y="0"/>
                    </a:lnTo>
                    <a:close/>
                  </a:path>
                </a:pathLst>
              </a:custGeom>
              <a:solidFill>
                <a:schemeClr val="bg1">
                  <a:alpha val="22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grpSp>
        <p:pic>
          <p:nvPicPr>
            <p:cNvPr id="7" name="Picture 6"/>
            <p:cNvPicPr>
              <a:picLocks noChangeAspect="1"/>
            </p:cNvPicPr>
            <p:nvPr/>
          </p:nvPicPr>
          <p:blipFill rotWithShape="1">
            <a:blip r:embed="rId10"/>
            <a:srcRect l="17087" r="13892"/>
            <a:stretch/>
          </p:blipFill>
          <p:spPr>
            <a:xfrm>
              <a:off x="9077083" y="2215397"/>
              <a:ext cx="2779955" cy="2286000"/>
            </a:xfrm>
            <a:prstGeom prst="rect">
              <a:avLst/>
            </a:prstGeom>
            <a:noFill/>
            <a:ln>
              <a:noFill/>
            </a:ln>
          </p:spPr>
        </p:pic>
      </p:grpSp>
      <p:sp>
        <p:nvSpPr>
          <p:cNvPr id="26" name="Rectangle 25"/>
          <p:cNvSpPr/>
          <p:nvPr/>
        </p:nvSpPr>
        <p:spPr bwMode="auto">
          <a:xfrm>
            <a:off x="0" y="4593307"/>
            <a:ext cx="12405888" cy="240121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90" name="Group 189"/>
          <p:cNvGrpSpPr/>
          <p:nvPr/>
        </p:nvGrpSpPr>
        <p:grpSpPr>
          <a:xfrm>
            <a:off x="0" y="5734726"/>
            <a:ext cx="12416880" cy="1259799"/>
            <a:chOff x="0" y="5734726"/>
            <a:chExt cx="12416880" cy="1259799"/>
          </a:xfrm>
        </p:grpSpPr>
        <p:sp>
          <p:nvSpPr>
            <p:cNvPr id="191" name="Freeform 45"/>
            <p:cNvSpPr>
              <a:spLocks/>
            </p:cNvSpPr>
            <p:nvPr/>
          </p:nvSpPr>
          <p:spPr bwMode="auto">
            <a:xfrm flipH="1">
              <a:off x="1095979" y="5734726"/>
              <a:ext cx="474376" cy="311150"/>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92" name="Freeform 44"/>
            <p:cNvSpPr>
              <a:spLocks/>
            </p:cNvSpPr>
            <p:nvPr/>
          </p:nvSpPr>
          <p:spPr bwMode="auto">
            <a:xfrm flipH="1">
              <a:off x="1647662" y="609457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3" name="Freeform 45"/>
            <p:cNvSpPr>
              <a:spLocks/>
            </p:cNvSpPr>
            <p:nvPr/>
          </p:nvSpPr>
          <p:spPr bwMode="auto">
            <a:xfrm flipH="1">
              <a:off x="2609452" y="6255951"/>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4" name="Freeform 46"/>
            <p:cNvSpPr>
              <a:spLocks/>
            </p:cNvSpPr>
            <p:nvPr/>
          </p:nvSpPr>
          <p:spPr bwMode="auto">
            <a:xfrm flipH="1">
              <a:off x="1969924" y="6140614"/>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5"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fld id="{27258FFF-F925-446B-8502-81C933981705}" type="slidenum">
                <a:rPr lang="en-US" smtClean="0"/>
                <a:pPr/>
                <a:t>7</a:t>
              </a:fld>
              <a:endParaRPr lang="en-US" dirty="0"/>
            </a:p>
          </p:txBody>
        </p:sp>
        <p:sp>
          <p:nvSpPr>
            <p:cNvPr id="196" name="Freeform 71"/>
            <p:cNvSpPr>
              <a:spLocks/>
            </p:cNvSpPr>
            <p:nvPr/>
          </p:nvSpPr>
          <p:spPr bwMode="auto">
            <a:xfrm flipH="1">
              <a:off x="113339" y="6356143"/>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7" name="Freeform 79"/>
            <p:cNvSpPr>
              <a:spLocks/>
            </p:cNvSpPr>
            <p:nvPr/>
          </p:nvSpPr>
          <p:spPr bwMode="auto">
            <a:xfrm flipH="1">
              <a:off x="248029" y="6588018"/>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98" name="Group 197"/>
            <p:cNvGrpSpPr/>
            <p:nvPr/>
          </p:nvGrpSpPr>
          <p:grpSpPr>
            <a:xfrm flipH="1">
              <a:off x="113339" y="6000383"/>
              <a:ext cx="904197" cy="802578"/>
              <a:chOff x="9582683" y="5173179"/>
              <a:chExt cx="2324421" cy="1861424"/>
            </a:xfrm>
          </p:grpSpPr>
          <p:sp>
            <p:nvSpPr>
              <p:cNvPr id="201" name="Freeform 200"/>
              <p:cNvSpPr>
                <a:spLocks/>
              </p:cNvSpPr>
              <p:nvPr/>
            </p:nvSpPr>
            <p:spPr bwMode="auto">
              <a:xfrm>
                <a:off x="10249633" y="5572894"/>
                <a:ext cx="1181514" cy="1461709"/>
              </a:xfrm>
              <a:custGeom>
                <a:avLst/>
                <a:gdLst>
                  <a:gd name="connsiteX0" fmla="*/ 0 w 1181514"/>
                  <a:gd name="connsiteY0" fmla="*/ 0 h 1585621"/>
                  <a:gd name="connsiteX1" fmla="*/ 1181514 w 1181514"/>
                  <a:gd name="connsiteY1" fmla="*/ 0 h 1585621"/>
                  <a:gd name="connsiteX2" fmla="*/ 1181514 w 1181514"/>
                  <a:gd name="connsiteY2" fmla="*/ 72122 h 1585621"/>
                  <a:gd name="connsiteX3" fmla="*/ 1128610 w 1181514"/>
                  <a:gd name="connsiteY3" fmla="*/ 72122 h 1585621"/>
                  <a:gd name="connsiteX4" fmla="*/ 1128610 w 1181514"/>
                  <a:gd name="connsiteY4" fmla="*/ 1585621 h 1585621"/>
                  <a:gd name="connsiteX5" fmla="*/ 54863 w 1181514"/>
                  <a:gd name="connsiteY5" fmla="*/ 1585621 h 1585621"/>
                  <a:gd name="connsiteX6" fmla="*/ 54863 w 1181514"/>
                  <a:gd name="connsiteY6" fmla="*/ 72122 h 1585621"/>
                  <a:gd name="connsiteX7" fmla="*/ 0 w 1181514"/>
                  <a:gd name="connsiteY7" fmla="*/ 72122 h 158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514" h="1585621">
                    <a:moveTo>
                      <a:pt x="0" y="0"/>
                    </a:moveTo>
                    <a:lnTo>
                      <a:pt x="1181514" y="0"/>
                    </a:lnTo>
                    <a:lnTo>
                      <a:pt x="1181514" y="72122"/>
                    </a:lnTo>
                    <a:lnTo>
                      <a:pt x="1128610" y="72122"/>
                    </a:lnTo>
                    <a:lnTo>
                      <a:pt x="1128610" y="1585621"/>
                    </a:lnTo>
                    <a:lnTo>
                      <a:pt x="54863" y="1585621"/>
                    </a:lnTo>
                    <a:lnTo>
                      <a:pt x="54863" y="72122"/>
                    </a:lnTo>
                    <a:lnTo>
                      <a:pt x="0" y="72122"/>
                    </a:lnTo>
                    <a:close/>
                  </a:path>
                </a:pathLst>
              </a:custGeom>
              <a:solidFill>
                <a:srgbClr val="FFFFFF">
                  <a:lumMod val="65000"/>
                </a:srgb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2" name="Freeform 201"/>
              <p:cNvSpPr>
                <a:spLocks/>
              </p:cNvSpPr>
              <p:nvPr/>
            </p:nvSpPr>
            <p:spPr bwMode="auto">
              <a:xfrm>
                <a:off x="10725590" y="6041188"/>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3" name="Freeform 202"/>
              <p:cNvSpPr>
                <a:spLocks/>
              </p:cNvSpPr>
              <p:nvPr/>
            </p:nvSpPr>
            <p:spPr bwMode="auto">
              <a:xfrm>
                <a:off x="9582683" y="5572896"/>
                <a:ext cx="1181514" cy="1461706"/>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4" name="Rectangle 203"/>
              <p:cNvSpPr>
                <a:spLocks noChangeArrowheads="1"/>
              </p:cNvSpPr>
              <p:nvPr/>
            </p:nvSpPr>
            <p:spPr bwMode="auto">
              <a:xfrm>
                <a:off x="10002973" y="5212367"/>
                <a:ext cx="1073746" cy="182223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5" name="Rectangle 204"/>
              <p:cNvSpPr>
                <a:spLocks noChangeArrowheads="1"/>
              </p:cNvSpPr>
              <p:nvPr/>
            </p:nvSpPr>
            <p:spPr bwMode="auto">
              <a:xfrm>
                <a:off x="9948110" y="5173179"/>
                <a:ext cx="1181514" cy="39188"/>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6" name="Rectangle 205"/>
              <p:cNvSpPr>
                <a:spLocks noChangeArrowheads="1"/>
              </p:cNvSpPr>
              <p:nvPr/>
            </p:nvSpPr>
            <p:spPr bwMode="auto">
              <a:xfrm>
                <a:off x="10592750" y="6762245"/>
                <a:ext cx="141077"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7" name="Rectangle 206"/>
              <p:cNvSpPr>
                <a:spLocks noChangeArrowheads="1"/>
              </p:cNvSpPr>
              <p:nvPr/>
            </p:nvSpPr>
            <p:spPr bwMode="auto">
              <a:xfrm>
                <a:off x="10349786" y="6762245"/>
                <a:ext cx="139116" cy="272356"/>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8" name="Rectangle 207"/>
              <p:cNvSpPr>
                <a:spLocks noChangeArrowheads="1"/>
              </p:cNvSpPr>
              <p:nvPr/>
            </p:nvSpPr>
            <p:spPr bwMode="auto">
              <a:xfrm>
                <a:off x="10106821" y="581389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9" name="Rectangle 208"/>
              <p:cNvSpPr>
                <a:spLocks noChangeArrowheads="1"/>
              </p:cNvSpPr>
              <p:nvPr/>
            </p:nvSpPr>
            <p:spPr bwMode="auto">
              <a:xfrm>
                <a:off x="10106821" y="6054905"/>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0" name="Rectangle 209"/>
              <p:cNvSpPr>
                <a:spLocks noChangeArrowheads="1"/>
              </p:cNvSpPr>
              <p:nvPr/>
            </p:nvSpPr>
            <p:spPr bwMode="auto">
              <a:xfrm>
                <a:off x="10106821" y="6295910"/>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1" name="Rectangle 210"/>
              <p:cNvSpPr>
                <a:spLocks noChangeArrowheads="1"/>
              </p:cNvSpPr>
              <p:nvPr/>
            </p:nvSpPr>
            <p:spPr bwMode="auto">
              <a:xfrm>
                <a:off x="10106821" y="6536916"/>
                <a:ext cx="868010" cy="14107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2" name="Rectangle 211"/>
              <p:cNvSpPr>
                <a:spLocks noChangeArrowheads="1"/>
              </p:cNvSpPr>
              <p:nvPr/>
            </p:nvSpPr>
            <p:spPr bwMode="auto">
              <a:xfrm>
                <a:off x="10106821" y="5331889"/>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3" name="Rectangle 212"/>
              <p:cNvSpPr>
                <a:spLocks noChangeArrowheads="1"/>
              </p:cNvSpPr>
              <p:nvPr/>
            </p:nvSpPr>
            <p:spPr bwMode="auto">
              <a:xfrm>
                <a:off x="10106821" y="5572895"/>
                <a:ext cx="868010" cy="139117"/>
              </a:xfrm>
              <a:prstGeom prst="rect">
                <a:avLst/>
              </a:prstGeom>
              <a:solidFill>
                <a:srgbClr val="00BEA7"/>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93231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99"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 name="Rectangle 111791"/>
            <p:cNvSpPr/>
            <p:nvPr/>
          </p:nvSpPr>
          <p:spPr bwMode="auto">
            <a:xfrm flipH="1">
              <a:off x="0" y="6796087"/>
              <a:ext cx="12416880"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grpSp>
      <p:sp>
        <p:nvSpPr>
          <p:cNvPr id="9" name="Slide Number Placeholder 8"/>
          <p:cNvSpPr>
            <a:spLocks noGrp="1"/>
          </p:cNvSpPr>
          <p:nvPr>
            <p:ph type="sldNum" sz="quarter" idx="11"/>
          </p:nvPr>
        </p:nvSpPr>
        <p:spPr/>
        <p:txBody>
          <a:bodyPr/>
          <a:lstStyle/>
          <a:p>
            <a:fld id="{27258FFF-F925-446B-8502-81C933981705}" type="slidenum">
              <a:rPr lang="en-US" smtClean="0"/>
              <a:pPr/>
              <a:t>7</a:t>
            </a:fld>
            <a:endParaRPr lang="en-US" dirty="0"/>
          </a:p>
        </p:txBody>
      </p:sp>
    </p:spTree>
    <p:extLst>
      <p:ext uri="{BB962C8B-B14F-4D97-AF65-F5344CB8AC3E}">
        <p14:creationId xmlns:p14="http://schemas.microsoft.com/office/powerpoint/2010/main" val="365665390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ppt_x"/>
                                          </p:val>
                                        </p:tav>
                                        <p:tav tm="100000">
                                          <p:val>
                                            <p:strVal val="#ppt_x"/>
                                          </p:val>
                                        </p:tav>
                                      </p:tavLst>
                                    </p:anim>
                                    <p:anim calcmode="lin" valueType="num">
                                      <p:cBhvr additive="base">
                                        <p:cTn id="8" dur="75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ppt_x"/>
                                          </p:val>
                                        </p:tav>
                                        <p:tav tm="100000">
                                          <p:val>
                                            <p:strVal val="#ppt_x"/>
                                          </p:val>
                                        </p:tav>
                                      </p:tavLst>
                                    </p:anim>
                                    <p:anim calcmode="lin" valueType="num">
                                      <p:cBhvr additive="base">
                                        <p:cTn id="12" dur="750" fill="hold"/>
                                        <p:tgtEl>
                                          <p:spTgt spid="11"/>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750" fill="hold"/>
                                        <p:tgtEl>
                                          <p:spTgt spid="12"/>
                                        </p:tgtEl>
                                        <p:attrNameLst>
                                          <p:attrName>ppt_x</p:attrName>
                                        </p:attrNameLst>
                                      </p:cBhvr>
                                      <p:tavLst>
                                        <p:tav tm="0">
                                          <p:val>
                                            <p:strVal val="#ppt_x"/>
                                          </p:val>
                                        </p:tav>
                                        <p:tav tm="100000">
                                          <p:val>
                                            <p:strVal val="#ppt_x"/>
                                          </p:val>
                                        </p:tav>
                                      </p:tavLst>
                                    </p:anim>
                                    <p:anim calcmode="lin" valueType="num">
                                      <p:cBhvr additive="base">
                                        <p:cTn id="16" dur="750" fill="hold"/>
                                        <p:tgtEl>
                                          <p:spTgt spid="12"/>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75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750" fill="hold"/>
                                        <p:tgtEl>
                                          <p:spTgt spid="13"/>
                                        </p:tgtEl>
                                        <p:attrNameLst>
                                          <p:attrName>ppt_x</p:attrName>
                                        </p:attrNameLst>
                                      </p:cBhvr>
                                      <p:tavLst>
                                        <p:tav tm="0">
                                          <p:val>
                                            <p:strVal val="#ppt_x"/>
                                          </p:val>
                                        </p:tav>
                                        <p:tav tm="100000">
                                          <p:val>
                                            <p:strVal val="#ppt_x"/>
                                          </p:val>
                                        </p:tav>
                                      </p:tavLst>
                                    </p:anim>
                                    <p:anim calcmode="lin" valueType="num">
                                      <p:cBhvr additive="base">
                                        <p:cTn id="20" dur="750" fill="hold"/>
                                        <p:tgtEl>
                                          <p:spTgt spid="13"/>
                                        </p:tgtEl>
                                        <p:attrNameLst>
                                          <p:attrName>ppt_y</p:attrName>
                                        </p:attrNameLst>
                                      </p:cBhvr>
                                      <p:tavLst>
                                        <p:tav tm="0">
                                          <p:val>
                                            <p:strVal val="1+#ppt_h/2"/>
                                          </p:val>
                                        </p:tav>
                                        <p:tav tm="100000">
                                          <p:val>
                                            <p:strVal val="#ppt_y"/>
                                          </p:val>
                                        </p:tav>
                                      </p:tavLst>
                                    </p:anim>
                                  </p:childTnLst>
                                </p:cTn>
                              </p:par>
                            </p:childTnLst>
                          </p:cTn>
                        </p:par>
                        <p:par>
                          <p:cTn id="21" fill="hold">
                            <p:stCondLst>
                              <p:cond delay="1500"/>
                            </p:stCondLst>
                            <p:childTnLst>
                              <p:par>
                                <p:cTn id="22" presetID="2" presetClass="entr" presetSubtype="4" decel="100000" fill="hold" nodeType="afterEffect">
                                  <p:stCondLst>
                                    <p:cond delay="0"/>
                                  </p:stCondLst>
                                  <p:childTnLst>
                                    <p:set>
                                      <p:cBhvr>
                                        <p:cTn id="23" dur="1" fill="hold">
                                          <p:stCondLst>
                                            <p:cond delay="0"/>
                                          </p:stCondLst>
                                        </p:cTn>
                                        <p:tgtEl>
                                          <p:spTgt spid="190"/>
                                        </p:tgtEl>
                                        <p:attrNameLst>
                                          <p:attrName>style.visibility</p:attrName>
                                        </p:attrNameLst>
                                      </p:cBhvr>
                                      <p:to>
                                        <p:strVal val="visible"/>
                                      </p:to>
                                    </p:set>
                                    <p:anim calcmode="lin" valueType="num">
                                      <p:cBhvr additive="base">
                                        <p:cTn id="24" dur="750" fill="hold"/>
                                        <p:tgtEl>
                                          <p:spTgt spid="190"/>
                                        </p:tgtEl>
                                        <p:attrNameLst>
                                          <p:attrName>ppt_x</p:attrName>
                                        </p:attrNameLst>
                                      </p:cBhvr>
                                      <p:tavLst>
                                        <p:tav tm="0">
                                          <p:val>
                                            <p:strVal val="#ppt_x"/>
                                          </p:val>
                                        </p:tav>
                                        <p:tav tm="100000">
                                          <p:val>
                                            <p:strVal val="#ppt_x"/>
                                          </p:val>
                                        </p:tav>
                                      </p:tavLst>
                                    </p:anim>
                                    <p:anim calcmode="lin" valueType="num">
                                      <p:cBhvr additive="base">
                                        <p:cTn id="25" dur="750" fill="hold"/>
                                        <p:tgtEl>
                                          <p:spTgt spid="19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186"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Azure Security</a:t>
            </a:r>
            <a:endParaRPr lang="en-US" dirty="0"/>
          </a:p>
        </p:txBody>
      </p:sp>
      <p:grpSp>
        <p:nvGrpSpPr>
          <p:cNvPr id="25" name="Group 24"/>
          <p:cNvGrpSpPr/>
          <p:nvPr/>
        </p:nvGrpSpPr>
        <p:grpSpPr>
          <a:xfrm>
            <a:off x="11070579" y="297389"/>
            <a:ext cx="932340" cy="913874"/>
            <a:chOff x="11070579" y="297389"/>
            <a:chExt cx="932340" cy="913874"/>
          </a:xfrm>
        </p:grpSpPr>
        <p:sp>
          <p:nvSpPr>
            <p:cNvPr id="37" name="Rectangle 36"/>
            <p:cNvSpPr/>
            <p:nvPr/>
          </p:nvSpPr>
          <p:spPr bwMode="auto">
            <a:xfrm>
              <a:off x="11070579" y="297389"/>
              <a:ext cx="932340" cy="913874"/>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p>
              <a:pPr algn="l" defTabSz="932563" fontAlgn="auto">
                <a:spcAft>
                  <a:spcPts val="587"/>
                </a:spcAft>
              </a:pPr>
              <a:endParaRPr lang="en-US" sz="2200" dirty="0">
                <a:solidFill>
                  <a:schemeClr val="bg1"/>
                </a:solidFill>
                <a:latin typeface="+mj-lt"/>
                <a:cs typeface="Segoe UI Semibold" panose="020B0702040204020203" pitchFamily="34" charset="0"/>
              </a:endParaRPr>
            </a:p>
          </p:txBody>
        </p:sp>
        <p:sp>
          <p:nvSpPr>
            <p:cNvPr id="38" name="Rectangle 37"/>
            <p:cNvSpPr/>
            <p:nvPr/>
          </p:nvSpPr>
          <p:spPr>
            <a:xfrm>
              <a:off x="11070579" y="1137623"/>
              <a:ext cx="932340" cy="73640"/>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sp>
          <p:nvSpPr>
            <p:cNvPr id="39" name="Freeform 9"/>
            <p:cNvSpPr>
              <a:spLocks noChangeAspect="1" noEditPoints="1"/>
            </p:cNvSpPr>
            <p:nvPr/>
          </p:nvSpPr>
          <p:spPr bwMode="auto">
            <a:xfrm>
              <a:off x="11322361" y="474097"/>
              <a:ext cx="428777" cy="560458"/>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alpha val="22000"/>
              </a:schemeClr>
            </a:solidFill>
            <a:ln w="0">
              <a:no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grpSp>
      <p:grpSp>
        <p:nvGrpSpPr>
          <p:cNvPr id="4" name="Group 3"/>
          <p:cNvGrpSpPr/>
          <p:nvPr/>
        </p:nvGrpSpPr>
        <p:grpSpPr>
          <a:xfrm>
            <a:off x="-2" y="1430526"/>
            <a:ext cx="12436477" cy="4572004"/>
            <a:chOff x="-2" y="1430526"/>
            <a:chExt cx="12436477" cy="4572004"/>
          </a:xfrm>
        </p:grpSpPr>
        <p:pic>
          <p:nvPicPr>
            <p:cNvPr id="24" name="Picture 2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 y="1430526"/>
              <a:ext cx="6844313" cy="4572001"/>
            </a:xfrm>
            <a:prstGeom prst="rect">
              <a:avLst/>
            </a:prstGeom>
          </p:spPr>
        </p:pic>
        <p:grpSp>
          <p:nvGrpSpPr>
            <p:cNvPr id="6" name="Group 5"/>
            <p:cNvGrpSpPr/>
            <p:nvPr/>
          </p:nvGrpSpPr>
          <p:grpSpPr>
            <a:xfrm>
              <a:off x="2959264" y="1430529"/>
              <a:ext cx="9477211" cy="4572001"/>
              <a:chOff x="2959264" y="1430529"/>
              <a:chExt cx="9477211" cy="4572001"/>
            </a:xfrm>
          </p:grpSpPr>
          <p:sp>
            <p:nvSpPr>
              <p:cNvPr id="14" name="Rectangle 13"/>
              <p:cNvSpPr/>
              <p:nvPr/>
            </p:nvSpPr>
            <p:spPr>
              <a:xfrm>
                <a:off x="8942119" y="1430529"/>
                <a:ext cx="3494356" cy="4572001"/>
              </a:xfrm>
              <a:prstGeom prst="rect">
                <a:avLst/>
              </a:prstGeom>
              <a:solidFill>
                <a:schemeClr val="accent1"/>
              </a:solidFill>
            </p:spPr>
            <p:txBody>
              <a:bodyPr wrap="square" rtlCol="0" anchor="ctr">
                <a:noAutofit/>
              </a:bodyPr>
              <a:lstStyle/>
              <a:p>
                <a:pPr algn="l"/>
                <a:endParaRPr lang="en-US" sz="2000" dirty="0">
                  <a:solidFill>
                    <a:srgbClr val="FFFFFF"/>
                  </a:solidFill>
                  <a:cs typeface="Segoe UI Light"/>
                </a:endParaRPr>
              </a:p>
            </p:txBody>
          </p:sp>
          <p:sp>
            <p:nvSpPr>
              <p:cNvPr id="15" name="Rectangle 14"/>
              <p:cNvSpPr/>
              <p:nvPr/>
            </p:nvSpPr>
            <p:spPr>
              <a:xfrm>
                <a:off x="3213401" y="1430530"/>
                <a:ext cx="6049356" cy="4572000"/>
              </a:xfrm>
              <a:custGeom>
                <a:avLst/>
                <a:gdLst/>
                <a:ahLst/>
                <a:cxnLst/>
                <a:rect l="l" t="t" r="r" b="b"/>
                <a:pathLst>
                  <a:path w="5537559" h="5549541">
                    <a:moveTo>
                      <a:pt x="0" y="0"/>
                    </a:moveTo>
                    <a:lnTo>
                      <a:pt x="5537559" y="0"/>
                    </a:lnTo>
                    <a:lnTo>
                      <a:pt x="5537559" y="5549541"/>
                    </a:lnTo>
                    <a:lnTo>
                      <a:pt x="0" y="5549541"/>
                    </a:lnTo>
                    <a:cubicBezTo>
                      <a:pt x="415349" y="4831645"/>
                      <a:pt x="669836" y="3853086"/>
                      <a:pt x="669836" y="2774771"/>
                    </a:cubicBezTo>
                    <a:cubicBezTo>
                      <a:pt x="669836" y="1696455"/>
                      <a:pt x="415349" y="717896"/>
                      <a:pt x="0" y="0"/>
                    </a:cubicBezTo>
                    <a:close/>
                  </a:path>
                </a:pathLst>
              </a:custGeom>
              <a:solidFill>
                <a:schemeClr val="accent1"/>
              </a:solidFill>
            </p:spPr>
            <p:txBody>
              <a:bodyPr wrap="square" rtlCol="0" anchor="ctr">
                <a:noAutofit/>
              </a:bodyPr>
              <a:lstStyle/>
              <a:p>
                <a:pPr algn="l"/>
                <a:endParaRPr lang="en-US" sz="2000" dirty="0">
                  <a:solidFill>
                    <a:srgbClr val="FFFFFF"/>
                  </a:solidFill>
                  <a:cs typeface="Segoe UI Light"/>
                </a:endParaRPr>
              </a:p>
            </p:txBody>
          </p:sp>
          <p:sp>
            <p:nvSpPr>
              <p:cNvPr id="16" name="Rectangle 14"/>
              <p:cNvSpPr/>
              <p:nvPr/>
            </p:nvSpPr>
            <p:spPr>
              <a:xfrm>
                <a:off x="2959264" y="1430530"/>
                <a:ext cx="1055555" cy="4572000"/>
              </a:xfrm>
              <a:custGeom>
                <a:avLst/>
                <a:gdLst/>
                <a:ahLst/>
                <a:cxnLst/>
                <a:rect l="l" t="t" r="r" b="b"/>
                <a:pathLst>
                  <a:path w="1055555" h="5177917">
                    <a:moveTo>
                      <a:pt x="0" y="0"/>
                    </a:moveTo>
                    <a:lnTo>
                      <a:pt x="353208" y="0"/>
                    </a:lnTo>
                    <a:cubicBezTo>
                      <a:pt x="788716" y="669822"/>
                      <a:pt x="1055555" y="1582852"/>
                      <a:pt x="1055555" y="2588959"/>
                    </a:cubicBezTo>
                    <a:cubicBezTo>
                      <a:pt x="1055555" y="3595065"/>
                      <a:pt x="788716" y="4508095"/>
                      <a:pt x="353208" y="5177917"/>
                    </a:cubicBezTo>
                    <a:lnTo>
                      <a:pt x="0" y="5177917"/>
                    </a:lnTo>
                    <a:cubicBezTo>
                      <a:pt x="453737" y="4508095"/>
                      <a:pt x="731744" y="3595065"/>
                      <a:pt x="731744" y="2588959"/>
                    </a:cubicBezTo>
                    <a:cubicBezTo>
                      <a:pt x="731744" y="1582852"/>
                      <a:pt x="453737" y="669822"/>
                      <a:pt x="0" y="0"/>
                    </a:cubicBezTo>
                    <a:close/>
                  </a:path>
                </a:pathLst>
              </a:custGeom>
              <a:solidFill>
                <a:schemeClr val="bg1">
                  <a:alpha val="25000"/>
                </a:schemeClr>
              </a:solidFill>
            </p:spPr>
            <p:txBody>
              <a:bodyPr wrap="square" rtlCol="0" anchor="ctr">
                <a:noAutofit/>
              </a:bodyPr>
              <a:lstStyle/>
              <a:p>
                <a:pPr algn="l"/>
                <a:endParaRPr lang="en-US" sz="2000" dirty="0">
                  <a:solidFill>
                    <a:srgbClr val="FFFFFF"/>
                  </a:solidFill>
                  <a:cs typeface="Segoe UI Light"/>
                </a:endParaRPr>
              </a:p>
            </p:txBody>
          </p:sp>
        </p:grpSp>
        <p:grpSp>
          <p:nvGrpSpPr>
            <p:cNvPr id="7" name="Group 6"/>
            <p:cNvGrpSpPr/>
            <p:nvPr/>
          </p:nvGrpSpPr>
          <p:grpSpPr>
            <a:xfrm>
              <a:off x="4146650" y="1925128"/>
              <a:ext cx="8289825" cy="3244631"/>
              <a:chOff x="3929163" y="2302425"/>
              <a:chExt cx="8289825" cy="3244631"/>
            </a:xfrm>
          </p:grpSpPr>
          <p:sp>
            <p:nvSpPr>
              <p:cNvPr id="28" name="Rectangle 27"/>
              <p:cNvSpPr/>
              <p:nvPr/>
            </p:nvSpPr>
            <p:spPr>
              <a:xfrm>
                <a:off x="4058153" y="2302425"/>
                <a:ext cx="8103685" cy="954107"/>
              </a:xfrm>
              <a:prstGeom prst="rect">
                <a:avLst/>
              </a:prstGeom>
            </p:spPr>
            <p:txBody>
              <a:bodyPr wrap="square" lIns="91440" tIns="45720" rIns="91440" bIns="45720">
                <a:spAutoFit/>
              </a:bodyPr>
              <a:lstStyle/>
              <a:p>
                <a:pPr>
                  <a:spcAft>
                    <a:spcPts val="800"/>
                  </a:spcAft>
                </a:pPr>
                <a:r>
                  <a:rPr lang="en-IN" sz="2800" dirty="0">
                    <a:solidFill>
                      <a:schemeClr val="bg1"/>
                    </a:solidFill>
                    <a:latin typeface="+mj-lt"/>
                    <a:ea typeface="Segoe UI" panose="020B0502040204020203" pitchFamily="34" charset="0"/>
                    <a:cs typeface="Segoe UI" panose="020B0502040204020203" pitchFamily="34" charset="0"/>
                  </a:rPr>
                  <a:t>Microsoft delivers enterprise cloud services customers can </a:t>
                </a:r>
                <a:r>
                  <a:rPr lang="en-IN" sz="2800" dirty="0" smtClean="0">
                    <a:solidFill>
                      <a:schemeClr val="bg1"/>
                    </a:solidFill>
                    <a:latin typeface="+mj-lt"/>
                    <a:ea typeface="Segoe UI" panose="020B0502040204020203" pitchFamily="34" charset="0"/>
                    <a:cs typeface="Segoe UI" panose="020B0502040204020203" pitchFamily="34" charset="0"/>
                  </a:rPr>
                  <a:t>trust</a:t>
                </a:r>
                <a:endParaRPr lang="en-IN" sz="2800" dirty="0">
                  <a:solidFill>
                    <a:schemeClr val="bg1"/>
                  </a:solidFill>
                  <a:latin typeface="+mj-lt"/>
                  <a:ea typeface="Segoe UI" panose="020B0502040204020203" pitchFamily="34" charset="0"/>
                  <a:cs typeface="Segoe UI" panose="020B0502040204020203" pitchFamily="34" charset="0"/>
                </a:endParaRPr>
              </a:p>
            </p:txBody>
          </p:sp>
          <p:sp>
            <p:nvSpPr>
              <p:cNvPr id="18" name="Rectangle 17"/>
              <p:cNvSpPr/>
              <p:nvPr/>
            </p:nvSpPr>
            <p:spPr>
              <a:xfrm>
                <a:off x="4143879" y="3267996"/>
                <a:ext cx="7713160" cy="707886"/>
              </a:xfrm>
              <a:prstGeom prst="rect">
                <a:avLst/>
              </a:prstGeom>
            </p:spPr>
            <p:txBody>
              <a:bodyPr wrap="square" lIns="91440" tIns="45720" rIns="91440" bIns="45720">
                <a:spAutoFit/>
              </a:bodyPr>
              <a:lstStyle/>
              <a:p>
                <a:pPr marL="457200" lvl="0" indent="-342900">
                  <a:spcBef>
                    <a:spcPts val="200"/>
                  </a:spcBef>
                  <a:spcAft>
                    <a:spcPts val="400"/>
                  </a:spcAft>
                  <a:buFont typeface="Arial" panose="020B0604020202020204" pitchFamily="34" charset="0"/>
                  <a:buChar char="•"/>
                </a:pPr>
                <a:r>
                  <a:rPr lang="en-IN" sz="2000" dirty="0">
                    <a:solidFill>
                      <a:srgbClr val="FFFFFF"/>
                    </a:solidFill>
                    <a:ea typeface="Segoe UI" panose="020B0502040204020203" pitchFamily="34" charset="0"/>
                    <a:cs typeface="Segoe UI" panose="020B0502040204020203" pitchFamily="34" charset="0"/>
                  </a:rPr>
                  <a:t>Industry-leading best practices in the design and management of online </a:t>
                </a:r>
                <a:r>
                  <a:rPr lang="en-IN" sz="2000" dirty="0" smtClean="0">
                    <a:solidFill>
                      <a:srgbClr val="FFFFFF"/>
                    </a:solidFill>
                    <a:ea typeface="Segoe UI" panose="020B0502040204020203" pitchFamily="34" charset="0"/>
                    <a:cs typeface="Segoe UI" panose="020B0502040204020203" pitchFamily="34" charset="0"/>
                  </a:rPr>
                  <a:t>services</a:t>
                </a:r>
                <a:endParaRPr lang="en-IN" sz="2000" dirty="0">
                  <a:solidFill>
                    <a:srgbClr val="FFFFFF"/>
                  </a:solidFill>
                  <a:ea typeface="Segoe UI" panose="020B0502040204020203" pitchFamily="34" charset="0"/>
                  <a:cs typeface="Segoe UI" panose="020B0502040204020203" pitchFamily="34" charset="0"/>
                </a:endParaRPr>
              </a:p>
            </p:txBody>
          </p:sp>
          <p:sp>
            <p:nvSpPr>
              <p:cNvPr id="19" name="Rectangle 18"/>
              <p:cNvSpPr/>
              <p:nvPr/>
            </p:nvSpPr>
            <p:spPr>
              <a:xfrm>
                <a:off x="4115303" y="3996905"/>
                <a:ext cx="8103685" cy="707886"/>
              </a:xfrm>
              <a:prstGeom prst="rect">
                <a:avLst/>
              </a:prstGeom>
            </p:spPr>
            <p:txBody>
              <a:bodyPr wrap="square" lIns="91440" tIns="45720" rIns="91440" bIns="45720">
                <a:spAutoFit/>
              </a:bodyPr>
              <a:lstStyle/>
              <a:p>
                <a:pPr marL="457200" lvl="0" indent="-342900">
                  <a:spcBef>
                    <a:spcPts val="200"/>
                  </a:spcBef>
                  <a:spcAft>
                    <a:spcPts val="400"/>
                  </a:spcAft>
                  <a:buFont typeface="Arial" panose="020B0604020202020204" pitchFamily="34" charset="0"/>
                  <a:buChar char="•"/>
                </a:pPr>
                <a:r>
                  <a:rPr lang="en-IN" sz="2000" dirty="0" smtClean="0">
                    <a:solidFill>
                      <a:srgbClr val="FFFFFF"/>
                    </a:solidFill>
                    <a:ea typeface="Segoe UI" panose="020B0502040204020203" pitchFamily="34" charset="0"/>
                    <a:cs typeface="Segoe UI" panose="020B0502040204020203" pitchFamily="34" charset="0"/>
                  </a:rPr>
                  <a:t>Enhanced </a:t>
                </a:r>
                <a:r>
                  <a:rPr lang="en-IN" sz="2000" dirty="0">
                    <a:solidFill>
                      <a:srgbClr val="FFFFFF"/>
                    </a:solidFill>
                    <a:ea typeface="Segoe UI" panose="020B0502040204020203" pitchFamily="34" charset="0"/>
                    <a:cs typeface="Segoe UI" panose="020B0502040204020203" pitchFamily="34" charset="0"/>
                  </a:rPr>
                  <a:t>security, operational management, and threat mitigation </a:t>
                </a:r>
                <a:r>
                  <a:rPr lang="en-IN" sz="2000" dirty="0" smtClean="0">
                    <a:solidFill>
                      <a:srgbClr val="FFFFFF"/>
                    </a:solidFill>
                    <a:ea typeface="Segoe UI" panose="020B0502040204020203" pitchFamily="34" charset="0"/>
                    <a:cs typeface="Segoe UI" panose="020B0502040204020203" pitchFamily="34" charset="0"/>
                  </a:rPr>
                  <a:t>practices</a:t>
                </a:r>
                <a:endParaRPr lang="en-IN" sz="2000" dirty="0">
                  <a:solidFill>
                    <a:srgbClr val="FFFFFF"/>
                  </a:solidFill>
                  <a:ea typeface="Segoe UI" panose="020B0502040204020203" pitchFamily="34" charset="0"/>
                  <a:cs typeface="Segoe UI" panose="020B0502040204020203" pitchFamily="34" charset="0"/>
                </a:endParaRPr>
              </a:p>
            </p:txBody>
          </p:sp>
          <p:sp>
            <p:nvSpPr>
              <p:cNvPr id="20" name="Rectangle 19"/>
              <p:cNvSpPr/>
              <p:nvPr/>
            </p:nvSpPr>
            <p:spPr>
              <a:xfrm>
                <a:off x="4077203" y="4725814"/>
                <a:ext cx="8103685" cy="400110"/>
              </a:xfrm>
              <a:prstGeom prst="rect">
                <a:avLst/>
              </a:prstGeom>
            </p:spPr>
            <p:txBody>
              <a:bodyPr wrap="square" lIns="91440" tIns="45720" rIns="91440" bIns="45720">
                <a:spAutoFit/>
              </a:bodyPr>
              <a:lstStyle/>
              <a:p>
                <a:pPr marL="457200" lvl="0" indent="-342900">
                  <a:spcBef>
                    <a:spcPts val="200"/>
                  </a:spcBef>
                  <a:spcAft>
                    <a:spcPts val="400"/>
                  </a:spcAft>
                  <a:buFont typeface="Arial" panose="020B0604020202020204" pitchFamily="34" charset="0"/>
                  <a:buChar char="•"/>
                </a:pPr>
                <a:r>
                  <a:rPr lang="en-IN" sz="2000" dirty="0">
                    <a:solidFill>
                      <a:srgbClr val="FFFFFF"/>
                    </a:solidFill>
                    <a:ea typeface="Segoe UI" panose="020B0502040204020203" pitchFamily="34" charset="0"/>
                    <a:cs typeface="Segoe UI" panose="020B0502040204020203" pitchFamily="34" charset="0"/>
                  </a:rPr>
                  <a:t>Trustworthy enterprise cloud </a:t>
                </a:r>
                <a:r>
                  <a:rPr lang="en-IN" sz="2000" dirty="0" smtClean="0">
                    <a:solidFill>
                      <a:srgbClr val="FFFFFF"/>
                    </a:solidFill>
                    <a:ea typeface="Segoe UI" panose="020B0502040204020203" pitchFamily="34" charset="0"/>
                    <a:cs typeface="Segoe UI" panose="020B0502040204020203" pitchFamily="34" charset="0"/>
                  </a:rPr>
                  <a:t>services</a:t>
                </a:r>
                <a:endParaRPr lang="en-IN" sz="2000" dirty="0">
                  <a:solidFill>
                    <a:srgbClr val="FFFFFF"/>
                  </a:solidFill>
                  <a:ea typeface="Segoe UI" panose="020B0502040204020203" pitchFamily="34" charset="0"/>
                  <a:cs typeface="Segoe UI" panose="020B0502040204020203" pitchFamily="34" charset="0"/>
                </a:endParaRPr>
              </a:p>
            </p:txBody>
          </p:sp>
          <p:sp>
            <p:nvSpPr>
              <p:cNvPr id="21" name="Rectangle 20"/>
              <p:cNvSpPr/>
              <p:nvPr/>
            </p:nvSpPr>
            <p:spPr>
              <a:xfrm>
                <a:off x="3929163" y="5146946"/>
                <a:ext cx="8103685" cy="400110"/>
              </a:xfrm>
              <a:prstGeom prst="rect">
                <a:avLst/>
              </a:prstGeom>
            </p:spPr>
            <p:txBody>
              <a:bodyPr wrap="square" lIns="91440" tIns="45720" rIns="91440" bIns="45720">
                <a:spAutoFit/>
              </a:bodyPr>
              <a:lstStyle/>
              <a:p>
                <a:pPr marL="457200" lvl="0" indent="-342900">
                  <a:spcBef>
                    <a:spcPts val="200"/>
                  </a:spcBef>
                  <a:spcAft>
                    <a:spcPts val="400"/>
                  </a:spcAft>
                  <a:buFont typeface="Arial" panose="020B0604020202020204" pitchFamily="34" charset="0"/>
                  <a:buChar char="•"/>
                </a:pPr>
                <a:r>
                  <a:rPr lang="en-IN" sz="2000" dirty="0" err="1">
                    <a:solidFill>
                      <a:srgbClr val="FFFFFF"/>
                    </a:solidFill>
                    <a:ea typeface="Segoe UI" panose="020B0502040204020203" pitchFamily="34" charset="0"/>
                    <a:cs typeface="Segoe UI" panose="020B0502040204020203" pitchFamily="34" charset="0"/>
                  </a:rPr>
                  <a:t>Centers</a:t>
                </a:r>
                <a:r>
                  <a:rPr lang="en-IN" sz="2000" dirty="0">
                    <a:solidFill>
                      <a:srgbClr val="FFFFFF"/>
                    </a:solidFill>
                    <a:ea typeface="Segoe UI" panose="020B0502040204020203" pitchFamily="34" charset="0"/>
                    <a:cs typeface="Segoe UI" panose="020B0502040204020203" pitchFamily="34" charset="0"/>
                  </a:rPr>
                  <a:t> of excellence</a:t>
                </a:r>
              </a:p>
            </p:txBody>
          </p:sp>
        </p:grpSp>
      </p:grpSp>
      <p:sp>
        <p:nvSpPr>
          <p:cNvPr id="3" name="Slide Number Placeholder 2"/>
          <p:cNvSpPr>
            <a:spLocks noGrp="1"/>
          </p:cNvSpPr>
          <p:nvPr>
            <p:ph type="sldNum" sz="quarter" idx="11"/>
          </p:nvPr>
        </p:nvSpPr>
        <p:spPr/>
        <p:txBody>
          <a:bodyPr/>
          <a:lstStyle/>
          <a:p>
            <a:fld id="{27258FFF-F925-446B-8502-81C933981705}" type="slidenum">
              <a:rPr lang="en-US" smtClean="0"/>
              <a:pPr/>
              <a:t>8</a:t>
            </a:fld>
            <a:endParaRPr lang="en-US"/>
          </a:p>
        </p:txBody>
      </p:sp>
    </p:spTree>
    <p:extLst>
      <p:ext uri="{BB962C8B-B14F-4D97-AF65-F5344CB8AC3E}">
        <p14:creationId xmlns:p14="http://schemas.microsoft.com/office/powerpoint/2010/main" val="308798023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0884822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3076"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Security design and operations</a:t>
            </a:r>
          </a:p>
        </p:txBody>
      </p:sp>
      <p:grpSp>
        <p:nvGrpSpPr>
          <p:cNvPr id="30" name="Group 29"/>
          <p:cNvGrpSpPr/>
          <p:nvPr/>
        </p:nvGrpSpPr>
        <p:grpSpPr>
          <a:xfrm>
            <a:off x="627530" y="1643748"/>
            <a:ext cx="11375390" cy="4820552"/>
            <a:chOff x="510988" y="1549839"/>
            <a:chExt cx="11716871" cy="4965261"/>
          </a:xfrm>
        </p:grpSpPr>
        <p:grpSp>
          <p:nvGrpSpPr>
            <p:cNvPr id="29" name="Group 28"/>
            <p:cNvGrpSpPr/>
            <p:nvPr/>
          </p:nvGrpSpPr>
          <p:grpSpPr>
            <a:xfrm>
              <a:off x="510988" y="2904565"/>
              <a:ext cx="11716871" cy="3610535"/>
              <a:chOff x="510988" y="2904565"/>
              <a:chExt cx="11716871" cy="3610535"/>
            </a:xfrm>
          </p:grpSpPr>
          <p:sp>
            <p:nvSpPr>
              <p:cNvPr id="37" name="Right Triangle 36"/>
              <p:cNvSpPr/>
              <p:nvPr/>
            </p:nvSpPr>
            <p:spPr bwMode="auto">
              <a:xfrm flipH="1">
                <a:off x="525525" y="3052343"/>
                <a:ext cx="11493866" cy="3462757"/>
              </a:xfrm>
              <a:prstGeom prst="rtTriangle">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73" fontAlgn="base">
                  <a:spcBef>
                    <a:spcPct val="0"/>
                  </a:spcBef>
                  <a:spcAft>
                    <a:spcPct val="0"/>
                  </a:spcAft>
                </a:pPr>
                <a:endParaRPr lang="en-IN" sz="2200" dirty="0">
                  <a:solidFill>
                    <a:schemeClr val="accent1"/>
                  </a:solidFill>
                  <a:latin typeface="+mj-lt"/>
                </a:endParaRPr>
              </a:p>
            </p:txBody>
          </p:sp>
          <p:cxnSp>
            <p:nvCxnSpPr>
              <p:cNvPr id="38" name="Straight Arrow Connector 37"/>
              <p:cNvCxnSpPr/>
              <p:nvPr/>
            </p:nvCxnSpPr>
            <p:spPr>
              <a:xfrm flipV="1">
                <a:off x="510988" y="2904565"/>
                <a:ext cx="11716871" cy="3550024"/>
              </a:xfrm>
              <a:prstGeom prst="straightConnector1">
                <a:avLst/>
              </a:prstGeom>
              <a:ln w="101600" cap="rnd">
                <a:solidFill>
                  <a:schemeClr val="bg1">
                    <a:lumMod val="65000"/>
                  </a:schemeClr>
                </a:solidFill>
                <a:headEnd type="none" w="med" len="med"/>
                <a:tailEnd type="triangle" w="med" len="sm"/>
              </a:ln>
            </p:spPr>
            <p:style>
              <a:lnRef idx="1">
                <a:schemeClr val="accent1"/>
              </a:lnRef>
              <a:fillRef idx="0">
                <a:schemeClr val="accent1"/>
              </a:fillRef>
              <a:effectRef idx="0">
                <a:schemeClr val="accent1"/>
              </a:effectRef>
              <a:fontRef idx="minor">
                <a:schemeClr val="tx1"/>
              </a:fontRef>
            </p:style>
          </p:cxnSp>
          <p:sp>
            <p:nvSpPr>
              <p:cNvPr id="100" name="Rectangle 99"/>
              <p:cNvSpPr/>
              <p:nvPr/>
            </p:nvSpPr>
            <p:spPr>
              <a:xfrm>
                <a:off x="6076738" y="5624046"/>
                <a:ext cx="5933419" cy="769441"/>
              </a:xfrm>
              <a:prstGeom prst="rect">
                <a:avLst/>
              </a:prstGeom>
              <a:noFill/>
            </p:spPr>
            <p:txBody>
              <a:bodyPr wrap="none" anchor="ctr">
                <a:spAutoFit/>
              </a:bodyPr>
              <a:lstStyle/>
              <a:p>
                <a:pPr algn="ctr"/>
                <a:r>
                  <a:rPr lang="en-IN" sz="2200" dirty="0">
                    <a:solidFill>
                      <a:schemeClr val="accent1"/>
                    </a:solidFill>
                    <a:latin typeface="+mj-lt"/>
                  </a:rPr>
                  <a:t>Microsoft makes security a priority at every step, </a:t>
                </a:r>
                <a:br>
                  <a:rPr lang="en-IN" sz="2200" dirty="0">
                    <a:solidFill>
                      <a:schemeClr val="accent1"/>
                    </a:solidFill>
                    <a:latin typeface="+mj-lt"/>
                  </a:rPr>
                </a:br>
                <a:r>
                  <a:rPr lang="en-IN" sz="2200" dirty="0">
                    <a:solidFill>
                      <a:schemeClr val="accent1"/>
                    </a:solidFill>
                    <a:latin typeface="+mj-lt"/>
                  </a:rPr>
                  <a:t>from code development to incident response.</a:t>
                </a:r>
              </a:p>
            </p:txBody>
          </p:sp>
        </p:grpSp>
        <p:grpSp>
          <p:nvGrpSpPr>
            <p:cNvPr id="25" name="Group 24"/>
            <p:cNvGrpSpPr/>
            <p:nvPr/>
          </p:nvGrpSpPr>
          <p:grpSpPr>
            <a:xfrm>
              <a:off x="997069" y="3799587"/>
              <a:ext cx="3873030" cy="2627901"/>
              <a:chOff x="997069" y="3799587"/>
              <a:chExt cx="3873030" cy="2627901"/>
            </a:xfrm>
          </p:grpSpPr>
          <p:sp>
            <p:nvSpPr>
              <p:cNvPr id="46" name="Rectangle 45"/>
              <p:cNvSpPr/>
              <p:nvPr/>
            </p:nvSpPr>
            <p:spPr>
              <a:xfrm>
                <a:off x="2700522" y="5920262"/>
                <a:ext cx="2169577" cy="507226"/>
              </a:xfrm>
              <a:prstGeom prst="rect">
                <a:avLst/>
              </a:prstGeom>
            </p:spPr>
            <p:txBody>
              <a:bodyPr wrap="none" lIns="0" tIns="0" rIns="0" bIns="0" anchor="ctr">
                <a:spAutoFit/>
              </a:bodyPr>
              <a:lstStyle/>
              <a:p>
                <a:pPr>
                  <a:defRPr/>
                </a:pPr>
                <a:r>
                  <a:rPr lang="en-US" sz="1600" dirty="0">
                    <a:ln w="3175">
                      <a:noFill/>
                    </a:ln>
                    <a:solidFill>
                      <a:schemeClr val="tx2"/>
                    </a:solidFill>
                    <a:latin typeface="Segoe UI Semibold" panose="020B0702040204020203" pitchFamily="34" charset="0"/>
                    <a:cs typeface="Segoe UI" pitchFamily="34" charset="0"/>
                  </a:rPr>
                  <a:t>Security Development </a:t>
                </a:r>
                <a:r>
                  <a:rPr lang="en-US" sz="1600" dirty="0" smtClean="0">
                    <a:ln w="3175">
                      <a:noFill/>
                    </a:ln>
                    <a:solidFill>
                      <a:schemeClr val="tx2"/>
                    </a:solidFill>
                    <a:latin typeface="Segoe UI Semibold" panose="020B0702040204020203" pitchFamily="34" charset="0"/>
                    <a:cs typeface="Segoe UI" pitchFamily="34" charset="0"/>
                  </a:rPr>
                  <a:t/>
                </a:r>
                <a:br>
                  <a:rPr lang="en-US" sz="1600" dirty="0" smtClean="0">
                    <a:ln w="3175">
                      <a:noFill/>
                    </a:ln>
                    <a:solidFill>
                      <a:schemeClr val="tx2"/>
                    </a:solidFill>
                    <a:latin typeface="Segoe UI Semibold" panose="020B0702040204020203" pitchFamily="34" charset="0"/>
                    <a:cs typeface="Segoe UI" pitchFamily="34" charset="0"/>
                  </a:rPr>
                </a:br>
                <a:r>
                  <a:rPr lang="en-US" sz="1600" dirty="0" smtClean="0">
                    <a:ln w="3175">
                      <a:noFill/>
                    </a:ln>
                    <a:solidFill>
                      <a:schemeClr val="tx2"/>
                    </a:solidFill>
                    <a:latin typeface="Segoe UI Semibold" panose="020B0702040204020203" pitchFamily="34" charset="0"/>
                    <a:cs typeface="Segoe UI" pitchFamily="34" charset="0"/>
                  </a:rPr>
                  <a:t>Lifecycle </a:t>
                </a:r>
                <a:r>
                  <a:rPr lang="en-US" sz="1600" dirty="0">
                    <a:ln w="3175">
                      <a:noFill/>
                    </a:ln>
                    <a:solidFill>
                      <a:schemeClr val="tx2"/>
                    </a:solidFill>
                    <a:latin typeface="Segoe UI Semibold" panose="020B0702040204020203" pitchFamily="34" charset="0"/>
                    <a:cs typeface="Segoe UI" pitchFamily="34" charset="0"/>
                  </a:rPr>
                  <a:t>(SDL</a:t>
                </a:r>
                <a:r>
                  <a:rPr lang="en-US" sz="1600" dirty="0" smtClean="0">
                    <a:ln w="3175">
                      <a:noFill/>
                    </a:ln>
                    <a:solidFill>
                      <a:schemeClr val="tx2"/>
                    </a:solidFill>
                    <a:latin typeface="Segoe UI Semibold" panose="020B0702040204020203" pitchFamily="34" charset="0"/>
                    <a:cs typeface="Segoe UI" pitchFamily="34" charset="0"/>
                  </a:rPr>
                  <a:t>)</a:t>
                </a:r>
                <a:endParaRPr lang="en-US" sz="1600" dirty="0">
                  <a:ln w="3175">
                    <a:noFill/>
                  </a:ln>
                  <a:solidFill>
                    <a:schemeClr val="tx2"/>
                  </a:solidFill>
                  <a:latin typeface="Segoe UI Semibold" panose="020B0702040204020203" pitchFamily="34" charset="0"/>
                  <a:cs typeface="Segoe UI" pitchFamily="34" charset="0"/>
                </a:endParaRPr>
              </a:p>
            </p:txBody>
          </p:sp>
          <p:sp>
            <p:nvSpPr>
              <p:cNvPr id="51" name="Rectangle 50"/>
              <p:cNvSpPr/>
              <p:nvPr/>
            </p:nvSpPr>
            <p:spPr bwMode="auto">
              <a:xfrm>
                <a:off x="997069" y="3799587"/>
                <a:ext cx="2418974" cy="1209063"/>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r>
                  <a:rPr lang="en-IN" sz="1200" dirty="0">
                    <a:ln w="3175">
                      <a:noFill/>
                    </a:ln>
                    <a:solidFill>
                      <a:schemeClr val="bg1"/>
                    </a:solidFill>
                    <a:cs typeface="Segoe UI" pitchFamily="34" charset="0"/>
                  </a:rPr>
                  <a:t>Company-wide, mandatory development process that embeds security into every phase of development process.</a:t>
                </a:r>
              </a:p>
            </p:txBody>
          </p:sp>
          <p:sp>
            <p:nvSpPr>
              <p:cNvPr id="47" name="Oval 46"/>
              <p:cNvSpPr/>
              <p:nvPr/>
            </p:nvSpPr>
            <p:spPr bwMode="auto">
              <a:xfrm>
                <a:off x="1825911" y="5511107"/>
                <a:ext cx="765160" cy="765160"/>
              </a:xfrm>
              <a:prstGeom prst="ellipse">
                <a:avLst/>
              </a:prstGeom>
              <a:solidFill>
                <a:schemeClr val="bg1"/>
              </a:solidFill>
              <a:ln w="412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380990" indent="-380990" algn="ctr" defTabSz="914173" fontAlgn="base">
                  <a:spcBef>
                    <a:spcPct val="0"/>
                  </a:spcBef>
                  <a:spcAft>
                    <a:spcPct val="0"/>
                  </a:spcAft>
                  <a:buFont typeface="Arial" panose="020B0604020202020204" pitchFamily="34" charset="0"/>
                  <a:buChar char="•"/>
                </a:pPr>
                <a:endParaRPr lang="en-US" sz="2133" dirty="0">
                  <a:gradFill>
                    <a:gsLst>
                      <a:gs pos="0">
                        <a:srgbClr val="FFFFFF"/>
                      </a:gs>
                      <a:gs pos="100000">
                        <a:srgbClr val="FFFFFF"/>
                      </a:gs>
                    </a:gsLst>
                    <a:lin ang="5400000" scaled="0"/>
                  </a:gradFill>
                </a:endParaRPr>
              </a:p>
            </p:txBody>
          </p:sp>
          <p:grpSp>
            <p:nvGrpSpPr>
              <p:cNvPr id="101" name="Group 100"/>
              <p:cNvGrpSpPr/>
              <p:nvPr/>
            </p:nvGrpSpPr>
            <p:grpSpPr>
              <a:xfrm>
                <a:off x="2050456" y="5718536"/>
                <a:ext cx="369861" cy="350302"/>
                <a:chOff x="-3227388" y="3256364"/>
                <a:chExt cx="1881884" cy="1782362"/>
              </a:xfrm>
              <a:solidFill>
                <a:schemeClr val="accent1"/>
              </a:solidFill>
            </p:grpSpPr>
            <p:sp>
              <p:nvSpPr>
                <p:cNvPr id="102" name="Freeform 8"/>
                <p:cNvSpPr>
                  <a:spLocks/>
                </p:cNvSpPr>
                <p:nvPr/>
              </p:nvSpPr>
              <p:spPr bwMode="auto">
                <a:xfrm>
                  <a:off x="-3227388" y="3490913"/>
                  <a:ext cx="1550988" cy="1547813"/>
                </a:xfrm>
                <a:custGeom>
                  <a:avLst/>
                  <a:gdLst>
                    <a:gd name="T0" fmla="*/ 0 w 3907"/>
                    <a:gd name="T1" fmla="*/ 0 h 3900"/>
                    <a:gd name="T2" fmla="*/ 3706 w 3907"/>
                    <a:gd name="T3" fmla="*/ 0 h 3900"/>
                    <a:gd name="T4" fmla="*/ 3609 w 3907"/>
                    <a:gd name="T5" fmla="*/ 87 h 3900"/>
                    <a:gd name="T6" fmla="*/ 3516 w 3907"/>
                    <a:gd name="T7" fmla="*/ 171 h 3900"/>
                    <a:gd name="T8" fmla="*/ 3425 w 3907"/>
                    <a:gd name="T9" fmla="*/ 254 h 3900"/>
                    <a:gd name="T10" fmla="*/ 3336 w 3907"/>
                    <a:gd name="T11" fmla="*/ 334 h 3900"/>
                    <a:gd name="T12" fmla="*/ 3246 w 3907"/>
                    <a:gd name="T13" fmla="*/ 412 h 3900"/>
                    <a:gd name="T14" fmla="*/ 3157 w 3907"/>
                    <a:gd name="T15" fmla="*/ 489 h 3900"/>
                    <a:gd name="T16" fmla="*/ 3140 w 3907"/>
                    <a:gd name="T17" fmla="*/ 498 h 3900"/>
                    <a:gd name="T18" fmla="*/ 3121 w 3907"/>
                    <a:gd name="T19" fmla="*/ 504 h 3900"/>
                    <a:gd name="T20" fmla="*/ 3098 w 3907"/>
                    <a:gd name="T21" fmla="*/ 507 h 3900"/>
                    <a:gd name="T22" fmla="*/ 3075 w 3907"/>
                    <a:gd name="T23" fmla="*/ 508 h 3900"/>
                    <a:gd name="T24" fmla="*/ 3050 w 3907"/>
                    <a:gd name="T25" fmla="*/ 507 h 3900"/>
                    <a:gd name="T26" fmla="*/ 3026 w 3907"/>
                    <a:gd name="T27" fmla="*/ 507 h 3900"/>
                    <a:gd name="T28" fmla="*/ 3002 w 3907"/>
                    <a:gd name="T29" fmla="*/ 505 h 3900"/>
                    <a:gd name="T30" fmla="*/ 715 w 3907"/>
                    <a:gd name="T31" fmla="*/ 507 h 3900"/>
                    <a:gd name="T32" fmla="*/ 656 w 3907"/>
                    <a:gd name="T33" fmla="*/ 507 h 3900"/>
                    <a:gd name="T34" fmla="*/ 595 w 3907"/>
                    <a:gd name="T35" fmla="*/ 507 h 3900"/>
                    <a:gd name="T36" fmla="*/ 529 w 3907"/>
                    <a:gd name="T37" fmla="*/ 507 h 3900"/>
                    <a:gd name="T38" fmla="*/ 529 w 3907"/>
                    <a:gd name="T39" fmla="*/ 3382 h 3900"/>
                    <a:gd name="T40" fmla="*/ 3405 w 3907"/>
                    <a:gd name="T41" fmla="*/ 3382 h 3900"/>
                    <a:gd name="T42" fmla="*/ 3406 w 3907"/>
                    <a:gd name="T43" fmla="*/ 2980 h 3900"/>
                    <a:gd name="T44" fmla="*/ 3406 w 3907"/>
                    <a:gd name="T45" fmla="*/ 2584 h 3900"/>
                    <a:gd name="T46" fmla="*/ 3406 w 3907"/>
                    <a:gd name="T47" fmla="*/ 2191 h 3900"/>
                    <a:gd name="T48" fmla="*/ 3403 w 3907"/>
                    <a:gd name="T49" fmla="*/ 1799 h 3900"/>
                    <a:gd name="T50" fmla="*/ 3404 w 3907"/>
                    <a:gd name="T51" fmla="*/ 1751 h 3900"/>
                    <a:gd name="T52" fmla="*/ 3410 w 3907"/>
                    <a:gd name="T53" fmla="*/ 1706 h 3900"/>
                    <a:gd name="T54" fmla="*/ 3421 w 3907"/>
                    <a:gd name="T55" fmla="*/ 1665 h 3900"/>
                    <a:gd name="T56" fmla="*/ 3437 w 3907"/>
                    <a:gd name="T57" fmla="*/ 1627 h 3900"/>
                    <a:gd name="T58" fmla="*/ 3460 w 3907"/>
                    <a:gd name="T59" fmla="*/ 1591 h 3900"/>
                    <a:gd name="T60" fmla="*/ 3489 w 3907"/>
                    <a:gd name="T61" fmla="*/ 1557 h 3900"/>
                    <a:gd name="T62" fmla="*/ 3524 w 3907"/>
                    <a:gd name="T63" fmla="*/ 1524 h 3900"/>
                    <a:gd name="T64" fmla="*/ 3598 w 3907"/>
                    <a:gd name="T65" fmla="*/ 1461 h 3900"/>
                    <a:gd name="T66" fmla="*/ 3674 w 3907"/>
                    <a:gd name="T67" fmla="*/ 1394 h 3900"/>
                    <a:gd name="T68" fmla="*/ 3747 w 3907"/>
                    <a:gd name="T69" fmla="*/ 1324 h 3900"/>
                    <a:gd name="T70" fmla="*/ 3825 w 3907"/>
                    <a:gd name="T71" fmla="*/ 1250 h 3900"/>
                    <a:gd name="T72" fmla="*/ 3907 w 3907"/>
                    <a:gd name="T73" fmla="*/ 1173 h 3900"/>
                    <a:gd name="T74" fmla="*/ 3907 w 3907"/>
                    <a:gd name="T75" fmla="*/ 1724 h 3900"/>
                    <a:gd name="T76" fmla="*/ 3907 w 3907"/>
                    <a:gd name="T77" fmla="*/ 2271 h 3900"/>
                    <a:gd name="T78" fmla="*/ 3907 w 3907"/>
                    <a:gd name="T79" fmla="*/ 2815 h 3900"/>
                    <a:gd name="T80" fmla="*/ 3907 w 3907"/>
                    <a:gd name="T81" fmla="*/ 3356 h 3900"/>
                    <a:gd name="T82" fmla="*/ 3907 w 3907"/>
                    <a:gd name="T83" fmla="*/ 3900 h 3900"/>
                    <a:gd name="T84" fmla="*/ 0 w 3907"/>
                    <a:gd name="T85" fmla="*/ 3900 h 3900"/>
                    <a:gd name="T86" fmla="*/ 0 w 3907"/>
                    <a:gd name="T87"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7" h="3900">
                      <a:moveTo>
                        <a:pt x="0" y="0"/>
                      </a:moveTo>
                      <a:lnTo>
                        <a:pt x="3706" y="0"/>
                      </a:lnTo>
                      <a:lnTo>
                        <a:pt x="3609" y="87"/>
                      </a:lnTo>
                      <a:lnTo>
                        <a:pt x="3516" y="171"/>
                      </a:lnTo>
                      <a:lnTo>
                        <a:pt x="3425" y="254"/>
                      </a:lnTo>
                      <a:lnTo>
                        <a:pt x="3336" y="334"/>
                      </a:lnTo>
                      <a:lnTo>
                        <a:pt x="3246" y="412"/>
                      </a:lnTo>
                      <a:lnTo>
                        <a:pt x="3157" y="489"/>
                      </a:lnTo>
                      <a:lnTo>
                        <a:pt x="3140" y="498"/>
                      </a:lnTo>
                      <a:lnTo>
                        <a:pt x="3121" y="504"/>
                      </a:lnTo>
                      <a:lnTo>
                        <a:pt x="3098" y="507"/>
                      </a:lnTo>
                      <a:lnTo>
                        <a:pt x="3075" y="508"/>
                      </a:lnTo>
                      <a:lnTo>
                        <a:pt x="3050" y="507"/>
                      </a:lnTo>
                      <a:lnTo>
                        <a:pt x="3026" y="507"/>
                      </a:lnTo>
                      <a:lnTo>
                        <a:pt x="3002" y="505"/>
                      </a:lnTo>
                      <a:lnTo>
                        <a:pt x="715" y="507"/>
                      </a:lnTo>
                      <a:lnTo>
                        <a:pt x="656" y="507"/>
                      </a:lnTo>
                      <a:lnTo>
                        <a:pt x="595" y="507"/>
                      </a:lnTo>
                      <a:lnTo>
                        <a:pt x="529" y="507"/>
                      </a:lnTo>
                      <a:lnTo>
                        <a:pt x="529" y="3382"/>
                      </a:lnTo>
                      <a:lnTo>
                        <a:pt x="3405" y="3382"/>
                      </a:lnTo>
                      <a:lnTo>
                        <a:pt x="3406" y="2980"/>
                      </a:lnTo>
                      <a:lnTo>
                        <a:pt x="3406" y="2584"/>
                      </a:lnTo>
                      <a:lnTo>
                        <a:pt x="3406" y="2191"/>
                      </a:lnTo>
                      <a:lnTo>
                        <a:pt x="3403" y="1799"/>
                      </a:lnTo>
                      <a:lnTo>
                        <a:pt x="3404" y="1751"/>
                      </a:lnTo>
                      <a:lnTo>
                        <a:pt x="3410" y="1706"/>
                      </a:lnTo>
                      <a:lnTo>
                        <a:pt x="3421" y="1665"/>
                      </a:lnTo>
                      <a:lnTo>
                        <a:pt x="3437" y="1627"/>
                      </a:lnTo>
                      <a:lnTo>
                        <a:pt x="3460" y="1591"/>
                      </a:lnTo>
                      <a:lnTo>
                        <a:pt x="3489" y="1557"/>
                      </a:lnTo>
                      <a:lnTo>
                        <a:pt x="3524" y="1524"/>
                      </a:lnTo>
                      <a:lnTo>
                        <a:pt x="3598" y="1461"/>
                      </a:lnTo>
                      <a:lnTo>
                        <a:pt x="3674" y="1394"/>
                      </a:lnTo>
                      <a:lnTo>
                        <a:pt x="3747" y="1324"/>
                      </a:lnTo>
                      <a:lnTo>
                        <a:pt x="3825" y="1250"/>
                      </a:lnTo>
                      <a:lnTo>
                        <a:pt x="3907" y="1173"/>
                      </a:lnTo>
                      <a:lnTo>
                        <a:pt x="3907" y="1724"/>
                      </a:lnTo>
                      <a:lnTo>
                        <a:pt x="3907" y="2271"/>
                      </a:lnTo>
                      <a:lnTo>
                        <a:pt x="3907" y="2815"/>
                      </a:lnTo>
                      <a:lnTo>
                        <a:pt x="3907" y="3356"/>
                      </a:lnTo>
                      <a:lnTo>
                        <a:pt x="3907" y="3900"/>
                      </a:lnTo>
                      <a:lnTo>
                        <a:pt x="0" y="3900"/>
                      </a:lnTo>
                      <a:lnTo>
                        <a:pt x="0"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sp>
              <p:nvSpPr>
                <p:cNvPr id="103" name="Freeform 9"/>
                <p:cNvSpPr>
                  <a:spLocks/>
                </p:cNvSpPr>
                <p:nvPr/>
              </p:nvSpPr>
              <p:spPr bwMode="auto">
                <a:xfrm>
                  <a:off x="-2894015" y="3256364"/>
                  <a:ext cx="1548511" cy="1351170"/>
                </a:xfrm>
                <a:custGeom>
                  <a:avLst/>
                  <a:gdLst>
                    <a:gd name="T0" fmla="*/ 3078 w 3078"/>
                    <a:gd name="T1" fmla="*/ 0 h 2682"/>
                    <a:gd name="T2" fmla="*/ 3078 w 3078"/>
                    <a:gd name="T3" fmla="*/ 157 h 2682"/>
                    <a:gd name="T4" fmla="*/ 3078 w 3078"/>
                    <a:gd name="T5" fmla="*/ 303 h 2682"/>
                    <a:gd name="T6" fmla="*/ 3078 w 3078"/>
                    <a:gd name="T7" fmla="*/ 315 h 2682"/>
                    <a:gd name="T8" fmla="*/ 3078 w 3078"/>
                    <a:gd name="T9" fmla="*/ 454 h 2682"/>
                    <a:gd name="T10" fmla="*/ 3077 w 3078"/>
                    <a:gd name="T11" fmla="*/ 597 h 2682"/>
                    <a:gd name="T12" fmla="*/ 3076 w 3078"/>
                    <a:gd name="T13" fmla="*/ 739 h 2682"/>
                    <a:gd name="T14" fmla="*/ 3072 w 3078"/>
                    <a:gd name="T15" fmla="*/ 755 h 2682"/>
                    <a:gd name="T16" fmla="*/ 3062 w 3078"/>
                    <a:gd name="T17" fmla="*/ 770 h 2682"/>
                    <a:gd name="T18" fmla="*/ 3050 w 3078"/>
                    <a:gd name="T19" fmla="*/ 787 h 2682"/>
                    <a:gd name="T20" fmla="*/ 3036 w 3078"/>
                    <a:gd name="T21" fmla="*/ 801 h 2682"/>
                    <a:gd name="T22" fmla="*/ 3023 w 3078"/>
                    <a:gd name="T23" fmla="*/ 814 h 2682"/>
                    <a:gd name="T24" fmla="*/ 1096 w 3078"/>
                    <a:gd name="T25" fmla="*/ 2666 h 2682"/>
                    <a:gd name="T26" fmla="*/ 1090 w 3078"/>
                    <a:gd name="T27" fmla="*/ 2669 h 2682"/>
                    <a:gd name="T28" fmla="*/ 1082 w 3078"/>
                    <a:gd name="T29" fmla="*/ 2673 h 2682"/>
                    <a:gd name="T30" fmla="*/ 1071 w 3078"/>
                    <a:gd name="T31" fmla="*/ 2676 h 2682"/>
                    <a:gd name="T32" fmla="*/ 1057 w 3078"/>
                    <a:gd name="T33" fmla="*/ 2682 h 2682"/>
                    <a:gd name="T34" fmla="*/ 531 w 3078"/>
                    <a:gd name="T35" fmla="*/ 2131 h 2682"/>
                    <a:gd name="T36" fmla="*/ 0 w 3078"/>
                    <a:gd name="T37" fmla="*/ 1576 h 2682"/>
                    <a:gd name="T38" fmla="*/ 83 w 3078"/>
                    <a:gd name="T39" fmla="*/ 1491 h 2682"/>
                    <a:gd name="T40" fmla="*/ 163 w 3078"/>
                    <a:gd name="T41" fmla="*/ 1408 h 2682"/>
                    <a:gd name="T42" fmla="*/ 240 w 3078"/>
                    <a:gd name="T43" fmla="*/ 1331 h 2682"/>
                    <a:gd name="T44" fmla="*/ 314 w 3078"/>
                    <a:gd name="T45" fmla="*/ 1256 h 2682"/>
                    <a:gd name="T46" fmla="*/ 383 w 3078"/>
                    <a:gd name="T47" fmla="*/ 1184 h 2682"/>
                    <a:gd name="T48" fmla="*/ 562 w 3078"/>
                    <a:gd name="T49" fmla="*/ 1347 h 2682"/>
                    <a:gd name="T50" fmla="*/ 739 w 3078"/>
                    <a:gd name="T51" fmla="*/ 1511 h 2682"/>
                    <a:gd name="T52" fmla="*/ 918 w 3078"/>
                    <a:gd name="T53" fmla="*/ 1674 h 2682"/>
                    <a:gd name="T54" fmla="*/ 1099 w 3078"/>
                    <a:gd name="T55" fmla="*/ 1840 h 2682"/>
                    <a:gd name="T56" fmla="*/ 1374 w 3078"/>
                    <a:gd name="T57" fmla="*/ 1584 h 2682"/>
                    <a:gd name="T58" fmla="*/ 1651 w 3078"/>
                    <a:gd name="T59" fmla="*/ 1326 h 2682"/>
                    <a:gd name="T60" fmla="*/ 1930 w 3078"/>
                    <a:gd name="T61" fmla="*/ 1066 h 2682"/>
                    <a:gd name="T62" fmla="*/ 2213 w 3078"/>
                    <a:gd name="T63" fmla="*/ 804 h 2682"/>
                    <a:gd name="T64" fmla="*/ 2498 w 3078"/>
                    <a:gd name="T65" fmla="*/ 539 h 2682"/>
                    <a:gd name="T66" fmla="*/ 2786 w 3078"/>
                    <a:gd name="T67" fmla="*/ 270 h 2682"/>
                    <a:gd name="T68" fmla="*/ 3078 w 3078"/>
                    <a:gd name="T69" fmla="*/ 0 h 2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8" h="2682">
                      <a:moveTo>
                        <a:pt x="3078" y="0"/>
                      </a:moveTo>
                      <a:lnTo>
                        <a:pt x="3078" y="157"/>
                      </a:lnTo>
                      <a:lnTo>
                        <a:pt x="3078" y="303"/>
                      </a:lnTo>
                      <a:lnTo>
                        <a:pt x="3078" y="315"/>
                      </a:lnTo>
                      <a:lnTo>
                        <a:pt x="3078" y="454"/>
                      </a:lnTo>
                      <a:lnTo>
                        <a:pt x="3077" y="597"/>
                      </a:lnTo>
                      <a:lnTo>
                        <a:pt x="3076" y="739"/>
                      </a:lnTo>
                      <a:lnTo>
                        <a:pt x="3072" y="755"/>
                      </a:lnTo>
                      <a:lnTo>
                        <a:pt x="3062" y="770"/>
                      </a:lnTo>
                      <a:lnTo>
                        <a:pt x="3050" y="787"/>
                      </a:lnTo>
                      <a:lnTo>
                        <a:pt x="3036" y="801"/>
                      </a:lnTo>
                      <a:lnTo>
                        <a:pt x="3023" y="814"/>
                      </a:lnTo>
                      <a:lnTo>
                        <a:pt x="1096" y="2666"/>
                      </a:lnTo>
                      <a:lnTo>
                        <a:pt x="1090" y="2669"/>
                      </a:lnTo>
                      <a:lnTo>
                        <a:pt x="1082" y="2673"/>
                      </a:lnTo>
                      <a:lnTo>
                        <a:pt x="1071" y="2676"/>
                      </a:lnTo>
                      <a:lnTo>
                        <a:pt x="1057" y="2682"/>
                      </a:lnTo>
                      <a:lnTo>
                        <a:pt x="531" y="2131"/>
                      </a:lnTo>
                      <a:lnTo>
                        <a:pt x="0" y="1576"/>
                      </a:lnTo>
                      <a:lnTo>
                        <a:pt x="83" y="1491"/>
                      </a:lnTo>
                      <a:lnTo>
                        <a:pt x="163" y="1408"/>
                      </a:lnTo>
                      <a:lnTo>
                        <a:pt x="240" y="1331"/>
                      </a:lnTo>
                      <a:lnTo>
                        <a:pt x="314" y="1256"/>
                      </a:lnTo>
                      <a:lnTo>
                        <a:pt x="383" y="1184"/>
                      </a:lnTo>
                      <a:lnTo>
                        <a:pt x="562" y="1347"/>
                      </a:lnTo>
                      <a:lnTo>
                        <a:pt x="739" y="1511"/>
                      </a:lnTo>
                      <a:lnTo>
                        <a:pt x="918" y="1674"/>
                      </a:lnTo>
                      <a:lnTo>
                        <a:pt x="1099" y="1840"/>
                      </a:lnTo>
                      <a:lnTo>
                        <a:pt x="1374" y="1584"/>
                      </a:lnTo>
                      <a:lnTo>
                        <a:pt x="1651" y="1326"/>
                      </a:lnTo>
                      <a:lnTo>
                        <a:pt x="1930" y="1066"/>
                      </a:lnTo>
                      <a:lnTo>
                        <a:pt x="2213" y="804"/>
                      </a:lnTo>
                      <a:lnTo>
                        <a:pt x="2498" y="539"/>
                      </a:lnTo>
                      <a:lnTo>
                        <a:pt x="2786" y="270"/>
                      </a:lnTo>
                      <a:lnTo>
                        <a:pt x="3078"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grpSp>
          <p:cxnSp>
            <p:nvCxnSpPr>
              <p:cNvPr id="113" name="Straight Arrow Connector 112"/>
              <p:cNvCxnSpPr>
                <a:stCxn id="51" idx="2"/>
                <a:endCxn id="47" idx="0"/>
              </p:cNvCxnSpPr>
              <p:nvPr/>
            </p:nvCxnSpPr>
            <p:spPr>
              <a:xfrm>
                <a:off x="2206556" y="5008650"/>
                <a:ext cx="1935" cy="502457"/>
              </a:xfrm>
              <a:prstGeom prst="straightConnector1">
                <a:avLst/>
              </a:prstGeom>
              <a:ln w="28575">
                <a:solidFill>
                  <a:schemeClr val="bg1">
                    <a:lumMod val="65000"/>
                  </a:schemeClr>
                </a:solidFill>
                <a:headEnd type="oval" w="lg" len="lg"/>
                <a:tailEnd type="none" w="lg" len="med"/>
              </a:ln>
            </p:spPr>
            <p:style>
              <a:lnRef idx="1">
                <a:schemeClr val="accent1"/>
              </a:lnRef>
              <a:fillRef idx="0">
                <a:schemeClr val="accent1"/>
              </a:fillRef>
              <a:effectRef idx="0">
                <a:schemeClr val="accent1"/>
              </a:effectRef>
              <a:fontRef idx="minor">
                <a:schemeClr val="tx1"/>
              </a:fontRef>
            </p:style>
          </p:cxnSp>
        </p:grpSp>
        <p:grpSp>
          <p:nvGrpSpPr>
            <p:cNvPr id="26" name="Group 25"/>
            <p:cNvGrpSpPr/>
            <p:nvPr/>
          </p:nvGrpSpPr>
          <p:grpSpPr>
            <a:xfrm>
              <a:off x="5244407" y="2087206"/>
              <a:ext cx="3206587" cy="3034089"/>
              <a:chOff x="5244407" y="2087206"/>
              <a:chExt cx="3206587" cy="3034089"/>
            </a:xfrm>
          </p:grpSpPr>
          <p:sp>
            <p:nvSpPr>
              <p:cNvPr id="56" name="Rectangle 55"/>
              <p:cNvSpPr/>
              <p:nvPr/>
            </p:nvSpPr>
            <p:spPr>
              <a:xfrm>
                <a:off x="6984439" y="4628852"/>
                <a:ext cx="1466555" cy="492443"/>
              </a:xfrm>
              <a:prstGeom prst="rect">
                <a:avLst/>
              </a:prstGeom>
            </p:spPr>
            <p:txBody>
              <a:bodyPr wrap="none" lIns="0" tIns="0" rIns="0" bIns="0" anchor="ctr">
                <a:spAutoFit/>
              </a:bodyPr>
              <a:lstStyle/>
              <a:p>
                <a:r>
                  <a:rPr lang="en-US" sz="1600" dirty="0">
                    <a:ln w="3175">
                      <a:noFill/>
                    </a:ln>
                    <a:solidFill>
                      <a:schemeClr val="tx2"/>
                    </a:solidFill>
                    <a:latin typeface="Segoe UI Semibold" panose="020B0702040204020203" pitchFamily="34" charset="0"/>
                    <a:cs typeface="Segoe UI" pitchFamily="34" charset="0"/>
                  </a:rPr>
                  <a:t>Assume breach </a:t>
                </a:r>
                <a:r>
                  <a:rPr lang="en-US" sz="1600" dirty="0" smtClean="0">
                    <a:ln w="3175">
                      <a:noFill/>
                    </a:ln>
                    <a:solidFill>
                      <a:schemeClr val="tx2"/>
                    </a:solidFill>
                    <a:latin typeface="Segoe UI Semibold" panose="020B0702040204020203" pitchFamily="34" charset="0"/>
                    <a:cs typeface="Segoe UI" pitchFamily="34" charset="0"/>
                  </a:rPr>
                  <a:t/>
                </a:r>
                <a:br>
                  <a:rPr lang="en-US" sz="1600" dirty="0" smtClean="0">
                    <a:ln w="3175">
                      <a:noFill/>
                    </a:ln>
                    <a:solidFill>
                      <a:schemeClr val="tx2"/>
                    </a:solidFill>
                    <a:latin typeface="Segoe UI Semibold" panose="020B0702040204020203" pitchFamily="34" charset="0"/>
                    <a:cs typeface="Segoe UI" pitchFamily="34" charset="0"/>
                  </a:rPr>
                </a:br>
                <a:r>
                  <a:rPr lang="en-US" sz="1600" dirty="0" smtClean="0">
                    <a:ln w="3175">
                      <a:noFill/>
                    </a:ln>
                    <a:solidFill>
                      <a:schemeClr val="tx2"/>
                    </a:solidFill>
                    <a:latin typeface="Segoe UI Semibold" panose="020B0702040204020203" pitchFamily="34" charset="0"/>
                    <a:cs typeface="Segoe UI" pitchFamily="34" charset="0"/>
                  </a:rPr>
                  <a:t>simulation</a:t>
                </a:r>
                <a:endParaRPr lang="en-US" sz="1600" dirty="0">
                  <a:ln w="3175">
                    <a:noFill/>
                  </a:ln>
                  <a:solidFill>
                    <a:schemeClr val="tx2"/>
                  </a:solidFill>
                  <a:latin typeface="Segoe UI Semibold" panose="020B0702040204020203" pitchFamily="34" charset="0"/>
                  <a:cs typeface="Segoe UI" pitchFamily="34" charset="0"/>
                </a:endParaRPr>
              </a:p>
            </p:txBody>
          </p:sp>
          <p:sp>
            <p:nvSpPr>
              <p:cNvPr id="114" name="Rectangle 113"/>
              <p:cNvSpPr/>
              <p:nvPr/>
            </p:nvSpPr>
            <p:spPr bwMode="auto">
              <a:xfrm>
                <a:off x="5244407" y="2087206"/>
                <a:ext cx="2418974" cy="158255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r>
                  <a:rPr lang="en-IN" sz="1200" dirty="0">
                    <a:ln w="3175">
                      <a:noFill/>
                    </a:ln>
                    <a:solidFill>
                      <a:schemeClr val="bg1"/>
                    </a:solidFill>
                    <a:cs typeface="Segoe UI" pitchFamily="34" charset="0"/>
                  </a:rPr>
                  <a:t>Dedicated security expert “red team” that simulate real-world attacks at network, platform, and application layers, testing the ability of Azure to detect, protect against, and recover from breaches. </a:t>
                </a:r>
              </a:p>
            </p:txBody>
          </p:sp>
          <p:cxnSp>
            <p:nvCxnSpPr>
              <p:cNvPr id="116" name="Straight Arrow Connector 115"/>
              <p:cNvCxnSpPr>
                <a:stCxn id="114" idx="2"/>
              </p:cNvCxnSpPr>
              <p:nvPr/>
            </p:nvCxnSpPr>
            <p:spPr>
              <a:xfrm flipH="1">
                <a:off x="6449744" y="3669764"/>
                <a:ext cx="4151" cy="505022"/>
              </a:xfrm>
              <a:prstGeom prst="straightConnector1">
                <a:avLst/>
              </a:prstGeom>
              <a:ln w="28575">
                <a:solidFill>
                  <a:schemeClr val="bg1">
                    <a:lumMod val="65000"/>
                  </a:schemeClr>
                </a:solidFill>
                <a:headEnd type="oval" w="lg" len="lg"/>
                <a:tailEnd type="none" w="lg" len="med"/>
              </a:ln>
            </p:spPr>
            <p:style>
              <a:lnRef idx="1">
                <a:schemeClr val="accent1"/>
              </a:lnRef>
              <a:fillRef idx="0">
                <a:schemeClr val="accent1"/>
              </a:fillRef>
              <a:effectRef idx="0">
                <a:schemeClr val="accent1"/>
              </a:effectRef>
              <a:fontRef idx="minor">
                <a:schemeClr val="tx1"/>
              </a:fontRef>
            </p:style>
          </p:cxnSp>
          <p:sp>
            <p:nvSpPr>
              <p:cNvPr id="98" name="Oval 97"/>
              <p:cNvSpPr/>
              <p:nvPr/>
            </p:nvSpPr>
            <p:spPr bwMode="auto">
              <a:xfrm>
                <a:off x="6141349" y="4234478"/>
                <a:ext cx="765160" cy="765160"/>
              </a:xfrm>
              <a:prstGeom prst="ellipse">
                <a:avLst/>
              </a:prstGeom>
              <a:solidFill>
                <a:schemeClr val="bg1"/>
              </a:solidFill>
              <a:ln w="412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380990" indent="-380990" algn="ctr" defTabSz="914173" fontAlgn="base">
                  <a:spcBef>
                    <a:spcPct val="0"/>
                  </a:spcBef>
                  <a:spcAft>
                    <a:spcPct val="0"/>
                  </a:spcAft>
                  <a:buFont typeface="Arial" panose="020B0604020202020204" pitchFamily="34" charset="0"/>
                  <a:buChar char="•"/>
                </a:pPr>
                <a:endParaRPr lang="en-US" sz="2133" dirty="0">
                  <a:gradFill>
                    <a:gsLst>
                      <a:gs pos="0">
                        <a:srgbClr val="FFFFFF"/>
                      </a:gs>
                      <a:gs pos="100000">
                        <a:srgbClr val="FFFFFF"/>
                      </a:gs>
                    </a:gsLst>
                    <a:lin ang="5400000" scaled="0"/>
                  </a:gradFill>
                </a:endParaRPr>
              </a:p>
            </p:txBody>
          </p:sp>
          <p:grpSp>
            <p:nvGrpSpPr>
              <p:cNvPr id="104" name="Group 103"/>
              <p:cNvGrpSpPr/>
              <p:nvPr/>
            </p:nvGrpSpPr>
            <p:grpSpPr>
              <a:xfrm>
                <a:off x="6351993" y="4442499"/>
                <a:ext cx="324107" cy="316016"/>
                <a:chOff x="5147363" y="879493"/>
                <a:chExt cx="1649081" cy="1607913"/>
              </a:xfrm>
              <a:solidFill>
                <a:schemeClr val="accent1"/>
              </a:solidFill>
            </p:grpSpPr>
            <p:sp>
              <p:nvSpPr>
                <p:cNvPr id="105" name="Freeform 8"/>
                <p:cNvSpPr>
                  <a:spLocks/>
                </p:cNvSpPr>
                <p:nvPr/>
              </p:nvSpPr>
              <p:spPr bwMode="auto">
                <a:xfrm>
                  <a:off x="5147363" y="939589"/>
                  <a:ext cx="1550989" cy="1547817"/>
                </a:xfrm>
                <a:custGeom>
                  <a:avLst/>
                  <a:gdLst>
                    <a:gd name="T0" fmla="*/ 0 w 3907"/>
                    <a:gd name="T1" fmla="*/ 0 h 3900"/>
                    <a:gd name="T2" fmla="*/ 3706 w 3907"/>
                    <a:gd name="T3" fmla="*/ 0 h 3900"/>
                    <a:gd name="T4" fmla="*/ 3609 w 3907"/>
                    <a:gd name="T5" fmla="*/ 87 h 3900"/>
                    <a:gd name="T6" fmla="*/ 3516 w 3907"/>
                    <a:gd name="T7" fmla="*/ 171 h 3900"/>
                    <a:gd name="T8" fmla="*/ 3425 w 3907"/>
                    <a:gd name="T9" fmla="*/ 254 h 3900"/>
                    <a:gd name="T10" fmla="*/ 3336 w 3907"/>
                    <a:gd name="T11" fmla="*/ 334 h 3900"/>
                    <a:gd name="T12" fmla="*/ 3246 w 3907"/>
                    <a:gd name="T13" fmla="*/ 412 h 3900"/>
                    <a:gd name="T14" fmla="*/ 3157 w 3907"/>
                    <a:gd name="T15" fmla="*/ 489 h 3900"/>
                    <a:gd name="T16" fmla="*/ 3140 w 3907"/>
                    <a:gd name="T17" fmla="*/ 498 h 3900"/>
                    <a:gd name="T18" fmla="*/ 3121 w 3907"/>
                    <a:gd name="T19" fmla="*/ 504 h 3900"/>
                    <a:gd name="T20" fmla="*/ 3098 w 3907"/>
                    <a:gd name="T21" fmla="*/ 507 h 3900"/>
                    <a:gd name="T22" fmla="*/ 3075 w 3907"/>
                    <a:gd name="T23" fmla="*/ 508 h 3900"/>
                    <a:gd name="T24" fmla="*/ 3050 w 3907"/>
                    <a:gd name="T25" fmla="*/ 507 h 3900"/>
                    <a:gd name="T26" fmla="*/ 3026 w 3907"/>
                    <a:gd name="T27" fmla="*/ 507 h 3900"/>
                    <a:gd name="T28" fmla="*/ 3002 w 3907"/>
                    <a:gd name="T29" fmla="*/ 505 h 3900"/>
                    <a:gd name="T30" fmla="*/ 715 w 3907"/>
                    <a:gd name="T31" fmla="*/ 507 h 3900"/>
                    <a:gd name="T32" fmla="*/ 656 w 3907"/>
                    <a:gd name="T33" fmla="*/ 507 h 3900"/>
                    <a:gd name="T34" fmla="*/ 595 w 3907"/>
                    <a:gd name="T35" fmla="*/ 507 h 3900"/>
                    <a:gd name="T36" fmla="*/ 529 w 3907"/>
                    <a:gd name="T37" fmla="*/ 507 h 3900"/>
                    <a:gd name="T38" fmla="*/ 529 w 3907"/>
                    <a:gd name="T39" fmla="*/ 3382 h 3900"/>
                    <a:gd name="T40" fmla="*/ 3405 w 3907"/>
                    <a:gd name="T41" fmla="*/ 3382 h 3900"/>
                    <a:gd name="T42" fmla="*/ 3406 w 3907"/>
                    <a:gd name="T43" fmla="*/ 2980 h 3900"/>
                    <a:gd name="T44" fmla="*/ 3406 w 3907"/>
                    <a:gd name="T45" fmla="*/ 2584 h 3900"/>
                    <a:gd name="T46" fmla="*/ 3406 w 3907"/>
                    <a:gd name="T47" fmla="*/ 2191 h 3900"/>
                    <a:gd name="T48" fmla="*/ 3403 w 3907"/>
                    <a:gd name="T49" fmla="*/ 1799 h 3900"/>
                    <a:gd name="T50" fmla="*/ 3404 w 3907"/>
                    <a:gd name="T51" fmla="*/ 1751 h 3900"/>
                    <a:gd name="T52" fmla="*/ 3410 w 3907"/>
                    <a:gd name="T53" fmla="*/ 1706 h 3900"/>
                    <a:gd name="T54" fmla="*/ 3421 w 3907"/>
                    <a:gd name="T55" fmla="*/ 1665 h 3900"/>
                    <a:gd name="T56" fmla="*/ 3437 w 3907"/>
                    <a:gd name="T57" fmla="*/ 1627 h 3900"/>
                    <a:gd name="T58" fmla="*/ 3460 w 3907"/>
                    <a:gd name="T59" fmla="*/ 1591 h 3900"/>
                    <a:gd name="T60" fmla="*/ 3489 w 3907"/>
                    <a:gd name="T61" fmla="*/ 1557 h 3900"/>
                    <a:gd name="T62" fmla="*/ 3524 w 3907"/>
                    <a:gd name="T63" fmla="*/ 1524 h 3900"/>
                    <a:gd name="T64" fmla="*/ 3598 w 3907"/>
                    <a:gd name="T65" fmla="*/ 1461 h 3900"/>
                    <a:gd name="T66" fmla="*/ 3674 w 3907"/>
                    <a:gd name="T67" fmla="*/ 1394 h 3900"/>
                    <a:gd name="T68" fmla="*/ 3747 w 3907"/>
                    <a:gd name="T69" fmla="*/ 1324 h 3900"/>
                    <a:gd name="T70" fmla="*/ 3825 w 3907"/>
                    <a:gd name="T71" fmla="*/ 1250 h 3900"/>
                    <a:gd name="T72" fmla="*/ 3907 w 3907"/>
                    <a:gd name="T73" fmla="*/ 1173 h 3900"/>
                    <a:gd name="T74" fmla="*/ 3907 w 3907"/>
                    <a:gd name="T75" fmla="*/ 1724 h 3900"/>
                    <a:gd name="T76" fmla="*/ 3907 w 3907"/>
                    <a:gd name="T77" fmla="*/ 2271 h 3900"/>
                    <a:gd name="T78" fmla="*/ 3907 w 3907"/>
                    <a:gd name="T79" fmla="*/ 2815 h 3900"/>
                    <a:gd name="T80" fmla="*/ 3907 w 3907"/>
                    <a:gd name="T81" fmla="*/ 3356 h 3900"/>
                    <a:gd name="T82" fmla="*/ 3907 w 3907"/>
                    <a:gd name="T83" fmla="*/ 3900 h 3900"/>
                    <a:gd name="T84" fmla="*/ 0 w 3907"/>
                    <a:gd name="T85" fmla="*/ 3900 h 3900"/>
                    <a:gd name="T86" fmla="*/ 0 w 3907"/>
                    <a:gd name="T87"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7" h="3900">
                      <a:moveTo>
                        <a:pt x="0" y="0"/>
                      </a:moveTo>
                      <a:lnTo>
                        <a:pt x="3706" y="0"/>
                      </a:lnTo>
                      <a:lnTo>
                        <a:pt x="3609" y="87"/>
                      </a:lnTo>
                      <a:lnTo>
                        <a:pt x="3516" y="171"/>
                      </a:lnTo>
                      <a:lnTo>
                        <a:pt x="3425" y="254"/>
                      </a:lnTo>
                      <a:lnTo>
                        <a:pt x="3336" y="334"/>
                      </a:lnTo>
                      <a:lnTo>
                        <a:pt x="3246" y="412"/>
                      </a:lnTo>
                      <a:lnTo>
                        <a:pt x="3157" y="489"/>
                      </a:lnTo>
                      <a:lnTo>
                        <a:pt x="3140" y="498"/>
                      </a:lnTo>
                      <a:lnTo>
                        <a:pt x="3121" y="504"/>
                      </a:lnTo>
                      <a:lnTo>
                        <a:pt x="3098" y="507"/>
                      </a:lnTo>
                      <a:lnTo>
                        <a:pt x="3075" y="508"/>
                      </a:lnTo>
                      <a:lnTo>
                        <a:pt x="3050" y="507"/>
                      </a:lnTo>
                      <a:lnTo>
                        <a:pt x="3026" y="507"/>
                      </a:lnTo>
                      <a:lnTo>
                        <a:pt x="3002" y="505"/>
                      </a:lnTo>
                      <a:lnTo>
                        <a:pt x="715" y="507"/>
                      </a:lnTo>
                      <a:lnTo>
                        <a:pt x="656" y="507"/>
                      </a:lnTo>
                      <a:lnTo>
                        <a:pt x="595" y="507"/>
                      </a:lnTo>
                      <a:lnTo>
                        <a:pt x="529" y="507"/>
                      </a:lnTo>
                      <a:lnTo>
                        <a:pt x="529" y="3382"/>
                      </a:lnTo>
                      <a:lnTo>
                        <a:pt x="3405" y="3382"/>
                      </a:lnTo>
                      <a:lnTo>
                        <a:pt x="3406" y="2980"/>
                      </a:lnTo>
                      <a:lnTo>
                        <a:pt x="3406" y="2584"/>
                      </a:lnTo>
                      <a:lnTo>
                        <a:pt x="3406" y="2191"/>
                      </a:lnTo>
                      <a:lnTo>
                        <a:pt x="3403" y="1799"/>
                      </a:lnTo>
                      <a:lnTo>
                        <a:pt x="3404" y="1751"/>
                      </a:lnTo>
                      <a:lnTo>
                        <a:pt x="3410" y="1706"/>
                      </a:lnTo>
                      <a:lnTo>
                        <a:pt x="3421" y="1665"/>
                      </a:lnTo>
                      <a:lnTo>
                        <a:pt x="3437" y="1627"/>
                      </a:lnTo>
                      <a:lnTo>
                        <a:pt x="3460" y="1591"/>
                      </a:lnTo>
                      <a:lnTo>
                        <a:pt x="3489" y="1557"/>
                      </a:lnTo>
                      <a:lnTo>
                        <a:pt x="3524" y="1524"/>
                      </a:lnTo>
                      <a:lnTo>
                        <a:pt x="3598" y="1461"/>
                      </a:lnTo>
                      <a:lnTo>
                        <a:pt x="3674" y="1394"/>
                      </a:lnTo>
                      <a:lnTo>
                        <a:pt x="3747" y="1324"/>
                      </a:lnTo>
                      <a:lnTo>
                        <a:pt x="3825" y="1250"/>
                      </a:lnTo>
                      <a:lnTo>
                        <a:pt x="3907" y="1173"/>
                      </a:lnTo>
                      <a:lnTo>
                        <a:pt x="3907" y="1724"/>
                      </a:lnTo>
                      <a:lnTo>
                        <a:pt x="3907" y="2271"/>
                      </a:lnTo>
                      <a:lnTo>
                        <a:pt x="3907" y="2815"/>
                      </a:lnTo>
                      <a:lnTo>
                        <a:pt x="3907" y="3356"/>
                      </a:lnTo>
                      <a:lnTo>
                        <a:pt x="3907" y="3900"/>
                      </a:lnTo>
                      <a:lnTo>
                        <a:pt x="0" y="3900"/>
                      </a:lnTo>
                      <a:lnTo>
                        <a:pt x="0"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sp>
              <p:nvSpPr>
                <p:cNvPr id="106" name="Freeform 9"/>
                <p:cNvSpPr>
                  <a:spLocks/>
                </p:cNvSpPr>
                <p:nvPr/>
              </p:nvSpPr>
              <p:spPr bwMode="auto">
                <a:xfrm>
                  <a:off x="5247933" y="879493"/>
                  <a:ext cx="1548511" cy="1351171"/>
                </a:xfrm>
                <a:custGeom>
                  <a:avLst/>
                  <a:gdLst>
                    <a:gd name="T0" fmla="*/ 3078 w 3078"/>
                    <a:gd name="T1" fmla="*/ 0 h 2682"/>
                    <a:gd name="T2" fmla="*/ 3078 w 3078"/>
                    <a:gd name="T3" fmla="*/ 157 h 2682"/>
                    <a:gd name="T4" fmla="*/ 3078 w 3078"/>
                    <a:gd name="T5" fmla="*/ 303 h 2682"/>
                    <a:gd name="T6" fmla="*/ 3078 w 3078"/>
                    <a:gd name="T7" fmla="*/ 315 h 2682"/>
                    <a:gd name="T8" fmla="*/ 3078 w 3078"/>
                    <a:gd name="T9" fmla="*/ 454 h 2682"/>
                    <a:gd name="T10" fmla="*/ 3077 w 3078"/>
                    <a:gd name="T11" fmla="*/ 597 h 2682"/>
                    <a:gd name="T12" fmla="*/ 3076 w 3078"/>
                    <a:gd name="T13" fmla="*/ 739 h 2682"/>
                    <a:gd name="T14" fmla="*/ 3072 w 3078"/>
                    <a:gd name="T15" fmla="*/ 755 h 2682"/>
                    <a:gd name="T16" fmla="*/ 3062 w 3078"/>
                    <a:gd name="T17" fmla="*/ 770 h 2682"/>
                    <a:gd name="T18" fmla="*/ 3050 w 3078"/>
                    <a:gd name="T19" fmla="*/ 787 h 2682"/>
                    <a:gd name="T20" fmla="*/ 3036 w 3078"/>
                    <a:gd name="T21" fmla="*/ 801 h 2682"/>
                    <a:gd name="T22" fmla="*/ 3023 w 3078"/>
                    <a:gd name="T23" fmla="*/ 814 h 2682"/>
                    <a:gd name="T24" fmla="*/ 1096 w 3078"/>
                    <a:gd name="T25" fmla="*/ 2666 h 2682"/>
                    <a:gd name="T26" fmla="*/ 1090 w 3078"/>
                    <a:gd name="T27" fmla="*/ 2669 h 2682"/>
                    <a:gd name="T28" fmla="*/ 1082 w 3078"/>
                    <a:gd name="T29" fmla="*/ 2673 h 2682"/>
                    <a:gd name="T30" fmla="*/ 1071 w 3078"/>
                    <a:gd name="T31" fmla="*/ 2676 h 2682"/>
                    <a:gd name="T32" fmla="*/ 1057 w 3078"/>
                    <a:gd name="T33" fmla="*/ 2682 h 2682"/>
                    <a:gd name="T34" fmla="*/ 531 w 3078"/>
                    <a:gd name="T35" fmla="*/ 2131 h 2682"/>
                    <a:gd name="T36" fmla="*/ 0 w 3078"/>
                    <a:gd name="T37" fmla="*/ 1576 h 2682"/>
                    <a:gd name="T38" fmla="*/ 83 w 3078"/>
                    <a:gd name="T39" fmla="*/ 1491 h 2682"/>
                    <a:gd name="T40" fmla="*/ 163 w 3078"/>
                    <a:gd name="T41" fmla="*/ 1408 h 2682"/>
                    <a:gd name="T42" fmla="*/ 240 w 3078"/>
                    <a:gd name="T43" fmla="*/ 1331 h 2682"/>
                    <a:gd name="T44" fmla="*/ 314 w 3078"/>
                    <a:gd name="T45" fmla="*/ 1256 h 2682"/>
                    <a:gd name="T46" fmla="*/ 383 w 3078"/>
                    <a:gd name="T47" fmla="*/ 1184 h 2682"/>
                    <a:gd name="T48" fmla="*/ 562 w 3078"/>
                    <a:gd name="T49" fmla="*/ 1347 h 2682"/>
                    <a:gd name="T50" fmla="*/ 739 w 3078"/>
                    <a:gd name="T51" fmla="*/ 1511 h 2682"/>
                    <a:gd name="T52" fmla="*/ 918 w 3078"/>
                    <a:gd name="T53" fmla="*/ 1674 h 2682"/>
                    <a:gd name="T54" fmla="*/ 1099 w 3078"/>
                    <a:gd name="T55" fmla="*/ 1840 h 2682"/>
                    <a:gd name="T56" fmla="*/ 1374 w 3078"/>
                    <a:gd name="T57" fmla="*/ 1584 h 2682"/>
                    <a:gd name="T58" fmla="*/ 1651 w 3078"/>
                    <a:gd name="T59" fmla="*/ 1326 h 2682"/>
                    <a:gd name="T60" fmla="*/ 1930 w 3078"/>
                    <a:gd name="T61" fmla="*/ 1066 h 2682"/>
                    <a:gd name="T62" fmla="*/ 2213 w 3078"/>
                    <a:gd name="T63" fmla="*/ 804 h 2682"/>
                    <a:gd name="T64" fmla="*/ 2498 w 3078"/>
                    <a:gd name="T65" fmla="*/ 539 h 2682"/>
                    <a:gd name="T66" fmla="*/ 2786 w 3078"/>
                    <a:gd name="T67" fmla="*/ 270 h 2682"/>
                    <a:gd name="T68" fmla="*/ 3078 w 3078"/>
                    <a:gd name="T69" fmla="*/ 0 h 2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8" h="2682">
                      <a:moveTo>
                        <a:pt x="3078" y="0"/>
                      </a:moveTo>
                      <a:lnTo>
                        <a:pt x="3078" y="157"/>
                      </a:lnTo>
                      <a:lnTo>
                        <a:pt x="3078" y="303"/>
                      </a:lnTo>
                      <a:lnTo>
                        <a:pt x="3078" y="315"/>
                      </a:lnTo>
                      <a:lnTo>
                        <a:pt x="3078" y="454"/>
                      </a:lnTo>
                      <a:lnTo>
                        <a:pt x="3077" y="597"/>
                      </a:lnTo>
                      <a:lnTo>
                        <a:pt x="3076" y="739"/>
                      </a:lnTo>
                      <a:lnTo>
                        <a:pt x="3072" y="755"/>
                      </a:lnTo>
                      <a:lnTo>
                        <a:pt x="3062" y="770"/>
                      </a:lnTo>
                      <a:lnTo>
                        <a:pt x="3050" y="787"/>
                      </a:lnTo>
                      <a:lnTo>
                        <a:pt x="3036" y="801"/>
                      </a:lnTo>
                      <a:lnTo>
                        <a:pt x="3023" y="814"/>
                      </a:lnTo>
                      <a:lnTo>
                        <a:pt x="1096" y="2666"/>
                      </a:lnTo>
                      <a:lnTo>
                        <a:pt x="1090" y="2669"/>
                      </a:lnTo>
                      <a:lnTo>
                        <a:pt x="1082" y="2673"/>
                      </a:lnTo>
                      <a:lnTo>
                        <a:pt x="1071" y="2676"/>
                      </a:lnTo>
                      <a:lnTo>
                        <a:pt x="1057" y="2682"/>
                      </a:lnTo>
                      <a:lnTo>
                        <a:pt x="531" y="2131"/>
                      </a:lnTo>
                      <a:lnTo>
                        <a:pt x="0" y="1576"/>
                      </a:lnTo>
                      <a:lnTo>
                        <a:pt x="83" y="1491"/>
                      </a:lnTo>
                      <a:lnTo>
                        <a:pt x="163" y="1408"/>
                      </a:lnTo>
                      <a:lnTo>
                        <a:pt x="240" y="1331"/>
                      </a:lnTo>
                      <a:lnTo>
                        <a:pt x="314" y="1256"/>
                      </a:lnTo>
                      <a:lnTo>
                        <a:pt x="383" y="1184"/>
                      </a:lnTo>
                      <a:lnTo>
                        <a:pt x="562" y="1347"/>
                      </a:lnTo>
                      <a:lnTo>
                        <a:pt x="739" y="1511"/>
                      </a:lnTo>
                      <a:lnTo>
                        <a:pt x="918" y="1674"/>
                      </a:lnTo>
                      <a:lnTo>
                        <a:pt x="1099" y="1840"/>
                      </a:lnTo>
                      <a:lnTo>
                        <a:pt x="1374" y="1584"/>
                      </a:lnTo>
                      <a:lnTo>
                        <a:pt x="1651" y="1326"/>
                      </a:lnTo>
                      <a:lnTo>
                        <a:pt x="1930" y="1066"/>
                      </a:lnTo>
                      <a:lnTo>
                        <a:pt x="2213" y="804"/>
                      </a:lnTo>
                      <a:lnTo>
                        <a:pt x="2498" y="539"/>
                      </a:lnTo>
                      <a:lnTo>
                        <a:pt x="2786" y="270"/>
                      </a:lnTo>
                      <a:lnTo>
                        <a:pt x="3078"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grpSp>
        </p:grpSp>
        <p:grpSp>
          <p:nvGrpSpPr>
            <p:cNvPr id="28" name="Group 27"/>
            <p:cNvGrpSpPr/>
            <p:nvPr/>
          </p:nvGrpSpPr>
          <p:grpSpPr>
            <a:xfrm>
              <a:off x="8965717" y="1549839"/>
              <a:ext cx="3062908" cy="2424361"/>
              <a:chOff x="8965717" y="1549839"/>
              <a:chExt cx="3062908" cy="2424361"/>
            </a:xfrm>
          </p:grpSpPr>
          <p:sp>
            <p:nvSpPr>
              <p:cNvPr id="120" name="Rectangle 119"/>
              <p:cNvSpPr/>
              <p:nvPr/>
            </p:nvSpPr>
            <p:spPr bwMode="auto">
              <a:xfrm>
                <a:off x="8965717" y="1549839"/>
                <a:ext cx="2418974" cy="106947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r>
                  <a:rPr lang="en-IN" sz="1200" dirty="0">
                    <a:ln w="3175">
                      <a:noFill/>
                    </a:ln>
                    <a:solidFill>
                      <a:schemeClr val="bg1"/>
                    </a:solidFill>
                    <a:cs typeface="Segoe UI" pitchFamily="34" charset="0"/>
                  </a:rPr>
                  <a:t>Global, 24x7 incident response service that works to mitigate the effects of attacks and malicious activity. </a:t>
                </a:r>
              </a:p>
            </p:txBody>
          </p:sp>
          <p:cxnSp>
            <p:nvCxnSpPr>
              <p:cNvPr id="119" name="Straight Arrow Connector 118"/>
              <p:cNvCxnSpPr/>
              <p:nvPr/>
            </p:nvCxnSpPr>
            <p:spPr>
              <a:xfrm flipH="1">
                <a:off x="10175238" y="2614634"/>
                <a:ext cx="0" cy="505025"/>
              </a:xfrm>
              <a:prstGeom prst="straightConnector1">
                <a:avLst/>
              </a:prstGeom>
              <a:ln w="28575">
                <a:solidFill>
                  <a:schemeClr val="bg1">
                    <a:lumMod val="65000"/>
                  </a:schemeClr>
                </a:solidFill>
                <a:headEnd type="oval" w="lg" len="lg"/>
                <a:tailEnd type="none" w="lg" len="med"/>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10687559" y="3481757"/>
                <a:ext cx="1341066" cy="492443"/>
              </a:xfrm>
              <a:prstGeom prst="rect">
                <a:avLst/>
              </a:prstGeom>
            </p:spPr>
            <p:txBody>
              <a:bodyPr wrap="square" lIns="0" tIns="0" rIns="0" bIns="0" anchor="ctr">
                <a:spAutoFit/>
              </a:bodyPr>
              <a:lstStyle/>
              <a:p>
                <a:pPr>
                  <a:defRPr/>
                </a:pPr>
                <a:r>
                  <a:rPr lang="en-US" sz="1600" dirty="0">
                    <a:ln w="3175">
                      <a:noFill/>
                    </a:ln>
                    <a:solidFill>
                      <a:schemeClr val="tx2"/>
                    </a:solidFill>
                    <a:latin typeface="Segoe UI Semibold" panose="020B0702040204020203" pitchFamily="34" charset="0"/>
                    <a:cs typeface="Segoe UI" pitchFamily="34" charset="0"/>
                  </a:rPr>
                  <a:t>Incident </a:t>
                </a:r>
                <a:r>
                  <a:rPr lang="en-US" sz="1600" dirty="0" smtClean="0">
                    <a:ln w="3175">
                      <a:noFill/>
                    </a:ln>
                    <a:solidFill>
                      <a:schemeClr val="tx2"/>
                    </a:solidFill>
                    <a:latin typeface="Segoe UI Semibold" panose="020B0702040204020203" pitchFamily="34" charset="0"/>
                    <a:cs typeface="Segoe UI" pitchFamily="34" charset="0"/>
                  </a:rPr>
                  <a:t/>
                </a:r>
                <a:br>
                  <a:rPr lang="en-US" sz="1600" dirty="0" smtClean="0">
                    <a:ln w="3175">
                      <a:noFill/>
                    </a:ln>
                    <a:solidFill>
                      <a:schemeClr val="tx2"/>
                    </a:solidFill>
                    <a:latin typeface="Segoe UI Semibold" panose="020B0702040204020203" pitchFamily="34" charset="0"/>
                    <a:cs typeface="Segoe UI" pitchFamily="34" charset="0"/>
                  </a:rPr>
                </a:br>
                <a:r>
                  <a:rPr lang="en-US" sz="1600" dirty="0" smtClean="0">
                    <a:ln w="3175">
                      <a:noFill/>
                    </a:ln>
                    <a:solidFill>
                      <a:schemeClr val="tx2"/>
                    </a:solidFill>
                    <a:latin typeface="Segoe UI Semibold" panose="020B0702040204020203" pitchFamily="34" charset="0"/>
                    <a:cs typeface="Segoe UI" pitchFamily="34" charset="0"/>
                  </a:rPr>
                  <a:t>response</a:t>
                </a:r>
                <a:endParaRPr lang="en-US" sz="1600" dirty="0">
                  <a:ln w="3175">
                    <a:noFill/>
                  </a:ln>
                  <a:solidFill>
                    <a:schemeClr val="tx2"/>
                  </a:solidFill>
                  <a:latin typeface="Segoe UI Semibold" panose="020B0702040204020203" pitchFamily="34" charset="0"/>
                  <a:cs typeface="Segoe UI" pitchFamily="34" charset="0"/>
                </a:endParaRPr>
              </a:p>
            </p:txBody>
          </p:sp>
          <p:sp>
            <p:nvSpPr>
              <p:cNvPr id="69" name="Oval 68"/>
              <p:cNvSpPr/>
              <p:nvPr/>
            </p:nvSpPr>
            <p:spPr bwMode="auto">
              <a:xfrm>
                <a:off x="9792658" y="3119659"/>
                <a:ext cx="765160" cy="765160"/>
              </a:xfrm>
              <a:prstGeom prst="ellipse">
                <a:avLst/>
              </a:prstGeom>
              <a:solidFill>
                <a:schemeClr val="bg1"/>
              </a:solidFill>
              <a:ln w="412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380990" indent="-380990" algn="ctr" defTabSz="914173" fontAlgn="base">
                  <a:spcBef>
                    <a:spcPct val="0"/>
                  </a:spcBef>
                  <a:spcAft>
                    <a:spcPct val="0"/>
                  </a:spcAft>
                  <a:buFont typeface="Arial" panose="020B0604020202020204" pitchFamily="34" charset="0"/>
                  <a:buChar char="•"/>
                </a:pPr>
                <a:endParaRPr lang="en-US" sz="2133" dirty="0">
                  <a:gradFill>
                    <a:gsLst>
                      <a:gs pos="0">
                        <a:srgbClr val="FFFFFF"/>
                      </a:gs>
                      <a:gs pos="100000">
                        <a:srgbClr val="FFFFFF"/>
                      </a:gs>
                    </a:gsLst>
                    <a:lin ang="5400000" scaled="0"/>
                  </a:gradFill>
                </a:endParaRPr>
              </a:p>
            </p:txBody>
          </p:sp>
          <p:grpSp>
            <p:nvGrpSpPr>
              <p:cNvPr id="110" name="Group 109"/>
              <p:cNvGrpSpPr/>
              <p:nvPr/>
            </p:nvGrpSpPr>
            <p:grpSpPr>
              <a:xfrm>
                <a:off x="10017203" y="3327088"/>
                <a:ext cx="369861" cy="350302"/>
                <a:chOff x="-3227388" y="3256364"/>
                <a:chExt cx="1881884" cy="1782362"/>
              </a:xfrm>
              <a:solidFill>
                <a:schemeClr val="accent1"/>
              </a:solidFill>
            </p:grpSpPr>
            <p:sp>
              <p:nvSpPr>
                <p:cNvPr id="111" name="Freeform 8"/>
                <p:cNvSpPr>
                  <a:spLocks/>
                </p:cNvSpPr>
                <p:nvPr/>
              </p:nvSpPr>
              <p:spPr bwMode="auto">
                <a:xfrm>
                  <a:off x="-3227388" y="3490913"/>
                  <a:ext cx="1550988" cy="1547813"/>
                </a:xfrm>
                <a:custGeom>
                  <a:avLst/>
                  <a:gdLst>
                    <a:gd name="T0" fmla="*/ 0 w 3907"/>
                    <a:gd name="T1" fmla="*/ 0 h 3900"/>
                    <a:gd name="T2" fmla="*/ 3706 w 3907"/>
                    <a:gd name="T3" fmla="*/ 0 h 3900"/>
                    <a:gd name="T4" fmla="*/ 3609 w 3907"/>
                    <a:gd name="T5" fmla="*/ 87 h 3900"/>
                    <a:gd name="T6" fmla="*/ 3516 w 3907"/>
                    <a:gd name="T7" fmla="*/ 171 h 3900"/>
                    <a:gd name="T8" fmla="*/ 3425 w 3907"/>
                    <a:gd name="T9" fmla="*/ 254 h 3900"/>
                    <a:gd name="T10" fmla="*/ 3336 w 3907"/>
                    <a:gd name="T11" fmla="*/ 334 h 3900"/>
                    <a:gd name="T12" fmla="*/ 3246 w 3907"/>
                    <a:gd name="T13" fmla="*/ 412 h 3900"/>
                    <a:gd name="T14" fmla="*/ 3157 w 3907"/>
                    <a:gd name="T15" fmla="*/ 489 h 3900"/>
                    <a:gd name="T16" fmla="*/ 3140 w 3907"/>
                    <a:gd name="T17" fmla="*/ 498 h 3900"/>
                    <a:gd name="T18" fmla="*/ 3121 w 3907"/>
                    <a:gd name="T19" fmla="*/ 504 h 3900"/>
                    <a:gd name="T20" fmla="*/ 3098 w 3907"/>
                    <a:gd name="T21" fmla="*/ 507 h 3900"/>
                    <a:gd name="T22" fmla="*/ 3075 w 3907"/>
                    <a:gd name="T23" fmla="*/ 508 h 3900"/>
                    <a:gd name="T24" fmla="*/ 3050 w 3907"/>
                    <a:gd name="T25" fmla="*/ 507 h 3900"/>
                    <a:gd name="T26" fmla="*/ 3026 w 3907"/>
                    <a:gd name="T27" fmla="*/ 507 h 3900"/>
                    <a:gd name="T28" fmla="*/ 3002 w 3907"/>
                    <a:gd name="T29" fmla="*/ 505 h 3900"/>
                    <a:gd name="T30" fmla="*/ 715 w 3907"/>
                    <a:gd name="T31" fmla="*/ 507 h 3900"/>
                    <a:gd name="T32" fmla="*/ 656 w 3907"/>
                    <a:gd name="T33" fmla="*/ 507 h 3900"/>
                    <a:gd name="T34" fmla="*/ 595 w 3907"/>
                    <a:gd name="T35" fmla="*/ 507 h 3900"/>
                    <a:gd name="T36" fmla="*/ 529 w 3907"/>
                    <a:gd name="T37" fmla="*/ 507 h 3900"/>
                    <a:gd name="T38" fmla="*/ 529 w 3907"/>
                    <a:gd name="T39" fmla="*/ 3382 h 3900"/>
                    <a:gd name="T40" fmla="*/ 3405 w 3907"/>
                    <a:gd name="T41" fmla="*/ 3382 h 3900"/>
                    <a:gd name="T42" fmla="*/ 3406 w 3907"/>
                    <a:gd name="T43" fmla="*/ 2980 h 3900"/>
                    <a:gd name="T44" fmla="*/ 3406 w 3907"/>
                    <a:gd name="T45" fmla="*/ 2584 h 3900"/>
                    <a:gd name="T46" fmla="*/ 3406 w 3907"/>
                    <a:gd name="T47" fmla="*/ 2191 h 3900"/>
                    <a:gd name="T48" fmla="*/ 3403 w 3907"/>
                    <a:gd name="T49" fmla="*/ 1799 h 3900"/>
                    <a:gd name="T50" fmla="*/ 3404 w 3907"/>
                    <a:gd name="T51" fmla="*/ 1751 h 3900"/>
                    <a:gd name="T52" fmla="*/ 3410 w 3907"/>
                    <a:gd name="T53" fmla="*/ 1706 h 3900"/>
                    <a:gd name="T54" fmla="*/ 3421 w 3907"/>
                    <a:gd name="T55" fmla="*/ 1665 h 3900"/>
                    <a:gd name="T56" fmla="*/ 3437 w 3907"/>
                    <a:gd name="T57" fmla="*/ 1627 h 3900"/>
                    <a:gd name="T58" fmla="*/ 3460 w 3907"/>
                    <a:gd name="T59" fmla="*/ 1591 h 3900"/>
                    <a:gd name="T60" fmla="*/ 3489 w 3907"/>
                    <a:gd name="T61" fmla="*/ 1557 h 3900"/>
                    <a:gd name="T62" fmla="*/ 3524 w 3907"/>
                    <a:gd name="T63" fmla="*/ 1524 h 3900"/>
                    <a:gd name="T64" fmla="*/ 3598 w 3907"/>
                    <a:gd name="T65" fmla="*/ 1461 h 3900"/>
                    <a:gd name="T66" fmla="*/ 3674 w 3907"/>
                    <a:gd name="T67" fmla="*/ 1394 h 3900"/>
                    <a:gd name="T68" fmla="*/ 3747 w 3907"/>
                    <a:gd name="T69" fmla="*/ 1324 h 3900"/>
                    <a:gd name="T70" fmla="*/ 3825 w 3907"/>
                    <a:gd name="T71" fmla="*/ 1250 h 3900"/>
                    <a:gd name="T72" fmla="*/ 3907 w 3907"/>
                    <a:gd name="T73" fmla="*/ 1173 h 3900"/>
                    <a:gd name="T74" fmla="*/ 3907 w 3907"/>
                    <a:gd name="T75" fmla="*/ 1724 h 3900"/>
                    <a:gd name="T76" fmla="*/ 3907 w 3907"/>
                    <a:gd name="T77" fmla="*/ 2271 h 3900"/>
                    <a:gd name="T78" fmla="*/ 3907 w 3907"/>
                    <a:gd name="T79" fmla="*/ 2815 h 3900"/>
                    <a:gd name="T80" fmla="*/ 3907 w 3907"/>
                    <a:gd name="T81" fmla="*/ 3356 h 3900"/>
                    <a:gd name="T82" fmla="*/ 3907 w 3907"/>
                    <a:gd name="T83" fmla="*/ 3900 h 3900"/>
                    <a:gd name="T84" fmla="*/ 0 w 3907"/>
                    <a:gd name="T85" fmla="*/ 3900 h 3900"/>
                    <a:gd name="T86" fmla="*/ 0 w 3907"/>
                    <a:gd name="T87"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7" h="3900">
                      <a:moveTo>
                        <a:pt x="0" y="0"/>
                      </a:moveTo>
                      <a:lnTo>
                        <a:pt x="3706" y="0"/>
                      </a:lnTo>
                      <a:lnTo>
                        <a:pt x="3609" y="87"/>
                      </a:lnTo>
                      <a:lnTo>
                        <a:pt x="3516" y="171"/>
                      </a:lnTo>
                      <a:lnTo>
                        <a:pt x="3425" y="254"/>
                      </a:lnTo>
                      <a:lnTo>
                        <a:pt x="3336" y="334"/>
                      </a:lnTo>
                      <a:lnTo>
                        <a:pt x="3246" y="412"/>
                      </a:lnTo>
                      <a:lnTo>
                        <a:pt x="3157" y="489"/>
                      </a:lnTo>
                      <a:lnTo>
                        <a:pt x="3140" y="498"/>
                      </a:lnTo>
                      <a:lnTo>
                        <a:pt x="3121" y="504"/>
                      </a:lnTo>
                      <a:lnTo>
                        <a:pt x="3098" y="507"/>
                      </a:lnTo>
                      <a:lnTo>
                        <a:pt x="3075" y="508"/>
                      </a:lnTo>
                      <a:lnTo>
                        <a:pt x="3050" y="507"/>
                      </a:lnTo>
                      <a:lnTo>
                        <a:pt x="3026" y="507"/>
                      </a:lnTo>
                      <a:lnTo>
                        <a:pt x="3002" y="505"/>
                      </a:lnTo>
                      <a:lnTo>
                        <a:pt x="715" y="507"/>
                      </a:lnTo>
                      <a:lnTo>
                        <a:pt x="656" y="507"/>
                      </a:lnTo>
                      <a:lnTo>
                        <a:pt x="595" y="507"/>
                      </a:lnTo>
                      <a:lnTo>
                        <a:pt x="529" y="507"/>
                      </a:lnTo>
                      <a:lnTo>
                        <a:pt x="529" y="3382"/>
                      </a:lnTo>
                      <a:lnTo>
                        <a:pt x="3405" y="3382"/>
                      </a:lnTo>
                      <a:lnTo>
                        <a:pt x="3406" y="2980"/>
                      </a:lnTo>
                      <a:lnTo>
                        <a:pt x="3406" y="2584"/>
                      </a:lnTo>
                      <a:lnTo>
                        <a:pt x="3406" y="2191"/>
                      </a:lnTo>
                      <a:lnTo>
                        <a:pt x="3403" y="1799"/>
                      </a:lnTo>
                      <a:lnTo>
                        <a:pt x="3404" y="1751"/>
                      </a:lnTo>
                      <a:lnTo>
                        <a:pt x="3410" y="1706"/>
                      </a:lnTo>
                      <a:lnTo>
                        <a:pt x="3421" y="1665"/>
                      </a:lnTo>
                      <a:lnTo>
                        <a:pt x="3437" y="1627"/>
                      </a:lnTo>
                      <a:lnTo>
                        <a:pt x="3460" y="1591"/>
                      </a:lnTo>
                      <a:lnTo>
                        <a:pt x="3489" y="1557"/>
                      </a:lnTo>
                      <a:lnTo>
                        <a:pt x="3524" y="1524"/>
                      </a:lnTo>
                      <a:lnTo>
                        <a:pt x="3598" y="1461"/>
                      </a:lnTo>
                      <a:lnTo>
                        <a:pt x="3674" y="1394"/>
                      </a:lnTo>
                      <a:lnTo>
                        <a:pt x="3747" y="1324"/>
                      </a:lnTo>
                      <a:lnTo>
                        <a:pt x="3825" y="1250"/>
                      </a:lnTo>
                      <a:lnTo>
                        <a:pt x="3907" y="1173"/>
                      </a:lnTo>
                      <a:lnTo>
                        <a:pt x="3907" y="1724"/>
                      </a:lnTo>
                      <a:lnTo>
                        <a:pt x="3907" y="2271"/>
                      </a:lnTo>
                      <a:lnTo>
                        <a:pt x="3907" y="2815"/>
                      </a:lnTo>
                      <a:lnTo>
                        <a:pt x="3907" y="3356"/>
                      </a:lnTo>
                      <a:lnTo>
                        <a:pt x="3907" y="3900"/>
                      </a:lnTo>
                      <a:lnTo>
                        <a:pt x="0" y="3900"/>
                      </a:lnTo>
                      <a:lnTo>
                        <a:pt x="0"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sp>
              <p:nvSpPr>
                <p:cNvPr id="112" name="Freeform 9"/>
                <p:cNvSpPr>
                  <a:spLocks/>
                </p:cNvSpPr>
                <p:nvPr/>
              </p:nvSpPr>
              <p:spPr bwMode="auto">
                <a:xfrm>
                  <a:off x="-2894015" y="3256364"/>
                  <a:ext cx="1548511" cy="1351170"/>
                </a:xfrm>
                <a:custGeom>
                  <a:avLst/>
                  <a:gdLst>
                    <a:gd name="T0" fmla="*/ 3078 w 3078"/>
                    <a:gd name="T1" fmla="*/ 0 h 2682"/>
                    <a:gd name="T2" fmla="*/ 3078 w 3078"/>
                    <a:gd name="T3" fmla="*/ 157 h 2682"/>
                    <a:gd name="T4" fmla="*/ 3078 w 3078"/>
                    <a:gd name="T5" fmla="*/ 303 h 2682"/>
                    <a:gd name="T6" fmla="*/ 3078 w 3078"/>
                    <a:gd name="T7" fmla="*/ 315 h 2682"/>
                    <a:gd name="T8" fmla="*/ 3078 w 3078"/>
                    <a:gd name="T9" fmla="*/ 454 h 2682"/>
                    <a:gd name="T10" fmla="*/ 3077 w 3078"/>
                    <a:gd name="T11" fmla="*/ 597 h 2682"/>
                    <a:gd name="T12" fmla="*/ 3076 w 3078"/>
                    <a:gd name="T13" fmla="*/ 739 h 2682"/>
                    <a:gd name="T14" fmla="*/ 3072 w 3078"/>
                    <a:gd name="T15" fmla="*/ 755 h 2682"/>
                    <a:gd name="T16" fmla="*/ 3062 w 3078"/>
                    <a:gd name="T17" fmla="*/ 770 h 2682"/>
                    <a:gd name="T18" fmla="*/ 3050 w 3078"/>
                    <a:gd name="T19" fmla="*/ 787 h 2682"/>
                    <a:gd name="T20" fmla="*/ 3036 w 3078"/>
                    <a:gd name="T21" fmla="*/ 801 h 2682"/>
                    <a:gd name="T22" fmla="*/ 3023 w 3078"/>
                    <a:gd name="T23" fmla="*/ 814 h 2682"/>
                    <a:gd name="T24" fmla="*/ 1096 w 3078"/>
                    <a:gd name="T25" fmla="*/ 2666 h 2682"/>
                    <a:gd name="T26" fmla="*/ 1090 w 3078"/>
                    <a:gd name="T27" fmla="*/ 2669 h 2682"/>
                    <a:gd name="T28" fmla="*/ 1082 w 3078"/>
                    <a:gd name="T29" fmla="*/ 2673 h 2682"/>
                    <a:gd name="T30" fmla="*/ 1071 w 3078"/>
                    <a:gd name="T31" fmla="*/ 2676 h 2682"/>
                    <a:gd name="T32" fmla="*/ 1057 w 3078"/>
                    <a:gd name="T33" fmla="*/ 2682 h 2682"/>
                    <a:gd name="T34" fmla="*/ 531 w 3078"/>
                    <a:gd name="T35" fmla="*/ 2131 h 2682"/>
                    <a:gd name="T36" fmla="*/ 0 w 3078"/>
                    <a:gd name="T37" fmla="*/ 1576 h 2682"/>
                    <a:gd name="T38" fmla="*/ 83 w 3078"/>
                    <a:gd name="T39" fmla="*/ 1491 h 2682"/>
                    <a:gd name="T40" fmla="*/ 163 w 3078"/>
                    <a:gd name="T41" fmla="*/ 1408 h 2682"/>
                    <a:gd name="T42" fmla="*/ 240 w 3078"/>
                    <a:gd name="T43" fmla="*/ 1331 h 2682"/>
                    <a:gd name="T44" fmla="*/ 314 w 3078"/>
                    <a:gd name="T45" fmla="*/ 1256 h 2682"/>
                    <a:gd name="T46" fmla="*/ 383 w 3078"/>
                    <a:gd name="T47" fmla="*/ 1184 h 2682"/>
                    <a:gd name="T48" fmla="*/ 562 w 3078"/>
                    <a:gd name="T49" fmla="*/ 1347 h 2682"/>
                    <a:gd name="T50" fmla="*/ 739 w 3078"/>
                    <a:gd name="T51" fmla="*/ 1511 h 2682"/>
                    <a:gd name="T52" fmla="*/ 918 w 3078"/>
                    <a:gd name="T53" fmla="*/ 1674 h 2682"/>
                    <a:gd name="T54" fmla="*/ 1099 w 3078"/>
                    <a:gd name="T55" fmla="*/ 1840 h 2682"/>
                    <a:gd name="T56" fmla="*/ 1374 w 3078"/>
                    <a:gd name="T57" fmla="*/ 1584 h 2682"/>
                    <a:gd name="T58" fmla="*/ 1651 w 3078"/>
                    <a:gd name="T59" fmla="*/ 1326 h 2682"/>
                    <a:gd name="T60" fmla="*/ 1930 w 3078"/>
                    <a:gd name="T61" fmla="*/ 1066 h 2682"/>
                    <a:gd name="T62" fmla="*/ 2213 w 3078"/>
                    <a:gd name="T63" fmla="*/ 804 h 2682"/>
                    <a:gd name="T64" fmla="*/ 2498 w 3078"/>
                    <a:gd name="T65" fmla="*/ 539 h 2682"/>
                    <a:gd name="T66" fmla="*/ 2786 w 3078"/>
                    <a:gd name="T67" fmla="*/ 270 h 2682"/>
                    <a:gd name="T68" fmla="*/ 3078 w 3078"/>
                    <a:gd name="T69" fmla="*/ 0 h 2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8" h="2682">
                      <a:moveTo>
                        <a:pt x="3078" y="0"/>
                      </a:moveTo>
                      <a:lnTo>
                        <a:pt x="3078" y="157"/>
                      </a:lnTo>
                      <a:lnTo>
                        <a:pt x="3078" y="303"/>
                      </a:lnTo>
                      <a:lnTo>
                        <a:pt x="3078" y="315"/>
                      </a:lnTo>
                      <a:lnTo>
                        <a:pt x="3078" y="454"/>
                      </a:lnTo>
                      <a:lnTo>
                        <a:pt x="3077" y="597"/>
                      </a:lnTo>
                      <a:lnTo>
                        <a:pt x="3076" y="739"/>
                      </a:lnTo>
                      <a:lnTo>
                        <a:pt x="3072" y="755"/>
                      </a:lnTo>
                      <a:lnTo>
                        <a:pt x="3062" y="770"/>
                      </a:lnTo>
                      <a:lnTo>
                        <a:pt x="3050" y="787"/>
                      </a:lnTo>
                      <a:lnTo>
                        <a:pt x="3036" y="801"/>
                      </a:lnTo>
                      <a:lnTo>
                        <a:pt x="3023" y="814"/>
                      </a:lnTo>
                      <a:lnTo>
                        <a:pt x="1096" y="2666"/>
                      </a:lnTo>
                      <a:lnTo>
                        <a:pt x="1090" y="2669"/>
                      </a:lnTo>
                      <a:lnTo>
                        <a:pt x="1082" y="2673"/>
                      </a:lnTo>
                      <a:lnTo>
                        <a:pt x="1071" y="2676"/>
                      </a:lnTo>
                      <a:lnTo>
                        <a:pt x="1057" y="2682"/>
                      </a:lnTo>
                      <a:lnTo>
                        <a:pt x="531" y="2131"/>
                      </a:lnTo>
                      <a:lnTo>
                        <a:pt x="0" y="1576"/>
                      </a:lnTo>
                      <a:lnTo>
                        <a:pt x="83" y="1491"/>
                      </a:lnTo>
                      <a:lnTo>
                        <a:pt x="163" y="1408"/>
                      </a:lnTo>
                      <a:lnTo>
                        <a:pt x="240" y="1331"/>
                      </a:lnTo>
                      <a:lnTo>
                        <a:pt x="314" y="1256"/>
                      </a:lnTo>
                      <a:lnTo>
                        <a:pt x="383" y="1184"/>
                      </a:lnTo>
                      <a:lnTo>
                        <a:pt x="562" y="1347"/>
                      </a:lnTo>
                      <a:lnTo>
                        <a:pt x="739" y="1511"/>
                      </a:lnTo>
                      <a:lnTo>
                        <a:pt x="918" y="1674"/>
                      </a:lnTo>
                      <a:lnTo>
                        <a:pt x="1099" y="1840"/>
                      </a:lnTo>
                      <a:lnTo>
                        <a:pt x="1374" y="1584"/>
                      </a:lnTo>
                      <a:lnTo>
                        <a:pt x="1651" y="1326"/>
                      </a:lnTo>
                      <a:lnTo>
                        <a:pt x="1930" y="1066"/>
                      </a:lnTo>
                      <a:lnTo>
                        <a:pt x="2213" y="804"/>
                      </a:lnTo>
                      <a:lnTo>
                        <a:pt x="2498" y="539"/>
                      </a:lnTo>
                      <a:lnTo>
                        <a:pt x="2786" y="270"/>
                      </a:lnTo>
                      <a:lnTo>
                        <a:pt x="3078" y="0"/>
                      </a:lnTo>
                      <a:close/>
                    </a:path>
                  </a:pathLst>
                </a:custGeom>
                <a:grpFill/>
                <a:ln w="0">
                  <a:noFill/>
                  <a:prstDash val="solid"/>
                  <a:round/>
                  <a:headEnd/>
                  <a:tailEnd/>
                </a:ln>
              </p:spPr>
              <p:txBody>
                <a:bodyPr vert="horz" wrap="square" lIns="91440" tIns="91440" rIns="91440" bIns="45720" numCol="1" anchor="t" anchorCtr="0" compatLnSpc="1">
                  <a:prstTxWarp prst="textNoShape">
                    <a:avLst/>
                  </a:prstTxWarp>
                </a:bodyPr>
                <a:lstStyle/>
                <a:p>
                  <a:endParaRPr lang="en-US" dirty="0"/>
                </a:p>
              </p:txBody>
            </p:sp>
          </p:grpSp>
        </p:grpSp>
      </p:grpSp>
      <p:sp>
        <p:nvSpPr>
          <p:cNvPr id="3" name="Slide Number Placeholder 2"/>
          <p:cNvSpPr>
            <a:spLocks noGrp="1"/>
          </p:cNvSpPr>
          <p:nvPr>
            <p:ph type="sldNum" sz="quarter" idx="11"/>
          </p:nvPr>
        </p:nvSpPr>
        <p:spPr/>
        <p:txBody>
          <a:bodyPr/>
          <a:lstStyle/>
          <a:p>
            <a:fld id="{27258FFF-F925-446B-8502-81C933981705}" type="slidenum">
              <a:rPr lang="en-US" smtClean="0"/>
              <a:pPr/>
              <a:t>9</a:t>
            </a:fld>
            <a:endParaRPr lang="en-US" dirty="0"/>
          </a:p>
        </p:txBody>
      </p:sp>
      <p:grpSp>
        <p:nvGrpSpPr>
          <p:cNvPr id="4" name="Group 3"/>
          <p:cNvGrpSpPr/>
          <p:nvPr/>
        </p:nvGrpSpPr>
        <p:grpSpPr>
          <a:xfrm>
            <a:off x="11070579" y="297389"/>
            <a:ext cx="932340" cy="913874"/>
            <a:chOff x="11070579" y="297389"/>
            <a:chExt cx="932340" cy="913874"/>
          </a:xfrm>
        </p:grpSpPr>
        <p:sp>
          <p:nvSpPr>
            <p:cNvPr id="50" name="Rectangle 49"/>
            <p:cNvSpPr/>
            <p:nvPr/>
          </p:nvSpPr>
          <p:spPr bwMode="auto">
            <a:xfrm>
              <a:off x="11070579" y="297389"/>
              <a:ext cx="932340" cy="913874"/>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7160" tIns="0" rIns="0" bIns="91440" numCol="1" rtlCol="0" anchor="ctr" anchorCtr="0" compatLnSpc="1">
              <a:prstTxWarp prst="textNoShape">
                <a:avLst/>
              </a:prstTxWarp>
              <a:noAutofit/>
            </a:bodyPr>
            <a:lstStyle/>
            <a:p>
              <a:pPr algn="l" defTabSz="932563" fontAlgn="auto">
                <a:spcAft>
                  <a:spcPts val="587"/>
                </a:spcAft>
              </a:pPr>
              <a:endParaRPr lang="en-US" sz="2200" dirty="0">
                <a:solidFill>
                  <a:schemeClr val="bg1"/>
                </a:solidFill>
                <a:latin typeface="+mj-lt"/>
                <a:cs typeface="Segoe UI Semibold" panose="020B0702040204020203" pitchFamily="34" charset="0"/>
              </a:endParaRPr>
            </a:p>
          </p:txBody>
        </p:sp>
        <p:sp>
          <p:nvSpPr>
            <p:cNvPr id="52" name="Rectangle 51"/>
            <p:cNvSpPr/>
            <p:nvPr/>
          </p:nvSpPr>
          <p:spPr>
            <a:xfrm>
              <a:off x="11070579" y="1137623"/>
              <a:ext cx="932340" cy="73640"/>
            </a:xfrm>
            <a:prstGeom prst="rect">
              <a:avLst/>
            </a:prstGeom>
            <a:solidFill>
              <a:schemeClr val="bg1">
                <a:alpha val="30000"/>
              </a:schemeClr>
            </a:solidFill>
          </p:spPr>
          <p:txBody>
            <a:bodyPr wrap="square" rtlCol="0" anchor="ctr">
              <a:noAutofit/>
            </a:bodyPr>
            <a:lstStyle/>
            <a:p>
              <a:pPr algn="l"/>
              <a:endParaRPr lang="en-US" sz="2000" dirty="0">
                <a:solidFill>
                  <a:srgbClr val="FFFFFF"/>
                </a:solidFill>
                <a:cs typeface="Segoe UI Light"/>
              </a:endParaRPr>
            </a:p>
          </p:txBody>
        </p:sp>
        <p:sp>
          <p:nvSpPr>
            <p:cNvPr id="39" name="Freeform 38"/>
            <p:cNvSpPr>
              <a:spLocks noChangeAspect="1" noEditPoints="1"/>
            </p:cNvSpPr>
            <p:nvPr/>
          </p:nvSpPr>
          <p:spPr bwMode="auto">
            <a:xfrm>
              <a:off x="11329733" y="456084"/>
              <a:ext cx="414032" cy="596484"/>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alpha val="22000"/>
              </a:schemeClr>
            </a:solidFill>
            <a:ln w="0">
              <a:noFill/>
              <a:prstDash val="solid"/>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p>
          </p:txBody>
        </p:sp>
      </p:grpSp>
    </p:spTree>
    <p:extLst>
      <p:ext uri="{BB962C8B-B14F-4D97-AF65-F5344CB8AC3E}">
        <p14:creationId xmlns:p14="http://schemas.microsoft.com/office/powerpoint/2010/main" val="16906881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left)">
                                      <p:cBhvr>
                                        <p:cTn id="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B Product Families 2013">
  <a:themeElements>
    <a:clrScheme name="Custom 5">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0072C6"/>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 Customer-Ready Template Audienz Modified.potx" id="{092DFF61-9B9B-4BDB-9EC7-D47A5F3C0BAF}" vid="{E326199E-CEC6-4972-9DA7-4930361C35E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customer presentation provides a level 100-level overview of Microsoft Azure security, privacy, and compliance.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presentations</TermName>
          <TermId xmlns="http://schemas.microsoft.com/office/infopath/2007/PartnerControls">317da5a4-398e-4c38-b265-afd519770055</TermId>
        </TermInfo>
      </Term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cb91f272-ce4d-4a7e-9bbf-78b58e3d188d</TermId>
        </TermInfo>
      </Terms>
    </od9986d31974458fb3007746ec0bce5f>
    <Owner xmlns="230e9df3-be65-4c73-a93b-d1236ebd677e">
      <UserInfo>
        <DisplayName>Sarah Fender</DisplayName>
        <AccountId>8466</AccountId>
        <AccountType/>
      </UserInfo>
    </Owner>
    <k21a64daf20d4502b2796a1c6b8ce6c8 xmlns="230e9df3-be65-4c73-a93b-d1236ebd677e">
      <Terms xmlns="http://schemas.microsoft.com/office/infopath/2007/PartnerControls"/>
    </k21a64daf20d4502b2796a1c6b8ce6c8>
    <Expire_x0020_Review xmlns="230e9df3-be65-4c73-a93b-d1236ebd677e">2016-05-22T00: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Info xmlns="http://schemas.microsoft.com/office/infopath/2007/PartnerControls">
          <TermName xmlns="http://schemas.microsoft.com/office/infopath/2007/PartnerControls">SMSG Readiness</TermName>
          <TermId xmlns="http://schemas.microsoft.com/office/infopath/2007/PartnerControls">c6595b84-b463-470a-bb46-2a47364645be</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ApplyWorkflowRules xmlns="ad820760-4664-4be3-bee2-f8b9a6708b4c">No</ApplyWorkflowRules>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Info xmlns="http://schemas.microsoft.com/office/infopath/2007/PartnerControls">
          <TermName xmlns="http://schemas.microsoft.com/office/infopath/2007/PartnerControls">STB Conversations Domain</TermName>
          <TermId xmlns="http://schemas.microsoft.com/office/infopath/2007/PartnerControls">ab3ceaba-e38a-46cd-ac14-3fcc9aa094c0</TermId>
        </TermInfo>
        <TermInfo xmlns="http://schemas.microsoft.com/office/infopath/2007/PartnerControls">
          <TermName xmlns="http://schemas.microsoft.com/office/infopath/2007/PartnerControls">EPG Segments Domain</TermName>
          <TermId xmlns="http://schemas.microsoft.com/office/infopath/2007/PartnerControls">e0c7afdd-6363-4f50-a911-fe12b6468ada</TermId>
        </TermInfo>
      </Terms>
    </eb54ac91059940029a3cc8a4ff5af673>
    <PublishingPageContent xmlns="http://schemas.microsoft.com/sharepoint/v3" xsi:nil="true"/>
    <MediaTitle xmlns="ad820760-4664-4be3-bee2-f8b9a6708b4c" xsi:nil="true"/>
    <IconOverlay xmlns="http://schemas.microsoft.com/sharepoint/v4" xsi:nil="true"/>
    <ef109fd36bcf4bcd9dd945731030600b xmlns="230e9df3-be65-4c73-a93b-d1236ebd677e">
      <Terms xmlns="http://schemas.microsoft.com/office/infopath/2007/PartnerControls"/>
    </ef109fd36bcf4bcd9dd945731030600b>
    <PublishDate xmlns="ad820760-4664-4be3-bee2-f8b9a6708b4c">2014-05-22T07:00:00+00:00</PublishDate>
    <LCA_x0020_Approved xmlns="230e9df3-be65-4c73-a93b-d1236ebd677e">
      <UserInfo>
        <DisplayName/>
        <AccountId xsi:nil="true"/>
        <AccountType/>
      </UserInfo>
    </LCA_x0020_Approved>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infopedia/kc02/media/Thumbnails/Cloud%20and%20Enterprise/KC02-23-24061/david.PNG</Url>
      <Description>/kc02/media/Thumbnails/Cloud and Enterprise/KC02-23-24061/david.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Security and Networking</TermName>
          <TermId xmlns="http://schemas.microsoft.com/office/infopath/2007/PartnerControls">1921f9b2-cacc-4588-95c5-4be529c53d85</TermId>
        </TermInfo>
      </Terms>
    </i0d941ee1e744ffea7aeee9924c91cbb>
    <PublishingExpirationDate xmlns="http://schemas.microsoft.com/sharepoint/v3" xsi:nil="true"/>
    <RoutingRuleDescription xmlns="http://schemas.microsoft.com/sharepoint/v3" xsi:nil="true"/>
    <DocumentSetKcId xmlns="ad820760-4664-4be3-bee2-f8b9a6708b4c">24061</DocumentSetKcId>
    <CoOwner xmlns="ad820760-4664-4be3-bee2-f8b9a6708b4c">
      <UserInfo>
        <DisplayName>i:0#.w|redmond\v-nahube</DisplayName>
        <AccountId>2747</AccountId>
        <AccountType/>
      </UserInfo>
      <UserInfo>
        <DisplayName>i:0#.w|redmond\v-bevg</DisplayName>
        <AccountId>6313</AccountId>
        <AccountType/>
      </UserInfo>
      <UserInfo>
        <DisplayName>i:0#.w|redmond\v-jgayle</DisplayName>
        <AccountId>3278</AccountId>
        <AccountType/>
      </UserInfo>
      <UserInfo>
        <DisplayName>i:0#.w|redmond\davib</DisplayName>
        <AccountId>17369</AccountId>
        <AccountType/>
      </UserInfo>
      <UserInfo>
        <DisplayName>i:0#.w|redmond\v-licour</DisplayName>
        <AccountId>147100</AccountId>
        <AccountType/>
      </UserInfo>
    </CoOwner>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TaxCatchAll xmlns="230e9df3-be65-4c73-a93b-d1236ebd677e">
      <Value>218</Value>
      <Value>217</Value>
      <Value>216</Value>
      <Value>2654</Value>
      <Value>181</Value>
      <Value>1243</Value>
      <Value>20</Value>
      <Value>311</Value>
      <Value>308</Value>
      <Value>1305</Value>
      <Value>42</Value>
      <Value>2074</Value>
      <Value>222</Value>
    </TaxCatchAll>
    <mb88723863e1404388ba3733387d48df xmlns="230e9df3-be65-4c73-a93b-d1236ebd677e">
      <Terms xmlns="http://schemas.microsoft.com/office/infopath/2007/PartnerControls"/>
    </mb88723863e1404388ba3733387d48df>
    <b1337ea954344dcfb0425a10eee4daa8 xmlns="ad820760-4664-4be3-bee2-f8b9a6708b4c">
      <Terms xmlns="http://schemas.microsoft.com/office/infopath/2007/PartnerControls"/>
    </b1337ea954344dcfb0425a10eee4daa8>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hub subset</TermName>
          <TermId xmlns="http://schemas.microsoft.com/office/infopath/2007/PartnerControls">c6bfd112-b986-4a0a-aa8d-90e767bfdfa6</TermId>
        </TermInfo>
      </Terms>
    </m6c7b4717b6346e6a075a59dd47eac69>
    <_dlc_DocId xmlns="230e9df3-be65-4c73-a93b-d1236ebd677e">KC02-23-24062</_dlc_DocId>
    <_dlc_DocIdUrl xmlns="230e9df3-be65-4c73-a93b-d1236ebd677e">
      <Url>http://infopedia/kc02/docstore/_layouts/DocIdRedir.aspx?ID=KC02-23-24062</Url>
      <Description>KC02-23-24062</Description>
    </_dlc_DocIdUrl>
    <AverageRating xmlns="http://schemas.microsoft.com/sharepoint/v3" xsi:nil="true"/>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Receiver>
    <Name>DocumentSet ItemUpdated</Name>
    <Synchronization>Synchronous</Synchronization>
    <Type>10002</Type>
    <SequenceNumber>100</SequenceNumber>
    <Url/>
    <Assembly>Microsoft.Office.DocumentManagement, Version=15.0.0.0, Culture=neutral, PublicKeyToken=71e9bce111e9429c</Assembly>
    <Class>Microsoft.Office.DocumentManagement.DocumentSets.DocumentSetEventReceiver</Class>
    <Data/>
    <Filter/>
  </Receiver>
  <Receiver>
    <Name>DocumentSet ItemAdded</Name>
    <Synchronization>Synchronous</Synchronization>
    <Type>10001</Type>
    <SequenceNumber>100</SequenceNumber>
    <Url/>
    <Assembly>Microsoft.Office.DocumentManagement, Version=15.0.0.0, Culture=neutral, PublicKeyToken=71e9bce111e9429c</Assembly>
    <Class>Microsoft.Office.DocumentManagement.DocumentSets.DocumentSetItemsEventReceiver</Class>
    <Data/>
    <Filter/>
  </Receiver>
</spe:Receivers>
</file>

<file path=customXml/item4.xml><?xml version="1.0" encoding="utf-8"?>
<ct:contentTypeSchema xmlns:ct="http://schemas.microsoft.com/office/2006/metadata/contentType" xmlns:ma="http://schemas.microsoft.com/office/2006/metadata/properties/metaAttributes" ct:_="" ma:_="" ma:contentTypeName="KCDoc" ma:contentTypeID="0x0101000E4CB7077FEE4FF7AE86D4A500EEC7800300C6CD36C6B4DAA64EAACFCCF5D9298AA000B09CC05C6355444CB49B4B62F83D23B8" ma:contentTypeVersion="43" ma:contentTypeDescription="" ma:contentTypeScope="" ma:versionID="529c3d1a1ff7547e8cab9af9dc74631e">
  <xsd:schema xmlns:xsd="http://www.w3.org/2001/XMLSchema" xmlns:xs="http://www.w3.org/2001/XMLSchema" xmlns:p="http://schemas.microsoft.com/office/2006/metadata/properties" xmlns:ns1="http://schemas.microsoft.com/sharepoint/v3" xmlns:ns2="230e9df3-be65-4c73-a93b-d1236ebd677e" xmlns:ns3="ad820760-4664-4be3-bee2-f8b9a6708b4c" xmlns:ns4="http://schemas.microsoft.com/sharepoint/v4" targetNamespace="http://schemas.microsoft.com/office/2006/metadata/properties" ma:root="true" ma:fieldsID="d263f6792e3b868d0f42c9b986651ab9" ns1:_="" ns2:_="" ns3:_="" ns4:_="">
    <xsd:import namespace="http://schemas.microsoft.com/sharepoint/v3"/>
    <xsd:import namespace="230e9df3-be65-4c73-a93b-d1236ebd677e"/>
    <xsd:import namespace="ad820760-4664-4be3-bee2-f8b9a6708b4c"/>
    <xsd:import namespace="http://schemas.microsoft.com/sharepoint/v4"/>
    <xsd:element name="properties">
      <xsd:complexType>
        <xsd:sequence>
          <xsd:element name="documentManagement">
            <xsd:complexType>
              <xsd:all>
                <xsd:element ref="ns2:DocumentDescription" minOccurs="0"/>
                <xsd:element ref="ns3:PublishDate" minOccurs="0"/>
                <xsd:element ref="ns1:PublishingExpirationDate" minOccurs="0"/>
                <xsd:element ref="ns1:AverageRating" minOccurs="0"/>
                <xsd:element ref="ns2:Thumbnail1" minOccurs="0"/>
                <xsd:element ref="ns1:PublishingPageContent" minOccurs="0"/>
                <xsd:element ref="ns1:RatingCount" minOccurs="0"/>
                <xsd:element ref="ns2:Owner" minOccurs="0"/>
                <xsd:element ref="ns2:LCA_x0020_Approved" minOccurs="0"/>
                <xsd:element ref="ns2:Expire_x0020_Review" minOccurs="0"/>
                <xsd:element ref="ns3:DocumentSetKcId" minOccurs="0"/>
                <xsd:element ref="ns3:CoOwner" minOccurs="0"/>
                <xsd:element ref="ns3:MediaTitle" minOccurs="0"/>
                <xsd:element ref="ns2:hd9637eefc984b85b6097c6374e15725" minOccurs="0"/>
                <xsd:element ref="ns2:l3c3ea61849e4288a8acc49bb5388e8c" minOccurs="0"/>
                <xsd:element ref="ns1:RoutingRuleDescription" minOccurs="0"/>
                <xsd:element ref="ns2:i0d941ee1e744ffea7aeee9924c91cbb" minOccurs="0"/>
                <xsd:element ref="ns2:TaxCatchAllLabel" minOccurs="0"/>
                <xsd:element ref="ns2:k21a64daf20d4502b2796a1c6b8ce6c8" minOccurs="0"/>
                <xsd:element ref="ns2:TaxCatchAll" minOccurs="0"/>
                <xsd:element ref="ns2:ef109fd36bcf4bcd9dd945731030600b" minOccurs="0"/>
                <xsd:element ref="ns2:mb88723863e1404388ba3733387d48df" minOccurs="0"/>
                <xsd:element ref="ns2:kf34bcdc8fc34e479d3f94c6210e8e27" minOccurs="0"/>
                <xsd:element ref="ns2:_dlc_DocIdUrl" minOccurs="0"/>
                <xsd:element ref="ns2:ec5b2ad5c27b45fb8a00a1f27c7ce1ae" minOccurs="0"/>
                <xsd:element ref="ns2:_dlc_DocIdPersistId" minOccurs="0"/>
                <xsd:element ref="ns2:b60f8d2dbb984f349d80d8196897f4d3" minOccurs="0"/>
                <xsd:element ref="ns2:ConfidentialityTaxHTField0" minOccurs="0"/>
                <xsd:element ref="ns3:ApplyWorkflowRules" minOccurs="0"/>
                <xsd:element ref="ns2:k20e0dfa74bf4e44818db03027b0ccd8" minOccurs="0"/>
                <xsd:element ref="ns2:eb54ac91059940029a3cc8a4ff5af673" minOccurs="0"/>
                <xsd:element ref="ns2:i1b478372f814787abd313030b81fcb2" minOccurs="0"/>
                <xsd:element ref="ns4:IconOverlay" minOccurs="0"/>
                <xsd:element ref="ns2:TaxKeywordTaxHTField" minOccurs="0"/>
                <xsd:element ref="ns2:od9986d31974458fb3007746ec0bce5f" minOccurs="0"/>
                <xsd:element ref="ns2:m6c7b4717b6346e6a075a59dd47eac69" minOccurs="0"/>
                <xsd:element ref="ns2:_dlc_DocId" minOccurs="0"/>
                <xsd:element ref="ns3:b1337ea954344dcfb0425a10eee4daa8" minOccurs="0"/>
                <xsd:element ref="ns2:bf80e81150e248c48aa8cffdf0021a1f" minOccurs="0"/>
                <xsd:element ref="ns2:m6d26e40ac264097a006193f92232ec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ExpirationDate" ma:index="4" nillable="true" ma:displayName="Scheduling End Date" ma:internalName="PublishingExpirationDate">
      <xsd:simpleType>
        <xsd:restriction base="dms:Unknown"/>
      </xsd:simpleType>
    </xsd:element>
    <xsd:element name="AverageRating" ma:index="5" nillable="true" ma:displayName="Rating (0-5)" ma:decimals="2" ma:description="Average value of all the ratings that have been submitted" ma:internalName="AverageRating" ma:readOnly="true">
      <xsd:simpleType>
        <xsd:restriction base="dms:Number"/>
      </xsd:simpleType>
    </xsd:element>
    <xsd:element name="PublishingPageContent" ma:index="13" nillable="true" ma:displayName="Page Content" ma:internalName="PublishingPageContent">
      <xsd:simpleType>
        <xsd:restriction base="dms:Unknown"/>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RoutingRuleDescription" ma:index="36"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Description" ma:description="Alternate description for documents that can be used for display." ma:internalName="DocumentDescription">
      <xsd:simpleType>
        <xsd:restriction base="dms:Note"/>
      </xsd:simpleType>
    </xsd:element>
    <xsd:element name="Thumbnail1" ma:index="12"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wner" ma:index="17" nillable="true" ma:displayName="Owner" ma:description="Must be an FTE" ma:indexed="true" ma:list="UserInfo" ma:SharePointGroup="0" ma:internalName="Owner" ma:readOnly="false" ma:showField="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CA_x0020_Approved" ma:index="23" nillable="true" ma:displayName="LCA Approved" ma:description="This field is for the name of the person from LCA that reviewed and approved the content." ma:list="UserInfo" ma:SharePointGroup="0" ma:internalName="LCA_x0020_Approved"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28" nillable="true" ma:displayName="Expiration" ma:format="DateOnly" ma:indexed="true" ma:internalName="Expire_x0020_Review" ma:readOnly="false">
      <xsd:simpleType>
        <xsd:restriction base="dms:DateTime"/>
      </xsd:simpleType>
    </xsd:element>
    <xsd:element name="hd9637eefc984b85b6097c6374e15725" ma:index="34" nillable="true" ma:taxonomy="true" ma:internalName="hd9637eefc984b85b6097c6374e15725" ma:taxonomyFieldName="ItemType" ma:displayName="SMSG Item Type" ma:readOnly="fals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l3c3ea61849e4288a8acc49bb5388e8c" ma:index="35" nillable="true" ma:taxonomy="true" ma:internalName="l3c3ea61849e4288a8acc49bb5388e8c" ma:taxonomyFieldName="Groups" ma:displayName="SMSG Groups" ma:readOnly="false"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37" nillable="true" ma:taxonomy="true" ma:internalName="i0d941ee1e744ffea7aeee9924c91cbb" ma:taxonomyFieldName="BusinessArchitecture" ma:displayName="SMSG Business Architecture" ma:readOnly="fals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TaxCatchAllLabel" ma:index="38" nillable="true" ma:displayName="Taxonomy Catch All Column1" ma:hidden="true" ma:list="{341bdb36-d19b-4bce-9fa6-6145346cf024}" ma:internalName="TaxCatchAllLabel" ma:readOnly="true" ma:showField="CatchAllDataLabel"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k21a64daf20d4502b2796a1c6b8ce6c8" ma:index="40" nillable="true" ma:taxonomy="true" ma:internalName="k21a64daf20d4502b2796a1c6b8ce6c8" ma:taxonomyFieldName="Industries" ma:displayName="SMSG Industries" ma:readOnly="false"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TaxCatchAll" ma:index="41" nillable="true" ma:displayName="Taxonomy Catch All Column" ma:hidden="true" ma:list="{341bdb36-d19b-4bce-9fa6-6145346cf024}" ma:internalName="TaxCatchAll" ma:showField="CatchAllData"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ef109fd36bcf4bcd9dd945731030600b" ma:index="42" nillable="true" ma:taxonomy="true" ma:internalName="ef109fd36bcf4bcd9dd945731030600b" ma:taxonomyFieldName="Region" ma:displayName="SMSG Region" ma:readOnly="false"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mb88723863e1404388ba3733387d48df" ma:index="43" nillable="true" ma:taxonomy="true" ma:internalName="mb88723863e1404388ba3733387d48df" ma:taxonomyFieldName="Audiences" ma:displayName="SMSG Customer Audiences" ma:readOnly="false"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kf34bcdc8fc34e479d3f94c6210e8e27" ma:index="44" nillable="true" ma:taxonomy="true" ma:internalName="kf34bcdc8fc34e479d3f94c6210e8e27" ma:taxonomyFieldName="Competitors" ma:displayName="SMSG Competition" ma:readOnly="false"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_dlc_DocIdUrl" ma:index="4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ec5b2ad5c27b45fb8a00a1f27c7ce1ae" ma:index="46" nillable="true" ma:taxonomy="true" ma:internalName="ec5b2ad5c27b45fb8a00a1f27c7ce1ae" ma:taxonomyFieldName="Partners" ma:displayName="SMSG Partners" ma:readOnly="false"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_dlc_DocIdPersistId" ma:index="47" nillable="true" ma:displayName="Persist ID" ma:description="Keep ID on add." ma:hidden="true" ma:internalName="_dlc_DocIdPersistId" ma:readOnly="true">
      <xsd:simpleType>
        <xsd:restriction base="dms:Boolean"/>
      </xsd:simpleType>
    </xsd:element>
    <xsd:element name="b60f8d2dbb984f349d80d8196897f4d3" ma:index="48" nillable="true" ma:taxonomy="true" ma:internalName="b60f8d2dbb984f349d80d8196897f4d3" ma:taxonomyFieldName="Roles" ma:displayName="SMSG Roles" ma:readOnly="false"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ConfidentialityTaxHTField0" ma:index="49" nillable="true" ma:taxonomy="true" ma:internalName="ConfidentialityTaxHTField0" ma:taxonomyFieldName="Confidentiality" ma:displayName="Confidentiality" ma:indexed="true" ma:readOnly="false" ma:default="1;#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k20e0dfa74bf4e44818db03027b0ccd8" ma:index="51" nillable="true" ma:taxonomy="true" ma:internalName="k20e0dfa74bf4e44818db03027b0ccd8" ma:taxonomyFieldName="Segments" ma:displayName="SMSG Customer Segments" ma:readOnly="false"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eb54ac91059940029a3cc8a4ff5af673" ma:index="53" nillable="true" ma:taxonomy="true" ma:internalName="eb54ac91059940029a3cc8a4ff5af673" ma:taxonomyFieldName="SMSGDomain" ma:displayName="SMSG Domain" ma:readOnly="false"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i1b478372f814787abd313030b81fcb2" ma:index="54" nillable="true" ma:taxonomy="true" ma:internalName="i1b478372f814787abd313030b81fcb2" ma:taxonomyFieldName="ActivitiesAndPrograms" ma:displayName="SMSG Activities &amp; Programs" ma:readOnly="false"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TaxKeywordTaxHTField" ma:index="58"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od9986d31974458fb3007746ec0bce5f" ma:index="59"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m6c7b4717b6346e6a075a59dd47eac69" ma:index="60" nillable="true" ma:taxonomy="true" ma:internalName="m6c7b4717b6346e6a075a59dd47eac69" ma:taxonomyFieldName="Topics" ma:displayName="SMSG Topics" ma:readOnly="false"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_dlc_DocId" ma:index="61"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5" nillable="true" ma:taxonomy="true" ma:internalName="bf80e81150e248c48aa8cffdf0021a1f" ma:taxonomyFieldName="Products" ma:displayName="SMSG Products &amp; Technologies" ma:readOnly="false"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6d26e40ac264097a006193f92232ece" ma:index="66" nillable="true" ma:taxonomy="true" ma:internalName="m6d26e40ac264097a006193f92232ece" ma:taxonomyFieldName="TechnicalLevel" ma:displayName="Technical Level" ma:readOnly="false"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820760-4664-4be3-bee2-f8b9a6708b4c" elementFormDefault="qualified">
    <xsd:import namespace="http://schemas.microsoft.com/office/2006/documentManagement/types"/>
    <xsd:import namespace="http://schemas.microsoft.com/office/infopath/2007/PartnerControls"/>
    <xsd:element name="PublishDate" ma:index="3" nillable="true" ma:displayName="PublishDate" ma:description="Used in Blog Posts and documents." ma:format="DateOnly" ma:indexed="true" ma:internalName="PublishDate">
      <xsd:simpleType>
        <xsd:restriction base="dms:DateTime"/>
      </xsd:simpleType>
    </xsd:element>
    <xsd:element name="DocumentSetKcId" ma:index="31" nillable="true" ma:displayName="DocumentSetKcId" ma:description="Custom Column used to capture Document ID to share with DocumentSet Contents" ma:indexed="true" ma:internalName="DocumentSetKcId" ma:readOnly="false">
      <xsd:simpleType>
        <xsd:restriction base="dms:Text">
          <xsd:maxLength value="255"/>
        </xsd:restriction>
      </xsd:simpleType>
    </xsd:element>
    <xsd:element name="CoOwner" ma:index="32" nillable="true" ma:displayName="Co-Owner" ma:description="Co-Owner" ma:list="UserInfo" ma:SharePointGroup="0" ma:internalName="CoOwner" ma:readOnly="false"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Title" ma:index="33" nillable="true" ma:displayName="BlogPostID" ma:description="Blog Post ID to link documents on the blog post." ma:internalName="MediaTitle" ma:readOnly="false">
      <xsd:simpleType>
        <xsd:restriction base="dms:Text">
          <xsd:maxLength value="255"/>
        </xsd:restriction>
      </xsd:simpleType>
    </xsd:element>
    <xsd:element name="ApplyWorkflowRules" ma:index="50" nillable="true" ma:displayName="ApplyWorkflowRules" ma:default="Yes" ma:description="This columns is used to help to apply the workflow rules on Document Sets / Documents. by Default the Value is Yes" ma:format="Dropdown" ma:hidden="true" ma:internalName="ApplyWorkflowRules" ma:readOnly="false">
      <xsd:simpleType>
        <xsd:restriction base="dms:Choice">
          <xsd:enumeration value="Yes"/>
          <xsd:enumeration value="No"/>
        </xsd:restriction>
      </xsd:simpleType>
    </xsd:element>
    <xsd:element name="b1337ea954344dcfb0425a10eee4daa8" ma:index="63" nillable="true" ma:taxonomy="true" ma:internalName="b1337ea954344dcfb0425a10eee4daa8" ma:taxonomyFieldName="EnterpriseDomainTags" ma:displayName="EnterpriseDomainTags" ma:default="" ma:fieldId="{b1337ea9-5434-4dcf-b042-5a10eee4daa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SharedContentType xmlns="Microsoft.SharePoint.Taxonomy.ContentTypeSync" SourceId="e385fb40-52d4-4fae-9c5b-3e8ff8a5878e" ContentTypeId="0x0101000E4CB7077FEE4FF7AE86D4A500EEC78003" PreviousValue="false"/>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230e9df3-be65-4c73-a93b-d1236ebd677e"/>
    <ds:schemaRef ds:uri="ad820760-4664-4be3-bee2-f8b9a6708b4c"/>
    <ds:schemaRef ds:uri="http://schemas.microsoft.com/sharepoint/v3"/>
    <ds:schemaRef ds:uri="http://schemas.microsoft.com/sharepoint/v4"/>
  </ds:schemaRefs>
</ds:datastoreItem>
</file>

<file path=customXml/itemProps3.xml><?xml version="1.0" encoding="utf-8"?>
<ds:datastoreItem xmlns:ds="http://schemas.openxmlformats.org/officeDocument/2006/customXml" ds:itemID="{D3518492-3DDD-4A02-8856-A6EFF619BF49}">
  <ds:schemaRefs>
    <ds:schemaRef ds:uri="http://schemas.microsoft.com/sharepoint/events"/>
  </ds:schemaRefs>
</ds:datastoreItem>
</file>

<file path=customXml/itemProps4.xml><?xml version="1.0" encoding="utf-8"?>
<ds:datastoreItem xmlns:ds="http://schemas.openxmlformats.org/officeDocument/2006/customXml" ds:itemID="{292584F0-669D-47D1-8B4B-554ABBB8CED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ad820760-4664-4be3-bee2-f8b9a6708b4c"/>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1AD0DC20-717D-4031-A952-C83397CA1599}">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C&amp;E Customer-Ready Template Audienz Modified</Template>
  <TotalTime>4261</TotalTime>
  <Words>9037</Words>
  <Application>Microsoft Office PowerPoint</Application>
  <PresentationFormat>Custom</PresentationFormat>
  <Paragraphs>574</Paragraphs>
  <Slides>31</Slides>
  <Notes>3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41" baseType="lpstr">
      <vt:lpstr>Arial</vt:lpstr>
      <vt:lpstr>Calibri</vt:lpstr>
      <vt:lpstr>Segoe Pro Light</vt:lpstr>
      <vt:lpstr>Segoe UI</vt:lpstr>
      <vt:lpstr>Segoe UI Light</vt:lpstr>
      <vt:lpstr>Segoe UI Semibold</vt:lpstr>
      <vt:lpstr>Times New Roman</vt:lpstr>
      <vt:lpstr>Wingdings</vt:lpstr>
      <vt:lpstr>STB Product Families 2013</vt:lpstr>
      <vt:lpstr>think-cell Slide</vt:lpstr>
      <vt:lpstr>Security, Privacy, Control and  Compliance in the Cloud</vt:lpstr>
      <vt:lpstr>Cloud is becoming integral to business transformation</vt:lpstr>
      <vt:lpstr>Cybersecurity concerns persist</vt:lpstr>
      <vt:lpstr>But cloud momentum continues to accelerate </vt:lpstr>
      <vt:lpstr>The Microsoft Trusted Cloud</vt:lpstr>
      <vt:lpstr>Microsoft Azure</vt:lpstr>
      <vt:lpstr>Microsoft Azure – a trusted foundation</vt:lpstr>
      <vt:lpstr>Azure Security</vt:lpstr>
      <vt:lpstr>Security design and operations</vt:lpstr>
      <vt:lpstr>Infrastructure protection</vt:lpstr>
      <vt:lpstr>Network protection</vt:lpstr>
      <vt:lpstr>Identity &amp; access control</vt:lpstr>
      <vt:lpstr>Azure Privacy &amp; Control</vt:lpstr>
      <vt:lpstr>Trustworthy foundation</vt:lpstr>
      <vt:lpstr>ISO/IEC 27018</vt:lpstr>
      <vt:lpstr>Contractual commitments</vt:lpstr>
      <vt:lpstr>Restricted data access </vt:lpstr>
      <vt:lpstr>Law enforcement requests</vt:lpstr>
      <vt:lpstr>Customer Data</vt:lpstr>
      <vt:lpstr>Data protection</vt:lpstr>
      <vt:lpstr>Azure Transparency</vt:lpstr>
      <vt:lpstr>Data storage and use</vt:lpstr>
      <vt:lpstr>Security practices</vt:lpstr>
      <vt:lpstr>Data access</vt:lpstr>
      <vt:lpstr>Microsoft and compliance</vt:lpstr>
      <vt:lpstr>Azure Compliance</vt:lpstr>
      <vt:lpstr>Compliance framework</vt:lpstr>
      <vt:lpstr>Extensive experience and credentials </vt:lpstr>
      <vt:lpstr>Partnering with industry leaders</vt:lpstr>
      <vt:lpstr>Trusted globally by leading companies</vt:lpstr>
      <vt:lpstr>PowerPoint Presentation</vt:lpstr>
    </vt:vector>
  </TitlesOfParts>
  <Manager>Ron Sasaki</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 Security Privacy Compliance</dc:title>
  <dc:creator>Badamon Diengdoh [Chillibreeze]</dc:creator>
  <cp:keywords/>
  <cp:lastModifiedBy>Peter Kirchner</cp:lastModifiedBy>
  <cp:revision>496</cp:revision>
  <cp:lastPrinted>2014-04-09T17:04:28Z</cp:lastPrinted>
  <dcterms:created xsi:type="dcterms:W3CDTF">2015-04-08T06:28:52Z</dcterms:created>
  <dcterms:modified xsi:type="dcterms:W3CDTF">2015-07-08T06:4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C6CD36C6B4DAA64EAACFCCF5D9298AA000B09CC05C6355444CB49B4B62F83D23B8</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IsMyDocuments">
    <vt:bool>true</vt:bool>
  </property>
  <property fmtid="{D5CDD505-2E9C-101B-9397-08002B2CF9AE}" pid="7" name="p1cd454bacc149bfbcfd764edd279de7">
    <vt:lpwstr/>
  </property>
  <property fmtid="{D5CDD505-2E9C-101B-9397-08002B2CF9AE}" pid="8" name="TaxKeyword">
    <vt:lpwstr/>
  </property>
  <property fmtid="{D5CDD505-2E9C-101B-9397-08002B2CF9AE}" pid="9" name="Order">
    <vt:r8>2406200</vt:r8>
  </property>
  <property fmtid="{D5CDD505-2E9C-101B-9397-08002B2CF9AE}" pid="10" name="_dlc_policyId">
    <vt:lpwstr/>
  </property>
  <property fmtid="{D5CDD505-2E9C-101B-9397-08002B2CF9AE}" pid="11" name="Region">
    <vt:lpwstr/>
  </property>
  <property fmtid="{D5CDD505-2E9C-101B-9397-08002B2CF9AE}" pid="12" name="Confidentiality">
    <vt:lpwstr>216;#customer ready|8986c41d-21c5-4f8f-8a12-ea4625b46858</vt:lpwstr>
  </property>
  <property fmtid="{D5CDD505-2E9C-101B-9397-08002B2CF9AE}" pid="13" name="ItemType">
    <vt:lpwstr>20;#presentations|317da5a4-398e-4c38-b265-afd519770055</vt:lpwstr>
  </property>
  <property fmtid="{D5CDD505-2E9C-101B-9397-08002B2CF9AE}" pid="14" name="bc28b5f076654a3b96073bbbebfeb8c9">
    <vt:lpwstr/>
  </property>
  <property fmtid="{D5CDD505-2E9C-101B-9397-08002B2CF9AE}" pid="15" name="_EmailSubject">
    <vt:lpwstr>Comments on deep-dive deck</vt:lpwstr>
  </property>
  <property fmtid="{D5CDD505-2E9C-101B-9397-08002B2CF9AE}" pid="16" name="Industries">
    <vt:lpwstr/>
  </property>
  <property fmtid="{D5CDD505-2E9C-101B-9397-08002B2CF9AE}" pid="17" name="j4d667fb28274e85b2214f6e751c8d1f">
    <vt:lpwstr/>
  </property>
  <property fmtid="{D5CDD505-2E9C-101B-9397-08002B2CF9AE}" pid="18" name="MSProducts">
    <vt:lpwstr/>
  </property>
  <property fmtid="{D5CDD505-2E9C-101B-9397-08002B2CF9AE}" pid="19" name="SMSGDomain">
    <vt:lpwstr>2654;#Cloud and Enterprise|adc2fe87-c79a-4ded-a449-3f86b954069d;#217;#Microsoft Azure Domain|d600a391-d529-4311-892b-2c05c1ab2538;#308;#STB Conversations Domain|ab3ceaba-e38a-46cd-ac14-3fcc9aa094c0;#2074;#EPG Segments Domain|e0c7afdd-6363-4f50-a911-fe12b6</vt:lpwstr>
  </property>
  <property fmtid="{D5CDD505-2E9C-101B-9397-08002B2CF9AE}" pid="20" name="Competitors">
    <vt:lpwstr/>
  </property>
  <property fmtid="{D5CDD505-2E9C-101B-9397-08002B2CF9AE}" pid="21" name="BusinessArchitecture">
    <vt:lpwstr>1243;#Security and Networking|1921f9b2-cacc-4588-95c5-4be529c53d85</vt:lpwstr>
  </property>
  <property fmtid="{D5CDD505-2E9C-101B-9397-08002B2CF9AE}" pid="22" name="j031aa32f4154c8c9a646efae715ebde">
    <vt:lpwstr/>
  </property>
  <property fmtid="{D5CDD505-2E9C-101B-9397-08002B2CF9AE}" pid="23" name="Products">
    <vt:lpwstr>218;#Microsoft Azure|669a3112-5edf-444b-a003-630063601f07</vt:lpwstr>
  </property>
  <property fmtid="{D5CDD505-2E9C-101B-9397-08002B2CF9AE}" pid="24" name="_dlc_DocIdItemGuid">
    <vt:lpwstr>9e8a7881-5f34-4ccd-92ae-7dc3c2f9c70c</vt:lpwstr>
  </property>
  <property fmtid="{D5CDD505-2E9C-101B-9397-08002B2CF9AE}" pid="25" name="EnterpriseDomainTags">
    <vt:lpwstr/>
  </property>
  <property fmtid="{D5CDD505-2E9C-101B-9397-08002B2CF9AE}" pid="26" name="l311460e3fdf46688abc31ddb7bdc05a">
    <vt:lpwstr/>
  </property>
  <property fmtid="{D5CDD505-2E9C-101B-9397-08002B2CF9AE}" pid="27" name="Segments">
    <vt:lpwstr/>
  </property>
  <property fmtid="{D5CDD505-2E9C-101B-9397-08002B2CF9AE}" pid="28" name="ActivitiesAndPrograms">
    <vt:lpwstr/>
  </property>
  <property fmtid="{D5CDD505-2E9C-101B-9397-08002B2CF9AE}" pid="29" name="Partners">
    <vt:lpwstr/>
  </property>
  <property fmtid="{D5CDD505-2E9C-101B-9397-08002B2CF9AE}" pid="30" name="WorkflowChangePath">
    <vt:lpwstr>b015aa7d-dcd3-45fa-9f16-f621f50b596a,9;b015aa7d-dcd3-45fa-9f16-f621f50b596a,9;b015aa7d-dcd3-45fa-9f16-f621f50b596a,9;b015aa7d-dcd3-45fa-9f16-f621f50b596a,20;b015aa7d-dcd3-45fa-9f16-f621f50b596a,26;b015aa7d-dcd3-45fa-9f16-f621f50b596a,33;e929cdc8-ef5a-4aed</vt:lpwstr>
  </property>
  <property fmtid="{D5CDD505-2E9C-101B-9397-08002B2CF9AE}" pid="31" name="la4444b61d19467597d63190b69ac227">
    <vt:lpwstr/>
  </property>
  <property fmtid="{D5CDD505-2E9C-101B-9397-08002B2CF9AE}" pid="32" name="Groups">
    <vt:lpwstr>222;#Microsoft Azure Marketing|0958c357-5252-473f-8b4e-42f27525a99d;#311;#Cloud and Enterprise Marketing Group|4f75e184-e5aa-4234-a07f-b032d60df254;#181;#SMSG Readiness|c6595b84-b463-470a-bb46-2a47364645be</vt:lpwstr>
  </property>
  <property fmtid="{D5CDD505-2E9C-101B-9397-08002B2CF9AE}" pid="33" name="Topics">
    <vt:lpwstr>1305;#hub subset|c6bfd112-b986-4a0a-aa8d-90e767bfdfa6</vt:lpwstr>
  </property>
  <property fmtid="{D5CDD505-2E9C-101B-9397-08002B2CF9AE}" pid="34" name="MSProductsTaxHTField0">
    <vt:lpwstr/>
  </property>
  <property fmtid="{D5CDD505-2E9C-101B-9397-08002B2CF9AE}" pid="35" name="_NewReviewCycle">
    <vt:lpwstr/>
  </property>
  <property fmtid="{D5CDD505-2E9C-101B-9397-08002B2CF9AE}" pid="36" name="Languages">
    <vt:lpwstr>42;#English|cb91f272-ce4d-4a7e-9bbf-78b58e3d188d</vt:lpwstr>
  </property>
  <property fmtid="{D5CDD505-2E9C-101B-9397-08002B2CF9AE}" pid="37" name="_docset_NoMedatataSyncRequired">
    <vt:lpwstr>False</vt:lpwstr>
  </property>
  <property fmtid="{D5CDD505-2E9C-101B-9397-08002B2CF9AE}" pid="38" name="messageframeworktype">
    <vt:lpwstr/>
  </property>
  <property fmtid="{D5CDD505-2E9C-101B-9397-08002B2CF9AE}" pid="39" name="LastUpdatedByBatchTagging">
    <vt:bool>true</vt:bool>
  </property>
  <property fmtid="{D5CDD505-2E9C-101B-9397-08002B2CF9AE}" pid="40" name="MSLanguage">
    <vt:lpwstr/>
  </property>
  <property fmtid="{D5CDD505-2E9C-101B-9397-08002B2CF9AE}" pid="41" name="cb7870d3641f4a52807a63577a9c1b08">
    <vt:lpwstr/>
  </property>
  <property fmtid="{D5CDD505-2E9C-101B-9397-08002B2CF9AE}" pid="42" name="TechnicalLevel">
    <vt:lpwstr/>
  </property>
  <property fmtid="{D5CDD505-2E9C-101B-9397-08002B2CF9AE}" pid="43" name="Audiences">
    <vt:lpwstr/>
  </property>
  <property fmtid="{D5CDD505-2E9C-101B-9397-08002B2CF9AE}" pid="44" name="LearningOrganization">
    <vt:lpwstr/>
  </property>
  <property fmtid="{D5CDD505-2E9C-101B-9397-08002B2CF9AE}" pid="45" name="EmployeeRole">
    <vt:lpwstr/>
  </property>
  <property fmtid="{D5CDD505-2E9C-101B-9397-08002B2CF9AE}" pid="46" name="_AuthorEmailDisplayName">
    <vt:lpwstr>Joel Sloss (UNIFYCLOUD LLC)</vt:lpwstr>
  </property>
  <property fmtid="{D5CDD505-2E9C-101B-9397-08002B2CF9AE}" pid="47" name="LearningDeliveryMethod">
    <vt:lpwstr/>
  </property>
  <property fmtid="{D5CDD505-2E9C-101B-9397-08002B2CF9AE}" pid="48" name="SalesGeography">
    <vt:lpwstr/>
  </property>
  <property fmtid="{D5CDD505-2E9C-101B-9397-08002B2CF9AE}" pid="49" name="_AdHocReviewCycleID">
    <vt:i4>1927963369</vt:i4>
  </property>
  <property fmtid="{D5CDD505-2E9C-101B-9397-08002B2CF9AE}" pid="50" name="Roles">
    <vt:lpwstr/>
  </property>
  <property fmtid="{D5CDD505-2E9C-101B-9397-08002B2CF9AE}" pid="51" name="ItemRetentionFormula">
    <vt:lpwstr/>
  </property>
  <property fmtid="{D5CDD505-2E9C-101B-9397-08002B2CF9AE}" pid="52" name="SMSGTags">
    <vt:lpwstr/>
  </property>
  <property fmtid="{D5CDD505-2E9C-101B-9397-08002B2CF9AE}" pid="53" name="_AuthorEmail">
    <vt:lpwstr>v-joslos@microsoft.com</vt:lpwstr>
  </property>
</Properties>
</file>